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heme/theme4.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notesSlides/notesSlide2.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notesSlides/notesSlide3.xml" ContentType="application/vnd.openxmlformats-officedocument.presentationml.notesSlide+xml"/>
  <Override PartName="/ppt/tags/tag342.xml" ContentType="application/vnd.openxmlformats-officedocument.presentationml.tags+xml"/>
  <Override PartName="/ppt/notesSlides/notesSlide4.xml" ContentType="application/vnd.openxmlformats-officedocument.presentationml.notesSlide+xml"/>
  <Override PartName="/ppt/tags/tag343.xml" ContentType="application/vnd.openxmlformats-officedocument.presentationml.tags+xml"/>
  <Override PartName="/ppt/notesSlides/notesSlide5.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notesSlides/notesSlide8.xml" ContentType="application/vnd.openxmlformats-officedocument.presentationml.notesSlide+xml"/>
  <Override PartName="/ppt/tags/tag544.xml" ContentType="application/vnd.openxmlformats-officedocument.presentationml.tags+xml"/>
  <Override PartName="/ppt/notesSlides/notesSlide9.xml" ContentType="application/vnd.openxmlformats-officedocument.presentationml.notesSlide+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10.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notesSlides/notesSlide11.xml" ContentType="application/vnd.openxmlformats-officedocument.presentationml.notesSlid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notesSlides/notesSlide12.xml" ContentType="application/vnd.openxmlformats-officedocument.presentationml.notesSlide+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notesSlides/notesSlide13.xml" ContentType="application/vnd.openxmlformats-officedocument.presentationml.notesSlide+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notesSlides/notesSlide14.xml" ContentType="application/vnd.openxmlformats-officedocument.presentationml.notesSlide+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notesSlides/notesSlide15.xml" ContentType="application/vnd.openxmlformats-officedocument.presentationml.notesSlide+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notesSlides/notesSlide16.xml" ContentType="application/vnd.openxmlformats-officedocument.presentationml.notesSlide+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notesSlides/notesSlide17.xml" ContentType="application/vnd.openxmlformats-officedocument.presentationml.notesSlide+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notesSlides/notesSlide18.xml" ContentType="application/vnd.openxmlformats-officedocument.presentationml.notesSlide+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notesSlides/notesSlide19.xml" ContentType="application/vnd.openxmlformats-officedocument.presentationml.notesSlide+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notesSlides/notesSlide20.xml" ContentType="application/vnd.openxmlformats-officedocument.presentationml.notesSlide+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notesSlides/notesSlide21.xml" ContentType="application/vnd.openxmlformats-officedocument.presentationml.notesSlide+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notesSlides/notesSlide22.xml" ContentType="application/vnd.openxmlformats-officedocument.presentationml.notesSlide+xml"/>
  <Override PartName="/ppt/charts/chart6.xml" ContentType="application/vnd.openxmlformats-officedocument.drawingml.chart+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notesSlides/notesSlide23.xml" ContentType="application/vnd.openxmlformats-officedocument.presentationml.notesSlide+xml"/>
  <Override PartName="/ppt/tags/tag1247.xml" ContentType="application/vnd.openxmlformats-officedocument.presentationml.tags+xml"/>
  <Override PartName="/ppt/notesSlides/notesSlide24.xml" ContentType="application/vnd.openxmlformats-officedocument.presentationml.notesSlide+xml"/>
  <Override PartName="/ppt/tags/tag1248.xml" ContentType="application/vnd.openxmlformats-officedocument.presentationml.tags+xml"/>
  <Override PartName="/ppt/notesSlides/notesSlide25.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tags/tag1249.xml" ContentType="application/vnd.openxmlformats-officedocument.presentationml.tags+xml"/>
  <Override PartName="/ppt/notesSlides/notesSlide26.xml" ContentType="application/vnd.openxmlformats-officedocument.presentationml.notesSlide+xml"/>
  <Override PartName="/ppt/tags/tag1250.xml" ContentType="application/vnd.openxmlformats-officedocument.presentationml.tags+xml"/>
  <Override PartName="/ppt/notesSlides/notesSlide27.xml" ContentType="application/vnd.openxmlformats-officedocument.presentationml.notesSlide+xml"/>
  <Override PartName="/ppt/tags/tag1251.xml" ContentType="application/vnd.openxmlformats-officedocument.presentationml.tags+xml"/>
  <Override PartName="/ppt/notesSlides/notesSlide28.xml" ContentType="application/vnd.openxmlformats-officedocument.presentationml.notesSlide+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tags/tag1252.xml" ContentType="application/vnd.openxmlformats-officedocument.presentationml.tags+xml"/>
  <Override PartName="/ppt/notesSlides/notesSlide29.xml" ContentType="application/vnd.openxmlformats-officedocument.presentationml.notesSlide+xml"/>
  <Override PartName="/ppt/tags/tag1253.xml" ContentType="application/vnd.openxmlformats-officedocument.presentationml.tags+xml"/>
  <Override PartName="/ppt/notesSlides/notesSlide30.xml" ContentType="application/vnd.openxmlformats-officedocument.presentationml.notesSlide+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notesSlides/notesSlide31.xml" ContentType="application/vnd.openxmlformats-officedocument.presentationml.notesSlide+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notesSlides/notesSlide32.xml" ContentType="application/vnd.openxmlformats-officedocument.presentationml.notesSlide+xml"/>
  <Override PartName="/ppt/charts/chart9.xml" ContentType="application/vnd.openxmlformats-officedocument.drawingml.chart+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notesSlides/notesSlide33.xml" ContentType="application/vnd.openxmlformats-officedocument.presentationml.notesSlide+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notesSlides/notesSlide34.xml" ContentType="application/vnd.openxmlformats-officedocument.presentationml.notesSlide+xml"/>
  <Override PartName="/ppt/charts/chart11.xml" ContentType="application/vnd.openxmlformats-officedocument.drawingml.chart+xml"/>
  <Override PartName="/ppt/charts/style5.xml" ContentType="application/vnd.ms-office.chartstyle+xml"/>
  <Override PartName="/ppt/charts/colors5.xml" ContentType="application/vnd.ms-office.chartcolorstyle+xml"/>
  <Override PartName="/ppt/tags/tag1345.xml" ContentType="application/vnd.openxmlformats-officedocument.presentationml.tags+xml"/>
  <Override PartName="/ppt/notesSlides/notesSlide35.xml" ContentType="application/vnd.openxmlformats-officedocument.presentationml.notesSlide+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1"/>
    <p:sldMasterId id="2147483706" r:id="rId2"/>
    <p:sldMasterId id="2147483718" r:id="rId3"/>
  </p:sldMasterIdLst>
  <p:notesMasterIdLst>
    <p:notesMasterId r:id="rId45"/>
  </p:notesMasterIdLst>
  <p:sldIdLst>
    <p:sldId id="2147472227" r:id="rId4"/>
    <p:sldId id="2147472264" r:id="rId5"/>
    <p:sldId id="2147472263" r:id="rId6"/>
    <p:sldId id="2147472312" r:id="rId7"/>
    <p:sldId id="2147472241" r:id="rId8"/>
    <p:sldId id="2147472307" r:id="rId9"/>
    <p:sldId id="2147472308" r:id="rId10"/>
    <p:sldId id="2147472265" r:id="rId11"/>
    <p:sldId id="2147472266" r:id="rId12"/>
    <p:sldId id="2147472282" r:id="rId13"/>
    <p:sldId id="2147472309" r:id="rId14"/>
    <p:sldId id="2147472242" r:id="rId15"/>
    <p:sldId id="2147472243" r:id="rId16"/>
    <p:sldId id="2147472203" r:id="rId17"/>
    <p:sldId id="2147472310" r:id="rId18"/>
    <p:sldId id="2147472235" r:id="rId19"/>
    <p:sldId id="2147472245" r:id="rId20"/>
    <p:sldId id="2147472284" r:id="rId21"/>
    <p:sldId id="2147472283" r:id="rId22"/>
    <p:sldId id="2147472246" r:id="rId23"/>
    <p:sldId id="2147472247" r:id="rId24"/>
    <p:sldId id="2147472881" r:id="rId25"/>
    <p:sldId id="2147472286" r:id="rId26"/>
    <p:sldId id="2147472287" r:id="rId27"/>
    <p:sldId id="2147472880" r:id="rId28"/>
    <p:sldId id="2147472288" r:id="rId29"/>
    <p:sldId id="2147472289" r:id="rId30"/>
    <p:sldId id="2147472883" r:id="rId31"/>
    <p:sldId id="2147472889" r:id="rId32"/>
    <p:sldId id="2147472890" r:id="rId33"/>
    <p:sldId id="2147472891" r:id="rId34"/>
    <p:sldId id="2147472892" r:id="rId35"/>
    <p:sldId id="2147472893" r:id="rId36"/>
    <p:sldId id="2147472894" r:id="rId37"/>
    <p:sldId id="2147472884" r:id="rId38"/>
    <p:sldId id="2147472297" r:id="rId39"/>
    <p:sldId id="2147472298" r:id="rId40"/>
    <p:sldId id="2147472300" r:id="rId41"/>
    <p:sldId id="2147472261" r:id="rId42"/>
    <p:sldId id="2147472885" r:id="rId43"/>
    <p:sldId id="2147472303" r:id="rId44"/>
  </p:sldIdLst>
  <p:sldSz cx="8999538" cy="5062538"/>
  <p:notesSz cx="7104063" cy="10234613"/>
  <p:custDataLst>
    <p:tags r:id="rId4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AAAA1FD8-D263-4E8B-A6AB-1BF343B05776}">
          <p14:sldIdLst>
            <p14:sldId id="2147472227"/>
            <p14:sldId id="2147472264"/>
            <p14:sldId id="2147472263"/>
            <p14:sldId id="2147472312"/>
            <p14:sldId id="2147472241"/>
            <p14:sldId id="2147472307"/>
            <p14:sldId id="2147472308"/>
            <p14:sldId id="2147472265"/>
            <p14:sldId id="2147472266"/>
            <p14:sldId id="2147472282"/>
            <p14:sldId id="2147472309"/>
            <p14:sldId id="2147472242"/>
            <p14:sldId id="2147472243"/>
            <p14:sldId id="2147472203"/>
            <p14:sldId id="2147472310"/>
            <p14:sldId id="2147472235"/>
            <p14:sldId id="2147472245"/>
            <p14:sldId id="2147472284"/>
            <p14:sldId id="2147472283"/>
            <p14:sldId id="2147472246"/>
            <p14:sldId id="2147472247"/>
            <p14:sldId id="2147472881"/>
            <p14:sldId id="2147472286"/>
            <p14:sldId id="2147472287"/>
            <p14:sldId id="2147472880"/>
            <p14:sldId id="2147472288"/>
            <p14:sldId id="2147472289"/>
            <p14:sldId id="2147472883"/>
            <p14:sldId id="2147472889"/>
            <p14:sldId id="2147472890"/>
            <p14:sldId id="2147472891"/>
            <p14:sldId id="2147472892"/>
            <p14:sldId id="2147472893"/>
            <p14:sldId id="2147472894"/>
            <p14:sldId id="2147472884"/>
            <p14:sldId id="2147472297"/>
            <p14:sldId id="2147472298"/>
            <p14:sldId id="2147472300"/>
            <p14:sldId id="2147472261"/>
            <p14:sldId id="2147472885"/>
            <p14:sldId id="214747230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6612276-B376-5E94-AAB8-CDCE8D8A690C}" name="Victor Raimundo Penteado" initials="VRP" userId="S::vpenteado@isacteep.com.br::12fade4c-717a-4914-b5f9-6086b0b548e6" providerId="AD"/>
  <p188:author id="{57B81CBE-873B-69EE-932B-FF2C06EA16C4}" name="Bruno Santos Abreu de Laurentys" initials="BSAdL" userId="S::blaurentys@isacteep.com.br::a0e7a1fd-40cb-40f2-a951-ba1996135302" providerId="AD"/>
  <p188:author id="{0EE078C4-69A7-3310-BFB6-ACCEE390582D}" name="Nathalia Geromel" initials="NG" userId="S::ngeromel@isacteep.com.br::3cfaa60d-25a7-4c60-9e1f-13d99b488ce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6727"/>
    <a:srgbClr val="1071EE"/>
    <a:srgbClr val="7F7F7F"/>
    <a:srgbClr val="0070C0"/>
    <a:srgbClr val="F8681E"/>
    <a:srgbClr val="0098FF"/>
    <a:srgbClr val="0B4BA1"/>
    <a:srgbClr val="011F57"/>
    <a:srgbClr val="4894F1"/>
    <a:srgbClr val="2C62B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232" autoAdjust="0"/>
    <p:restoredTop sz="94434" autoAdjust="0"/>
  </p:normalViewPr>
  <p:slideViewPr>
    <p:cSldViewPr snapToGrid="0">
      <p:cViewPr>
        <p:scale>
          <a:sx n="100" d="100"/>
          <a:sy n="100" d="100"/>
        </p:scale>
        <p:origin x="77" y="269"/>
      </p:cViewPr>
      <p:guideLst/>
    </p:cSldViewPr>
  </p:slideViewPr>
  <p:notesTextViewPr>
    <p:cViewPr>
      <p:scale>
        <a:sx n="3" d="2"/>
        <a:sy n="3" d="2"/>
      </p:scale>
      <p:origin x="0" y="0"/>
    </p:cViewPr>
  </p:notesTextViewPr>
  <p:sorterViewPr>
    <p:cViewPr varScale="1">
      <p:scale>
        <a:sx n="1" d="1"/>
        <a:sy n="1" d="1"/>
      </p:scale>
      <p:origin x="0" y="-3294"/>
    </p:cViewPr>
  </p:sorterViewPr>
  <p:notesViewPr>
    <p:cSldViewPr>
      <p:cViewPr>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viewProps" Target="viewProps.xml"/><Relationship Id="rId8" Type="http://schemas.openxmlformats.org/officeDocument/2006/relationships/slide" Target="slides/slide5.xml"/><Relationship Id="rId51"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10.101.20.24\Rel_Investidores\NOVA%20REDE\8.%20APRESENTA&#199;&#213;ES\8.6%20-%20ISA%20CTEEP%20Day\2023\Apresenta&#231;&#227;o\Base\Gr&#225;fico%20valoriza&#231;&#227;o%20a&#231;&#245;es_1.xlsx" TargetMode="External"/><Relationship Id="rId2" Type="http://schemas.microsoft.com/office/2011/relationships/chartColorStyle" Target="colors4.xml"/><Relationship Id="rId1" Type="http://schemas.microsoft.com/office/2011/relationships/chartStyle" Target="style4.xml"/></Relationships>
</file>

<file path=ppt/charts/_rels/chart11.xml.rels><?xml version="1.0" encoding="UTF-8" standalone="yes"?>
<Relationships xmlns="http://schemas.openxmlformats.org/package/2006/relationships"><Relationship Id="rId3" Type="http://schemas.openxmlformats.org/officeDocument/2006/relationships/oleObject" Target="file:///\\clbsntppfs\Rel_Investidores\NOVA%20REDE\8.%20APRESENTA&#199;&#213;ES\8.6%20-%20ISA%20CTEEP%20Day\2023\Apresenta&#231;&#227;o\Base\Racional_TRPL4.xlsx" TargetMode="External"/><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3.xml"/><Relationship Id="rId1" Type="http://schemas.microsoft.com/office/2011/relationships/chartStyle" Target="style3.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032064333558083E-2"/>
          <c:y val="0.18577075004577637"/>
          <c:w val="0.96773546934127808"/>
          <c:h val="0.74571806192398071"/>
        </c:manualLayout>
      </c:layout>
      <c:lineChart>
        <c:grouping val="standard"/>
        <c:varyColors val="0"/>
        <c:ser>
          <c:idx val="0"/>
          <c:order val="0"/>
          <c:spPr>
            <a:ln w="57150" algn="ctr">
              <a:solidFill>
                <a:srgbClr val="F8681E"/>
              </a:solidFill>
              <a:prstDash val="solid"/>
            </a:ln>
          </c:spPr>
          <c:marker>
            <c:symbol val="none"/>
          </c:marker>
          <c:dLbls>
            <c:dLbl>
              <c:idx val="0"/>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0.8</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FA60-4508-AC1B-C386C1BCC8E3}"/>
                </c:ext>
              </c:extLst>
            </c:dLbl>
            <c:dLbl>
              <c:idx val="1"/>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0.9</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FA60-4508-AC1B-C386C1BCC8E3}"/>
                </c:ext>
              </c:extLst>
            </c:dLbl>
            <c:dLbl>
              <c:idx val="2"/>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1.1</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FA60-4508-AC1B-C386C1BCC8E3}"/>
                </c:ext>
              </c:extLst>
            </c:dLbl>
            <c:dLbl>
              <c:idx val="3"/>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1.2</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FA60-4508-AC1B-C386C1BCC8E3}"/>
                </c:ext>
              </c:extLst>
            </c:dLbl>
            <c:dLbl>
              <c:idx val="4"/>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1.3</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FA60-4508-AC1B-C386C1BCC8E3}"/>
                </c:ext>
              </c:extLst>
            </c:dLbl>
            <c:dLbl>
              <c:idx val="5"/>
              <c:layout>
                <c:manualLayout>
                  <c:x val="-2.8056111186742783E-3"/>
                  <c:y val="-0.17127799987792969"/>
                </c:manualLayout>
              </c:layout>
              <c:tx>
                <c:rich>
                  <a:bodyPr wrap="none"/>
                  <a:lstStyle/>
                  <a:p>
                    <a:pPr>
                      <a:defRPr sz="1200" b="0" kern="1200" smtId="4294967295">
                        <a:solidFill>
                          <a:srgbClr val="F8681E"/>
                        </a:solidFill>
                        <a:latin typeface="Segoe UI" panose="020B0502040204020203" pitchFamily="34" charset="0"/>
                        <a:ea typeface="+mn-ea"/>
                        <a:cs typeface="Segoe UI" panose="020B0502040204020203" pitchFamily="34" charset="0"/>
                      </a:defRPr>
                    </a:pPr>
                    <a:r>
                      <a:rPr lang="en-US" b="0"/>
                      <a:t>3.4</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FA60-4508-AC1B-C386C1BCC8E3}"/>
                </c:ext>
              </c:extLst>
            </c:dLbl>
            <c:dLbl>
              <c:idx val="6"/>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3.3</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FA60-4508-AC1B-C386C1BCC8E3}"/>
                </c:ext>
              </c:extLst>
            </c:dLbl>
            <c:dLbl>
              <c:idx val="7"/>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3.5</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FA60-4508-AC1B-C386C1BCC8E3}"/>
                </c:ext>
              </c:extLst>
            </c:dLbl>
            <c:dLbl>
              <c:idx val="8"/>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4.3</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FA60-4508-AC1B-C386C1BCC8E3}"/>
                </c:ext>
              </c:extLst>
            </c:dLbl>
            <c:dLbl>
              <c:idx val="9"/>
              <c:layout>
                <c:manualLayout>
                  <c:x val="-1.6032064333558083E-2"/>
                  <c:y val="-8.6956523358821869E-2"/>
                </c:manualLayout>
              </c:layout>
              <c:tx>
                <c:rich>
                  <a:bodyPr wrap="none"/>
                  <a:lstStyle/>
                  <a:p>
                    <a:pPr>
                      <a:defRPr sz="1200" b="0" kern="1200" smtId="4294967295">
                        <a:solidFill>
                          <a:srgbClr val="F8681E"/>
                        </a:solidFill>
                        <a:latin typeface="Segoe UI" panose="020B0502040204020203" pitchFamily="34" charset="0"/>
                        <a:ea typeface="+mn-ea"/>
                        <a:cs typeface="Segoe UI" panose="020B0502040204020203" pitchFamily="34" charset="0"/>
                      </a:defRPr>
                    </a:pPr>
                    <a:r>
                      <a:rPr lang="en-US" b="0"/>
                      <a:t>3.8</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FA60-4508-AC1B-C386C1BCC8E3}"/>
                </c:ext>
              </c:extLst>
            </c:dLbl>
            <c:dLbl>
              <c:idx val="10"/>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b="0"/>
                      <a:t>4.9</a:t>
                    </a:r>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A-FA60-4508-AC1B-C386C1BCC8E3}"/>
                </c:ext>
              </c:extLst>
            </c:dLbl>
            <c:dLbl>
              <c:idx val="11"/>
              <c:layout>
                <c:manualLayout>
                  <c:x val="0"/>
                  <c:y val="-0.1040843203663826"/>
                </c:manualLayout>
              </c:layout>
              <c:tx>
                <c:rich>
                  <a:bodyPr wrap="none"/>
                  <a:lstStyle/>
                  <a:p>
                    <a:pPr>
                      <a:defRPr sz="1200" b="0" kern="1200" smtId="4294967295">
                        <a:solidFill>
                          <a:srgbClr val="F8681E"/>
                        </a:solidFill>
                        <a:latin typeface="Segoe UI" panose="020B0502040204020203" pitchFamily="34" charset="0"/>
                        <a:ea typeface="Segoe UI"/>
                        <a:cs typeface="Segoe UI" panose="020B0502040204020203" pitchFamily="34" charset="0"/>
                        <a:sym typeface="Segoe UI"/>
                      </a:defRPr>
                    </a:pPr>
                    <a:r>
                      <a:rPr lang="en-US" sz="1400" b="1"/>
                      <a:t>6.2</a:t>
                    </a:r>
                    <a:endParaRPr lang="en-US" b="1"/>
                  </a:p>
                </c:rich>
              </c:tx>
              <c:numFmt formatCode="#,##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B-FA60-4508-AC1B-C386C1BCC8E3}"/>
                </c:ext>
              </c:extLst>
            </c:dLbl>
            <c:numFmt formatCode="#,##0.0" sourceLinked="0"/>
            <c:spPr>
              <a:noFill/>
              <a:ln>
                <a:noFill/>
              </a:ln>
              <a:effectLst/>
            </c:spPr>
            <c:txPr>
              <a:bodyPr wrap="square" lIns="38100" tIns="19050" rIns="38100" bIns="19050" anchor="ctr">
                <a:spAutoFit/>
              </a:bodyPr>
              <a:lstStyle/>
              <a:p>
                <a:pPr>
                  <a:defRPr sz="1200" b="0" smtId="4294967295">
                    <a:solidFill>
                      <a:srgbClr val="F8681E"/>
                    </a:solidFill>
                    <a:latin typeface="Segoe UI" panose="020B0502040204020203" pitchFamily="34" charset="0"/>
                    <a:cs typeface="Segoe UI" panose="020B0502040204020203"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0.8</c:v>
                </c:pt>
                <c:pt idx="1">
                  <c:v>0.9</c:v>
                </c:pt>
                <c:pt idx="2">
                  <c:v>1.1000000000000001</c:v>
                </c:pt>
                <c:pt idx="3">
                  <c:v>1.2</c:v>
                </c:pt>
                <c:pt idx="4">
                  <c:v>1.3</c:v>
                </c:pt>
                <c:pt idx="5">
                  <c:v>3.4</c:v>
                </c:pt>
                <c:pt idx="6">
                  <c:v>3.3</c:v>
                </c:pt>
                <c:pt idx="7">
                  <c:v>3.5</c:v>
                </c:pt>
                <c:pt idx="8">
                  <c:v>4.3</c:v>
                </c:pt>
                <c:pt idx="9">
                  <c:v>3.8</c:v>
                </c:pt>
                <c:pt idx="10">
                  <c:v>4.9000000000000004</c:v>
                </c:pt>
                <c:pt idx="11">
                  <c:v>6.2</c:v>
                </c:pt>
              </c:numCache>
            </c:numRef>
          </c:val>
          <c:smooth val="1"/>
          <c:extLst>
            <c:ext xmlns:c16="http://schemas.microsoft.com/office/drawing/2014/chart" uri="{C3380CC4-5D6E-409C-BE32-E72D297353CC}">
              <c16:uniqueId val="{0000000D-1B92-4F65-A024-2FFC0E5920CC}"/>
            </c:ext>
          </c:extLst>
        </c:ser>
        <c:dLbls>
          <c:showLegendKey val="0"/>
          <c:showVal val="0"/>
          <c:showCatName val="0"/>
          <c:showSerName val="0"/>
          <c:showPercent val="0"/>
          <c:showBubbleSize val="0"/>
        </c:dLbls>
        <c:smooth val="0"/>
        <c:axId val="198945656"/>
        <c:axId val="198947224"/>
      </c:lineChart>
      <c:catAx>
        <c:axId val="198945656"/>
        <c:scaling>
          <c:orientation val="minMax"/>
        </c:scaling>
        <c:delete val="0"/>
        <c:axPos val="b"/>
        <c:majorTickMark val="none"/>
        <c:minorTickMark val="none"/>
        <c:tickLblPos val="none"/>
        <c:spPr>
          <a:ln w="9525" algn="ctr">
            <a:noFill/>
            <a:prstDash val="solid"/>
          </a:ln>
        </c:spPr>
        <c:crossAx val="198947224"/>
        <c:crossesAt val="0"/>
        <c:auto val="0"/>
        <c:lblAlgn val="ctr"/>
        <c:lblOffset val="100"/>
        <c:noMultiLvlLbl val="0"/>
      </c:catAx>
      <c:valAx>
        <c:axId val="198947224"/>
        <c:scaling>
          <c:orientation val="minMax"/>
          <c:max val="5.93100204233086"/>
          <c:min val="0"/>
        </c:scaling>
        <c:delete val="1"/>
        <c:axPos val="l"/>
        <c:numFmt formatCode="General" sourceLinked="1"/>
        <c:majorTickMark val="out"/>
        <c:minorTickMark val="none"/>
        <c:tickLblPos val="nextTo"/>
        <c:crossAx val="198945656"/>
        <c:crossesAt val="0"/>
        <c:crossBetween val="midCat"/>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184029519557953E-2"/>
          <c:y val="8.1569045782089233E-2"/>
          <c:w val="0.82403594255447388"/>
          <c:h val="0.50525695085525513"/>
        </c:manualLayout>
      </c:layout>
      <c:lineChart>
        <c:grouping val="standard"/>
        <c:varyColors val="0"/>
        <c:ser>
          <c:idx val="2"/>
          <c:order val="2"/>
          <c:tx>
            <c:strRef>
              <c:f>'Sem Reinv'!$U$3</c:f>
              <c:strCache>
                <c:ptCount val="1"/>
                <c:pt idx="0">
                  <c:v>TRPL4</c:v>
                </c:pt>
              </c:strCache>
            </c:strRef>
          </c:tx>
          <c:spPr>
            <a:ln w="28575" cap="rnd">
              <a:solidFill>
                <a:srgbClr val="0070C0"/>
              </a:solidFill>
              <a:round/>
            </a:ln>
            <a:effectLst/>
          </c:spPr>
          <c:marker>
            <c:symbol val="none"/>
          </c:marker>
          <c:dLbls>
            <c:dLbl>
              <c:idx val="127"/>
              <c:spPr>
                <a:noFill/>
                <a:ln>
                  <a:noFill/>
                </a:ln>
                <a:effectLst/>
              </c:spPr>
              <c:txPr>
                <a:bodyPr rot="0" spcFirstLastPara="1" vertOverflow="ellipsis" vert="horz" wrap="square" anchor="ctr" anchorCtr="1"/>
                <a:lstStyle/>
                <a:p>
                  <a:pPr>
                    <a:defRPr sz="1200" b="1" i="0" u="none" strike="noStrike" kern="1200" baseline="0" smtId="4294967295">
                      <a:solidFill>
                        <a:srgbClr val="0070C0"/>
                      </a:solidFill>
                      <a:latin typeface="Segoe UI" panose="020B0502040204020203" pitchFamily="34" charset="0"/>
                      <a:ea typeface="+mn-ea"/>
                      <a:cs typeface="Segoe UI" panose="020B0502040204020203" pitchFamily="34" charset="0"/>
                    </a:defRPr>
                  </a:pPr>
                  <a:endParaRPr lang="pt-B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D16-4B49-8384-D2856D9D497B}"/>
                </c:ext>
              </c:extLst>
            </c:dLbl>
            <c:dLbl>
              <c:idx val="20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B49-8384-D2856D9D497B}"/>
                </c:ext>
              </c:extLst>
            </c:dLbl>
            <c:spPr>
              <a:noFill/>
              <a:ln>
                <a:noFill/>
              </a:ln>
              <a:effectLst/>
            </c:spPr>
            <c:txPr>
              <a:bodyPr rot="0" spcFirstLastPara="1" vertOverflow="ellipsis" vert="horz" wrap="square" anchor="ctr" anchorCtr="1"/>
              <a:lstStyle/>
              <a:p>
                <a:pPr>
                  <a:defRPr sz="1200" b="1" i="0" u="none" strike="noStrike" kern="1200" baseline="0" smtId="4294967295">
                    <a:solidFill>
                      <a:schemeClr val="bg1">
                        <a:lumMod val="50000"/>
                      </a:schemeClr>
                    </a:solidFill>
                    <a:latin typeface="Segoe UI" panose="020B0502040204020203" pitchFamily="34" charset="0"/>
                    <a:ea typeface="+mn-ea"/>
                    <a:cs typeface="Segoe UI" panose="020B0502040204020203"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em Reinv'!$R$4:$R$131</c:f>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f>'Sem Reinv'!$U$4:$U$210</c:f>
              <c:numCache>
                <c:formatCode>0</c:formatCode>
                <c:ptCount val="207"/>
                <c:pt idx="0">
                  <c:v>100</c:v>
                </c:pt>
                <c:pt idx="1">
                  <c:v>106.09174311926604</c:v>
                </c:pt>
                <c:pt idx="2">
                  <c:v>108.30581039755349</c:v>
                </c:pt>
                <c:pt idx="3">
                  <c:v>101.54128440366971</c:v>
                </c:pt>
                <c:pt idx="4">
                  <c:v>106.29969418960242</c:v>
                </c:pt>
                <c:pt idx="5">
                  <c:v>113.54128440366971</c:v>
                </c:pt>
                <c:pt idx="6">
                  <c:v>101.54128440366971</c:v>
                </c:pt>
                <c:pt idx="7">
                  <c:v>102.75229357798163</c:v>
                </c:pt>
                <c:pt idx="8">
                  <c:v>102.75229357798163</c:v>
                </c:pt>
                <c:pt idx="9">
                  <c:v>105.02752293577979</c:v>
                </c:pt>
                <c:pt idx="10">
                  <c:v>97.602446483180401</c:v>
                </c:pt>
                <c:pt idx="11">
                  <c:v>87.902140672782849</c:v>
                </c:pt>
                <c:pt idx="12">
                  <c:v>81.602446483180401</c:v>
                </c:pt>
                <c:pt idx="13">
                  <c:v>73.590214067278254</c:v>
                </c:pt>
                <c:pt idx="14">
                  <c:v>76.929663608562649</c:v>
                </c:pt>
                <c:pt idx="15">
                  <c:v>74.654434250764481</c:v>
                </c:pt>
                <c:pt idx="16">
                  <c:v>74.71559633027519</c:v>
                </c:pt>
                <c:pt idx="17">
                  <c:v>78.899082568807302</c:v>
                </c:pt>
                <c:pt idx="18">
                  <c:v>83.81651376146786</c:v>
                </c:pt>
                <c:pt idx="19">
                  <c:v>87.828746177369993</c:v>
                </c:pt>
                <c:pt idx="20">
                  <c:v>99.620795107033601</c:v>
                </c:pt>
                <c:pt idx="21">
                  <c:v>109.0642201834862</c:v>
                </c:pt>
                <c:pt idx="22">
                  <c:v>117.52905198776755</c:v>
                </c:pt>
                <c:pt idx="23">
                  <c:v>119.10703363914368</c:v>
                </c:pt>
                <c:pt idx="24">
                  <c:v>126.7767584097859</c:v>
                </c:pt>
                <c:pt idx="25">
                  <c:v>119.84097859327214</c:v>
                </c:pt>
                <c:pt idx="26">
                  <c:v>128.30581039755347</c:v>
                </c:pt>
                <c:pt idx="27">
                  <c:v>122.20183486238528</c:v>
                </c:pt>
                <c:pt idx="28">
                  <c:v>129.83486238532109</c:v>
                </c:pt>
                <c:pt idx="29">
                  <c:v>122.20183486238531</c:v>
                </c:pt>
                <c:pt idx="30">
                  <c:v>119.57186544342507</c:v>
                </c:pt>
                <c:pt idx="31">
                  <c:v>126.5932721712538</c:v>
                </c:pt>
                <c:pt idx="32">
                  <c:v>115.53516819571864</c:v>
                </c:pt>
                <c:pt idx="33">
                  <c:v>124.64831804281344</c:v>
                </c:pt>
                <c:pt idx="34">
                  <c:v>135.64525993883791</c:v>
                </c:pt>
                <c:pt idx="35">
                  <c:v>134.07951070336392</c:v>
                </c:pt>
                <c:pt idx="36">
                  <c:v>139.60856269113151</c:v>
                </c:pt>
                <c:pt idx="37">
                  <c:v>139.52293577981652</c:v>
                </c:pt>
                <c:pt idx="38">
                  <c:v>142.66666666666666</c:v>
                </c:pt>
                <c:pt idx="39">
                  <c:v>147.7064220183486</c:v>
                </c:pt>
                <c:pt idx="40">
                  <c:v>172.78287461773701</c:v>
                </c:pt>
                <c:pt idx="41">
                  <c:v>185.4189602446483</c:v>
                </c:pt>
                <c:pt idx="42">
                  <c:v>191.131498470948</c:v>
                </c:pt>
                <c:pt idx="43">
                  <c:v>211.00917431192659</c:v>
                </c:pt>
                <c:pt idx="44">
                  <c:v>205.50458715596329</c:v>
                </c:pt>
                <c:pt idx="45">
                  <c:v>201.83486238532109</c:v>
                </c:pt>
                <c:pt idx="46">
                  <c:v>211.80428134556576</c:v>
                </c:pt>
                <c:pt idx="47">
                  <c:v>193.08868501529051</c:v>
                </c:pt>
                <c:pt idx="48">
                  <c:v>198.38532110091742</c:v>
                </c:pt>
                <c:pt idx="49">
                  <c:v>200.91743119266053</c:v>
                </c:pt>
                <c:pt idx="50">
                  <c:v>204.44036697247705</c:v>
                </c:pt>
                <c:pt idx="51">
                  <c:v>199.14373088685014</c:v>
                </c:pt>
                <c:pt idx="52">
                  <c:v>189.60244648318042</c:v>
                </c:pt>
                <c:pt idx="53">
                  <c:v>197.37003058103977</c:v>
                </c:pt>
                <c:pt idx="54">
                  <c:v>197.24770642201833</c:v>
                </c:pt>
                <c:pt idx="55">
                  <c:v>214.06727828746176</c:v>
                </c:pt>
                <c:pt idx="56">
                  <c:v>216.36697247706419</c:v>
                </c:pt>
                <c:pt idx="57">
                  <c:v>208.92966360856266</c:v>
                </c:pt>
                <c:pt idx="58">
                  <c:v>203.36391437308868</c:v>
                </c:pt>
                <c:pt idx="59">
                  <c:v>186.42201834862385</c:v>
                </c:pt>
                <c:pt idx="60">
                  <c:v>204.58715596330279</c:v>
                </c:pt>
                <c:pt idx="61">
                  <c:v>205.66360856269114</c:v>
                </c:pt>
                <c:pt idx="62">
                  <c:v>204.01223241590216</c:v>
                </c:pt>
                <c:pt idx="63">
                  <c:v>203.36391437308868</c:v>
                </c:pt>
                <c:pt idx="64">
                  <c:v>207.95107033639144</c:v>
                </c:pt>
                <c:pt idx="65">
                  <c:v>197.30886850152905</c:v>
                </c:pt>
                <c:pt idx="66">
                  <c:v>177.37003058103977</c:v>
                </c:pt>
                <c:pt idx="67">
                  <c:v>187.58409785932724</c:v>
                </c:pt>
                <c:pt idx="68">
                  <c:v>175.08256880733947</c:v>
                </c:pt>
                <c:pt idx="69">
                  <c:v>178.77675840978594</c:v>
                </c:pt>
                <c:pt idx="70">
                  <c:v>199.84097859327218</c:v>
                </c:pt>
                <c:pt idx="71">
                  <c:v>220.64831804281346</c:v>
                </c:pt>
                <c:pt idx="72">
                  <c:v>211.55963302752295</c:v>
                </c:pt>
                <c:pt idx="73">
                  <c:v>240.40366972477062</c:v>
                </c:pt>
                <c:pt idx="74">
                  <c:v>236.08562691131496</c:v>
                </c:pt>
                <c:pt idx="75">
                  <c:v>235.90214067278285</c:v>
                </c:pt>
                <c:pt idx="76">
                  <c:v>256.8807339449541</c:v>
                </c:pt>
                <c:pt idx="77">
                  <c:v>276.45259938837921</c:v>
                </c:pt>
                <c:pt idx="78">
                  <c:v>302.62996941896023</c:v>
                </c:pt>
                <c:pt idx="79">
                  <c:v>296.02446483180427</c:v>
                </c:pt>
                <c:pt idx="80">
                  <c:v>303.36391437308868</c:v>
                </c:pt>
                <c:pt idx="81">
                  <c:v>302.14067278287462</c:v>
                </c:pt>
                <c:pt idx="82">
                  <c:v>288.31804281345563</c:v>
                </c:pt>
                <c:pt idx="83">
                  <c:v>270.82568807339447</c:v>
                </c:pt>
                <c:pt idx="84">
                  <c:v>276.20795107033632</c:v>
                </c:pt>
                <c:pt idx="85">
                  <c:v>271.55963302752286</c:v>
                </c:pt>
                <c:pt idx="86">
                  <c:v>269.60244648318036</c:v>
                </c:pt>
                <c:pt idx="87">
                  <c:v>232.0489296636085</c:v>
                </c:pt>
                <c:pt idx="88">
                  <c:v>237.67584097859321</c:v>
                </c:pt>
                <c:pt idx="89">
                  <c:v>254.43425076452593</c:v>
                </c:pt>
                <c:pt idx="90">
                  <c:v>255.7798165137614</c:v>
                </c:pt>
                <c:pt idx="91">
                  <c:v>275.71865443425071</c:v>
                </c:pt>
                <c:pt idx="92">
                  <c:v>262.14067278287456</c:v>
                </c:pt>
                <c:pt idx="93">
                  <c:v>266.54434250764518</c:v>
                </c:pt>
                <c:pt idx="94">
                  <c:v>287.58409785932719</c:v>
                </c:pt>
                <c:pt idx="95">
                  <c:v>332.7217125382262</c:v>
                </c:pt>
                <c:pt idx="96">
                  <c:v>340.183486238532</c:v>
                </c:pt>
                <c:pt idx="97">
                  <c:v>322.32415902140662</c:v>
                </c:pt>
                <c:pt idx="98">
                  <c:v>292.35474006116192</c:v>
                </c:pt>
                <c:pt idx="99">
                  <c:v>309.84709480122308</c:v>
                </c:pt>
                <c:pt idx="100">
                  <c:v>330.27522935779803</c:v>
                </c:pt>
                <c:pt idx="101">
                  <c:v>327.0948012232414</c:v>
                </c:pt>
                <c:pt idx="102">
                  <c:v>306.91131498470935</c:v>
                </c:pt>
                <c:pt idx="103">
                  <c:v>295.16819571865432</c:v>
                </c:pt>
                <c:pt idx="104">
                  <c:v>300.91743119266044</c:v>
                </c:pt>
                <c:pt idx="105">
                  <c:v>297.49235474006105</c:v>
                </c:pt>
                <c:pt idx="106">
                  <c:v>297.49235474006105</c:v>
                </c:pt>
                <c:pt idx="107">
                  <c:v>285.01529051987757</c:v>
                </c:pt>
                <c:pt idx="108">
                  <c:v>297.3700305810396</c:v>
                </c:pt>
                <c:pt idx="109">
                  <c:v>295.53516819571848</c:v>
                </c:pt>
                <c:pt idx="110">
                  <c:v>298.83792048929644</c:v>
                </c:pt>
                <c:pt idx="111">
                  <c:v>323.42507645259917</c:v>
                </c:pt>
                <c:pt idx="112">
                  <c:v>307.76758409785913</c:v>
                </c:pt>
                <c:pt idx="113">
                  <c:v>297.00305810397538</c:v>
                </c:pt>
                <c:pt idx="114">
                  <c:v>280.97859327217105</c:v>
                </c:pt>
                <c:pt idx="115">
                  <c:v>278.77675840978577</c:v>
                </c:pt>
                <c:pt idx="116">
                  <c:v>291.74311926605486</c:v>
                </c:pt>
                <c:pt idx="117">
                  <c:v>280.97859327217105</c:v>
                </c:pt>
                <c:pt idx="118">
                  <c:v>299.69418960244627</c:v>
                </c:pt>
                <c:pt idx="119">
                  <c:v>282.07951070336367</c:v>
                </c:pt>
                <c:pt idx="120">
                  <c:v>281.34556574923522</c:v>
                </c:pt>
                <c:pt idx="121">
                  <c:v>279.75535168195694</c:v>
                </c:pt>
                <c:pt idx="122">
                  <c:v>266.17737003058079</c:v>
                </c:pt>
                <c:pt idx="123">
                  <c:v>265.07645259938818</c:v>
                </c:pt>
                <c:pt idx="124">
                  <c:v>281.95718654434228</c:v>
                </c:pt>
                <c:pt idx="125">
                  <c:v>298.4709480122321</c:v>
                </c:pt>
                <c:pt idx="126">
                  <c:v>310.21406727828713</c:v>
                </c:pt>
                <c:pt idx="127">
                  <c:v>307.03363914373057</c:v>
                </c:pt>
              </c:numCache>
            </c:numRef>
          </c:val>
          <c:smooth val="0"/>
          <c:extLst>
            <c:ext xmlns:c16="http://schemas.microsoft.com/office/drawing/2014/chart" uri="{C3380CC4-5D6E-409C-BE32-E72D297353CC}">
              <c16:uniqueId val="{00000002-0276-4EBD-881B-11055DE09AE6}"/>
            </c:ext>
          </c:extLst>
        </c:ser>
        <c:ser>
          <c:idx val="5"/>
          <c:order val="5"/>
          <c:tx>
            <c:strRef>
              <c:f>'Sem Reinv'!$X$3</c:f>
              <c:strCache>
                <c:ptCount val="1"/>
                <c:pt idx="0">
                  <c:v>IBOV</c:v>
                </c:pt>
              </c:strCache>
            </c:strRef>
          </c:tx>
          <c:spPr>
            <a:ln w="28575" cap="rnd">
              <a:solidFill>
                <a:schemeClr val="bg1">
                  <a:lumMod val="50000"/>
                </a:schemeClr>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D16-4B49-8384-D2856D9D497B}"/>
                </c:ext>
              </c:extLst>
            </c:dLbl>
            <c:dLbl>
              <c:idx val="127"/>
              <c:spPr>
                <a:noFill/>
                <a:ln>
                  <a:noFill/>
                </a:ln>
                <a:effectLst/>
              </c:spPr>
              <c:txPr>
                <a:bodyPr rot="0" spcFirstLastPara="1" vertOverflow="ellipsis" vert="horz" wrap="square" anchor="ctr" anchorCtr="1"/>
                <a:lstStyle/>
                <a:p>
                  <a:pPr>
                    <a:defRPr sz="1200" b="1" i="0" u="none" strike="noStrike" kern="1200" baseline="0" smtId="4294967295">
                      <a:solidFill>
                        <a:srgbClr val="7F7F7F"/>
                      </a:solidFill>
                      <a:latin typeface="Segoe UI" panose="020B0502040204020203" pitchFamily="34" charset="0"/>
                      <a:ea typeface="+mn-ea"/>
                      <a:cs typeface="Segoe UI" panose="020B0502040204020203" pitchFamily="34" charset="0"/>
                    </a:defRPr>
                  </a:pPr>
                  <a:endParaRPr lang="pt-BR"/>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D16-4B49-8384-D2856D9D497B}"/>
                </c:ext>
              </c:extLst>
            </c:dLbl>
            <c:dLbl>
              <c:idx val="206"/>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D16-4B49-8384-D2856D9D497B}"/>
                </c:ext>
              </c:extLst>
            </c:dLbl>
            <c:spPr>
              <a:noFill/>
              <a:ln>
                <a:noFill/>
              </a:ln>
              <a:effectLst/>
            </c:spPr>
            <c:txPr>
              <a:bodyPr rot="0" spcFirstLastPara="1" vertOverflow="ellipsis" vert="horz" wrap="square" anchor="ctr" anchorCtr="1"/>
              <a:lstStyle/>
              <a:p>
                <a:pPr>
                  <a:defRPr sz="1200" b="1" i="0" u="none" strike="noStrike" kern="1200" baseline="0" smtId="4294967295">
                    <a:solidFill>
                      <a:srgbClr val="011F57"/>
                    </a:solidFill>
                    <a:latin typeface="Segoe UI" panose="020B0502040204020203" pitchFamily="34" charset="0"/>
                    <a:ea typeface="+mn-ea"/>
                    <a:cs typeface="Segoe UI" panose="020B0502040204020203" pitchFamily="34" charset="0"/>
                  </a:defRPr>
                </a:pPr>
                <a:endParaRPr lang="pt-BR"/>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numRef>
              <c:f>'Sem Reinv'!$R$4:$R$131</c:f>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f>'Sem Reinv'!$X$4:$X$210</c:f>
              <c:numCache>
                <c:formatCode>0</c:formatCode>
                <c:ptCount val="207"/>
                <c:pt idx="0">
                  <c:v>100</c:v>
                </c:pt>
                <c:pt idx="1">
                  <c:v>98.046678636725773</c:v>
                </c:pt>
                <c:pt idx="2">
                  <c:v>94.212190953942851</c:v>
                </c:pt>
                <c:pt idx="3">
                  <c:v>92.453104143451711</c:v>
                </c:pt>
                <c:pt idx="4">
                  <c:v>91.72840369024324</c:v>
                </c:pt>
                <c:pt idx="5">
                  <c:v>87.783845932739311</c:v>
                </c:pt>
                <c:pt idx="6">
                  <c:v>77.859738338708055</c:v>
                </c:pt>
                <c:pt idx="7">
                  <c:v>79.13510088581063</c:v>
                </c:pt>
                <c:pt idx="8">
                  <c:v>82.050932470229085</c:v>
                </c:pt>
                <c:pt idx="9">
                  <c:v>85.867766940849293</c:v>
                </c:pt>
                <c:pt idx="10">
                  <c:v>89.014517634180834</c:v>
                </c:pt>
                <c:pt idx="11">
                  <c:v>86.104510297269599</c:v>
                </c:pt>
                <c:pt idx="12">
                  <c:v>84.504351615236118</c:v>
                </c:pt>
                <c:pt idx="13">
                  <c:v>78.158103874387891</c:v>
                </c:pt>
                <c:pt idx="14">
                  <c:v>77.264631494118021</c:v>
                </c:pt>
                <c:pt idx="15">
                  <c:v>82.712386517408447</c:v>
                </c:pt>
                <c:pt idx="16">
                  <c:v>84.700456489753947</c:v>
                </c:pt>
                <c:pt idx="17">
                  <c:v>84.064957258226485</c:v>
                </c:pt>
                <c:pt idx="18">
                  <c:v>87.229541633361848</c:v>
                </c:pt>
                <c:pt idx="19">
                  <c:v>91.595578034416576</c:v>
                </c:pt>
                <c:pt idx="20">
                  <c:v>100.55136756612738</c:v>
                </c:pt>
                <c:pt idx="21">
                  <c:v>88.784468060811065</c:v>
                </c:pt>
                <c:pt idx="22">
                  <c:v>89.625489400853922</c:v>
                </c:pt>
                <c:pt idx="23">
                  <c:v>89.782005798653643</c:v>
                </c:pt>
                <c:pt idx="24">
                  <c:v>82.043812122572376</c:v>
                </c:pt>
                <c:pt idx="25">
                  <c:v>76.958292481569146</c:v>
                </c:pt>
                <c:pt idx="26">
                  <c:v>84.628924886566637</c:v>
                </c:pt>
                <c:pt idx="27">
                  <c:v>83.918645598312665</c:v>
                </c:pt>
                <c:pt idx="28">
                  <c:v>92.251782055673928</c:v>
                </c:pt>
                <c:pt idx="29">
                  <c:v>86.560589892912631</c:v>
                </c:pt>
                <c:pt idx="30">
                  <c:v>87.086248738353177</c:v>
                </c:pt>
                <c:pt idx="31">
                  <c:v>83.450425317725049</c:v>
                </c:pt>
                <c:pt idx="32">
                  <c:v>76.495371445896552</c:v>
                </c:pt>
                <c:pt idx="33">
                  <c:v>73.925844696358226</c:v>
                </c:pt>
                <c:pt idx="34">
                  <c:v>75.253904378652905</c:v>
                </c:pt>
                <c:pt idx="35">
                  <c:v>74.025956128158413</c:v>
                </c:pt>
                <c:pt idx="36">
                  <c:v>71.121379286810253</c:v>
                </c:pt>
                <c:pt idx="37">
                  <c:v>66.29140465756052</c:v>
                </c:pt>
                <c:pt idx="38">
                  <c:v>70.209023219552179</c:v>
                </c:pt>
                <c:pt idx="39">
                  <c:v>82.122332822768342</c:v>
                </c:pt>
                <c:pt idx="40">
                  <c:v>88.447367177625495</c:v>
                </c:pt>
                <c:pt idx="41">
                  <c:v>79.524291869941152</c:v>
                </c:pt>
                <c:pt idx="42">
                  <c:v>84.536786931635532</c:v>
                </c:pt>
                <c:pt idx="43">
                  <c:v>94.021746263622234</c:v>
                </c:pt>
                <c:pt idx="44">
                  <c:v>94.994477628983361</c:v>
                </c:pt>
                <c:pt idx="45">
                  <c:v>95.758914215889021</c:v>
                </c:pt>
                <c:pt idx="46">
                  <c:v>106.51731655425057</c:v>
                </c:pt>
                <c:pt idx="47">
                  <c:v>101.5656233552654</c:v>
                </c:pt>
                <c:pt idx="48">
                  <c:v>98.810869128666411</c:v>
                </c:pt>
                <c:pt idx="49">
                  <c:v>106.10102231129775</c:v>
                </c:pt>
                <c:pt idx="50">
                  <c:v>109.3680478172362</c:v>
                </c:pt>
                <c:pt idx="51">
                  <c:v>106.61501625539285</c:v>
                </c:pt>
                <c:pt idx="52">
                  <c:v>107.30273683851323</c:v>
                </c:pt>
                <c:pt idx="53">
                  <c:v>102.88651347091034</c:v>
                </c:pt>
                <c:pt idx="54">
                  <c:v>103.19577281037834</c:v>
                </c:pt>
                <c:pt idx="55">
                  <c:v>108.15112462117791</c:v>
                </c:pt>
                <c:pt idx="56">
                  <c:v>116.21432771449321</c:v>
                </c:pt>
                <c:pt idx="57">
                  <c:v>121.88839166768396</c:v>
                </c:pt>
                <c:pt idx="58">
                  <c:v>121.91296835153135</c:v>
                </c:pt>
                <c:pt idx="59">
                  <c:v>118.07798847881823</c:v>
                </c:pt>
                <c:pt idx="60">
                  <c:v>125.3477814046708</c:v>
                </c:pt>
                <c:pt idx="61">
                  <c:v>139.31058628351991</c:v>
                </c:pt>
                <c:pt idx="62">
                  <c:v>140.03392501125487</c:v>
                </c:pt>
                <c:pt idx="63">
                  <c:v>140.05356338946936</c:v>
                </c:pt>
                <c:pt idx="64">
                  <c:v>141.28393977695276</c:v>
                </c:pt>
                <c:pt idx="65">
                  <c:v>125.92452956486483</c:v>
                </c:pt>
                <c:pt idx="66">
                  <c:v>119.37658239062564</c:v>
                </c:pt>
                <c:pt idx="67">
                  <c:v>129.97165970381988</c:v>
                </c:pt>
                <c:pt idx="68">
                  <c:v>125.7996937922382</c:v>
                </c:pt>
                <c:pt idx="69">
                  <c:v>130.17180053576527</c:v>
                </c:pt>
                <c:pt idx="70">
                  <c:v>143.42996990422654</c:v>
                </c:pt>
                <c:pt idx="71">
                  <c:v>146.84327425741677</c:v>
                </c:pt>
                <c:pt idx="72">
                  <c:v>144.19074787931777</c:v>
                </c:pt>
                <c:pt idx="73">
                  <c:v>159.78739363775622</c:v>
                </c:pt>
                <c:pt idx="74">
                  <c:v>156.81884851181465</c:v>
                </c:pt>
                <c:pt idx="75">
                  <c:v>156.54026901132835</c:v>
                </c:pt>
                <c:pt idx="76">
                  <c:v>158.08046255353395</c:v>
                </c:pt>
                <c:pt idx="77">
                  <c:v>159.19115475632671</c:v>
                </c:pt>
                <c:pt idx="78">
                  <c:v>165.65013039751892</c:v>
                </c:pt>
                <c:pt idx="79">
                  <c:v>167.03630130423781</c:v>
                </c:pt>
                <c:pt idx="80">
                  <c:v>165.92477237856372</c:v>
                </c:pt>
                <c:pt idx="81">
                  <c:v>171.84860631499376</c:v>
                </c:pt>
                <c:pt idx="82">
                  <c:v>175.90835292249264</c:v>
                </c:pt>
                <c:pt idx="83">
                  <c:v>177.57113456997703</c:v>
                </c:pt>
                <c:pt idx="84">
                  <c:v>189.73150711181648</c:v>
                </c:pt>
                <c:pt idx="85">
                  <c:v>186.63940590706679</c:v>
                </c:pt>
                <c:pt idx="86">
                  <c:v>170.90737510516468</c:v>
                </c:pt>
                <c:pt idx="87">
                  <c:v>119.79863525576162</c:v>
                </c:pt>
                <c:pt idx="88">
                  <c:v>132.08062792935047</c:v>
                </c:pt>
                <c:pt idx="89">
                  <c:v>143.39558223443737</c:v>
                </c:pt>
                <c:pt idx="90">
                  <c:v>155.95172469914081</c:v>
                </c:pt>
                <c:pt idx="91">
                  <c:v>168.8411617782364</c:v>
                </c:pt>
                <c:pt idx="92">
                  <c:v>163.02831667106366</c:v>
                </c:pt>
                <c:pt idx="93">
                  <c:v>155.20943665909363</c:v>
                </c:pt>
                <c:pt idx="94">
                  <c:v>154.14141732324813</c:v>
                </c:pt>
                <c:pt idx="95">
                  <c:v>178.65398522905221</c:v>
                </c:pt>
                <c:pt idx="96">
                  <c:v>195.26362348914114</c:v>
                </c:pt>
                <c:pt idx="97">
                  <c:v>188.78363133792988</c:v>
                </c:pt>
                <c:pt idx="98">
                  <c:v>180.52734213500193</c:v>
                </c:pt>
                <c:pt idx="99">
                  <c:v>191.3531416811372</c:v>
                </c:pt>
                <c:pt idx="100">
                  <c:v>195.06116936452389</c:v>
                </c:pt>
                <c:pt idx="101">
                  <c:v>207.07370445766594</c:v>
                </c:pt>
                <c:pt idx="102">
                  <c:v>208.03500061031573</c:v>
                </c:pt>
                <c:pt idx="103">
                  <c:v>199.8304077563885</c:v>
                </c:pt>
                <c:pt idx="104">
                  <c:v>194.87608954444232</c:v>
                </c:pt>
                <c:pt idx="105">
                  <c:v>182.07598493767583</c:v>
                </c:pt>
                <c:pt idx="106">
                  <c:v>169.80669076428583</c:v>
                </c:pt>
                <c:pt idx="107">
                  <c:v>167.20586073518754</c:v>
                </c:pt>
                <c:pt idx="108">
                  <c:v>171.97516475237614</c:v>
                </c:pt>
                <c:pt idx="109">
                  <c:v>183.98635452637564</c:v>
                </c:pt>
                <c:pt idx="110">
                  <c:v>185.62441183303361</c:v>
                </c:pt>
                <c:pt idx="111">
                  <c:v>196.8747087876248</c:v>
                </c:pt>
                <c:pt idx="112">
                  <c:v>176.98519886441954</c:v>
                </c:pt>
                <c:pt idx="113">
                  <c:v>182.68533247757927</c:v>
                </c:pt>
                <c:pt idx="114">
                  <c:v>161.67118497022594</c:v>
                </c:pt>
                <c:pt idx="115">
                  <c:v>169.25540522981348</c:v>
                </c:pt>
                <c:pt idx="116">
                  <c:v>179.6868622038823</c:v>
                </c:pt>
                <c:pt idx="117">
                  <c:v>180.52999996062496</c:v>
                </c:pt>
                <c:pt idx="118">
                  <c:v>190.37427434797976</c:v>
                </c:pt>
                <c:pt idx="119">
                  <c:v>184.54827136334004</c:v>
                </c:pt>
                <c:pt idx="120">
                  <c:v>180.03421704394685</c:v>
                </c:pt>
                <c:pt idx="121">
                  <c:v>186.09789854587427</c:v>
                </c:pt>
                <c:pt idx="122">
                  <c:v>172.15479767056368</c:v>
                </c:pt>
                <c:pt idx="123">
                  <c:v>167.15130968459175</c:v>
                </c:pt>
                <c:pt idx="124">
                  <c:v>171.33398893032057</c:v>
                </c:pt>
                <c:pt idx="125">
                  <c:v>177.7381018006279</c:v>
                </c:pt>
                <c:pt idx="126">
                  <c:v>193.73744095361499</c:v>
                </c:pt>
                <c:pt idx="127">
                  <c:v>200.06368937696661</c:v>
                </c:pt>
              </c:numCache>
            </c:numRef>
          </c:val>
          <c:smooth val="0"/>
          <c:extLst>
            <c:ext xmlns:c16="http://schemas.microsoft.com/office/drawing/2014/chart" uri="{C3380CC4-5D6E-409C-BE32-E72D297353CC}">
              <c16:uniqueId val="{00000006-0276-4EBD-881B-11055DE09AE6}"/>
            </c:ext>
          </c:extLst>
        </c:ser>
        <c:dLbls>
          <c:showLegendKey val="0"/>
          <c:showVal val="0"/>
          <c:showCatName val="0"/>
          <c:showSerName val="0"/>
          <c:showPercent val="0"/>
          <c:showBubbleSize val="0"/>
        </c:dLbls>
        <c:smooth val="0"/>
        <c:axId val="352038696"/>
        <c:axId val="352039088"/>
        <c:extLst>
          <c:ext xmlns:c15="http://schemas.microsoft.com/office/drawing/2012/chart" uri="{02D57815-91ED-43cb-92C2-25804820EDAC}">
            <c15:filteredLineSeries>
              <c15:ser>
                <c:idx val="0"/>
                <c:order val="0"/>
                <c:tx>
                  <c:strRef>
                    <c:extLst>
                      <c:ext uri="{02D57815-91ED-43cb-92C2-25804820EDAC}">
                        <c15:formulaRef>
                          <c15:sqref>'Sem Reinv'!$S$3</c15:sqref>
                        </c15:formulaRef>
                      </c:ext>
                    </c:extLst>
                    <c:strCache>
                      <c:ptCount val="1"/>
                      <c:pt idx="0">
                        <c:v>CDI</c:v>
                      </c:pt>
                    </c:strCache>
                  </c:strRef>
                </c:tx>
                <c:spPr>
                  <a:ln w="28575" cap="rnd">
                    <a:solidFill>
                      <a:schemeClr val="accent1"/>
                    </a:solidFill>
                    <a:round/>
                  </a:ln>
                  <a:effectLst/>
                </c:spPr>
                <c:marker>
                  <c:symbol val="none"/>
                </c:marker>
                <c:cat>
                  <c:numRef>
                    <c:extLst>
                      <c:ext uri="{02D57815-91ED-43cb-92C2-25804820EDAC}">
                        <c15:formulaRef>
                          <c15:sqref>'Sem Reinv'!$R$4:$R$131</c15:sqref>
                        </c15:formulaRef>
                      </c:ext>
                    </c:extLst>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extLst>
                      <c:ext uri="{02D57815-91ED-43cb-92C2-25804820EDAC}">
                        <c15:formulaRef>
                          <c15:sqref>'Sem Reinv'!$S$4:$S$210</c15:sqref>
                        </c15:formulaRef>
                      </c:ext>
                    </c:extLst>
                    <c:numCache>
                      <c:formatCode>0</c:formatCode>
                      <c:ptCount val="207"/>
                      <c:pt idx="0">
                        <c:v>100</c:v>
                      </c:pt>
                      <c:pt idx="1">
                        <c:v>100.58663725105627</c:v>
                      </c:pt>
                      <c:pt idx="2">
                        <c:v>101.07104113360013</c:v>
                      </c:pt>
                      <c:pt idx="3">
                        <c:v>101.61450575499576</c:v>
                      </c:pt>
                      <c:pt idx="4">
                        <c:v>102.22504661941781</c:v>
                      </c:pt>
                      <c:pt idx="5">
                        <c:v>102.82292688735346</c:v>
                      </c:pt>
                      <c:pt idx="6">
                        <c:v>103.43157484299834</c:v>
                      </c:pt>
                      <c:pt idx="7">
                        <c:v>104.16469642195538</c:v>
                      </c:pt>
                      <c:pt idx="8">
                        <c:v>104.88947040077377</c:v>
                      </c:pt>
                      <c:pt idx="9">
                        <c:v>105.6227957704717</c:v>
                      </c:pt>
                      <c:pt idx="10">
                        <c:v>106.47133606156792</c:v>
                      </c:pt>
                      <c:pt idx="11">
                        <c:v>107.22784042009084</c:v>
                      </c:pt>
                      <c:pt idx="12">
                        <c:v>108.06463079022075</c:v>
                      </c:pt>
                      <c:pt idx="13">
                        <c:v>108.97213537357857</c:v>
                      </c:pt>
                      <c:pt idx="14">
                        <c:v>109.82503306381255</c:v>
                      </c:pt>
                      <c:pt idx="15">
                        <c:v>110.65964975183897</c:v>
                      </c:pt>
                      <c:pt idx="16">
                        <c:v>111.5620237597725</c:v>
                      </c:pt>
                      <c:pt idx="17">
                        <c:v>112.5195533249892</c:v>
                      </c:pt>
                      <c:pt idx="18">
                        <c:v>113.43928919361493</c:v>
                      </c:pt>
                      <c:pt idx="19">
                        <c:v>114.50609372980858</c:v>
                      </c:pt>
                      <c:pt idx="20">
                        <c:v>115.49030507221255</c:v>
                      </c:pt>
                      <c:pt idx="21">
                        <c:v>116.5303903769737</c:v>
                      </c:pt>
                      <c:pt idx="22">
                        <c:v>117.63137309277113</c:v>
                      </c:pt>
                      <c:pt idx="23">
                        <c:v>118.61695397467858</c:v>
                      </c:pt>
                      <c:pt idx="24">
                        <c:v>119.75074885023432</c:v>
                      </c:pt>
                      <c:pt idx="25">
                        <c:v>120.8636512675258</c:v>
                      </c:pt>
                      <c:pt idx="26">
                        <c:v>121.85295549334809</c:v>
                      </c:pt>
                      <c:pt idx="27">
                        <c:v>123.11550371125998</c:v>
                      </c:pt>
                      <c:pt idx="28">
                        <c:v>124.28297621193117</c:v>
                      </c:pt>
                      <c:pt idx="29">
                        <c:v>125.50572000090386</c:v>
                      </c:pt>
                      <c:pt idx="30">
                        <c:v>126.84339409552905</c:v>
                      </c:pt>
                      <c:pt idx="31">
                        <c:v>128.33673853681191</c:v>
                      </c:pt>
                      <c:pt idx="32">
                        <c:v>129.75804196226713</c:v>
                      </c:pt>
                      <c:pt idx="33">
                        <c:v>131.19508603572572</c:v>
                      </c:pt>
                      <c:pt idx="34">
                        <c:v>132.64836989932991</c:v>
                      </c:pt>
                      <c:pt idx="35">
                        <c:v>134.04803916117658</c:v>
                      </c:pt>
                      <c:pt idx="36">
                        <c:v>135.60473944502769</c:v>
                      </c:pt>
                      <c:pt idx="37">
                        <c:v>137.03526794774055</c:v>
                      </c:pt>
                      <c:pt idx="38">
                        <c:v>138.40764766326549</c:v>
                      </c:pt>
                      <c:pt idx="39">
                        <c:v>140.01389854813829</c:v>
                      </c:pt>
                      <c:pt idx="40">
                        <c:v>141.4902969345446</c:v>
                      </c:pt>
                      <c:pt idx="41">
                        <c:v>143.0572733591797</c:v>
                      </c:pt>
                      <c:pt idx="42">
                        <c:v>144.71748416255755</c:v>
                      </c:pt>
                      <c:pt idx="43">
                        <c:v>146.32020103310126</c:v>
                      </c:pt>
                      <c:pt idx="44">
                        <c:v>148.09593069178391</c:v>
                      </c:pt>
                      <c:pt idx="45">
                        <c:v>149.7360631744076</c:v>
                      </c:pt>
                      <c:pt idx="46">
                        <c:v>151.3044527616369</c:v>
                      </c:pt>
                      <c:pt idx="47">
                        <c:v>152.87331772003807</c:v>
                      </c:pt>
                      <c:pt idx="48">
                        <c:v>154.58818667975726</c:v>
                      </c:pt>
                      <c:pt idx="49">
                        <c:v>156.2647953268893</c:v>
                      </c:pt>
                      <c:pt idx="50">
                        <c:v>157.61462925567349</c:v>
                      </c:pt>
                      <c:pt idx="51">
                        <c:v>159.27022442368471</c:v>
                      </c:pt>
                      <c:pt idx="52">
                        <c:v>160.52096251729245</c:v>
                      </c:pt>
                      <c:pt idx="53">
                        <c:v>162.0066740598451</c:v>
                      </c:pt>
                      <c:pt idx="54">
                        <c:v>163.31586205548109</c:v>
                      </c:pt>
                      <c:pt idx="55">
                        <c:v>164.61775282858997</c:v>
                      </c:pt>
                      <c:pt idx="56">
                        <c:v>165.93709012424489</c:v>
                      </c:pt>
                      <c:pt idx="57">
                        <c:v>166.99530343206683</c:v>
                      </c:pt>
                      <c:pt idx="58">
                        <c:v>168.06933102836101</c:v>
                      </c:pt>
                      <c:pt idx="59">
                        <c:v>169.0230301054967</c:v>
                      </c:pt>
                      <c:pt idx="60">
                        <c:v>169.93179302149179</c:v>
                      </c:pt>
                      <c:pt idx="61">
                        <c:v>170.92315165138615</c:v>
                      </c:pt>
                      <c:pt idx="62">
                        <c:v>171.71782925097475</c:v>
                      </c:pt>
                      <c:pt idx="63">
                        <c:v>172.63061918859486</c:v>
                      </c:pt>
                      <c:pt idx="64">
                        <c:v>173.52400691167915</c:v>
                      </c:pt>
                      <c:pt idx="65">
                        <c:v>174.42201804182477</c:v>
                      </c:pt>
                      <c:pt idx="66">
                        <c:v>175.32467650581322</c:v>
                      </c:pt>
                      <c:pt idx="67">
                        <c:v>176.27532946837252</c:v>
                      </c:pt>
                      <c:pt idx="68">
                        <c:v>177.27470583253475</c:v>
                      </c:pt>
                      <c:pt idx="69">
                        <c:v>178.10454971068299</c:v>
                      </c:pt>
                      <c:pt idx="70">
                        <c:v>179.07173310014042</c:v>
                      </c:pt>
                      <c:pt idx="71">
                        <c:v>179.95554768681598</c:v>
                      </c:pt>
                      <c:pt idx="72">
                        <c:v>180.84372437023399</c:v>
                      </c:pt>
                      <c:pt idx="73">
                        <c:v>181.82578264208968</c:v>
                      </c:pt>
                      <c:pt idx="74">
                        <c:v>182.72318993329466</c:v>
                      </c:pt>
                      <c:pt idx="75">
                        <c:v>183.57982905458113</c:v>
                      </c:pt>
                      <c:pt idx="76">
                        <c:v>184.53131392807603</c:v>
                      </c:pt>
                      <c:pt idx="77">
                        <c:v>185.53339737825129</c:v>
                      </c:pt>
                      <c:pt idx="78">
                        <c:v>186.40321125659602</c:v>
                      </c:pt>
                      <c:pt idx="79">
                        <c:v>187.46160159094597</c:v>
                      </c:pt>
                      <c:pt idx="80">
                        <c:v>188.40213298232464</c:v>
                      </c:pt>
                      <c:pt idx="81">
                        <c:v>189.2758666969311</c:v>
                      </c:pt>
                      <c:pt idx="82">
                        <c:v>190.1829979728507</c:v>
                      </c:pt>
                      <c:pt idx="83">
                        <c:v>190.90642670723645</c:v>
                      </c:pt>
                      <c:pt idx="84">
                        <c:v>191.6217604776929</c:v>
                      </c:pt>
                      <c:pt idx="85">
                        <c:v>192.34347196709848</c:v>
                      </c:pt>
                      <c:pt idx="86">
                        <c:v>192.90843981519379</c:v>
                      </c:pt>
                      <c:pt idx="87">
                        <c:v>193.56118246031608</c:v>
                      </c:pt>
                      <c:pt idx="88">
                        <c:v>194.11268647126874</c:v>
                      </c:pt>
                      <c:pt idx="89">
                        <c:v>194.57042285826347</c:v>
                      </c:pt>
                      <c:pt idx="90">
                        <c:v>194.98355847363086</c:v>
                      </c:pt>
                      <c:pt idx="91">
                        <c:v>195.36250202551557</c:v>
                      </c:pt>
                      <c:pt idx="92">
                        <c:v>195.67486634443776</c:v>
                      </c:pt>
                      <c:pt idx="93">
                        <c:v>195.98200975814231</c:v>
                      </c:pt>
                      <c:pt idx="94">
                        <c:v>196.2896352832102</c:v>
                      </c:pt>
                      <c:pt idx="95">
                        <c:v>196.58306088757564</c:v>
                      </c:pt>
                      <c:pt idx="96">
                        <c:v>196.90633569563147</c:v>
                      </c:pt>
                      <c:pt idx="97">
                        <c:v>197.2006831810273</c:v>
                      </c:pt>
                      <c:pt idx="98">
                        <c:v>197.46597210632925</c:v>
                      </c:pt>
                      <c:pt idx="99">
                        <c:v>197.8630364525572</c:v>
                      </c:pt>
                      <c:pt idx="100">
                        <c:v>198.2741657719391</c:v>
                      </c:pt>
                      <c:pt idx="101">
                        <c:v>198.81015291671221</c:v>
                      </c:pt>
                      <c:pt idx="102">
                        <c:v>199.42204875429783</c:v>
                      </c:pt>
                      <c:pt idx="103">
                        <c:v>200.13122582220541</c:v>
                      </c:pt>
                      <c:pt idx="104">
                        <c:v>200.98769236104741</c:v>
                      </c:pt>
                      <c:pt idx="105">
                        <c:v>201.87605661915819</c:v>
                      </c:pt>
                      <c:pt idx="106">
                        <c:v>202.85716638624206</c:v>
                      </c:pt>
                      <c:pt idx="107">
                        <c:v>204.04742897192548</c:v>
                      </c:pt>
                      <c:pt idx="108">
                        <c:v>205.61672322712568</c:v>
                      </c:pt>
                      <c:pt idx="109">
                        <c:v>207.12239347375126</c:v>
                      </c:pt>
                      <c:pt idx="110">
                        <c:v>208.68625243781403</c:v>
                      </c:pt>
                      <c:pt idx="111">
                        <c:v>210.62088640236561</c:v>
                      </c:pt>
                      <c:pt idx="112">
                        <c:v>212.37813968486446</c:v>
                      </c:pt>
                      <c:pt idx="113">
                        <c:v>214.57538756817959</c:v>
                      </c:pt>
                      <c:pt idx="114">
                        <c:v>216.75400497109626</c:v>
                      </c:pt>
                      <c:pt idx="115">
                        <c:v>218.99706739394571</c:v>
                      </c:pt>
                      <c:pt idx="116">
                        <c:v>221.55793430439988</c:v>
                      </c:pt>
                      <c:pt idx="117">
                        <c:v>223.93299602774917</c:v>
                      </c:pt>
                      <c:pt idx="118">
                        <c:v>226.21862607532535</c:v>
                      </c:pt>
                      <c:pt idx="119">
                        <c:v>228.52758499719451</c:v>
                      </c:pt>
                      <c:pt idx="120">
                        <c:v>231.09466892034044</c:v>
                      </c:pt>
                      <c:pt idx="121">
                        <c:v>233.69058927418928</c:v>
                      </c:pt>
                      <c:pt idx="122">
                        <c:v>235.83619891169303</c:v>
                      </c:pt>
                      <c:pt idx="123">
                        <c:v>238.60650352385241</c:v>
                      </c:pt>
                      <c:pt idx="124">
                        <c:v>240.797248196635</c:v>
                      </c:pt>
                      <c:pt idx="125">
                        <c:v>243.50215904838601</c:v>
                      </c:pt>
                      <c:pt idx="126">
                        <c:v>246.11245896531048</c:v>
                      </c:pt>
                      <c:pt idx="127">
                        <c:v>248.75074083394711</c:v>
                      </c:pt>
                    </c:numCache>
                  </c:numRef>
                </c:val>
                <c:smooth val="0"/>
                <c:extLst>
                  <c:ext xmlns:c16="http://schemas.microsoft.com/office/drawing/2014/chart" uri="{C3380CC4-5D6E-409C-BE32-E72D297353CC}">
                    <c16:uniqueId val="{00000007-0276-4EBD-881B-11055DE09AE6}"/>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em Reinv'!$T$3</c15:sqref>
                        </c15:formulaRef>
                      </c:ext>
                    </c:extLst>
                    <c:strCache>
                      <c:ptCount val="1"/>
                      <c:pt idx="0">
                        <c:v>IPCA</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Sem Reinv'!$R$4:$R$131</c15:sqref>
                        </c15:formulaRef>
                      </c:ext>
                    </c:extLst>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extLst xmlns:c15="http://schemas.microsoft.com/office/drawing/2012/chart">
                      <c:ext xmlns:c15="http://schemas.microsoft.com/office/drawing/2012/chart" uri="{02D57815-91ED-43cb-92C2-25804820EDAC}">
                        <c15:formulaRef>
                          <c15:sqref>'Sem Reinv'!$T$4:$T$210</c15:sqref>
                        </c15:formulaRef>
                      </c:ext>
                    </c:extLst>
                    <c:numCache>
                      <c:formatCode>0</c:formatCode>
                      <c:ptCount val="207"/>
                      <c:pt idx="0">
                        <c:v>100</c:v>
                      </c:pt>
                      <c:pt idx="1">
                        <c:v>100.86</c:v>
                      </c:pt>
                      <c:pt idx="2">
                        <c:v>101.46516</c:v>
                      </c:pt>
                      <c:pt idx="3">
                        <c:v>101.94204625199998</c:v>
                      </c:pt>
                      <c:pt idx="4">
                        <c:v>102.50272750638599</c:v>
                      </c:pt>
                      <c:pt idx="5">
                        <c:v>102.88198759815963</c:v>
                      </c:pt>
                      <c:pt idx="6">
                        <c:v>103.14948076591483</c:v>
                      </c:pt>
                      <c:pt idx="7">
                        <c:v>103.1804256101446</c:v>
                      </c:pt>
                      <c:pt idx="8">
                        <c:v>103.42805863160893</c:v>
                      </c:pt>
                      <c:pt idx="9">
                        <c:v>103.79005683681957</c:v>
                      </c:pt>
                      <c:pt idx="10">
                        <c:v>104.38166016078945</c:v>
                      </c:pt>
                      <c:pt idx="11">
                        <c:v>104.94532112565773</c:v>
                      </c:pt>
                      <c:pt idx="12">
                        <c:v>105.91081808001378</c:v>
                      </c:pt>
                      <c:pt idx="13">
                        <c:v>106.49332757945386</c:v>
                      </c:pt>
                      <c:pt idx="14">
                        <c:v>107.22813153975208</c:v>
                      </c:pt>
                      <c:pt idx="15">
                        <c:v>108.21463034991781</c:v>
                      </c:pt>
                      <c:pt idx="16">
                        <c:v>108.93966837326225</c:v>
                      </c:pt>
                      <c:pt idx="17">
                        <c:v>109.44079084777925</c:v>
                      </c:pt>
                      <c:pt idx="18">
                        <c:v>109.87855401117037</c:v>
                      </c:pt>
                      <c:pt idx="19">
                        <c:v>109.88954186657148</c:v>
                      </c:pt>
                      <c:pt idx="20">
                        <c:v>110.1642657212379</c:v>
                      </c:pt>
                      <c:pt idx="21">
                        <c:v>110.79220203584896</c:v>
                      </c:pt>
                      <c:pt idx="22">
                        <c:v>111.25752928439952</c:v>
                      </c:pt>
                      <c:pt idx="23">
                        <c:v>111.82494268374997</c:v>
                      </c:pt>
                      <c:pt idx="24">
                        <c:v>112.69717723668322</c:v>
                      </c:pt>
                      <c:pt idx="25">
                        <c:v>114.09462223441808</c:v>
                      </c:pt>
                      <c:pt idx="26">
                        <c:v>115.48657662567798</c:v>
                      </c:pt>
                      <c:pt idx="27">
                        <c:v>117.01099943713695</c:v>
                      </c:pt>
                      <c:pt idx="28">
                        <c:v>117.84177753314063</c:v>
                      </c:pt>
                      <c:pt idx="29">
                        <c:v>118.71380668688587</c:v>
                      </c:pt>
                      <c:pt idx="30">
                        <c:v>119.65164575971228</c:v>
                      </c:pt>
                      <c:pt idx="31">
                        <c:v>120.39348596342249</c:v>
                      </c:pt>
                      <c:pt idx="32">
                        <c:v>120.65835163254202</c:v>
                      </c:pt>
                      <c:pt idx="33">
                        <c:v>121.30990673135776</c:v>
                      </c:pt>
                      <c:pt idx="34">
                        <c:v>122.30464796655488</c:v>
                      </c:pt>
                      <c:pt idx="35">
                        <c:v>123.53992491101708</c:v>
                      </c:pt>
                      <c:pt idx="36">
                        <c:v>124.72590819016285</c:v>
                      </c:pt>
                      <c:pt idx="37">
                        <c:v>126.30992722417791</c:v>
                      </c:pt>
                      <c:pt idx="38">
                        <c:v>127.4467165691955</c:v>
                      </c:pt>
                      <c:pt idx="39">
                        <c:v>127.99473745044304</c:v>
                      </c:pt>
                      <c:pt idx="40">
                        <c:v>128.77550534889073</c:v>
                      </c:pt>
                      <c:pt idx="41">
                        <c:v>129.7799542906121</c:v>
                      </c:pt>
                      <c:pt idx="42">
                        <c:v>130.23418413062925</c:v>
                      </c:pt>
                      <c:pt idx="43">
                        <c:v>130.91140188810854</c:v>
                      </c:pt>
                      <c:pt idx="44">
                        <c:v>131.48741205641622</c:v>
                      </c:pt>
                      <c:pt idx="45">
                        <c:v>131.59260198606134</c:v>
                      </c:pt>
                      <c:pt idx="46">
                        <c:v>131.93474275122509</c:v>
                      </c:pt>
                      <c:pt idx="47">
                        <c:v>132.17222528817729</c:v>
                      </c:pt>
                      <c:pt idx="48">
                        <c:v>132.56874196404181</c:v>
                      </c:pt>
                      <c:pt idx="49">
                        <c:v>133.07250318350518</c:v>
                      </c:pt>
                      <c:pt idx="50">
                        <c:v>133.51164244401076</c:v>
                      </c:pt>
                      <c:pt idx="51">
                        <c:v>133.84542155012079</c:v>
                      </c:pt>
                      <c:pt idx="52">
                        <c:v>134.03280514029098</c:v>
                      </c:pt>
                      <c:pt idx="53">
                        <c:v>134.4483068362259</c:v>
                      </c:pt>
                      <c:pt idx="54">
                        <c:v>134.13907573050258</c:v>
                      </c:pt>
                      <c:pt idx="55">
                        <c:v>134.46100951225577</c:v>
                      </c:pt>
                      <c:pt idx="56">
                        <c:v>134.71648543032907</c:v>
                      </c:pt>
                      <c:pt idx="57">
                        <c:v>134.93203180701761</c:v>
                      </c:pt>
                      <c:pt idx="58">
                        <c:v>135.49874634060708</c:v>
                      </c:pt>
                      <c:pt idx="59">
                        <c:v>135.87814283036079</c:v>
                      </c:pt>
                      <c:pt idx="60">
                        <c:v>136.47600665881436</c:v>
                      </c:pt>
                      <c:pt idx="61">
                        <c:v>136.8717870781249</c:v>
                      </c:pt>
                      <c:pt idx="62">
                        <c:v>137.30977679677491</c:v>
                      </c:pt>
                      <c:pt idx="63">
                        <c:v>137.43335559589201</c:v>
                      </c:pt>
                      <c:pt idx="64">
                        <c:v>137.73570897820298</c:v>
                      </c:pt>
                      <c:pt idx="65">
                        <c:v>138.2866518141158</c:v>
                      </c:pt>
                      <c:pt idx="66">
                        <c:v>140.02906362697365</c:v>
                      </c:pt>
                      <c:pt idx="67">
                        <c:v>140.49115953694269</c:v>
                      </c:pt>
                      <c:pt idx="68">
                        <c:v>140.36471749335945</c:v>
                      </c:pt>
                      <c:pt idx="69">
                        <c:v>141.03846813732756</c:v>
                      </c:pt>
                      <c:pt idx="70">
                        <c:v>141.67314124394551</c:v>
                      </c:pt>
                      <c:pt idx="71">
                        <c:v>141.37562764733323</c:v>
                      </c:pt>
                      <c:pt idx="72">
                        <c:v>141.58769108880423</c:v>
                      </c:pt>
                      <c:pt idx="73">
                        <c:v>142.04077170028842</c:v>
                      </c:pt>
                      <c:pt idx="74">
                        <c:v>142.65154701859964</c:v>
                      </c:pt>
                      <c:pt idx="75">
                        <c:v>143.72143362123916</c:v>
                      </c:pt>
                      <c:pt idx="76">
                        <c:v>144.54064579288021</c:v>
                      </c:pt>
                      <c:pt idx="77">
                        <c:v>144.72854863241096</c:v>
                      </c:pt>
                      <c:pt idx="78">
                        <c:v>144.74302148727421</c:v>
                      </c:pt>
                      <c:pt idx="79">
                        <c:v>145.01803322810002</c:v>
                      </c:pt>
                      <c:pt idx="80">
                        <c:v>145.17755306465094</c:v>
                      </c:pt>
                      <c:pt idx="81">
                        <c:v>145.11948204342508</c:v>
                      </c:pt>
                      <c:pt idx="82">
                        <c:v>145.26460152546849</c:v>
                      </c:pt>
                      <c:pt idx="83">
                        <c:v>146.00545099324839</c:v>
                      </c:pt>
                      <c:pt idx="84">
                        <c:v>147.68451367967074</c:v>
                      </c:pt>
                      <c:pt idx="85">
                        <c:v>147.99465115839806</c:v>
                      </c:pt>
                      <c:pt idx="86">
                        <c:v>148.36463778629405</c:v>
                      </c:pt>
                      <c:pt idx="87">
                        <c:v>148.46849303274445</c:v>
                      </c:pt>
                      <c:pt idx="88">
                        <c:v>148.00824070434294</c:v>
                      </c:pt>
                      <c:pt idx="89">
                        <c:v>147.44580938966644</c:v>
                      </c:pt>
                      <c:pt idx="90">
                        <c:v>147.82916849407957</c:v>
                      </c:pt>
                      <c:pt idx="91">
                        <c:v>148.36135350065825</c:v>
                      </c:pt>
                      <c:pt idx="92">
                        <c:v>148.71742074905984</c:v>
                      </c:pt>
                      <c:pt idx="93">
                        <c:v>149.66921224185381</c:v>
                      </c:pt>
                      <c:pt idx="94">
                        <c:v>150.95636746713376</c:v>
                      </c:pt>
                      <c:pt idx="95">
                        <c:v>152.29987913759123</c:v>
                      </c:pt>
                      <c:pt idx="96">
                        <c:v>154.35592750594873</c:v>
                      </c:pt>
                      <c:pt idx="97">
                        <c:v>154.74181732471359</c:v>
                      </c:pt>
                      <c:pt idx="98">
                        <c:v>156.07259695370612</c:v>
                      </c:pt>
                      <c:pt idx="99">
                        <c:v>157.52407210537561</c:v>
                      </c:pt>
                      <c:pt idx="100">
                        <c:v>158.0123967289023</c:v>
                      </c:pt>
                      <c:pt idx="101">
                        <c:v>159.32389962175219</c:v>
                      </c:pt>
                      <c:pt idx="102">
                        <c:v>160.16831628974748</c:v>
                      </c:pt>
                      <c:pt idx="103">
                        <c:v>161.70593212612906</c:v>
                      </c:pt>
                      <c:pt idx="104">
                        <c:v>163.11277373562638</c:v>
                      </c:pt>
                      <c:pt idx="105">
                        <c:v>165.00488191095965</c:v>
                      </c:pt>
                      <c:pt idx="106">
                        <c:v>167.06744293484664</c:v>
                      </c:pt>
                      <c:pt idx="107">
                        <c:v>168.65458364272769</c:v>
                      </c:pt>
                      <c:pt idx="108">
                        <c:v>169.88576210331962</c:v>
                      </c:pt>
                      <c:pt idx="109">
                        <c:v>170.80314521867757</c:v>
                      </c:pt>
                      <c:pt idx="110">
                        <c:v>172.52825698538621</c:v>
                      </c:pt>
                      <c:pt idx="111">
                        <c:v>175.32321474854947</c:v>
                      </c:pt>
                      <c:pt idx="112">
                        <c:v>177.18164082488408</c:v>
                      </c:pt>
                      <c:pt idx="113">
                        <c:v>178.01439453676102</c:v>
                      </c:pt>
                      <c:pt idx="114">
                        <c:v>179.20709098015729</c:v>
                      </c:pt>
                      <c:pt idx="115">
                        <c:v>177.98848276149221</c:v>
                      </c:pt>
                      <c:pt idx="116">
                        <c:v>177.34772422355081</c:v>
                      </c:pt>
                      <c:pt idx="117">
                        <c:v>176.83341582330252</c:v>
                      </c:pt>
                      <c:pt idx="118">
                        <c:v>177.87673297666001</c:v>
                      </c:pt>
                      <c:pt idx="119">
                        <c:v>178.60602758186431</c:v>
                      </c:pt>
                      <c:pt idx="120">
                        <c:v>179.71338495287188</c:v>
                      </c:pt>
                      <c:pt idx="121">
                        <c:v>180.66586589312212</c:v>
                      </c:pt>
                      <c:pt idx="122">
                        <c:v>182.18345916662435</c:v>
                      </c:pt>
                      <c:pt idx="123">
                        <c:v>183.4769617267074</c:v>
                      </c:pt>
                      <c:pt idx="124">
                        <c:v>184.59617119324031</c:v>
                      </c:pt>
                      <c:pt idx="125">
                        <c:v>185.02074238698475</c:v>
                      </c:pt>
                      <c:pt idx="126">
                        <c:v>184.87272579307515</c:v>
                      </c:pt>
                      <c:pt idx="127">
                        <c:v>185.09457306402686</c:v>
                      </c:pt>
                    </c:numCache>
                  </c:numRef>
                </c:val>
                <c:smooth val="0"/>
                <c:extLst xmlns:c15="http://schemas.microsoft.com/office/drawing/2012/chart">
                  <c:ext xmlns:c16="http://schemas.microsoft.com/office/drawing/2014/chart" uri="{C3380CC4-5D6E-409C-BE32-E72D297353CC}">
                    <c16:uniqueId val="{00000008-0276-4EBD-881B-11055DE09AE6}"/>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em Reinv'!$V$3</c15:sqref>
                        </c15:formulaRef>
                      </c:ext>
                    </c:extLst>
                    <c:strCache>
                      <c:ptCount val="1"/>
                      <c:pt idx="0">
                        <c:v>TAEE11</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Sem Reinv'!$R$4:$R$131</c15:sqref>
                        </c15:formulaRef>
                      </c:ext>
                    </c:extLst>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extLst xmlns:c15="http://schemas.microsoft.com/office/drawing/2012/chart">
                      <c:ext xmlns:c15="http://schemas.microsoft.com/office/drawing/2012/chart" uri="{02D57815-91ED-43cb-92C2-25804820EDAC}">
                        <c15:formulaRef>
                          <c15:sqref>'Sem Reinv'!$V$4:$V$210</c15:sqref>
                        </c15:formulaRef>
                      </c:ext>
                    </c:extLst>
                    <c:numCache>
                      <c:formatCode>0</c:formatCode>
                      <c:ptCount val="207"/>
                      <c:pt idx="0">
                        <c:v>100</c:v>
                      </c:pt>
                      <c:pt idx="1">
                        <c:v>107.79816513761467</c:v>
                      </c:pt>
                      <c:pt idx="2">
                        <c:v>106.65137614678899</c:v>
                      </c:pt>
                      <c:pt idx="3">
                        <c:v>103.21100917431193</c:v>
                      </c:pt>
                      <c:pt idx="4">
                        <c:v>105.59633027522935</c:v>
                      </c:pt>
                      <c:pt idx="5">
                        <c:v>106.42201834862384</c:v>
                      </c:pt>
                      <c:pt idx="6">
                        <c:v>98.027522935779814</c:v>
                      </c:pt>
                      <c:pt idx="7">
                        <c:v>104.7247706422018</c:v>
                      </c:pt>
                      <c:pt idx="8">
                        <c:v>100.91743119266053</c:v>
                      </c:pt>
                      <c:pt idx="9">
                        <c:v>97.706422018348619</c:v>
                      </c:pt>
                      <c:pt idx="10">
                        <c:v>99.770642201834846</c:v>
                      </c:pt>
                      <c:pt idx="11">
                        <c:v>99.633027522935762</c:v>
                      </c:pt>
                      <c:pt idx="12">
                        <c:v>83.486238532110079</c:v>
                      </c:pt>
                      <c:pt idx="13">
                        <c:v>81.284403669724767</c:v>
                      </c:pt>
                      <c:pt idx="14">
                        <c:v>82.752293577981646</c:v>
                      </c:pt>
                      <c:pt idx="15">
                        <c:v>88.302752293577981</c:v>
                      </c:pt>
                      <c:pt idx="16">
                        <c:v>91.513761467889907</c:v>
                      </c:pt>
                      <c:pt idx="17">
                        <c:v>88.990825688073386</c:v>
                      </c:pt>
                      <c:pt idx="18">
                        <c:v>91.284403669724753</c:v>
                      </c:pt>
                      <c:pt idx="19">
                        <c:v>93.761467889908261</c:v>
                      </c:pt>
                      <c:pt idx="20">
                        <c:v>107.06422018348624</c:v>
                      </c:pt>
                      <c:pt idx="21">
                        <c:v>89.77064220183486</c:v>
                      </c:pt>
                      <c:pt idx="22">
                        <c:v>84.403669724770637</c:v>
                      </c:pt>
                      <c:pt idx="23">
                        <c:v>89.449541284403665</c:v>
                      </c:pt>
                      <c:pt idx="24">
                        <c:v>86.422018348623851</c:v>
                      </c:pt>
                      <c:pt idx="25">
                        <c:v>90.000000000000014</c:v>
                      </c:pt>
                      <c:pt idx="26">
                        <c:v>96.009174311926614</c:v>
                      </c:pt>
                      <c:pt idx="27">
                        <c:v>96.055045871559642</c:v>
                      </c:pt>
                      <c:pt idx="28">
                        <c:v>90.963302752293572</c:v>
                      </c:pt>
                      <c:pt idx="29">
                        <c:v>94.449541284403665</c:v>
                      </c:pt>
                      <c:pt idx="30">
                        <c:v>94.403669724770623</c:v>
                      </c:pt>
                      <c:pt idx="31">
                        <c:v>96.100917431192642</c:v>
                      </c:pt>
                      <c:pt idx="32">
                        <c:v>84.862385321100902</c:v>
                      </c:pt>
                      <c:pt idx="33">
                        <c:v>87.477064220183479</c:v>
                      </c:pt>
                      <c:pt idx="34">
                        <c:v>91.284403669724753</c:v>
                      </c:pt>
                      <c:pt idx="35">
                        <c:v>80.825688073394488</c:v>
                      </c:pt>
                      <c:pt idx="36">
                        <c:v>76.834862385321088</c:v>
                      </c:pt>
                      <c:pt idx="37">
                        <c:v>79.770642201834846</c:v>
                      </c:pt>
                      <c:pt idx="38">
                        <c:v>86.513761467889893</c:v>
                      </c:pt>
                      <c:pt idx="39">
                        <c:v>92.568807339449535</c:v>
                      </c:pt>
                      <c:pt idx="40">
                        <c:v>89.724770642201818</c:v>
                      </c:pt>
                      <c:pt idx="41">
                        <c:v>86.467889908256879</c:v>
                      </c:pt>
                      <c:pt idx="42">
                        <c:v>88.073394495412828</c:v>
                      </c:pt>
                      <c:pt idx="43">
                        <c:v>118.80733944954126</c:v>
                      </c:pt>
                      <c:pt idx="44">
                        <c:v>106.42201834862384</c:v>
                      </c:pt>
                      <c:pt idx="45">
                        <c:v>96.238532110091739</c:v>
                      </c:pt>
                      <c:pt idx="46">
                        <c:v>95.183486238532097</c:v>
                      </c:pt>
                      <c:pt idx="47">
                        <c:v>85.091743119266042</c:v>
                      </c:pt>
                      <c:pt idx="48">
                        <c:v>95.137614678899055</c:v>
                      </c:pt>
                      <c:pt idx="49">
                        <c:v>98.440366972477051</c:v>
                      </c:pt>
                      <c:pt idx="50">
                        <c:v>100.96330275229356</c:v>
                      </c:pt>
                      <c:pt idx="51">
                        <c:v>105.27522935779812</c:v>
                      </c:pt>
                      <c:pt idx="52">
                        <c:v>105.55045871559631</c:v>
                      </c:pt>
                      <c:pt idx="53">
                        <c:v>104.12844036697246</c:v>
                      </c:pt>
                      <c:pt idx="54">
                        <c:v>101.10091743119263</c:v>
                      </c:pt>
                      <c:pt idx="55">
                        <c:v>106.51376146788986</c:v>
                      </c:pt>
                      <c:pt idx="56">
                        <c:v>103.2110091743119</c:v>
                      </c:pt>
                      <c:pt idx="57">
                        <c:v>102.06422018348621</c:v>
                      </c:pt>
                      <c:pt idx="58">
                        <c:v>94.0366972477064</c:v>
                      </c:pt>
                      <c:pt idx="59">
                        <c:v>97.614678899082548</c:v>
                      </c:pt>
                      <c:pt idx="60">
                        <c:v>97.889908256880702</c:v>
                      </c:pt>
                      <c:pt idx="61">
                        <c:v>92.431192660550423</c:v>
                      </c:pt>
                      <c:pt idx="62">
                        <c:v>94.036697247706385</c:v>
                      </c:pt>
                      <c:pt idx="63">
                        <c:v>99.678899082568762</c:v>
                      </c:pt>
                      <c:pt idx="64">
                        <c:v>97.660550458715548</c:v>
                      </c:pt>
                      <c:pt idx="65">
                        <c:v>88.256880733944911</c:v>
                      </c:pt>
                      <c:pt idx="66">
                        <c:v>85.779816513761432</c:v>
                      </c:pt>
                      <c:pt idx="67">
                        <c:v>92.70642201834859</c:v>
                      </c:pt>
                      <c:pt idx="68">
                        <c:v>92.201834862385283</c:v>
                      </c:pt>
                      <c:pt idx="69">
                        <c:v>91.743119266055004</c:v>
                      </c:pt>
                      <c:pt idx="70">
                        <c:v>102.11009174311923</c:v>
                      </c:pt>
                      <c:pt idx="71">
                        <c:v>103.11926605504583</c:v>
                      </c:pt>
                      <c:pt idx="72">
                        <c:v>108.25688073394493</c:v>
                      </c:pt>
                      <c:pt idx="73">
                        <c:v>117.98165137614674</c:v>
                      </c:pt>
                      <c:pt idx="74">
                        <c:v>114.49541284403666</c:v>
                      </c:pt>
                      <c:pt idx="75">
                        <c:v>113.76146788990822</c:v>
                      </c:pt>
                      <c:pt idx="76">
                        <c:v>120.41284403669719</c:v>
                      </c:pt>
                      <c:pt idx="77">
                        <c:v>121.69724770642198</c:v>
                      </c:pt>
                      <c:pt idx="78">
                        <c:v>124.58715596330271</c:v>
                      </c:pt>
                      <c:pt idx="79">
                        <c:v>127.61467889908252</c:v>
                      </c:pt>
                      <c:pt idx="80">
                        <c:v>128.8990825688073</c:v>
                      </c:pt>
                      <c:pt idx="81">
                        <c:v>132.11009174311923</c:v>
                      </c:pt>
                      <c:pt idx="82">
                        <c:v>132.47706422018345</c:v>
                      </c:pt>
                      <c:pt idx="83">
                        <c:v>129.81651376146786</c:v>
                      </c:pt>
                      <c:pt idx="84">
                        <c:v>143.02752293577979</c:v>
                      </c:pt>
                      <c:pt idx="85">
                        <c:v>142.01834862385317</c:v>
                      </c:pt>
                      <c:pt idx="86">
                        <c:v>137.56880733944951</c:v>
                      </c:pt>
                      <c:pt idx="87">
                        <c:v>118.48623853211005</c:v>
                      </c:pt>
                      <c:pt idx="88">
                        <c:v>126.14678899082564</c:v>
                      </c:pt>
                      <c:pt idx="89">
                        <c:v>130.9174311926605</c:v>
                      </c:pt>
                      <c:pt idx="90">
                        <c:v>128.8990825688073</c:v>
                      </c:pt>
                      <c:pt idx="91">
                        <c:v>132.84403669724767</c:v>
                      </c:pt>
                      <c:pt idx="92">
                        <c:v>129.40366972477059</c:v>
                      </c:pt>
                      <c:pt idx="93">
                        <c:v>128.25688073394491</c:v>
                      </c:pt>
                      <c:pt idx="94">
                        <c:v>129.12844036697243</c:v>
                      </c:pt>
                      <c:pt idx="95">
                        <c:v>151.88073394495407</c:v>
                      </c:pt>
                      <c:pt idx="96">
                        <c:v>152.88990825688069</c:v>
                      </c:pt>
                      <c:pt idx="97">
                        <c:v>147.20183486238531</c:v>
                      </c:pt>
                      <c:pt idx="98">
                        <c:v>140.13761467889907</c:v>
                      </c:pt>
                      <c:pt idx="99">
                        <c:v>178.53211009174311</c:v>
                      </c:pt>
                      <c:pt idx="100">
                        <c:v>191.743119266055</c:v>
                      </c:pt>
                      <c:pt idx="101">
                        <c:v>177.47706422018345</c:v>
                      </c:pt>
                      <c:pt idx="102">
                        <c:v>169.26605504587152</c:v>
                      </c:pt>
                      <c:pt idx="103">
                        <c:v>174.31192660550454</c:v>
                      </c:pt>
                      <c:pt idx="104">
                        <c:v>173.89908256880727</c:v>
                      </c:pt>
                      <c:pt idx="105">
                        <c:v>164.40366972477062</c:v>
                      </c:pt>
                      <c:pt idx="106">
                        <c:v>168.16513761467886</c:v>
                      </c:pt>
                      <c:pt idx="107">
                        <c:v>165.27522935779814</c:v>
                      </c:pt>
                      <c:pt idx="108">
                        <c:v>166.83486238532106</c:v>
                      </c:pt>
                      <c:pt idx="109">
                        <c:v>175.09174311926603</c:v>
                      </c:pt>
                      <c:pt idx="110">
                        <c:v>180.87155963302749</c:v>
                      </c:pt>
                      <c:pt idx="111">
                        <c:v>202.47706422018345</c:v>
                      </c:pt>
                      <c:pt idx="112">
                        <c:v>201.74311926605498</c:v>
                      </c:pt>
                      <c:pt idx="113">
                        <c:v>185.2293577981651</c:v>
                      </c:pt>
                      <c:pt idx="114">
                        <c:v>177.15596330275224</c:v>
                      </c:pt>
                      <c:pt idx="115">
                        <c:v>185.59633027522932</c:v>
                      </c:pt>
                      <c:pt idx="116">
                        <c:v>191.19266055045867</c:v>
                      </c:pt>
                      <c:pt idx="117">
                        <c:v>178.66972477064218</c:v>
                      </c:pt>
                      <c:pt idx="118">
                        <c:v>184.35779816513755</c:v>
                      </c:pt>
                      <c:pt idx="119">
                        <c:v>158.44036697247702</c:v>
                      </c:pt>
                      <c:pt idx="120">
                        <c:v>159.0366972477064</c:v>
                      </c:pt>
                      <c:pt idx="121">
                        <c:v>169.99999999999997</c:v>
                      </c:pt>
                      <c:pt idx="122">
                        <c:v>162.79816513761466</c:v>
                      </c:pt>
                      <c:pt idx="123">
                        <c:v>159.77064220183482</c:v>
                      </c:pt>
                      <c:pt idx="124">
                        <c:v>167.29357798165131</c:v>
                      </c:pt>
                      <c:pt idx="125">
                        <c:v>169.35779816513755</c:v>
                      </c:pt>
                      <c:pt idx="126">
                        <c:v>172.66055045871553</c:v>
                      </c:pt>
                      <c:pt idx="127">
                        <c:v>165.13761467889901</c:v>
                      </c:pt>
                    </c:numCache>
                  </c:numRef>
                </c:val>
                <c:smooth val="0"/>
                <c:extLst xmlns:c15="http://schemas.microsoft.com/office/drawing/2012/chart">
                  <c:ext xmlns:c16="http://schemas.microsoft.com/office/drawing/2014/chart" uri="{C3380CC4-5D6E-409C-BE32-E72D297353CC}">
                    <c16:uniqueId val="{00000009-0276-4EBD-881B-11055DE09AE6}"/>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Sem Reinv'!$W$3</c15:sqref>
                        </c15:formulaRef>
                      </c:ext>
                    </c:extLst>
                    <c:strCache>
                      <c:ptCount val="1"/>
                      <c:pt idx="0">
                        <c:v>ALUP11</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Sem Reinv'!$R$4:$R$131</c15:sqref>
                        </c15:formulaRef>
                      </c:ext>
                    </c:extLst>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extLst xmlns:c15="http://schemas.microsoft.com/office/drawing/2012/chart">
                      <c:ext xmlns:c15="http://schemas.microsoft.com/office/drawing/2012/chart" uri="{02D57815-91ED-43cb-92C2-25804820EDAC}">
                        <c15:formulaRef>
                          <c15:sqref>'Sem Reinv'!$W$4:$W$210</c15:sqref>
                        </c15:formulaRef>
                      </c:ext>
                    </c:extLst>
                    <c:numCache>
                      <c:formatCode>0</c:formatCode>
                      <c:ptCount val="207"/>
                      <c:pt idx="0">
                        <c:v>10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numCache>
                  </c:numRef>
                </c:val>
                <c:smooth val="0"/>
                <c:extLst xmlns:c15="http://schemas.microsoft.com/office/drawing/2012/chart">
                  <c:ext xmlns:c16="http://schemas.microsoft.com/office/drawing/2014/chart" uri="{C3380CC4-5D6E-409C-BE32-E72D297353CC}">
                    <c16:uniqueId val="{0000000A-0276-4EBD-881B-11055DE09AE6}"/>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Sem Reinv'!$Y$3</c15:sqref>
                        </c15:formulaRef>
                      </c:ext>
                    </c:extLst>
                    <c:strCache>
                      <c:ptCount val="1"/>
                      <c:pt idx="0">
                        <c:v>IEE</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Sem Reinv'!$R$4:$R$131</c15:sqref>
                        </c15:formulaRef>
                      </c:ext>
                    </c:extLst>
                    <c:numCache>
                      <c:formatCode>mmm\-yy</c:formatCode>
                      <c:ptCount val="128"/>
                      <c:pt idx="0">
                        <c:v>41244</c:v>
                      </c:pt>
                      <c:pt idx="1">
                        <c:v>41275</c:v>
                      </c:pt>
                      <c:pt idx="2">
                        <c:v>41306</c:v>
                      </c:pt>
                      <c:pt idx="3">
                        <c:v>41334</c:v>
                      </c:pt>
                      <c:pt idx="4">
                        <c:v>41365</c:v>
                      </c:pt>
                      <c:pt idx="5">
                        <c:v>41395</c:v>
                      </c:pt>
                      <c:pt idx="6">
                        <c:v>41426</c:v>
                      </c:pt>
                      <c:pt idx="7">
                        <c:v>41456</c:v>
                      </c:pt>
                      <c:pt idx="8">
                        <c:v>41487</c:v>
                      </c:pt>
                      <c:pt idx="9">
                        <c:v>41518</c:v>
                      </c:pt>
                      <c:pt idx="10">
                        <c:v>41548</c:v>
                      </c:pt>
                      <c:pt idx="11">
                        <c:v>41579</c:v>
                      </c:pt>
                      <c:pt idx="12">
                        <c:v>41609</c:v>
                      </c:pt>
                      <c:pt idx="13">
                        <c:v>41640</c:v>
                      </c:pt>
                      <c:pt idx="14">
                        <c:v>41671</c:v>
                      </c:pt>
                      <c:pt idx="15">
                        <c:v>41699</c:v>
                      </c:pt>
                      <c:pt idx="16">
                        <c:v>41730</c:v>
                      </c:pt>
                      <c:pt idx="17">
                        <c:v>41760</c:v>
                      </c:pt>
                      <c:pt idx="18">
                        <c:v>41791</c:v>
                      </c:pt>
                      <c:pt idx="19">
                        <c:v>41821</c:v>
                      </c:pt>
                      <c:pt idx="20">
                        <c:v>41852</c:v>
                      </c:pt>
                      <c:pt idx="21">
                        <c:v>41883</c:v>
                      </c:pt>
                      <c:pt idx="22">
                        <c:v>41913</c:v>
                      </c:pt>
                      <c:pt idx="23">
                        <c:v>41944</c:v>
                      </c:pt>
                      <c:pt idx="24">
                        <c:v>41974</c:v>
                      </c:pt>
                      <c:pt idx="25">
                        <c:v>42005</c:v>
                      </c:pt>
                      <c:pt idx="26">
                        <c:v>42036</c:v>
                      </c:pt>
                      <c:pt idx="27">
                        <c:v>42064</c:v>
                      </c:pt>
                      <c:pt idx="28">
                        <c:v>42095</c:v>
                      </c:pt>
                      <c:pt idx="29">
                        <c:v>42125</c:v>
                      </c:pt>
                      <c:pt idx="30">
                        <c:v>42156</c:v>
                      </c:pt>
                      <c:pt idx="31">
                        <c:v>42186</c:v>
                      </c:pt>
                      <c:pt idx="32">
                        <c:v>42217</c:v>
                      </c:pt>
                      <c:pt idx="33">
                        <c:v>42248</c:v>
                      </c:pt>
                      <c:pt idx="34">
                        <c:v>42278</c:v>
                      </c:pt>
                      <c:pt idx="35">
                        <c:v>42309</c:v>
                      </c:pt>
                      <c:pt idx="36">
                        <c:v>42339</c:v>
                      </c:pt>
                      <c:pt idx="37">
                        <c:v>42370</c:v>
                      </c:pt>
                      <c:pt idx="38">
                        <c:v>42401</c:v>
                      </c:pt>
                      <c:pt idx="39">
                        <c:v>42430</c:v>
                      </c:pt>
                      <c:pt idx="40">
                        <c:v>42461</c:v>
                      </c:pt>
                      <c:pt idx="41">
                        <c:v>42491</c:v>
                      </c:pt>
                      <c:pt idx="42">
                        <c:v>42522</c:v>
                      </c:pt>
                      <c:pt idx="43">
                        <c:v>42552</c:v>
                      </c:pt>
                      <c:pt idx="44">
                        <c:v>42583</c:v>
                      </c:pt>
                      <c:pt idx="45">
                        <c:v>42614</c:v>
                      </c:pt>
                      <c:pt idx="46">
                        <c:v>42644</c:v>
                      </c:pt>
                      <c:pt idx="47">
                        <c:v>42675</c:v>
                      </c:pt>
                      <c:pt idx="48">
                        <c:v>42705</c:v>
                      </c:pt>
                      <c:pt idx="49">
                        <c:v>42736</c:v>
                      </c:pt>
                      <c:pt idx="50">
                        <c:v>42767</c:v>
                      </c:pt>
                      <c:pt idx="51">
                        <c:v>42795</c:v>
                      </c:pt>
                      <c:pt idx="52">
                        <c:v>42826</c:v>
                      </c:pt>
                      <c:pt idx="53">
                        <c:v>42856</c:v>
                      </c:pt>
                      <c:pt idx="54">
                        <c:v>42887</c:v>
                      </c:pt>
                      <c:pt idx="55">
                        <c:v>42917</c:v>
                      </c:pt>
                      <c:pt idx="56">
                        <c:v>42948</c:v>
                      </c:pt>
                      <c:pt idx="57">
                        <c:v>42979</c:v>
                      </c:pt>
                      <c:pt idx="58">
                        <c:v>43009</c:v>
                      </c:pt>
                      <c:pt idx="59">
                        <c:v>43040</c:v>
                      </c:pt>
                      <c:pt idx="60">
                        <c:v>43070</c:v>
                      </c:pt>
                      <c:pt idx="61">
                        <c:v>43101</c:v>
                      </c:pt>
                      <c:pt idx="62">
                        <c:v>43132</c:v>
                      </c:pt>
                      <c:pt idx="63">
                        <c:v>43160</c:v>
                      </c:pt>
                      <c:pt idx="64">
                        <c:v>43191</c:v>
                      </c:pt>
                      <c:pt idx="65">
                        <c:v>43221</c:v>
                      </c:pt>
                      <c:pt idx="66">
                        <c:v>43252</c:v>
                      </c:pt>
                      <c:pt idx="67">
                        <c:v>43282</c:v>
                      </c:pt>
                      <c:pt idx="68">
                        <c:v>43313</c:v>
                      </c:pt>
                      <c:pt idx="69">
                        <c:v>43344</c:v>
                      </c:pt>
                      <c:pt idx="70">
                        <c:v>43374</c:v>
                      </c:pt>
                      <c:pt idx="71">
                        <c:v>43405</c:v>
                      </c:pt>
                      <c:pt idx="72">
                        <c:v>43435</c:v>
                      </c:pt>
                      <c:pt idx="73">
                        <c:v>43466</c:v>
                      </c:pt>
                      <c:pt idx="74">
                        <c:v>43497</c:v>
                      </c:pt>
                      <c:pt idx="75">
                        <c:v>43525</c:v>
                      </c:pt>
                      <c:pt idx="76">
                        <c:v>43556</c:v>
                      </c:pt>
                      <c:pt idx="77">
                        <c:v>43586</c:v>
                      </c:pt>
                      <c:pt idx="78">
                        <c:v>43617</c:v>
                      </c:pt>
                      <c:pt idx="79">
                        <c:v>43647</c:v>
                      </c:pt>
                      <c:pt idx="80">
                        <c:v>43678</c:v>
                      </c:pt>
                      <c:pt idx="81">
                        <c:v>43709</c:v>
                      </c:pt>
                      <c:pt idx="82">
                        <c:v>43739</c:v>
                      </c:pt>
                      <c:pt idx="83">
                        <c:v>43770</c:v>
                      </c:pt>
                      <c:pt idx="84">
                        <c:v>43800</c:v>
                      </c:pt>
                      <c:pt idx="85">
                        <c:v>43831</c:v>
                      </c:pt>
                      <c:pt idx="86">
                        <c:v>43862</c:v>
                      </c:pt>
                      <c:pt idx="87">
                        <c:v>43891</c:v>
                      </c:pt>
                      <c:pt idx="88">
                        <c:v>43922</c:v>
                      </c:pt>
                      <c:pt idx="89">
                        <c:v>43952</c:v>
                      </c:pt>
                      <c:pt idx="90">
                        <c:v>43983</c:v>
                      </c:pt>
                      <c:pt idx="91">
                        <c:v>44013</c:v>
                      </c:pt>
                      <c:pt idx="92">
                        <c:v>44044</c:v>
                      </c:pt>
                      <c:pt idx="93">
                        <c:v>44075</c:v>
                      </c:pt>
                      <c:pt idx="94">
                        <c:v>44105</c:v>
                      </c:pt>
                      <c:pt idx="95">
                        <c:v>44136</c:v>
                      </c:pt>
                      <c:pt idx="96">
                        <c:v>44166</c:v>
                      </c:pt>
                      <c:pt idx="97">
                        <c:v>44197</c:v>
                      </c:pt>
                      <c:pt idx="98">
                        <c:v>44228</c:v>
                      </c:pt>
                      <c:pt idx="99">
                        <c:v>44256</c:v>
                      </c:pt>
                      <c:pt idx="100">
                        <c:v>44287</c:v>
                      </c:pt>
                      <c:pt idx="101">
                        <c:v>44317</c:v>
                      </c:pt>
                      <c:pt idx="102">
                        <c:v>44348</c:v>
                      </c:pt>
                      <c:pt idx="103">
                        <c:v>44378</c:v>
                      </c:pt>
                      <c:pt idx="104">
                        <c:v>44409</c:v>
                      </c:pt>
                      <c:pt idx="105">
                        <c:v>44440</c:v>
                      </c:pt>
                      <c:pt idx="106">
                        <c:v>44470</c:v>
                      </c:pt>
                      <c:pt idx="107">
                        <c:v>44501</c:v>
                      </c:pt>
                      <c:pt idx="108">
                        <c:v>44531</c:v>
                      </c:pt>
                      <c:pt idx="109">
                        <c:v>44562</c:v>
                      </c:pt>
                      <c:pt idx="110">
                        <c:v>44593</c:v>
                      </c:pt>
                      <c:pt idx="111">
                        <c:v>44621</c:v>
                      </c:pt>
                      <c:pt idx="112">
                        <c:v>44652</c:v>
                      </c:pt>
                      <c:pt idx="113">
                        <c:v>44682</c:v>
                      </c:pt>
                      <c:pt idx="114">
                        <c:v>44713</c:v>
                      </c:pt>
                      <c:pt idx="115">
                        <c:v>44743</c:v>
                      </c:pt>
                      <c:pt idx="116">
                        <c:v>44774</c:v>
                      </c:pt>
                      <c:pt idx="117">
                        <c:v>44805</c:v>
                      </c:pt>
                      <c:pt idx="118">
                        <c:v>44835</c:v>
                      </c:pt>
                      <c:pt idx="119">
                        <c:v>44866</c:v>
                      </c:pt>
                      <c:pt idx="120">
                        <c:v>44896</c:v>
                      </c:pt>
                      <c:pt idx="121">
                        <c:v>44927</c:v>
                      </c:pt>
                      <c:pt idx="122">
                        <c:v>44958</c:v>
                      </c:pt>
                      <c:pt idx="123">
                        <c:v>44986</c:v>
                      </c:pt>
                      <c:pt idx="124">
                        <c:v>45017</c:v>
                      </c:pt>
                      <c:pt idx="125">
                        <c:v>45047</c:v>
                      </c:pt>
                      <c:pt idx="126">
                        <c:v>45078</c:v>
                      </c:pt>
                      <c:pt idx="127">
                        <c:v>45108</c:v>
                      </c:pt>
                    </c:numCache>
                  </c:numRef>
                </c:cat>
                <c:val>
                  <c:numRef>
                    <c:extLst xmlns:c15="http://schemas.microsoft.com/office/drawing/2012/chart">
                      <c:ext xmlns:c15="http://schemas.microsoft.com/office/drawing/2012/chart" uri="{02D57815-91ED-43cb-92C2-25804820EDAC}">
                        <c15:formulaRef>
                          <c15:sqref>'Sem Reinv'!$Y$4:$Y$210</c15:sqref>
                        </c15:formulaRef>
                      </c:ext>
                    </c:extLst>
                    <c:numCache>
                      <c:formatCode>0</c:formatCode>
                      <c:ptCount val="207"/>
                      <c:pt idx="0">
                        <c:v>100</c:v>
                      </c:pt>
                      <c:pt idx="1">
                        <c:v>96.552024739483841</c:v>
                      </c:pt>
                      <c:pt idx="2">
                        <c:v>237.44174818845309</c:v>
                      </c:pt>
                      <c:pt idx="3">
                        <c:v>239.71663474061424</c:v>
                      </c:pt>
                      <c:pt idx="4">
                        <c:v>243.95905844859743</c:v>
                      </c:pt>
                      <c:pt idx="5">
                        <c:v>246.39496222244941</c:v>
                      </c:pt>
                      <c:pt idx="6">
                        <c:v>219.47519781021538</c:v>
                      </c:pt>
                      <c:pt idx="7">
                        <c:v>223.9885174448201</c:v>
                      </c:pt>
                      <c:pt idx="8">
                        <c:v>218.69274395073271</c:v>
                      </c:pt>
                      <c:pt idx="9">
                        <c:v>233.5595400461624</c:v>
                      </c:pt>
                      <c:pt idx="10">
                        <c:v>240.32735993232788</c:v>
                      </c:pt>
                      <c:pt idx="11">
                        <c:v>233.47194805968465</c:v>
                      </c:pt>
                      <c:pt idx="12">
                        <c:v>226.76165900487436</c:v>
                      </c:pt>
                      <c:pt idx="13">
                        <c:v>217.74953201744825</c:v>
                      </c:pt>
                      <c:pt idx="14">
                        <c:v>199.17718025738759</c:v>
                      </c:pt>
                      <c:pt idx="15">
                        <c:v>214.56382701812601</c:v>
                      </c:pt>
                      <c:pt idx="16">
                        <c:v>223.25659742368998</c:v>
                      </c:pt>
                      <c:pt idx="17">
                        <c:v>227.43440692468565</c:v>
                      </c:pt>
                      <c:pt idx="18">
                        <c:v>243.02724902242838</c:v>
                      </c:pt>
                      <c:pt idx="19">
                        <c:v>245.06389228198043</c:v>
                      </c:pt>
                      <c:pt idx="20">
                        <c:v>269.26484980821789</c:v>
                      </c:pt>
                      <c:pt idx="21">
                        <c:v>238.3821958775884</c:v>
                      </c:pt>
                      <c:pt idx="22">
                        <c:v>228.49475370379247</c:v>
                      </c:pt>
                      <c:pt idx="23">
                        <c:v>244.59224312402333</c:v>
                      </c:pt>
                      <c:pt idx="24">
                        <c:v>234.62610637460486</c:v>
                      </c:pt>
                      <c:pt idx="25">
                        <c:v>212.80585412186505</c:v>
                      </c:pt>
                      <c:pt idx="26">
                        <c:v>229.10297379924589</c:v>
                      </c:pt>
                      <c:pt idx="27">
                        <c:v>237.58738930206397</c:v>
                      </c:pt>
                      <c:pt idx="28">
                        <c:v>254.42586891953951</c:v>
                      </c:pt>
                      <c:pt idx="29">
                        <c:v>260.89756915122206</c:v>
                      </c:pt>
                      <c:pt idx="30">
                        <c:v>261.33604737938879</c:v>
                      </c:pt>
                      <c:pt idx="31">
                        <c:v>255.74354955241085</c:v>
                      </c:pt>
                      <c:pt idx="32">
                        <c:v>223.21090101259853</c:v>
                      </c:pt>
                      <c:pt idx="33">
                        <c:v>222.65848409590703</c:v>
                      </c:pt>
                      <c:pt idx="34">
                        <c:v>230.73845612664542</c:v>
                      </c:pt>
                      <c:pt idx="35">
                        <c:v>218.05558567434232</c:v>
                      </c:pt>
                      <c:pt idx="36">
                        <c:v>214.25665038704622</c:v>
                      </c:pt>
                      <c:pt idx="37">
                        <c:v>207.61071639133445</c:v>
                      </c:pt>
                      <c:pt idx="38">
                        <c:v>212.65779429462356</c:v>
                      </c:pt>
                      <c:pt idx="39">
                        <c:v>240.65924199549107</c:v>
                      </c:pt>
                      <c:pt idx="40">
                        <c:v>247.6348121059948</c:v>
                      </c:pt>
                      <c:pt idx="41">
                        <c:v>233.57543445002025</c:v>
                      </c:pt>
                      <c:pt idx="42">
                        <c:v>265.94577002869681</c:v>
                      </c:pt>
                      <c:pt idx="43">
                        <c:v>317.86967765777001</c:v>
                      </c:pt>
                      <c:pt idx="44">
                        <c:v>320.03183487822156</c:v>
                      </c:pt>
                      <c:pt idx="45">
                        <c:v>313.63114116812153</c:v>
                      </c:pt>
                      <c:pt idx="46">
                        <c:v>332.6067270434466</c:v>
                      </c:pt>
                      <c:pt idx="47">
                        <c:v>300.52447753469437</c:v>
                      </c:pt>
                      <c:pt idx="48">
                        <c:v>311.91178130731981</c:v>
                      </c:pt>
                      <c:pt idx="49">
                        <c:v>333.96898111322372</c:v>
                      </c:pt>
                      <c:pt idx="50">
                        <c:v>350.01274053780458</c:v>
                      </c:pt>
                      <c:pt idx="51">
                        <c:v>345.2855375121556</c:v>
                      </c:pt>
                      <c:pt idx="52">
                        <c:v>338.63303843658946</c:v>
                      </c:pt>
                      <c:pt idx="53">
                        <c:v>326.81131641939152</c:v>
                      </c:pt>
                      <c:pt idx="54">
                        <c:v>329.07618258651183</c:v>
                      </c:pt>
                      <c:pt idx="55">
                        <c:v>342.25920846456063</c:v>
                      </c:pt>
                      <c:pt idx="56">
                        <c:v>355.76254113339786</c:v>
                      </c:pt>
                      <c:pt idx="57">
                        <c:v>356.810276048574</c:v>
                      </c:pt>
                      <c:pt idx="58">
                        <c:v>345.61949275843074</c:v>
                      </c:pt>
                      <c:pt idx="59">
                        <c:v>336.04147316408574</c:v>
                      </c:pt>
                      <c:pt idx="60">
                        <c:v>343.21822841907334</c:v>
                      </c:pt>
                      <c:pt idx="61">
                        <c:v>350.56645319394102</c:v>
                      </c:pt>
                      <c:pt idx="62">
                        <c:v>362.51230704996391</c:v>
                      </c:pt>
                      <c:pt idx="63">
                        <c:v>358.01324054925357</c:v>
                      </c:pt>
                      <c:pt idx="64">
                        <c:v>378.53447081712915</c:v>
                      </c:pt>
                      <c:pt idx="65">
                        <c:v>346.53488948496386</c:v>
                      </c:pt>
                      <c:pt idx="66">
                        <c:v>333.11215180960176</c:v>
                      </c:pt>
                      <c:pt idx="67">
                        <c:v>351.43900413616166</c:v>
                      </c:pt>
                      <c:pt idx="68">
                        <c:v>343.07595622801932</c:v>
                      </c:pt>
                      <c:pt idx="69">
                        <c:v>339.92316301059856</c:v>
                      </c:pt>
                      <c:pt idx="70">
                        <c:v>393.86565992962431</c:v>
                      </c:pt>
                      <c:pt idx="71">
                        <c:v>408.22167553585973</c:v>
                      </c:pt>
                      <c:pt idx="72">
                        <c:v>425.5745637129753</c:v>
                      </c:pt>
                      <c:pt idx="73">
                        <c:v>481.95521035422428</c:v>
                      </c:pt>
                      <c:pt idx="74">
                        <c:v>482.24355557203756</c:v>
                      </c:pt>
                      <c:pt idx="75">
                        <c:v>496.26181509629282</c:v>
                      </c:pt>
                      <c:pt idx="76">
                        <c:v>507.36612937414395</c:v>
                      </c:pt>
                      <c:pt idx="77">
                        <c:v>535.18133612545921</c:v>
                      </c:pt>
                      <c:pt idx="78">
                        <c:v>551.38870425062078</c:v>
                      </c:pt>
                      <c:pt idx="79">
                        <c:v>572.56575144289377</c:v>
                      </c:pt>
                      <c:pt idx="80">
                        <c:v>586.16427776961916</c:v>
                      </c:pt>
                      <c:pt idx="81">
                        <c:v>588.45557702141616</c:v>
                      </c:pt>
                      <c:pt idx="82">
                        <c:v>586.96297156347839</c:v>
                      </c:pt>
                      <c:pt idx="83">
                        <c:v>599.47437249590143</c:v>
                      </c:pt>
                      <c:pt idx="84">
                        <c:v>661.92599034982891</c:v>
                      </c:pt>
                      <c:pt idx="85">
                        <c:v>676.45174782335118</c:v>
                      </c:pt>
                      <c:pt idx="86">
                        <c:v>652.66870945942071</c:v>
                      </c:pt>
                      <c:pt idx="87">
                        <c:v>498.00268423188072</c:v>
                      </c:pt>
                      <c:pt idx="88">
                        <c:v>529.82906839157272</c:v>
                      </c:pt>
                      <c:pt idx="89">
                        <c:v>573.32393178344148</c:v>
                      </c:pt>
                      <c:pt idx="90">
                        <c:v>606.05655611092243</c:v>
                      </c:pt>
                      <c:pt idx="91">
                        <c:v>661.03149821967406</c:v>
                      </c:pt>
                      <c:pt idx="92">
                        <c:v>621.66650196933836</c:v>
                      </c:pt>
                      <c:pt idx="93">
                        <c:v>592.31973119410748</c:v>
                      </c:pt>
                      <c:pt idx="94">
                        <c:v>604.25815614397959</c:v>
                      </c:pt>
                      <c:pt idx="95">
                        <c:v>667.59199979464972</c:v>
                      </c:pt>
                      <c:pt idx="96">
                        <c:v>715.645015405918</c:v>
                      </c:pt>
                      <c:pt idx="97">
                        <c:v>681.75555490199713</c:v>
                      </c:pt>
                      <c:pt idx="98">
                        <c:v>642.65359375898367</c:v>
                      </c:pt>
                      <c:pt idx="99">
                        <c:v>698.94837606634815</c:v>
                      </c:pt>
                      <c:pt idx="100">
                        <c:v>692.11576920793584</c:v>
                      </c:pt>
                      <c:pt idx="101">
                        <c:v>722.32282459197518</c:v>
                      </c:pt>
                      <c:pt idx="102">
                        <c:v>694.96708704783453</c:v>
                      </c:pt>
                      <c:pt idx="103">
                        <c:v>675.06159216419303</c:v>
                      </c:pt>
                      <c:pt idx="104">
                        <c:v>690.59621236954331</c:v>
                      </c:pt>
                      <c:pt idx="105">
                        <c:v>676.34109167475367</c:v>
                      </c:pt>
                      <c:pt idx="106">
                        <c:v>642.4394512200505</c:v>
                      </c:pt>
                      <c:pt idx="107">
                        <c:v>655.51734943780025</c:v>
                      </c:pt>
                      <c:pt idx="108">
                        <c:v>659.14291478736368</c:v>
                      </c:pt>
                      <c:pt idx="109">
                        <c:v>676.58572728195782</c:v>
                      </c:pt>
                      <c:pt idx="110">
                        <c:v>674.31507347865022</c:v>
                      </c:pt>
                      <c:pt idx="111">
                        <c:v>734.60064689379124</c:v>
                      </c:pt>
                      <c:pt idx="112">
                        <c:v>718.57744653507007</c:v>
                      </c:pt>
                      <c:pt idx="113">
                        <c:v>715.81302962061159</c:v>
                      </c:pt>
                      <c:pt idx="114">
                        <c:v>680.58161496488435</c:v>
                      </c:pt>
                      <c:pt idx="115">
                        <c:v>701.88814971902138</c:v>
                      </c:pt>
                      <c:pt idx="116">
                        <c:v>710.5061991499274</c:v>
                      </c:pt>
                      <c:pt idx="117">
                        <c:v>678.00119305160695</c:v>
                      </c:pt>
                      <c:pt idx="118">
                        <c:v>722.76389429903179</c:v>
                      </c:pt>
                      <c:pt idx="119">
                        <c:v>697.68209309812607</c:v>
                      </c:pt>
                      <c:pt idx="120">
                        <c:v>679.65334722653142</c:v>
                      </c:pt>
                      <c:pt idx="121">
                        <c:v>677.34097061309694</c:v>
                      </c:pt>
                      <c:pt idx="122">
                        <c:v>634.51436324429699</c:v>
                      </c:pt>
                      <c:pt idx="123">
                        <c:v>646.37573488851012</c:v>
                      </c:pt>
                      <c:pt idx="124">
                        <c:v>690.04586863596398</c:v>
                      </c:pt>
                      <c:pt idx="125">
                        <c:v>718.00213822151807</c:v>
                      </c:pt>
                      <c:pt idx="126">
                        <c:v>786.85643658602771</c:v>
                      </c:pt>
                      <c:pt idx="127">
                        <c:v>779.60038207700984</c:v>
                      </c:pt>
                    </c:numCache>
                  </c:numRef>
                </c:val>
                <c:smooth val="0"/>
                <c:extLst xmlns:c15="http://schemas.microsoft.com/office/drawing/2012/chart">
                  <c:ext xmlns:c16="http://schemas.microsoft.com/office/drawing/2014/chart" uri="{C3380CC4-5D6E-409C-BE32-E72D297353CC}">
                    <c16:uniqueId val="{0000000B-0276-4EBD-881B-11055DE09AE6}"/>
                  </c:ext>
                </c:extLst>
              </c15:ser>
            </c15:filteredLineSeries>
          </c:ext>
        </c:extLst>
      </c:lineChart>
      <c:dateAx>
        <c:axId val="352038696"/>
        <c:scaling>
          <c:orientation val="minMax"/>
          <c:max val="45138"/>
        </c:scaling>
        <c:delete val="0"/>
        <c:axPos val="b"/>
        <c:numFmt formatCode="[$-409]mmm\-yy;@" sourceLinked="0"/>
        <c:majorTickMark val="out"/>
        <c:minorTickMark val="none"/>
        <c:tickLblPos val="nextTo"/>
        <c:spPr>
          <a:noFill/>
          <a:ln w="9525" cap="flat" cmpd="sng" algn="ctr">
            <a:noFill/>
            <a:round/>
          </a:ln>
          <a:effectLst/>
        </c:spPr>
        <c:txPr>
          <a:bodyPr rot="-5400000" spcFirstLastPara="1" vertOverflow="ellipsis" wrap="square" anchor="ctr" anchorCtr="1"/>
          <a:lstStyle/>
          <a:p>
            <a:pPr>
              <a:defRPr sz="900" b="0" i="0" u="none" strike="noStrike" kern="1200" baseline="0" smtId="4294967295">
                <a:solidFill>
                  <a:schemeClr val="bg1">
                    <a:lumMod val="50000"/>
                  </a:schemeClr>
                </a:solidFill>
                <a:latin typeface="Segoe UI" panose="020B0502040204020203" pitchFamily="34" charset="0"/>
                <a:ea typeface="+mn-ea"/>
                <a:cs typeface="Segoe UI" panose="020B0502040204020203" pitchFamily="34" charset="0"/>
              </a:defRPr>
            </a:pPr>
            <a:endParaRPr lang="pt-BR"/>
          </a:p>
        </c:txPr>
        <c:crossAx val="352039088"/>
        <c:crosses val="autoZero"/>
        <c:auto val="0"/>
        <c:lblOffset val="100"/>
        <c:baseTimeUnit val="months"/>
        <c:majorUnit val="9"/>
        <c:majorTimeUnit val="months"/>
      </c:dateAx>
      <c:valAx>
        <c:axId val="352039088"/>
        <c:scaling>
          <c:orientation val="minMax"/>
        </c:scaling>
        <c:delete val="0"/>
        <c:axPos val="l"/>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900" b="0" i="0" u="none" strike="noStrike" kern="1200" baseline="0" smtId="4294967295">
                <a:solidFill>
                  <a:srgbClr val="011F57"/>
                </a:solidFill>
                <a:latin typeface="Segoe UI Light" panose="020B0502040204020203" pitchFamily="34" charset="0"/>
                <a:ea typeface="+mn-ea"/>
                <a:cs typeface="Segoe UI Light" panose="020B0502040204020203" pitchFamily="34" charset="0"/>
              </a:defRPr>
            </a:pPr>
            <a:endParaRPr lang="pt-BR"/>
          </a:p>
        </c:txPr>
        <c:crossAx val="352038696"/>
        <c:crosses val="autoZero"/>
        <c:crossBetween val="between"/>
      </c:valAx>
      <c:spPr>
        <a:noFill/>
        <a:ln>
          <a:noFill/>
        </a:ln>
        <a:effectLst/>
      </c:spPr>
    </c:plotArea>
    <c:legend>
      <c:legendPos val="b"/>
      <c:layout>
        <c:manualLayout>
          <c:xMode val="edge"/>
          <c:yMode val="edge"/>
          <c:x val="0.33436402678489685"/>
          <c:y val="0.87755823135375977"/>
          <c:w val="0.3312719464302063"/>
          <c:h val="0.12244175374507904"/>
        </c:manualLayout>
      </c:layout>
      <c:overlay val="0"/>
      <c:spPr>
        <a:noFill/>
        <a:ln>
          <a:noFill/>
        </a:ln>
        <a:effectLst/>
      </c:spPr>
      <c:txPr>
        <a:bodyPr rot="0" spcFirstLastPara="1" vertOverflow="ellipsis" vert="horz" wrap="square" anchor="ctr" anchorCtr="1"/>
        <a:lstStyle/>
        <a:p>
          <a:pPr>
            <a:defRPr sz="900" b="0" i="0" u="none" strike="noStrike" kern="1200" baseline="0" smtId="4294967295">
              <a:solidFill>
                <a:srgbClr val="011F57"/>
              </a:solidFill>
              <a:latin typeface="Segoe UI" panose="020B0502040204020203" pitchFamily="34" charset="0"/>
              <a:ea typeface="+mn-ea"/>
              <a:cs typeface="Segoe UI" panose="020B0502040204020203" pitchFamily="34" charset="0"/>
            </a:defRPr>
          </a:pPr>
          <a:endParaRPr lang="pt-B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mtId="4294967295">
          <a:solidFill>
            <a:srgbClr val="011F57"/>
          </a:solidFill>
          <a:latin typeface="Segoe UI Light" panose="020B0502040204020203" pitchFamily="34" charset="0"/>
          <a:cs typeface="Segoe UI Light" panose="020B0502040204020203" pitchFamily="34" charset="0"/>
        </a:defRPr>
      </a:pPr>
      <a:endParaRPr lang="pt-B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ensal  (4)'!$R$1</c:f>
              <c:strCache>
                <c:ptCount val="1"/>
                <c:pt idx="0">
                  <c:v>TRPL4</c:v>
                </c:pt>
              </c:strCache>
            </c:strRef>
          </c:tx>
          <c:spPr>
            <a:ln w="38100" cap="rnd">
              <a:solidFill>
                <a:srgbClr val="1071EE"/>
              </a:solidFill>
              <a:round/>
            </a:ln>
            <a:effectLst/>
          </c:spPr>
          <c:marker>
            <c:symbol val="none"/>
          </c:marker>
          <c:cat>
            <c:numRef>
              <c:f>'Mensal  (4)'!$Q$2:$Q$148</c:f>
              <c:numCache>
                <c:formatCode>m/d/yyyy</c:formatCode>
                <c:ptCount val="147"/>
                <c:pt idx="0">
                  <c:v>41274</c:v>
                </c:pt>
                <c:pt idx="1">
                  <c:v>41305</c:v>
                </c:pt>
                <c:pt idx="2">
                  <c:v>41333</c:v>
                </c:pt>
                <c:pt idx="3">
                  <c:v>41363</c:v>
                </c:pt>
                <c:pt idx="4">
                  <c:v>41394</c:v>
                </c:pt>
                <c:pt idx="5">
                  <c:v>41425</c:v>
                </c:pt>
                <c:pt idx="6">
                  <c:v>41455</c:v>
                </c:pt>
                <c:pt idx="7">
                  <c:v>41486</c:v>
                </c:pt>
                <c:pt idx="8">
                  <c:v>41516</c:v>
                </c:pt>
                <c:pt idx="9">
                  <c:v>41547</c:v>
                </c:pt>
                <c:pt idx="10">
                  <c:v>41578</c:v>
                </c:pt>
                <c:pt idx="11">
                  <c:v>41608</c:v>
                </c:pt>
                <c:pt idx="12">
                  <c:v>41639</c:v>
                </c:pt>
                <c:pt idx="13">
                  <c:v>41669</c:v>
                </c:pt>
                <c:pt idx="14">
                  <c:v>41698</c:v>
                </c:pt>
                <c:pt idx="15">
                  <c:v>41759</c:v>
                </c:pt>
                <c:pt idx="16">
                  <c:v>41790</c:v>
                </c:pt>
                <c:pt idx="17">
                  <c:v>41820</c:v>
                </c:pt>
                <c:pt idx="18">
                  <c:v>41851</c:v>
                </c:pt>
                <c:pt idx="19">
                  <c:v>41880</c:v>
                </c:pt>
                <c:pt idx="20">
                  <c:v>41882</c:v>
                </c:pt>
                <c:pt idx="21">
                  <c:v>41912</c:v>
                </c:pt>
                <c:pt idx="22">
                  <c:v>41943</c:v>
                </c:pt>
                <c:pt idx="23">
                  <c:v>41973</c:v>
                </c:pt>
                <c:pt idx="24">
                  <c:v>41978</c:v>
                </c:pt>
                <c:pt idx="25">
                  <c:v>42004</c:v>
                </c:pt>
                <c:pt idx="26">
                  <c:v>42035</c:v>
                </c:pt>
                <c:pt idx="27">
                  <c:v>42063</c:v>
                </c:pt>
                <c:pt idx="28">
                  <c:v>42094</c:v>
                </c:pt>
                <c:pt idx="29">
                  <c:v>42124</c:v>
                </c:pt>
                <c:pt idx="30">
                  <c:v>42155</c:v>
                </c:pt>
                <c:pt idx="31">
                  <c:v>42163</c:v>
                </c:pt>
                <c:pt idx="32">
                  <c:v>42185</c:v>
                </c:pt>
                <c:pt idx="33">
                  <c:v>42216</c:v>
                </c:pt>
                <c:pt idx="34">
                  <c:v>42247</c:v>
                </c:pt>
                <c:pt idx="35">
                  <c:v>42277</c:v>
                </c:pt>
                <c:pt idx="36">
                  <c:v>42308</c:v>
                </c:pt>
                <c:pt idx="37">
                  <c:v>42338</c:v>
                </c:pt>
                <c:pt idx="38">
                  <c:v>42345</c:v>
                </c:pt>
                <c:pt idx="39">
                  <c:v>42369</c:v>
                </c:pt>
                <c:pt idx="40">
                  <c:v>42400</c:v>
                </c:pt>
                <c:pt idx="41">
                  <c:v>42429</c:v>
                </c:pt>
                <c:pt idx="42">
                  <c:v>42460</c:v>
                </c:pt>
                <c:pt idx="43">
                  <c:v>42490</c:v>
                </c:pt>
                <c:pt idx="44">
                  <c:v>42521</c:v>
                </c:pt>
                <c:pt idx="45">
                  <c:v>42551</c:v>
                </c:pt>
                <c:pt idx="46">
                  <c:v>42552</c:v>
                </c:pt>
                <c:pt idx="47">
                  <c:v>42582</c:v>
                </c:pt>
                <c:pt idx="48">
                  <c:v>42613</c:v>
                </c:pt>
                <c:pt idx="49">
                  <c:v>42643</c:v>
                </c:pt>
                <c:pt idx="50">
                  <c:v>42674</c:v>
                </c:pt>
                <c:pt idx="51">
                  <c:v>42704</c:v>
                </c:pt>
                <c:pt idx="52">
                  <c:v>42735</c:v>
                </c:pt>
                <c:pt idx="53">
                  <c:v>42755</c:v>
                </c:pt>
                <c:pt idx="54">
                  <c:v>42766</c:v>
                </c:pt>
                <c:pt idx="55">
                  <c:v>42794</c:v>
                </c:pt>
                <c:pt idx="56">
                  <c:v>42825</c:v>
                </c:pt>
                <c:pt idx="57">
                  <c:v>42855</c:v>
                </c:pt>
                <c:pt idx="58">
                  <c:v>42886</c:v>
                </c:pt>
                <c:pt idx="59">
                  <c:v>42899</c:v>
                </c:pt>
                <c:pt idx="60">
                  <c:v>42916</c:v>
                </c:pt>
                <c:pt idx="61">
                  <c:v>42947</c:v>
                </c:pt>
                <c:pt idx="62">
                  <c:v>42978</c:v>
                </c:pt>
                <c:pt idx="63">
                  <c:v>43008</c:v>
                </c:pt>
                <c:pt idx="64">
                  <c:v>43039</c:v>
                </c:pt>
                <c:pt idx="65">
                  <c:v>43069</c:v>
                </c:pt>
                <c:pt idx="66">
                  <c:v>43100</c:v>
                </c:pt>
                <c:pt idx="67">
                  <c:v>43131</c:v>
                </c:pt>
                <c:pt idx="68">
                  <c:v>43159</c:v>
                </c:pt>
                <c:pt idx="69">
                  <c:v>43190</c:v>
                </c:pt>
                <c:pt idx="70">
                  <c:v>43220</c:v>
                </c:pt>
                <c:pt idx="71">
                  <c:v>43251</c:v>
                </c:pt>
                <c:pt idx="72">
                  <c:v>43266</c:v>
                </c:pt>
                <c:pt idx="73">
                  <c:v>43269</c:v>
                </c:pt>
                <c:pt idx="74">
                  <c:v>43281</c:v>
                </c:pt>
                <c:pt idx="75">
                  <c:v>43312</c:v>
                </c:pt>
                <c:pt idx="76">
                  <c:v>43343</c:v>
                </c:pt>
                <c:pt idx="77">
                  <c:v>43373</c:v>
                </c:pt>
                <c:pt idx="78">
                  <c:v>43404</c:v>
                </c:pt>
                <c:pt idx="79">
                  <c:v>43434</c:v>
                </c:pt>
                <c:pt idx="80">
                  <c:v>43451</c:v>
                </c:pt>
                <c:pt idx="81">
                  <c:v>43465</c:v>
                </c:pt>
                <c:pt idx="82">
                  <c:v>43496</c:v>
                </c:pt>
                <c:pt idx="83">
                  <c:v>43524</c:v>
                </c:pt>
                <c:pt idx="84">
                  <c:v>43555</c:v>
                </c:pt>
                <c:pt idx="85">
                  <c:v>43585</c:v>
                </c:pt>
                <c:pt idx="86">
                  <c:v>43616</c:v>
                </c:pt>
                <c:pt idx="87">
                  <c:v>43646</c:v>
                </c:pt>
                <c:pt idx="88">
                  <c:v>43677</c:v>
                </c:pt>
                <c:pt idx="89">
                  <c:v>43696</c:v>
                </c:pt>
                <c:pt idx="90">
                  <c:v>43708</c:v>
                </c:pt>
                <c:pt idx="91">
                  <c:v>43738</c:v>
                </c:pt>
                <c:pt idx="92">
                  <c:v>43769</c:v>
                </c:pt>
                <c:pt idx="93">
                  <c:v>43799</c:v>
                </c:pt>
                <c:pt idx="94">
                  <c:v>43802</c:v>
                </c:pt>
                <c:pt idx="95">
                  <c:v>43830</c:v>
                </c:pt>
                <c:pt idx="96">
                  <c:v>43861</c:v>
                </c:pt>
                <c:pt idx="97">
                  <c:v>43890</c:v>
                </c:pt>
                <c:pt idx="98">
                  <c:v>43921</c:v>
                </c:pt>
                <c:pt idx="99">
                  <c:v>43950</c:v>
                </c:pt>
                <c:pt idx="100">
                  <c:v>43951</c:v>
                </c:pt>
                <c:pt idx="101">
                  <c:v>43982</c:v>
                </c:pt>
                <c:pt idx="102">
                  <c:v>44012</c:v>
                </c:pt>
                <c:pt idx="103">
                  <c:v>44028</c:v>
                </c:pt>
                <c:pt idx="104">
                  <c:v>44043</c:v>
                </c:pt>
                <c:pt idx="105">
                  <c:v>44074</c:v>
                </c:pt>
                <c:pt idx="106">
                  <c:v>44104</c:v>
                </c:pt>
                <c:pt idx="107">
                  <c:v>44135</c:v>
                </c:pt>
                <c:pt idx="108">
                  <c:v>44148</c:v>
                </c:pt>
                <c:pt idx="109">
                  <c:v>44165</c:v>
                </c:pt>
                <c:pt idx="110">
                  <c:v>44196</c:v>
                </c:pt>
                <c:pt idx="111">
                  <c:v>44214</c:v>
                </c:pt>
                <c:pt idx="112">
                  <c:v>44227</c:v>
                </c:pt>
                <c:pt idx="113">
                  <c:v>44255</c:v>
                </c:pt>
                <c:pt idx="114">
                  <c:v>44286</c:v>
                </c:pt>
                <c:pt idx="115">
                  <c:v>44316</c:v>
                </c:pt>
                <c:pt idx="116">
                  <c:v>44337</c:v>
                </c:pt>
                <c:pt idx="117">
                  <c:v>44347</c:v>
                </c:pt>
                <c:pt idx="118">
                  <c:v>44377</c:v>
                </c:pt>
                <c:pt idx="119">
                  <c:v>44392</c:v>
                </c:pt>
                <c:pt idx="120">
                  <c:v>44408</c:v>
                </c:pt>
                <c:pt idx="121">
                  <c:v>44439</c:v>
                </c:pt>
                <c:pt idx="122">
                  <c:v>44469</c:v>
                </c:pt>
                <c:pt idx="123">
                  <c:v>44500</c:v>
                </c:pt>
                <c:pt idx="124">
                  <c:v>44516</c:v>
                </c:pt>
                <c:pt idx="125">
                  <c:v>44517</c:v>
                </c:pt>
                <c:pt idx="126">
                  <c:v>44530</c:v>
                </c:pt>
                <c:pt idx="127">
                  <c:v>44561</c:v>
                </c:pt>
                <c:pt idx="128">
                  <c:v>44579</c:v>
                </c:pt>
                <c:pt idx="129">
                  <c:v>44592</c:v>
                </c:pt>
                <c:pt idx="130">
                  <c:v>44620</c:v>
                </c:pt>
                <c:pt idx="131">
                  <c:v>44651</c:v>
                </c:pt>
                <c:pt idx="132">
                  <c:v>44681</c:v>
                </c:pt>
                <c:pt idx="133">
                  <c:v>44712</c:v>
                </c:pt>
                <c:pt idx="134">
                  <c:v>44742</c:v>
                </c:pt>
                <c:pt idx="135">
                  <c:v>44773</c:v>
                </c:pt>
                <c:pt idx="136">
                  <c:v>44804</c:v>
                </c:pt>
                <c:pt idx="137">
                  <c:v>44834</c:v>
                </c:pt>
                <c:pt idx="138">
                  <c:v>44865</c:v>
                </c:pt>
                <c:pt idx="139">
                  <c:v>44895</c:v>
                </c:pt>
                <c:pt idx="140">
                  <c:v>44926</c:v>
                </c:pt>
                <c:pt idx="141">
                  <c:v>44957</c:v>
                </c:pt>
                <c:pt idx="142">
                  <c:v>45016</c:v>
                </c:pt>
                <c:pt idx="143">
                  <c:v>45027</c:v>
                </c:pt>
                <c:pt idx="144">
                  <c:v>45046</c:v>
                </c:pt>
                <c:pt idx="145">
                  <c:v>45077</c:v>
                </c:pt>
                <c:pt idx="146">
                  <c:v>45107</c:v>
                </c:pt>
              </c:numCache>
            </c:numRef>
          </c:cat>
          <c:val>
            <c:numRef>
              <c:f>'Mensal  (4)'!$R$2:$R$148</c:f>
              <c:numCache>
                <c:formatCode>_-* #,##0_-;\-* #,##0_-;_-* "-"??_-;_-@_-</c:formatCode>
                <c:ptCount val="147"/>
                <c:pt idx="0">
                  <c:v>1000</c:v>
                </c:pt>
                <c:pt idx="1">
                  <c:v>1000</c:v>
                </c:pt>
                <c:pt idx="2">
                  <c:v>1080.1879999999999</c:v>
                </c:pt>
                <c:pt idx="3">
                  <c:v>1012.722</c:v>
                </c:pt>
                <c:pt idx="4">
                  <c:v>1060.1799999999998</c:v>
                </c:pt>
                <c:pt idx="5">
                  <c:v>1132.404</c:v>
                </c:pt>
                <c:pt idx="6">
                  <c:v>1012.722</c:v>
                </c:pt>
                <c:pt idx="7">
                  <c:v>1024.8</c:v>
                </c:pt>
                <c:pt idx="8">
                  <c:v>1024.8</c:v>
                </c:pt>
                <c:pt idx="9">
                  <c:v>1047.492</c:v>
                </c:pt>
                <c:pt idx="10">
                  <c:v>973.43799999999999</c:v>
                </c:pt>
                <c:pt idx="11">
                  <c:v>876.69200000000001</c:v>
                </c:pt>
                <c:pt idx="12">
                  <c:v>813.86200000000008</c:v>
                </c:pt>
                <c:pt idx="13">
                  <c:v>739.80799999999999</c:v>
                </c:pt>
                <c:pt idx="14">
                  <c:v>804.99199999999996</c:v>
                </c:pt>
                <c:pt idx="15">
                  <c:v>781.82399999999996</c:v>
                </c:pt>
                <c:pt idx="16">
                  <c:v>825.6</c:v>
                </c:pt>
                <c:pt idx="17">
                  <c:v>877.05600000000004</c:v>
                </c:pt>
                <c:pt idx="18">
                  <c:v>919.04</c:v>
                </c:pt>
                <c:pt idx="19">
                  <c:v>1042.432</c:v>
                </c:pt>
                <c:pt idx="20">
                  <c:v>1042.432</c:v>
                </c:pt>
                <c:pt idx="21">
                  <c:v>1141.248</c:v>
                </c:pt>
                <c:pt idx="22">
                  <c:v>1229.8240000000001</c:v>
                </c:pt>
                <c:pt idx="23">
                  <c:v>1246.336</c:v>
                </c:pt>
                <c:pt idx="24">
                  <c:v>1260.8</c:v>
                </c:pt>
                <c:pt idx="25">
                  <c:v>1357.6840000000002</c:v>
                </c:pt>
                <c:pt idx="26">
                  <c:v>1292.3150000000001</c:v>
                </c:pt>
                <c:pt idx="27">
                  <c:v>1374.0590000000002</c:v>
                </c:pt>
                <c:pt idx="28">
                  <c:v>1308.69</c:v>
                </c:pt>
                <c:pt idx="29">
                  <c:v>1390.4340000000002</c:v>
                </c:pt>
                <c:pt idx="30">
                  <c:v>1308.69</c:v>
                </c:pt>
                <c:pt idx="31">
                  <c:v>1323.1</c:v>
                </c:pt>
                <c:pt idx="32">
                  <c:v>1300.075</c:v>
                </c:pt>
                <c:pt idx="33">
                  <c:v>1376.4169999999999</c:v>
                </c:pt>
                <c:pt idx="34">
                  <c:v>1256.1849999999999</c:v>
                </c:pt>
                <c:pt idx="35">
                  <c:v>1355.27</c:v>
                </c:pt>
                <c:pt idx="36">
                  <c:v>1474.837</c:v>
                </c:pt>
                <c:pt idx="37">
                  <c:v>1457.8130000000001</c:v>
                </c:pt>
                <c:pt idx="38">
                  <c:v>1388.3869999999999</c:v>
                </c:pt>
                <c:pt idx="39">
                  <c:v>1563.5810000000001</c:v>
                </c:pt>
                <c:pt idx="40">
                  <c:v>1562.6220000000001</c:v>
                </c:pt>
                <c:pt idx="41">
                  <c:v>1597.8310000000001</c:v>
                </c:pt>
                <c:pt idx="42">
                  <c:v>1654.2749999999999</c:v>
                </c:pt>
                <c:pt idx="43">
                  <c:v>1935.125</c:v>
                </c:pt>
                <c:pt idx="44">
                  <c:v>2076.6459999999997</c:v>
                </c:pt>
                <c:pt idx="45">
                  <c:v>2140.625</c:v>
                </c:pt>
                <c:pt idx="46">
                  <c:v>2121.4449999999997</c:v>
                </c:pt>
                <c:pt idx="47">
                  <c:v>2380.5</c:v>
                </c:pt>
                <c:pt idx="48">
                  <c:v>2318.4</c:v>
                </c:pt>
                <c:pt idx="49">
                  <c:v>2277</c:v>
                </c:pt>
                <c:pt idx="50">
                  <c:v>2389.4700000000003</c:v>
                </c:pt>
                <c:pt idx="51">
                  <c:v>2178.33</c:v>
                </c:pt>
                <c:pt idx="52">
                  <c:v>2238.0839999999998</c:v>
                </c:pt>
                <c:pt idx="53">
                  <c:v>2258.0940000000001</c:v>
                </c:pt>
                <c:pt idx="54">
                  <c:v>2283.0750000000003</c:v>
                </c:pt>
                <c:pt idx="55">
                  <c:v>2323.107</c:v>
                </c:pt>
                <c:pt idx="56">
                  <c:v>2262.92</c:v>
                </c:pt>
                <c:pt idx="57">
                  <c:v>2154.5</c:v>
                </c:pt>
                <c:pt idx="58">
                  <c:v>2242.7650000000003</c:v>
                </c:pt>
                <c:pt idx="59">
                  <c:v>2202.8720000000003</c:v>
                </c:pt>
                <c:pt idx="60">
                  <c:v>2257.5</c:v>
                </c:pt>
                <c:pt idx="61">
                  <c:v>2450</c:v>
                </c:pt>
                <c:pt idx="62">
                  <c:v>2476.3199999999997</c:v>
                </c:pt>
                <c:pt idx="63">
                  <c:v>2391.1999999999998</c:v>
                </c:pt>
                <c:pt idx="64">
                  <c:v>2327.5</c:v>
                </c:pt>
                <c:pt idx="65">
                  <c:v>2133.6</c:v>
                </c:pt>
                <c:pt idx="66">
                  <c:v>2341.5</c:v>
                </c:pt>
                <c:pt idx="67">
                  <c:v>2353.8199999999997</c:v>
                </c:pt>
                <c:pt idx="68">
                  <c:v>2334.92</c:v>
                </c:pt>
                <c:pt idx="69">
                  <c:v>2327.5</c:v>
                </c:pt>
                <c:pt idx="70">
                  <c:v>2380</c:v>
                </c:pt>
                <c:pt idx="71">
                  <c:v>2258.1999999999998</c:v>
                </c:pt>
                <c:pt idx="72">
                  <c:v>2093</c:v>
                </c:pt>
                <c:pt idx="73">
                  <c:v>2086.8000000000002</c:v>
                </c:pt>
                <c:pt idx="74">
                  <c:v>2189.5</c:v>
                </c:pt>
                <c:pt idx="75">
                  <c:v>2315.585</c:v>
                </c:pt>
                <c:pt idx="76">
                  <c:v>2161.2629999999999</c:v>
                </c:pt>
                <c:pt idx="77">
                  <c:v>2206.8650000000002</c:v>
                </c:pt>
                <c:pt idx="78">
                  <c:v>2466.8870000000002</c:v>
                </c:pt>
                <c:pt idx="79">
                  <c:v>2723.7379999999998</c:v>
                </c:pt>
                <c:pt idx="80">
                  <c:v>2575.0030000000002</c:v>
                </c:pt>
                <c:pt idx="81">
                  <c:v>2749.9050000000002</c:v>
                </c:pt>
                <c:pt idx="82">
                  <c:v>3124.8269999999998</c:v>
                </c:pt>
                <c:pt idx="83">
                  <c:v>3068.7000000000003</c:v>
                </c:pt>
                <c:pt idx="84">
                  <c:v>3066.3150000000001</c:v>
                </c:pt>
                <c:pt idx="85">
                  <c:v>3339</c:v>
                </c:pt>
                <c:pt idx="86">
                  <c:v>3593.4</c:v>
                </c:pt>
                <c:pt idx="87">
                  <c:v>3933.66</c:v>
                </c:pt>
                <c:pt idx="88">
                  <c:v>3847.7999999999997</c:v>
                </c:pt>
                <c:pt idx="89">
                  <c:v>3839.85</c:v>
                </c:pt>
                <c:pt idx="90">
                  <c:v>3943.2000000000003</c:v>
                </c:pt>
                <c:pt idx="91">
                  <c:v>3927.2999999999997</c:v>
                </c:pt>
                <c:pt idx="92">
                  <c:v>3747.63</c:v>
                </c:pt>
                <c:pt idx="93">
                  <c:v>3520.26</c:v>
                </c:pt>
                <c:pt idx="94">
                  <c:v>3507.54</c:v>
                </c:pt>
                <c:pt idx="95">
                  <c:v>3590.22</c:v>
                </c:pt>
                <c:pt idx="96">
                  <c:v>3529.7999999999997</c:v>
                </c:pt>
                <c:pt idx="97">
                  <c:v>3504.3599999999997</c:v>
                </c:pt>
                <c:pt idx="98">
                  <c:v>3016.23</c:v>
                </c:pt>
                <c:pt idx="99">
                  <c:v>3087.78</c:v>
                </c:pt>
                <c:pt idx="100">
                  <c:v>3108.8</c:v>
                </c:pt>
                <c:pt idx="101">
                  <c:v>3328</c:v>
                </c:pt>
                <c:pt idx="102">
                  <c:v>3345.6</c:v>
                </c:pt>
                <c:pt idx="103">
                  <c:v>3371.2</c:v>
                </c:pt>
                <c:pt idx="104">
                  <c:v>3628.94</c:v>
                </c:pt>
                <c:pt idx="105">
                  <c:v>3450.23</c:v>
                </c:pt>
                <c:pt idx="106">
                  <c:v>3508.19</c:v>
                </c:pt>
                <c:pt idx="107">
                  <c:v>3785.11</c:v>
                </c:pt>
                <c:pt idx="108">
                  <c:v>4223.03</c:v>
                </c:pt>
                <c:pt idx="109">
                  <c:v>4460.8</c:v>
                </c:pt>
                <c:pt idx="110">
                  <c:v>4560.84</c:v>
                </c:pt>
                <c:pt idx="111">
                  <c:v>4603.4800000000005</c:v>
                </c:pt>
                <c:pt idx="112">
                  <c:v>4347.75</c:v>
                </c:pt>
                <c:pt idx="113">
                  <c:v>3943.4999999999995</c:v>
                </c:pt>
                <c:pt idx="114">
                  <c:v>4179.45</c:v>
                </c:pt>
                <c:pt idx="115">
                  <c:v>4455</c:v>
                </c:pt>
                <c:pt idx="116">
                  <c:v>4387.3500000000004</c:v>
                </c:pt>
                <c:pt idx="117">
                  <c:v>4545.8</c:v>
                </c:pt>
                <c:pt idx="118">
                  <c:v>4265.3</c:v>
                </c:pt>
                <c:pt idx="119">
                  <c:v>4209.2</c:v>
                </c:pt>
                <c:pt idx="120">
                  <c:v>4174.49</c:v>
                </c:pt>
                <c:pt idx="121">
                  <c:v>4255.8</c:v>
                </c:pt>
                <c:pt idx="122">
                  <c:v>4207.3599999999997</c:v>
                </c:pt>
                <c:pt idx="123">
                  <c:v>4207.3599999999997</c:v>
                </c:pt>
                <c:pt idx="124">
                  <c:v>3939.21</c:v>
                </c:pt>
                <c:pt idx="125">
                  <c:v>3998.43</c:v>
                </c:pt>
                <c:pt idx="126">
                  <c:v>4263.9000000000005</c:v>
                </c:pt>
                <c:pt idx="127">
                  <c:v>4448.7299999999996</c:v>
                </c:pt>
                <c:pt idx="128">
                  <c:v>4399.32</c:v>
                </c:pt>
                <c:pt idx="129">
                  <c:v>4445.4399999999996</c:v>
                </c:pt>
                <c:pt idx="130">
                  <c:v>4495.12</c:v>
                </c:pt>
                <c:pt idx="131">
                  <c:v>4864.96</c:v>
                </c:pt>
                <c:pt idx="132">
                  <c:v>4629.4399999999996</c:v>
                </c:pt>
                <c:pt idx="133">
                  <c:v>4467.5200000000004</c:v>
                </c:pt>
                <c:pt idx="134">
                  <c:v>4226.4799999999996</c:v>
                </c:pt>
                <c:pt idx="135">
                  <c:v>4193.3599999999997</c:v>
                </c:pt>
                <c:pt idx="136">
                  <c:v>4388.4000000000005</c:v>
                </c:pt>
                <c:pt idx="137">
                  <c:v>4226.4799999999996</c:v>
                </c:pt>
                <c:pt idx="138">
                  <c:v>4508</c:v>
                </c:pt>
                <c:pt idx="139">
                  <c:v>4243.04</c:v>
                </c:pt>
                <c:pt idx="140">
                  <c:v>4232</c:v>
                </c:pt>
                <c:pt idx="141">
                  <c:v>4208.08</c:v>
                </c:pt>
                <c:pt idx="142">
                  <c:v>3987.28</c:v>
                </c:pt>
                <c:pt idx="143">
                  <c:v>4123.4399999999996</c:v>
                </c:pt>
                <c:pt idx="144">
                  <c:v>4425.6000000000004</c:v>
                </c:pt>
                <c:pt idx="145">
                  <c:v>4684.7999999999993</c:v>
                </c:pt>
                <c:pt idx="146">
                  <c:v>4869.12</c:v>
                </c:pt>
              </c:numCache>
            </c:numRef>
          </c:val>
          <c:smooth val="0"/>
          <c:extLst>
            <c:ext xmlns:c16="http://schemas.microsoft.com/office/drawing/2014/chart" uri="{C3380CC4-5D6E-409C-BE32-E72D297353CC}">
              <c16:uniqueId val="{00000000-6DD6-46BD-8252-AAF5D66D8318}"/>
            </c:ext>
          </c:extLst>
        </c:ser>
        <c:ser>
          <c:idx val="1"/>
          <c:order val="1"/>
          <c:tx>
            <c:strRef>
              <c:f>'Mensal  (4)'!$S$1</c:f>
              <c:strCache>
                <c:ptCount val="1"/>
                <c:pt idx="0">
                  <c:v>CDI</c:v>
                </c:pt>
              </c:strCache>
            </c:strRef>
          </c:tx>
          <c:spPr>
            <a:ln w="38100" cap="rnd">
              <a:solidFill>
                <a:srgbClr val="F66727"/>
              </a:solidFill>
              <a:round/>
            </a:ln>
            <a:effectLst/>
          </c:spPr>
          <c:marker>
            <c:symbol val="none"/>
          </c:marker>
          <c:cat>
            <c:numRef>
              <c:f>'Mensal  (4)'!$Q$2:$Q$148</c:f>
              <c:numCache>
                <c:formatCode>m/d/yyyy</c:formatCode>
                <c:ptCount val="147"/>
                <c:pt idx="0">
                  <c:v>41274</c:v>
                </c:pt>
                <c:pt idx="1">
                  <c:v>41305</c:v>
                </c:pt>
                <c:pt idx="2">
                  <c:v>41333</c:v>
                </c:pt>
                <c:pt idx="3">
                  <c:v>41363</c:v>
                </c:pt>
                <c:pt idx="4">
                  <c:v>41394</c:v>
                </c:pt>
                <c:pt idx="5">
                  <c:v>41425</c:v>
                </c:pt>
                <c:pt idx="6">
                  <c:v>41455</c:v>
                </c:pt>
                <c:pt idx="7">
                  <c:v>41486</c:v>
                </c:pt>
                <c:pt idx="8">
                  <c:v>41516</c:v>
                </c:pt>
                <c:pt idx="9">
                  <c:v>41547</c:v>
                </c:pt>
                <c:pt idx="10">
                  <c:v>41578</c:v>
                </c:pt>
                <c:pt idx="11">
                  <c:v>41608</c:v>
                </c:pt>
                <c:pt idx="12">
                  <c:v>41639</c:v>
                </c:pt>
                <c:pt idx="13">
                  <c:v>41669</c:v>
                </c:pt>
                <c:pt idx="14">
                  <c:v>41698</c:v>
                </c:pt>
                <c:pt idx="15">
                  <c:v>41759</c:v>
                </c:pt>
                <c:pt idx="16">
                  <c:v>41790</c:v>
                </c:pt>
                <c:pt idx="17">
                  <c:v>41820</c:v>
                </c:pt>
                <c:pt idx="18">
                  <c:v>41851</c:v>
                </c:pt>
                <c:pt idx="19">
                  <c:v>41880</c:v>
                </c:pt>
                <c:pt idx="20">
                  <c:v>41882</c:v>
                </c:pt>
                <c:pt idx="21">
                  <c:v>41912</c:v>
                </c:pt>
                <c:pt idx="22">
                  <c:v>41943</c:v>
                </c:pt>
                <c:pt idx="23">
                  <c:v>41973</c:v>
                </c:pt>
                <c:pt idx="24">
                  <c:v>41978</c:v>
                </c:pt>
                <c:pt idx="25">
                  <c:v>42004</c:v>
                </c:pt>
                <c:pt idx="26">
                  <c:v>42035</c:v>
                </c:pt>
                <c:pt idx="27">
                  <c:v>42063</c:v>
                </c:pt>
                <c:pt idx="28">
                  <c:v>42094</c:v>
                </c:pt>
                <c:pt idx="29">
                  <c:v>42124</c:v>
                </c:pt>
                <c:pt idx="30">
                  <c:v>42155</c:v>
                </c:pt>
                <c:pt idx="31">
                  <c:v>42163</c:v>
                </c:pt>
                <c:pt idx="32">
                  <c:v>42185</c:v>
                </c:pt>
                <c:pt idx="33">
                  <c:v>42216</c:v>
                </c:pt>
                <c:pt idx="34">
                  <c:v>42247</c:v>
                </c:pt>
                <c:pt idx="35">
                  <c:v>42277</c:v>
                </c:pt>
                <c:pt idx="36">
                  <c:v>42308</c:v>
                </c:pt>
                <c:pt idx="37">
                  <c:v>42338</c:v>
                </c:pt>
                <c:pt idx="38">
                  <c:v>42345</c:v>
                </c:pt>
                <c:pt idx="39">
                  <c:v>42369</c:v>
                </c:pt>
                <c:pt idx="40">
                  <c:v>42400</c:v>
                </c:pt>
                <c:pt idx="41">
                  <c:v>42429</c:v>
                </c:pt>
                <c:pt idx="42">
                  <c:v>42460</c:v>
                </c:pt>
                <c:pt idx="43">
                  <c:v>42490</c:v>
                </c:pt>
                <c:pt idx="44">
                  <c:v>42521</c:v>
                </c:pt>
                <c:pt idx="45">
                  <c:v>42551</c:v>
                </c:pt>
                <c:pt idx="46">
                  <c:v>42552</c:v>
                </c:pt>
                <c:pt idx="47">
                  <c:v>42582</c:v>
                </c:pt>
                <c:pt idx="48">
                  <c:v>42613</c:v>
                </c:pt>
                <c:pt idx="49">
                  <c:v>42643</c:v>
                </c:pt>
                <c:pt idx="50">
                  <c:v>42674</c:v>
                </c:pt>
                <c:pt idx="51">
                  <c:v>42704</c:v>
                </c:pt>
                <c:pt idx="52">
                  <c:v>42735</c:v>
                </c:pt>
                <c:pt idx="53">
                  <c:v>42755</c:v>
                </c:pt>
                <c:pt idx="54">
                  <c:v>42766</c:v>
                </c:pt>
                <c:pt idx="55">
                  <c:v>42794</c:v>
                </c:pt>
                <c:pt idx="56">
                  <c:v>42825</c:v>
                </c:pt>
                <c:pt idx="57">
                  <c:v>42855</c:v>
                </c:pt>
                <c:pt idx="58">
                  <c:v>42886</c:v>
                </c:pt>
                <c:pt idx="59">
                  <c:v>42899</c:v>
                </c:pt>
                <c:pt idx="60">
                  <c:v>42916</c:v>
                </c:pt>
                <c:pt idx="61">
                  <c:v>42947</c:v>
                </c:pt>
                <c:pt idx="62">
                  <c:v>42978</c:v>
                </c:pt>
                <c:pt idx="63">
                  <c:v>43008</c:v>
                </c:pt>
                <c:pt idx="64">
                  <c:v>43039</c:v>
                </c:pt>
                <c:pt idx="65">
                  <c:v>43069</c:v>
                </c:pt>
                <c:pt idx="66">
                  <c:v>43100</c:v>
                </c:pt>
                <c:pt idx="67">
                  <c:v>43131</c:v>
                </c:pt>
                <c:pt idx="68">
                  <c:v>43159</c:v>
                </c:pt>
                <c:pt idx="69">
                  <c:v>43190</c:v>
                </c:pt>
                <c:pt idx="70">
                  <c:v>43220</c:v>
                </c:pt>
                <c:pt idx="71">
                  <c:v>43251</c:v>
                </c:pt>
                <c:pt idx="72">
                  <c:v>43266</c:v>
                </c:pt>
                <c:pt idx="73">
                  <c:v>43269</c:v>
                </c:pt>
                <c:pt idx="74">
                  <c:v>43281</c:v>
                </c:pt>
                <c:pt idx="75">
                  <c:v>43312</c:v>
                </c:pt>
                <c:pt idx="76">
                  <c:v>43343</c:v>
                </c:pt>
                <c:pt idx="77">
                  <c:v>43373</c:v>
                </c:pt>
                <c:pt idx="78">
                  <c:v>43404</c:v>
                </c:pt>
                <c:pt idx="79">
                  <c:v>43434</c:v>
                </c:pt>
                <c:pt idx="80">
                  <c:v>43451</c:v>
                </c:pt>
                <c:pt idx="81">
                  <c:v>43465</c:v>
                </c:pt>
                <c:pt idx="82">
                  <c:v>43496</c:v>
                </c:pt>
                <c:pt idx="83">
                  <c:v>43524</c:v>
                </c:pt>
                <c:pt idx="84">
                  <c:v>43555</c:v>
                </c:pt>
                <c:pt idx="85">
                  <c:v>43585</c:v>
                </c:pt>
                <c:pt idx="86">
                  <c:v>43616</c:v>
                </c:pt>
                <c:pt idx="87">
                  <c:v>43646</c:v>
                </c:pt>
                <c:pt idx="88">
                  <c:v>43677</c:v>
                </c:pt>
                <c:pt idx="89">
                  <c:v>43696</c:v>
                </c:pt>
                <c:pt idx="90">
                  <c:v>43708</c:v>
                </c:pt>
                <c:pt idx="91">
                  <c:v>43738</c:v>
                </c:pt>
                <c:pt idx="92">
                  <c:v>43769</c:v>
                </c:pt>
                <c:pt idx="93">
                  <c:v>43799</c:v>
                </c:pt>
                <c:pt idx="94">
                  <c:v>43802</c:v>
                </c:pt>
                <c:pt idx="95">
                  <c:v>43830</c:v>
                </c:pt>
                <c:pt idx="96">
                  <c:v>43861</c:v>
                </c:pt>
                <c:pt idx="97">
                  <c:v>43890</c:v>
                </c:pt>
                <c:pt idx="98">
                  <c:v>43921</c:v>
                </c:pt>
                <c:pt idx="99">
                  <c:v>43950</c:v>
                </c:pt>
                <c:pt idx="100">
                  <c:v>43951</c:v>
                </c:pt>
                <c:pt idx="101">
                  <c:v>43982</c:v>
                </c:pt>
                <c:pt idx="102">
                  <c:v>44012</c:v>
                </c:pt>
                <c:pt idx="103">
                  <c:v>44028</c:v>
                </c:pt>
                <c:pt idx="104">
                  <c:v>44043</c:v>
                </c:pt>
                <c:pt idx="105">
                  <c:v>44074</c:v>
                </c:pt>
                <c:pt idx="106">
                  <c:v>44104</c:v>
                </c:pt>
                <c:pt idx="107">
                  <c:v>44135</c:v>
                </c:pt>
                <c:pt idx="108">
                  <c:v>44148</c:v>
                </c:pt>
                <c:pt idx="109">
                  <c:v>44165</c:v>
                </c:pt>
                <c:pt idx="110">
                  <c:v>44196</c:v>
                </c:pt>
                <c:pt idx="111">
                  <c:v>44214</c:v>
                </c:pt>
                <c:pt idx="112">
                  <c:v>44227</c:v>
                </c:pt>
                <c:pt idx="113">
                  <c:v>44255</c:v>
                </c:pt>
                <c:pt idx="114">
                  <c:v>44286</c:v>
                </c:pt>
                <c:pt idx="115">
                  <c:v>44316</c:v>
                </c:pt>
                <c:pt idx="116">
                  <c:v>44337</c:v>
                </c:pt>
                <c:pt idx="117">
                  <c:v>44347</c:v>
                </c:pt>
                <c:pt idx="118">
                  <c:v>44377</c:v>
                </c:pt>
                <c:pt idx="119">
                  <c:v>44392</c:v>
                </c:pt>
                <c:pt idx="120">
                  <c:v>44408</c:v>
                </c:pt>
                <c:pt idx="121">
                  <c:v>44439</c:v>
                </c:pt>
                <c:pt idx="122">
                  <c:v>44469</c:v>
                </c:pt>
                <c:pt idx="123">
                  <c:v>44500</c:v>
                </c:pt>
                <c:pt idx="124">
                  <c:v>44516</c:v>
                </c:pt>
                <c:pt idx="125">
                  <c:v>44517</c:v>
                </c:pt>
                <c:pt idx="126">
                  <c:v>44530</c:v>
                </c:pt>
                <c:pt idx="127">
                  <c:v>44561</c:v>
                </c:pt>
                <c:pt idx="128">
                  <c:v>44579</c:v>
                </c:pt>
                <c:pt idx="129">
                  <c:v>44592</c:v>
                </c:pt>
                <c:pt idx="130">
                  <c:v>44620</c:v>
                </c:pt>
                <c:pt idx="131">
                  <c:v>44651</c:v>
                </c:pt>
                <c:pt idx="132">
                  <c:v>44681</c:v>
                </c:pt>
                <c:pt idx="133">
                  <c:v>44712</c:v>
                </c:pt>
                <c:pt idx="134">
                  <c:v>44742</c:v>
                </c:pt>
                <c:pt idx="135">
                  <c:v>44773</c:v>
                </c:pt>
                <c:pt idx="136">
                  <c:v>44804</c:v>
                </c:pt>
                <c:pt idx="137">
                  <c:v>44834</c:v>
                </c:pt>
                <c:pt idx="138">
                  <c:v>44865</c:v>
                </c:pt>
                <c:pt idx="139">
                  <c:v>44895</c:v>
                </c:pt>
                <c:pt idx="140">
                  <c:v>44926</c:v>
                </c:pt>
                <c:pt idx="141">
                  <c:v>44957</c:v>
                </c:pt>
                <c:pt idx="142">
                  <c:v>45016</c:v>
                </c:pt>
                <c:pt idx="143">
                  <c:v>45027</c:v>
                </c:pt>
                <c:pt idx="144">
                  <c:v>45046</c:v>
                </c:pt>
                <c:pt idx="145">
                  <c:v>45077</c:v>
                </c:pt>
                <c:pt idx="146">
                  <c:v>45107</c:v>
                </c:pt>
              </c:numCache>
            </c:numRef>
          </c:cat>
          <c:val>
            <c:numRef>
              <c:f>'Mensal  (4)'!$S$2:$S$148</c:f>
              <c:numCache>
                <c:formatCode>_(* #,##0.00_);_(* \(#,##0.00\);_(* "-"??_);_(@_)</c:formatCode>
                <c:ptCount val="147"/>
                <c:pt idx="0" formatCode="_-* #,##0_-;\-* #,##0_-;_-* &quot;-&quot;??_-;_-@_-">
                  <c:v>1000</c:v>
                </c:pt>
                <c:pt idx="1">
                  <c:v>1005.8663725105627</c:v>
                </c:pt>
                <c:pt idx="2">
                  <c:v>1010.7104113360014</c:v>
                </c:pt>
                <c:pt idx="3">
                  <c:v>1010.7104113360014</c:v>
                </c:pt>
                <c:pt idx="4">
                  <c:v>1022.2504661941779</c:v>
                </c:pt>
                <c:pt idx="5">
                  <c:v>1028.2292688735347</c:v>
                </c:pt>
                <c:pt idx="6">
                  <c:v>1028.2292688735347</c:v>
                </c:pt>
                <c:pt idx="7">
                  <c:v>1041.6469642195545</c:v>
                </c:pt>
                <c:pt idx="8">
                  <c:v>1048.8947040077383</c:v>
                </c:pt>
                <c:pt idx="9">
                  <c:v>1056.2279577047177</c:v>
                </c:pt>
                <c:pt idx="10">
                  <c:v>1064.7133606156801</c:v>
                </c:pt>
                <c:pt idx="11">
                  <c:v>1064.7133606156801</c:v>
                </c:pt>
                <c:pt idx="12">
                  <c:v>1080.6463079022078</c:v>
                </c:pt>
                <c:pt idx="13">
                  <c:v>1089.2986840603971</c:v>
                </c:pt>
                <c:pt idx="14">
                  <c:v>1098.2503306381268</c:v>
                </c:pt>
                <c:pt idx="15">
                  <c:v>1115.6202375977261</c:v>
                </c:pt>
                <c:pt idx="16">
                  <c:v>1115.6202375977261</c:v>
                </c:pt>
                <c:pt idx="17">
                  <c:v>1134.3928919361508</c:v>
                </c:pt>
                <c:pt idx="18">
                  <c:v>1145.0609372980869</c:v>
                </c:pt>
                <c:pt idx="19">
                  <c:v>1154.9030507221269</c:v>
                </c:pt>
                <c:pt idx="20">
                  <c:v>1154.9030507221269</c:v>
                </c:pt>
                <c:pt idx="21">
                  <c:v>1165.3039037697383</c:v>
                </c:pt>
                <c:pt idx="22">
                  <c:v>1176.3137309277129</c:v>
                </c:pt>
                <c:pt idx="23">
                  <c:v>1176.3137309277129</c:v>
                </c:pt>
                <c:pt idx="24">
                  <c:v>1188.6871483605955</c:v>
                </c:pt>
                <c:pt idx="25">
                  <c:v>1197.5074885023441</c:v>
                </c:pt>
                <c:pt idx="26">
                  <c:v>1197.5074885023441</c:v>
                </c:pt>
                <c:pt idx="27">
                  <c:v>1197.5074885023441</c:v>
                </c:pt>
                <c:pt idx="28">
                  <c:v>1231.1550371126007</c:v>
                </c:pt>
                <c:pt idx="29">
                  <c:v>1242.829762119313</c:v>
                </c:pt>
                <c:pt idx="30">
                  <c:v>1242.829762119313</c:v>
                </c:pt>
                <c:pt idx="31">
                  <c:v>1258.1779490309846</c:v>
                </c:pt>
                <c:pt idx="32">
                  <c:v>1268.4339409552922</c:v>
                </c:pt>
                <c:pt idx="33">
                  <c:v>1283.3673853681209</c:v>
                </c:pt>
                <c:pt idx="34">
                  <c:v>1297.5804196226732</c:v>
                </c:pt>
                <c:pt idx="35">
                  <c:v>1311.9508603572594</c:v>
                </c:pt>
                <c:pt idx="36">
                  <c:v>1311.9508603572594</c:v>
                </c:pt>
                <c:pt idx="37">
                  <c:v>1340.4803916117676</c:v>
                </c:pt>
                <c:pt idx="38">
                  <c:v>1344.0025806195513</c:v>
                </c:pt>
                <c:pt idx="39">
                  <c:v>1356.0473944502785</c:v>
                </c:pt>
                <c:pt idx="40">
                  <c:v>1356.0473944502785</c:v>
                </c:pt>
                <c:pt idx="41">
                  <c:v>1384.0764766326577</c:v>
                </c:pt>
                <c:pt idx="42">
                  <c:v>1400.1389854813856</c:v>
                </c:pt>
                <c:pt idx="43">
                  <c:v>1400.1389854813856</c:v>
                </c:pt>
                <c:pt idx="44">
                  <c:v>1430.5727335918007</c:v>
                </c:pt>
                <c:pt idx="45">
                  <c:v>1447.1748416255793</c:v>
                </c:pt>
                <c:pt idx="46">
                  <c:v>1447.9340440192445</c:v>
                </c:pt>
                <c:pt idx="47">
                  <c:v>1447.9340440192445</c:v>
                </c:pt>
                <c:pt idx="48">
                  <c:v>1480.9593069178434</c:v>
                </c:pt>
                <c:pt idx="49">
                  <c:v>1497.3606317440806</c:v>
                </c:pt>
                <c:pt idx="50">
                  <c:v>1513.0445276163732</c:v>
                </c:pt>
                <c:pt idx="51">
                  <c:v>1528.7331772003847</c:v>
                </c:pt>
                <c:pt idx="52">
                  <c:v>1528.7331772003847</c:v>
                </c:pt>
                <c:pt idx="53">
                  <c:v>1557.3978246418956</c:v>
                </c:pt>
                <c:pt idx="54">
                  <c:v>1562.6479532688957</c:v>
                </c:pt>
                <c:pt idx="55">
                  <c:v>1562.6479532688957</c:v>
                </c:pt>
                <c:pt idx="56">
                  <c:v>1592.7022442368502</c:v>
                </c:pt>
                <c:pt idx="57">
                  <c:v>1592.7022442368502</c:v>
                </c:pt>
                <c:pt idx="58">
                  <c:v>1620.0667405984541</c:v>
                </c:pt>
                <c:pt idx="59">
                  <c:v>1625.6646461790103</c:v>
                </c:pt>
                <c:pt idx="60">
                  <c:v>1633.158620554814</c:v>
                </c:pt>
                <c:pt idx="61">
                  <c:v>1646.1775282859026</c:v>
                </c:pt>
                <c:pt idx="62">
                  <c:v>1659.3709012424515</c:v>
                </c:pt>
                <c:pt idx="63">
                  <c:v>1659.3709012424515</c:v>
                </c:pt>
                <c:pt idx="64">
                  <c:v>1680.6933102836115</c:v>
                </c:pt>
                <c:pt idx="65">
                  <c:v>1690.230301054969</c:v>
                </c:pt>
                <c:pt idx="66">
                  <c:v>1690.230301054969</c:v>
                </c:pt>
                <c:pt idx="67">
                  <c:v>1709.231516513863</c:v>
                </c:pt>
                <c:pt idx="68">
                  <c:v>1717.1782925097484</c:v>
                </c:pt>
                <c:pt idx="69">
                  <c:v>1717.1782925097484</c:v>
                </c:pt>
                <c:pt idx="70">
                  <c:v>1735.2400691167909</c:v>
                </c:pt>
                <c:pt idx="71">
                  <c:v>1735.2400691167909</c:v>
                </c:pt>
                <c:pt idx="72">
                  <c:v>1748.9425802189257</c:v>
                </c:pt>
                <c:pt idx="73">
                  <c:v>1749.3725227734208</c:v>
                </c:pt>
                <c:pt idx="74">
                  <c:v>1749.3725227734208</c:v>
                </c:pt>
                <c:pt idx="75">
                  <c:v>1762.7532946837223</c:v>
                </c:pt>
                <c:pt idx="76">
                  <c:v>1772.7470583253439</c:v>
                </c:pt>
                <c:pt idx="77">
                  <c:v>1772.7470583253439</c:v>
                </c:pt>
                <c:pt idx="78">
                  <c:v>1790.7173310014002</c:v>
                </c:pt>
                <c:pt idx="79">
                  <c:v>1799.5554768681561</c:v>
                </c:pt>
                <c:pt idx="80">
                  <c:v>1804.4350367915238</c:v>
                </c:pt>
                <c:pt idx="81">
                  <c:v>1808.437243702336</c:v>
                </c:pt>
                <c:pt idx="82">
                  <c:v>1818.257826420893</c:v>
                </c:pt>
                <c:pt idx="83">
                  <c:v>1827.2318993329429</c:v>
                </c:pt>
                <c:pt idx="84">
                  <c:v>1827.2318993329429</c:v>
                </c:pt>
                <c:pt idx="85">
                  <c:v>1845.3131392807566</c:v>
                </c:pt>
                <c:pt idx="86">
                  <c:v>1855.3339737825092</c:v>
                </c:pt>
                <c:pt idx="87">
                  <c:v>1855.3339737825092</c:v>
                </c:pt>
                <c:pt idx="88">
                  <c:v>1874.6160159094554</c:v>
                </c:pt>
                <c:pt idx="89">
                  <c:v>1880.1680112605613</c:v>
                </c:pt>
                <c:pt idx="90">
                  <c:v>1880.1680112605613</c:v>
                </c:pt>
                <c:pt idx="91">
                  <c:v>1892.7586669693064</c:v>
                </c:pt>
                <c:pt idx="92">
                  <c:v>1901.8299797285026</c:v>
                </c:pt>
                <c:pt idx="93">
                  <c:v>1901.8299797285026</c:v>
                </c:pt>
                <c:pt idx="94">
                  <c:v>1909.7892075830136</c:v>
                </c:pt>
                <c:pt idx="95">
                  <c:v>1916.2176047769253</c:v>
                </c:pt>
                <c:pt idx="96">
                  <c:v>1923.4347196709796</c:v>
                </c:pt>
                <c:pt idx="97">
                  <c:v>1923.4347196709796</c:v>
                </c:pt>
                <c:pt idx="98">
                  <c:v>1935.6118246031565</c:v>
                </c:pt>
                <c:pt idx="99">
                  <c:v>1940.85073987792</c:v>
                </c:pt>
                <c:pt idx="100">
                  <c:v>1941.1268647126824</c:v>
                </c:pt>
                <c:pt idx="101">
                  <c:v>1941.1268647126824</c:v>
                </c:pt>
                <c:pt idx="102">
                  <c:v>1949.8355847363039</c:v>
                </c:pt>
                <c:pt idx="103">
                  <c:v>1951.8117635688373</c:v>
                </c:pt>
                <c:pt idx="104">
                  <c:v>1953.6250202551512</c:v>
                </c:pt>
                <c:pt idx="105">
                  <c:v>1956.7486634443731</c:v>
                </c:pt>
                <c:pt idx="106">
                  <c:v>1959.8200975814193</c:v>
                </c:pt>
                <c:pt idx="107">
                  <c:v>1959.8200975814193</c:v>
                </c:pt>
                <c:pt idx="108">
                  <c:v>1964.2162256655572</c:v>
                </c:pt>
                <c:pt idx="109">
                  <c:v>1965.8306088757533</c:v>
                </c:pt>
                <c:pt idx="110">
                  <c:v>1969.063356956312</c:v>
                </c:pt>
                <c:pt idx="111">
                  <c:v>1970.6817240086491</c:v>
                </c:pt>
                <c:pt idx="112">
                  <c:v>1970.6817240086491</c:v>
                </c:pt>
                <c:pt idx="113">
                  <c:v>1970.6817240086491</c:v>
                </c:pt>
                <c:pt idx="114">
                  <c:v>1978.6303645255714</c:v>
                </c:pt>
                <c:pt idx="115">
                  <c:v>1982.7416577193901</c:v>
                </c:pt>
                <c:pt idx="116">
                  <c:v>1986.5194568350501</c:v>
                </c:pt>
                <c:pt idx="117">
                  <c:v>1988.1015291671215</c:v>
                </c:pt>
                <c:pt idx="118">
                  <c:v>1994.2204875429782</c:v>
                </c:pt>
                <c:pt idx="119">
                  <c:v>1997.7632260398939</c:v>
                </c:pt>
                <c:pt idx="120">
                  <c:v>1997.7632260398939</c:v>
                </c:pt>
                <c:pt idx="121">
                  <c:v>2009.8769236104761</c:v>
                </c:pt>
                <c:pt idx="122">
                  <c:v>2018.7605661915843</c:v>
                </c:pt>
                <c:pt idx="123">
                  <c:v>2018.7605661915843</c:v>
                </c:pt>
                <c:pt idx="124">
                  <c:v>2034.5142724896996</c:v>
                </c:pt>
                <c:pt idx="125">
                  <c:v>2035.1094899852594</c:v>
                </c:pt>
                <c:pt idx="126">
                  <c:v>2040.4742897192577</c:v>
                </c:pt>
                <c:pt idx="127">
                  <c:v>2056.1672322712611</c:v>
                </c:pt>
                <c:pt idx="128">
                  <c:v>2064.7576084149055</c:v>
                </c:pt>
                <c:pt idx="129">
                  <c:v>2071.2239347375166</c:v>
                </c:pt>
                <c:pt idx="130">
                  <c:v>2071.2239347375166</c:v>
                </c:pt>
                <c:pt idx="131">
                  <c:v>2106.2088640236607</c:v>
                </c:pt>
                <c:pt idx="132">
                  <c:v>2106.2088640236607</c:v>
                </c:pt>
                <c:pt idx="133">
                  <c:v>2145.7538756817989</c:v>
                </c:pt>
                <c:pt idx="134">
                  <c:v>2167.5400497109649</c:v>
                </c:pt>
                <c:pt idx="135">
                  <c:v>2167.5400497109649</c:v>
                </c:pt>
                <c:pt idx="136">
                  <c:v>2215.5793430440026</c:v>
                </c:pt>
                <c:pt idx="137">
                  <c:v>2239.329960277496</c:v>
                </c:pt>
                <c:pt idx="138">
                  <c:v>2262.186260753258</c:v>
                </c:pt>
                <c:pt idx="139">
                  <c:v>2285.2758499719489</c:v>
                </c:pt>
                <c:pt idx="140">
                  <c:v>2285.2758499719489</c:v>
                </c:pt>
                <c:pt idx="141">
                  <c:v>2336.9058927418969</c:v>
                </c:pt>
                <c:pt idx="142">
                  <c:v>2386.0650352385287</c:v>
                </c:pt>
                <c:pt idx="143">
                  <c:v>2393.3452817523439</c:v>
                </c:pt>
                <c:pt idx="144">
                  <c:v>2393.3452817523439</c:v>
                </c:pt>
                <c:pt idx="145">
                  <c:v>2435.0215904838651</c:v>
                </c:pt>
                <c:pt idx="146">
                  <c:v>2461.1245896531104</c:v>
                </c:pt>
              </c:numCache>
            </c:numRef>
          </c:val>
          <c:smooth val="0"/>
          <c:extLst>
            <c:ext xmlns:c16="http://schemas.microsoft.com/office/drawing/2014/chart" uri="{C3380CC4-5D6E-409C-BE32-E72D297353CC}">
              <c16:uniqueId val="{00000001-6DD6-46BD-8252-AAF5D66D8318}"/>
            </c:ext>
          </c:extLst>
        </c:ser>
        <c:dLbls>
          <c:showLegendKey val="0"/>
          <c:showVal val="0"/>
          <c:showCatName val="0"/>
          <c:showSerName val="0"/>
          <c:showPercent val="0"/>
          <c:showBubbleSize val="0"/>
        </c:dLbls>
        <c:smooth val="0"/>
        <c:axId val="927862320"/>
        <c:axId val="267136480"/>
      </c:lineChart>
      <c:dateAx>
        <c:axId val="927862320"/>
        <c:scaling>
          <c:orientation val="minMax"/>
        </c:scaling>
        <c:delete val="0"/>
        <c:axPos val="b"/>
        <c:numFmt formatCode="[$-409]mmm\-yy;@" sourceLinked="0"/>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rgbClr val="011F57"/>
                </a:solidFill>
                <a:latin typeface="Segoe UI" panose="020B0502040204020203" pitchFamily="34" charset="0"/>
                <a:ea typeface="+mn-ea"/>
                <a:cs typeface="Segoe UI" panose="020B0502040204020203" pitchFamily="34" charset="0"/>
              </a:defRPr>
            </a:pPr>
            <a:endParaRPr lang="pt-BR"/>
          </a:p>
        </c:txPr>
        <c:crossAx val="267136480"/>
        <c:crosses val="autoZero"/>
        <c:auto val="1"/>
        <c:lblOffset val="100"/>
        <c:baseTimeUnit val="days"/>
        <c:majorUnit val="9"/>
        <c:majorTimeUnit val="months"/>
      </c:dateAx>
      <c:valAx>
        <c:axId val="267136480"/>
        <c:scaling>
          <c:orientation val="minMax"/>
        </c:scaling>
        <c:delete val="1"/>
        <c:axPos val="l"/>
        <c:numFmt formatCode="_-* #,##0_-;\-* #,##0_-;_-* &quot;-&quot;??_-;_-@_-" sourceLinked="1"/>
        <c:majorTickMark val="none"/>
        <c:minorTickMark val="none"/>
        <c:tickLblPos val="nextTo"/>
        <c:crossAx val="9278623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700" b="0" i="0" u="none" strike="noStrike" kern="1200" baseline="0">
              <a:solidFill>
                <a:srgbClr val="011F57"/>
              </a:solidFill>
              <a:latin typeface="Segoe UI" panose="020B0502040204020203" pitchFamily="34" charset="0"/>
              <a:ea typeface="+mn-ea"/>
              <a:cs typeface="Segoe UI" panose="020B0502040204020203" pitchFamily="34" charset="0"/>
            </a:defRPr>
          </a:pPr>
          <a:endParaRPr lang="pt-BR"/>
        </a:p>
      </c:txPr>
    </c:legend>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874594271183014"/>
          <c:y val="0.11446803063154221"/>
          <c:w val="0.79505300521850586"/>
          <c:h val="0.79505300521850586"/>
        </c:manualLayout>
      </c:layout>
      <c:doughnutChart>
        <c:varyColors val="0"/>
        <c:ser>
          <c:idx val="0"/>
          <c:order val="0"/>
          <c:spPr>
            <a:ln>
              <a:solidFill>
                <a:schemeClr val="bg1"/>
              </a:solidFill>
            </a:ln>
          </c:spPr>
          <c:dPt>
            <c:idx val="0"/>
            <c:bubble3D val="0"/>
            <c:spPr>
              <a:gradFill>
                <a:gsLst>
                  <a:gs pos="13000">
                    <a:srgbClr val="0098FF"/>
                  </a:gs>
                  <a:gs pos="100000">
                    <a:srgbClr val="7DCAFF"/>
                  </a:gs>
                </a:gsLst>
                <a:lin ang="5400000" scaled="1"/>
              </a:gradFill>
              <a:ln>
                <a:solidFill>
                  <a:schemeClr val="bg1"/>
                </a:solidFill>
              </a:ln>
            </c:spPr>
            <c:extLst>
              <c:ext xmlns:c16="http://schemas.microsoft.com/office/drawing/2014/chart" uri="{C3380CC4-5D6E-409C-BE32-E72D297353CC}">
                <c16:uniqueId val="{00000001-A90D-42B3-9D21-1215D98DD23A}"/>
              </c:ext>
            </c:extLst>
          </c:dPt>
          <c:dPt>
            <c:idx val="1"/>
            <c:bubble3D val="0"/>
            <c:spPr>
              <a:gradFill flip="none" rotWithShape="1">
                <a:gsLst>
                  <a:gs pos="13000">
                    <a:srgbClr val="F95810"/>
                  </a:gs>
                  <a:gs pos="100000">
                    <a:srgbClr val="ED9974"/>
                  </a:gs>
                </a:gsLst>
                <a:lin ang="0" scaled="1"/>
              </a:gradFill>
              <a:ln>
                <a:solidFill>
                  <a:schemeClr val="bg1"/>
                </a:solidFill>
              </a:ln>
            </c:spPr>
            <c:extLst>
              <c:ext xmlns:c16="http://schemas.microsoft.com/office/drawing/2014/chart" uri="{C3380CC4-5D6E-409C-BE32-E72D297353CC}">
                <c16:uniqueId val="{00000003-A90D-42B3-9D21-1215D98DD23A}"/>
              </c:ext>
            </c:extLst>
          </c:dPt>
          <c:dLbls>
            <c:spPr>
              <a:noFill/>
              <a:ln>
                <a:noFill/>
              </a:ln>
              <a:effectLst/>
            </c:spPr>
            <c:txPr>
              <a:bodyPr wrap="square" lIns="38100" tIns="19050" rIns="38100" bIns="19050" anchor="ctr">
                <a:spAutoFit/>
              </a:bodyPr>
              <a:lstStyle/>
              <a:p>
                <a:pPr>
                  <a:defRPr sz="1400" b="1">
                    <a:solidFill>
                      <a:schemeClr val="bg1"/>
                    </a:solidFill>
                  </a:defRPr>
                </a:pPr>
                <a:endParaRPr lang="pt-BR"/>
              </a:p>
            </c:txPr>
            <c:showLegendKey val="0"/>
            <c:showVal val="0"/>
            <c:showCatName val="0"/>
            <c:showSerName val="0"/>
            <c:showPercent val="1"/>
            <c:showBubbleSize val="0"/>
            <c:showLeaderLines val="1"/>
            <c:extLst>
              <c:ext xmlns:c15="http://schemas.microsoft.com/office/drawing/2012/chart" uri="{CE6537A1-D6FC-4f65-9D91-7224C49458BB}"/>
            </c:extLst>
          </c:dLbls>
          <c:val>
            <c:numRef>
              <c:f>Sheet1!$A$1:$A$2</c:f>
              <c:numCache>
                <c:formatCode>General</c:formatCode>
                <c:ptCount val="2"/>
                <c:pt idx="0">
                  <c:v>45</c:v>
                </c:pt>
                <c:pt idx="1">
                  <c:v>55</c:v>
                </c:pt>
              </c:numCache>
            </c:numRef>
          </c:val>
          <c:extLst>
            <c:ext xmlns:c16="http://schemas.microsoft.com/office/drawing/2014/chart" uri="{C3380CC4-5D6E-409C-BE32-E72D297353CC}">
              <c16:uniqueId val="{00000004-A90D-42B3-9D21-1215D98DD23A}"/>
            </c:ext>
          </c:extLst>
        </c:ser>
        <c:dLbls>
          <c:showLegendKey val="0"/>
          <c:showVal val="0"/>
          <c:showCatName val="0"/>
          <c:showSerName val="0"/>
          <c:showPercent val="0"/>
          <c:showBubbleSize val="0"/>
          <c:showLeaderLines val="1"/>
        </c:dLbls>
        <c:firstSliceAng val="44"/>
        <c:holeSize val="45"/>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137475460767746E-2"/>
          <c:y val="0.30458971858024597"/>
          <c:w val="0.89572536945343018"/>
          <c:h val="0.49563708901405334"/>
        </c:manualLayout>
      </c:layout>
      <c:barChart>
        <c:barDir val="col"/>
        <c:grouping val="clustered"/>
        <c:varyColors val="0"/>
        <c:ser>
          <c:idx val="0"/>
          <c:order val="0"/>
          <c:tx>
            <c:strRef>
              <c:f>Planilha1!$B$1</c:f>
              <c:strCache>
                <c:ptCount val="1"/>
                <c:pt idx="0">
                  <c:v>Série 1</c:v>
                </c:pt>
              </c:strCache>
            </c:strRef>
          </c:tx>
          <c:spPr>
            <a:gradFill>
              <a:gsLst>
                <a:gs pos="13000">
                  <a:srgbClr val="0098FF"/>
                </a:gs>
                <a:gs pos="100000">
                  <a:srgbClr val="7DCAFF"/>
                </a:gs>
              </a:gsLst>
              <a:lin ang="5400000" scaled="1"/>
            </a:gradFill>
            <a:ln>
              <a:noFill/>
            </a:ln>
            <a:effectLst/>
          </c:spPr>
          <c:invertIfNegative val="0"/>
          <c:dLbls>
            <c:dLbl>
              <c:idx val="0"/>
              <c:layout>
                <c:manualLayout>
                  <c:x val="0"/>
                  <c:y val="2.640825510025024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F2-4FB1-84FA-6CDAC6CBCE8F}"/>
                </c:ext>
              </c:extLst>
            </c:dLbl>
            <c:dLbl>
              <c:idx val="1"/>
              <c:layout>
                <c:manualLayout>
                  <c:x val="5.4316609166562557E-3"/>
                  <c:y val="1.6654442297294736E-3"/>
                </c:manualLayout>
              </c:layout>
              <c:tx>
                <c:rich>
                  <a:bodyPr rot="0" spcFirstLastPara="1" vertOverflow="ellipsis" vert="horz" wrap="square" lIns="38100" tIns="19050" rIns="38100" bIns="19050" anchor="ctr" anchorCtr="1">
                    <a:noAutofit/>
                  </a:bodyPr>
                  <a:lstStyle/>
                  <a:p>
                    <a:pPr>
                      <a:defRPr sz="1200" b="1" i="0" u="none" strike="noStrike" kern="1200" baseline="0" smtId="4294967295">
                        <a:solidFill>
                          <a:srgbClr val="002581"/>
                        </a:solidFill>
                        <a:latin typeface="Arial" panose="020B0604020202020204" pitchFamily="34" charset="0"/>
                        <a:ea typeface="+mn-ea"/>
                        <a:cs typeface="Arial" panose="020B0604020202020204" pitchFamily="34" charset="0"/>
                      </a:defRPr>
                    </a:pPr>
                    <a:r>
                      <a:rPr lang="en-US"/>
                      <a:t>1,296</a:t>
                    </a:r>
                  </a:p>
                </c:rich>
              </c:tx>
              <c:numFmt formatCode="#,##0" sourceLinked="0"/>
              <c:spPr>
                <a:noFill/>
                <a:ln>
                  <a:noFill/>
                </a:ln>
                <a:effectLst/>
              </c:sp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12F2-4FB1-84FA-6CDAC6CBCE8F}"/>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smtId="4294967295">
                    <a:solidFill>
                      <a:srgbClr val="002581"/>
                    </a:solidFill>
                    <a:latin typeface="Arial" panose="020B0604020202020204" pitchFamily="34" charset="0"/>
                    <a:ea typeface="+mn-ea"/>
                    <a:cs typeface="Arial" panose="020B0604020202020204" pitchFamily="34" charset="0"/>
                  </a:defRPr>
                </a:pPr>
                <a:endParaRPr lang="pt-B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ilha1!$A$2:$A$3</c:f>
              <c:strCache>
                <c:ptCount val="2"/>
                <c:pt idx="0">
                  <c:v>Cycle 13/14</c:v>
                </c:pt>
                <c:pt idx="1">
                  <c:v>Cycle 23/24</c:v>
                </c:pt>
              </c:strCache>
            </c:strRef>
          </c:cat>
          <c:val>
            <c:numRef>
              <c:f>Planilha1!$B$2:$B$3</c:f>
              <c:numCache>
                <c:formatCode>_-* #,##0_-;\-* #,##0_-;_-* "-"??_-;_-@_-</c:formatCode>
                <c:ptCount val="2"/>
                <c:pt idx="0">
                  <c:v>539</c:v>
                </c:pt>
                <c:pt idx="1">
                  <c:v>1296</c:v>
                </c:pt>
              </c:numCache>
            </c:numRef>
          </c:val>
          <c:extLst>
            <c:ext xmlns:c16="http://schemas.microsoft.com/office/drawing/2014/chart" uri="{C3380CC4-5D6E-409C-BE32-E72D297353CC}">
              <c16:uniqueId val="{00000002-4B93-496D-B177-BFC41D781E7B}"/>
            </c:ext>
          </c:extLst>
        </c:ser>
        <c:dLbls>
          <c:showLegendKey val="0"/>
          <c:showVal val="0"/>
          <c:showCatName val="0"/>
          <c:showSerName val="0"/>
          <c:showPercent val="0"/>
          <c:showBubbleSize val="0"/>
        </c:dLbls>
        <c:gapWidth val="40"/>
        <c:overlap val="-27"/>
        <c:axId val="145577216"/>
        <c:axId val="145576824"/>
      </c:barChart>
      <c:catAx>
        <c:axId val="145577216"/>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smtId="4294967295">
                <a:solidFill>
                  <a:srgbClr val="011F57"/>
                </a:solidFill>
                <a:latin typeface="Segoe UI Light" panose="020B0502040204020203" pitchFamily="34" charset="0"/>
                <a:ea typeface="+mn-ea"/>
                <a:cs typeface="Segoe UI Light" panose="020B0502040204020203" pitchFamily="34" charset="0"/>
              </a:defRPr>
            </a:pPr>
            <a:endParaRPr lang="pt-BR"/>
          </a:p>
        </c:txPr>
        <c:crossAx val="145576824"/>
        <c:crosses val="autoZero"/>
        <c:auto val="0"/>
        <c:lblAlgn val="ctr"/>
        <c:lblOffset val="100"/>
        <c:noMultiLvlLbl val="0"/>
      </c:catAx>
      <c:valAx>
        <c:axId val="145576824"/>
        <c:scaling>
          <c:orientation val="minMax"/>
        </c:scaling>
        <c:delete val="1"/>
        <c:axPos val="l"/>
        <c:numFmt formatCode="_-* #,##0_-;\-* #,##0_-;_-* &quot;-&quot;??_-;_-@_-" sourceLinked="1"/>
        <c:majorTickMark val="none"/>
        <c:minorTickMark val="none"/>
        <c:tickLblPos val="nextTo"/>
        <c:crossAx val="145577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smtId="4294967295">
          <a:solidFill>
            <a:srgbClr val="001C6A"/>
          </a:solidFill>
          <a:latin typeface="Segoe UI Light" panose="020B0502040204020203" pitchFamily="34" charset="0"/>
          <a:cs typeface="Segoe UI Light" panose="020B0502040204020203" pitchFamily="34" charset="0"/>
        </a:defRPr>
      </a:pPr>
      <a:endParaRPr lang="pt-B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247349739074707"/>
          <c:y val="0"/>
          <c:w val="0.71992146968841553"/>
          <c:h val="0.94440644979476929"/>
        </c:manualLayout>
      </c:layout>
      <c:doughnutChart>
        <c:varyColors val="0"/>
        <c:ser>
          <c:idx val="0"/>
          <c:order val="0"/>
          <c:spPr>
            <a:ln>
              <a:solidFill>
                <a:schemeClr val="bg1"/>
              </a:solidFill>
            </a:ln>
          </c:spPr>
          <c:dPt>
            <c:idx val="0"/>
            <c:bubble3D val="0"/>
            <c:spPr>
              <a:gradFill>
                <a:gsLst>
                  <a:gs pos="13000">
                    <a:srgbClr val="0098FF"/>
                  </a:gs>
                  <a:gs pos="100000">
                    <a:srgbClr val="7DCAFF"/>
                  </a:gs>
                </a:gsLst>
                <a:lin ang="5400000" scaled="1"/>
              </a:gradFill>
              <a:ln>
                <a:solidFill>
                  <a:schemeClr val="bg1"/>
                </a:solidFill>
              </a:ln>
            </c:spPr>
            <c:extLst>
              <c:ext xmlns:c16="http://schemas.microsoft.com/office/drawing/2014/chart" uri="{C3380CC4-5D6E-409C-BE32-E72D297353CC}">
                <c16:uniqueId val="{00000001-7E0F-4475-A0B2-142B91BFEDDD}"/>
              </c:ext>
            </c:extLst>
          </c:dPt>
          <c:dPt>
            <c:idx val="1"/>
            <c:bubble3D val="0"/>
            <c:spPr>
              <a:gradFill flip="none" rotWithShape="1">
                <a:gsLst>
                  <a:gs pos="13000">
                    <a:srgbClr val="F95810"/>
                  </a:gs>
                  <a:gs pos="100000">
                    <a:srgbClr val="ED9974"/>
                  </a:gs>
                </a:gsLst>
                <a:lin ang="0" scaled="1"/>
              </a:gradFill>
              <a:ln>
                <a:solidFill>
                  <a:schemeClr val="bg1"/>
                </a:solidFill>
              </a:ln>
            </c:spPr>
            <c:extLst>
              <c:ext xmlns:c16="http://schemas.microsoft.com/office/drawing/2014/chart" uri="{C3380CC4-5D6E-409C-BE32-E72D297353CC}">
                <c16:uniqueId val="{00000003-7E0F-4475-A0B2-142B91BFEDDD}"/>
              </c:ext>
            </c:extLst>
          </c:dPt>
          <c:dLbls>
            <c:dLbl>
              <c:idx val="0"/>
              <c:layout>
                <c:manualLayout>
                  <c:x val="-9.622400626540184E-3"/>
                  <c:y val="6.6255046986043453E-3"/>
                </c:manualLayout>
              </c:layout>
              <c:numFmt formatCode="#,##0&quot;%&quot;;&quot;-&quot;#,##0&quot;%&quot;" sourceLinked="0"/>
              <c:spPr>
                <a:noFill/>
                <a:ln>
                  <a:noFill/>
                </a:ln>
              </c:spPr>
              <c:txPr>
                <a:bodyPr wrap="none"/>
                <a:lstStyle/>
                <a:p>
                  <a:pPr>
                    <a:defRPr sz="1200" b="1" kern="1200" smtId="4294967295">
                      <a:solidFill>
                        <a:schemeClr val="bg1"/>
                      </a:solidFill>
                      <a:latin typeface="Arial" panose="020B0604020202020204" pitchFamily="34" charset="0"/>
                      <a:ea typeface="+mn-ea"/>
                      <a:cs typeface="Arial" panose="020B0604020202020204" pitchFamily="34" charset="0"/>
                    </a:defRPr>
                  </a:pPr>
                  <a:endParaRPr lang="pt-BR"/>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0F-4475-A0B2-142B91BFEDDD}"/>
                </c:ext>
              </c:extLst>
            </c:dLbl>
            <c:dLbl>
              <c:idx val="1"/>
              <c:layout>
                <c:manualLayout>
                  <c:x val="-1.235829471134077E-2"/>
                  <c:y val="1.4932747815637516E-3"/>
                </c:manualLayout>
              </c:layout>
              <c:tx>
                <c:rich>
                  <a:bodyPr wrap="none"/>
                  <a:lstStyle/>
                  <a:p>
                    <a:pPr>
                      <a:defRPr sz="1200" b="1" kern="1200">
                        <a:solidFill>
                          <a:schemeClr val="bg1"/>
                        </a:solidFill>
                        <a:latin typeface="Arial" panose="020B0604020202020204" pitchFamily="34" charset="0"/>
                        <a:ea typeface="Tahoma"/>
                        <a:cs typeface="Arial" panose="020B0604020202020204" pitchFamily="34" charset="0"/>
                        <a:sym typeface="Tahoma"/>
                      </a:defRPr>
                    </a:pPr>
                    <a:r>
                      <a:rPr lang="en-US" sz="1200">
                        <a:latin typeface="Arial" panose="020B0604020202020204" pitchFamily="34" charset="0"/>
                        <a:cs typeface="Arial" panose="020B0604020202020204" pitchFamily="34" charset="0"/>
                      </a:rPr>
                      <a:t>39%</a:t>
                    </a:r>
                    <a:endParaRPr lang="en-US" sz="1200" dirty="0">
                      <a:latin typeface="Arial" panose="020B0604020202020204" pitchFamily="34" charset="0"/>
                      <a:cs typeface="Arial" panose="020B0604020202020204" pitchFamily="34" charset="0"/>
                    </a:endParaRPr>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7E0F-4475-A0B2-142B91BFEDDD}"/>
                </c:ext>
              </c:extLst>
            </c:dLbl>
            <c:spPr>
              <a:noFill/>
              <a:ln>
                <a:noFill/>
              </a:ln>
              <a:effectLst/>
            </c:spPr>
            <c:txPr>
              <a:bodyPr wrap="square" lIns="38100" tIns="19050" rIns="38100" bIns="19050" anchor="ctr">
                <a:spAutoFit/>
              </a:bodyPr>
              <a:lstStyle/>
              <a:p>
                <a:pPr>
                  <a:defRPr sz="1200" b="1" smtId="4294967295">
                    <a:latin typeface="Arial" panose="020B0604020202020204" pitchFamily="34" charset="0"/>
                    <a:cs typeface="Arial" panose="020B0604020202020204"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extLst>
          </c:dLbls>
          <c:val>
            <c:numRef>
              <c:f>Sheet1!$A$1:$A$2</c:f>
              <c:numCache>
                <c:formatCode>General</c:formatCode>
                <c:ptCount val="2"/>
                <c:pt idx="0">
                  <c:v>61</c:v>
                </c:pt>
                <c:pt idx="1">
                  <c:v>39</c:v>
                </c:pt>
              </c:numCache>
            </c:numRef>
          </c:val>
          <c:extLst>
            <c:ext xmlns:c16="http://schemas.microsoft.com/office/drawing/2014/chart" uri="{C3380CC4-5D6E-409C-BE32-E72D297353CC}">
              <c16:uniqueId val="{00000004-7E0F-4475-A0B2-142B91BFEDDD}"/>
            </c:ext>
          </c:extLst>
        </c:ser>
        <c:dLbls>
          <c:showLegendKey val="0"/>
          <c:showVal val="0"/>
          <c:showCatName val="0"/>
          <c:showSerName val="0"/>
          <c:showPercent val="0"/>
          <c:showBubbleSize val="0"/>
          <c:showLeaderLines val="1"/>
        </c:dLbls>
        <c:firstSliceAng val="0"/>
        <c:holeSize val="45"/>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543713221545277E-2"/>
          <c:y val="0"/>
          <c:w val="0.87079757452011108"/>
          <c:h val="0.66498357057571411"/>
        </c:manualLayout>
      </c:layout>
      <c:barChart>
        <c:barDir val="col"/>
        <c:grouping val="clustered"/>
        <c:varyColors val="0"/>
        <c:ser>
          <c:idx val="0"/>
          <c:order val="0"/>
          <c:tx>
            <c:strRef>
              <c:f>Planilha1!$B$1</c:f>
              <c:strCache>
                <c:ptCount val="1"/>
                <c:pt idx="0">
                  <c:v>Série 1</c:v>
                </c:pt>
              </c:strCache>
            </c:strRef>
          </c:tx>
          <c:spPr>
            <a:gradFill flip="none" rotWithShape="1">
              <a:gsLst>
                <a:gs pos="13000">
                  <a:srgbClr val="F8681E"/>
                </a:gs>
                <a:gs pos="100000">
                  <a:srgbClr val="ED9974"/>
                </a:gs>
              </a:gsLst>
              <a:lin ang="5400000" scaled="1"/>
            </a:gradFill>
            <a:ln>
              <a:noFill/>
            </a:ln>
            <a:effectLst/>
          </c:spPr>
          <c:invertIfNegative val="0"/>
          <c:dLbls>
            <c:dLbl>
              <c:idx val="0"/>
              <c:layout>
                <c:manualLayout>
                  <c:x val="0"/>
                  <c:y val="2.6408255100250244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715E-4531-B94D-71D5B540A061}"/>
                </c:ext>
              </c:extLst>
            </c:dLbl>
            <c:dLbl>
              <c:idx val="1"/>
              <c:layout>
                <c:manualLayout>
                  <c:x val="-3.0014223884791136E-3"/>
                  <c:y val="7.3015256784856319E-3"/>
                </c:manualLayout>
              </c:layout>
              <c:tx>
                <c:rich>
                  <a:bodyPr/>
                  <a:lstStyle/>
                  <a:p>
                    <a:r>
                      <a:rPr lang="en-US"/>
                      <a:t>1,570</a:t>
                    </a:r>
                  </a:p>
                </c:rich>
              </c:tx>
              <c:dLblPos val="outEnd"/>
              <c:showLegendKey val="0"/>
              <c:showVal val="1"/>
              <c:showCatName val="0"/>
              <c:showSerName val="0"/>
              <c:showPercent val="0"/>
              <c:showBubbleSize val="0"/>
              <c:separator>, </c:separator>
              <c:extLst>
                <c:ext xmlns:c15="http://schemas.microsoft.com/office/drawing/2012/chart" uri="{CE6537A1-D6FC-4f65-9D91-7224C49458BB}">
                  <c15:showDataLabelsRange val="0"/>
                </c:ext>
                <c:ext xmlns:c16="http://schemas.microsoft.com/office/drawing/2014/chart" uri="{C3380CC4-5D6E-409C-BE32-E72D297353CC}">
                  <c16:uniqueId val="{00000001-715E-4531-B94D-71D5B540A061}"/>
                </c:ext>
              </c:extLst>
            </c:dLbl>
            <c:numFmt formatCode="#,##0" sourceLinked="0"/>
            <c:spPr>
              <a:noFill/>
              <a:ln>
                <a:noFill/>
              </a:ln>
              <a:effectLst/>
            </c:spPr>
            <c:txPr>
              <a:bodyPr rot="0" spcFirstLastPara="1" vertOverflow="ellipsis" vert="horz" wrap="square" anchor="ctr" anchorCtr="1"/>
              <a:lstStyle/>
              <a:p>
                <a:pPr>
                  <a:defRPr sz="1200" b="1" i="0" u="none" strike="noStrike" kern="1200" baseline="0" smtId="4294967295">
                    <a:solidFill>
                      <a:srgbClr val="011F57"/>
                    </a:solidFill>
                    <a:latin typeface="Segoe UI" panose="020B0502040204020203" pitchFamily="34" charset="0"/>
                    <a:ea typeface="+mn-ea"/>
                    <a:cs typeface="Segoe UI" panose="020B0502040204020203" pitchFamily="34" charset="0"/>
                  </a:defRPr>
                </a:pPr>
                <a:endParaRPr lang="pt-BR"/>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LeaderLines val="0"/>
              </c:ext>
            </c:extLst>
          </c:dLbls>
          <c:cat>
            <c:strRef>
              <c:f>Planilha1!$A$2:$A$3</c:f>
              <c:strCache>
                <c:ptCount val="2"/>
                <c:pt idx="0">
                  <c:v>Cycle 13/14</c:v>
                </c:pt>
                <c:pt idx="1">
                  <c:v>Cycle 23/24</c:v>
                </c:pt>
              </c:strCache>
            </c:strRef>
          </c:cat>
          <c:val>
            <c:numRef>
              <c:f>Planilha1!$B$2:$B$3</c:f>
              <c:numCache>
                <c:formatCode>_(* #,##0.00_);_(* \(#,##0.00\);_(* "-"??_);_(@_)</c:formatCode>
                <c:ptCount val="2"/>
                <c:pt idx="0">
                  <c:v>326.53007901640001</c:v>
                </c:pt>
                <c:pt idx="1">
                  <c:v>1570</c:v>
                </c:pt>
              </c:numCache>
            </c:numRef>
          </c:val>
          <c:extLst>
            <c:ext xmlns:c16="http://schemas.microsoft.com/office/drawing/2014/chart" uri="{C3380CC4-5D6E-409C-BE32-E72D297353CC}">
              <c16:uniqueId val="{00000002-45FB-420C-8AED-80A4D6808056}"/>
            </c:ext>
          </c:extLst>
        </c:ser>
        <c:dLbls>
          <c:showLegendKey val="0"/>
          <c:showVal val="0"/>
          <c:showCatName val="0"/>
          <c:showSerName val="0"/>
          <c:showPercent val="0"/>
          <c:showBubbleSize val="0"/>
        </c:dLbls>
        <c:gapWidth val="40"/>
        <c:overlap val="-27"/>
        <c:axId val="206221696"/>
        <c:axId val="206222088"/>
      </c:barChart>
      <c:catAx>
        <c:axId val="206221696"/>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00" b="0" i="0" u="none" strike="noStrike" kern="1200" baseline="0" smtId="4294967295">
                <a:solidFill>
                  <a:srgbClr val="001C6A"/>
                </a:solidFill>
                <a:latin typeface="Segoe UI Light" panose="020B0502040204020203" pitchFamily="34" charset="0"/>
                <a:ea typeface="+mn-ea"/>
                <a:cs typeface="Segoe UI Light" panose="020B0502040204020203" pitchFamily="34" charset="0"/>
              </a:defRPr>
            </a:pPr>
            <a:endParaRPr lang="pt-BR"/>
          </a:p>
        </c:txPr>
        <c:crossAx val="206222088"/>
        <c:crosses val="autoZero"/>
        <c:auto val="0"/>
        <c:lblAlgn val="ctr"/>
        <c:lblOffset val="100"/>
        <c:noMultiLvlLbl val="0"/>
      </c:catAx>
      <c:valAx>
        <c:axId val="206222088"/>
        <c:scaling>
          <c:orientation val="minMax"/>
        </c:scaling>
        <c:delete val="1"/>
        <c:axPos val="l"/>
        <c:numFmt formatCode="_(* #,##0.00_);_(* \(#,##0.00\);_(* &quot;-&quot;??_);_(@_)" sourceLinked="1"/>
        <c:majorTickMark val="none"/>
        <c:minorTickMark val="none"/>
        <c:tickLblPos val="nextTo"/>
        <c:crossAx val="206221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smtId="4294967295">
          <a:solidFill>
            <a:srgbClr val="001C6A"/>
          </a:solidFill>
          <a:latin typeface="Segoe UI" panose="020B0502040204020203" pitchFamily="34" charset="0"/>
          <a:cs typeface="Segoe UI" panose="020B0502040204020203" pitchFamily="34" charset="0"/>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9559640511870384E-3"/>
          <c:y val="6.1104584485292435E-2"/>
          <c:w val="0.98008805513381958"/>
          <c:h val="0.87779080867767334"/>
        </c:manualLayout>
      </c:layout>
      <c:barChart>
        <c:barDir val="col"/>
        <c:grouping val="stacked"/>
        <c:varyColors val="0"/>
        <c:ser>
          <c:idx val="0"/>
          <c:order val="0"/>
          <c:spPr>
            <a:gradFill>
              <a:gsLst>
                <a:gs pos="0">
                  <a:srgbClr val="011F57"/>
                </a:gs>
                <a:gs pos="95722">
                  <a:schemeClr val="bg1"/>
                </a:gs>
                <a:gs pos="61000">
                  <a:srgbClr val="011F57"/>
                </a:gs>
              </a:gsLst>
              <a:lin ang="5400000" scaled="0"/>
            </a:gradFill>
            <a:ln>
              <a:noFill/>
            </a:ln>
          </c:spPr>
          <c:invertIfNegative val="0"/>
          <c:dPt>
            <c:idx val="10"/>
            <c:invertIfNegative val="0"/>
            <c:bubble3D val="0"/>
            <c:extLst>
              <c:ext xmlns:c16="http://schemas.microsoft.com/office/drawing/2014/chart" uri="{C3380CC4-5D6E-409C-BE32-E72D297353CC}">
                <c16:uniqueId val="{00000001-2429-4694-84F2-720ACAF7BC28}"/>
              </c:ext>
            </c:extLst>
          </c:dPt>
          <c:dLbls>
            <c:dLbl>
              <c:idx val="3"/>
              <c:layout>
                <c:manualLayout>
                  <c:x val="0"/>
                  <c:y val="-2.3501762188971043E-3"/>
                </c:manualLayout>
              </c:layout>
              <c:numFmt formatCode="#,##0;&quot;-&quot;#,##0" sourceLinked="0"/>
              <c:spPr>
                <a:noFill/>
                <a:ln>
                  <a:noFill/>
                </a:ln>
              </c:spPr>
              <c:txPr>
                <a:bodyPr wrap="none"/>
                <a:lstStyle/>
                <a:p>
                  <a:pPr>
                    <a:defRPr sz="900" b="1" kern="1200" smtId="4294967295">
                      <a:solidFill>
                        <a:schemeClr val="bg1"/>
                      </a:solidFill>
                      <a:latin typeface="Segoe UI" panose="020B0502040204020203" pitchFamily="34" charset="0"/>
                      <a:ea typeface="+mn-ea"/>
                      <a:cs typeface="Segoe UI" panose="020B0502040204020203" pitchFamily="34" charset="0"/>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1A-4445-8F47-38D4D8A73345}"/>
                </c:ext>
              </c:extLst>
            </c:dLbl>
            <c:dLbl>
              <c:idx val="4"/>
              <c:layout>
                <c:manualLayout>
                  <c:x val="0"/>
                  <c:y val="-2.3501762188971043E-3"/>
                </c:manualLayout>
              </c:layout>
              <c:numFmt formatCode="#,##0;&quot;-&quot;#,##0" sourceLinked="0"/>
              <c:spPr>
                <a:noFill/>
                <a:ln>
                  <a:noFill/>
                </a:ln>
              </c:spPr>
              <c:txPr>
                <a:bodyPr wrap="none"/>
                <a:lstStyle/>
                <a:p>
                  <a:pPr>
                    <a:defRPr sz="900" b="1" kern="1200" smtId="4294967295">
                      <a:solidFill>
                        <a:schemeClr val="bg1"/>
                      </a:solidFill>
                      <a:latin typeface="Segoe UI" panose="020B0502040204020203" pitchFamily="34" charset="0"/>
                      <a:ea typeface="Arial"/>
                      <a:cs typeface="Segoe UI" panose="020B0502040204020203" pitchFamily="34" charset="0"/>
                      <a:sym typeface="Arial"/>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C1A-4445-8F47-38D4D8A73345}"/>
                </c:ext>
              </c:extLst>
            </c:dLbl>
            <c:spPr>
              <a:noFill/>
              <a:ln>
                <a:noFill/>
              </a:ln>
              <a:effectLst/>
            </c:spPr>
            <c:txPr>
              <a:bodyPr wrap="square" lIns="38100" tIns="19050" rIns="38100" bIns="19050" anchor="ctr">
                <a:spAutoFit/>
              </a:bodyPr>
              <a:lstStyle/>
              <a:p>
                <a:pPr>
                  <a:defRPr b="1" smtId="4294967295">
                    <a:latin typeface="Segoe UI" panose="020B0502040204020203" pitchFamily="34" charset="0"/>
                    <a:cs typeface="Segoe UI" panose="020B0502040204020203"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42.43799999999999</c:v>
                </c:pt>
                <c:pt idx="1">
                  <c:v>133.06100000000001</c:v>
                </c:pt>
                <c:pt idx="2">
                  <c:v>231.65</c:v>
                </c:pt>
                <c:pt idx="3">
                  <c:v>367.61099999999999</c:v>
                </c:pt>
                <c:pt idx="4">
                  <c:v>824.61900000000003</c:v>
                </c:pt>
                <c:pt idx="5">
                  <c:v>1293.13356371802</c:v>
                </c:pt>
                <c:pt idx="6">
                  <c:v>1271.78012283474</c:v>
                </c:pt>
                <c:pt idx="7">
                  <c:v>1229.9091064378499</c:v>
                </c:pt>
                <c:pt idx="8">
                  <c:v>1119.81128207746</c:v>
                </c:pt>
                <c:pt idx="9">
                  <c:v>102.54616248971</c:v>
                </c:pt>
                <c:pt idx="10">
                  <c:v>0</c:v>
                </c:pt>
              </c:numCache>
            </c:numRef>
          </c:val>
          <c:extLst>
            <c:ext xmlns:c16="http://schemas.microsoft.com/office/drawing/2014/chart" uri="{C3380CC4-5D6E-409C-BE32-E72D297353CC}">
              <c16:uniqueId val="{00000004-2429-4694-84F2-720ACAF7BC28}"/>
            </c:ext>
          </c:extLst>
        </c:ser>
        <c:ser>
          <c:idx val="1"/>
          <c:order val="1"/>
          <c:spPr>
            <a:gradFill>
              <a:gsLst>
                <a:gs pos="0">
                  <a:srgbClr val="005FD7"/>
                </a:gs>
                <a:gs pos="100000">
                  <a:srgbClr val="005FD7">
                    <a:alpha val="0"/>
                  </a:srgbClr>
                </a:gs>
              </a:gsLst>
              <a:lin ang="5400000" scaled="0"/>
            </a:gradFill>
            <a:ln>
              <a:noFill/>
            </a:ln>
          </c:spPr>
          <c:invertIfNegative val="0"/>
          <c:dPt>
            <c:idx val="10"/>
            <c:invertIfNegative val="0"/>
            <c:bubble3D val="0"/>
            <c:extLst>
              <c:ext xmlns:c16="http://schemas.microsoft.com/office/drawing/2014/chart" uri="{C3380CC4-5D6E-409C-BE32-E72D297353CC}">
                <c16:uniqueId val="{00000006-2429-4694-84F2-720ACAF7BC28}"/>
              </c:ext>
            </c:extLst>
          </c:dPt>
          <c:dLbls>
            <c:dLbl>
              <c:idx val="1"/>
              <c:layout>
                <c:manualLayout>
                  <c:x val="0"/>
                  <c:y val="-2.3501762188971043E-3"/>
                </c:manualLayout>
              </c:layout>
              <c:numFmt formatCode="#,##0;&quot;-&quot;#,##0" sourceLinked="0"/>
              <c:spPr>
                <a:noFill/>
                <a:ln>
                  <a:noFill/>
                </a:ln>
              </c:spPr>
              <c:txPr>
                <a:bodyPr wrap="none"/>
                <a:lstStyle/>
                <a:p>
                  <a:pPr>
                    <a:defRPr sz="900" b="1" kern="1200" smtId="4294967295">
                      <a:solidFill>
                        <a:schemeClr val="bg1"/>
                      </a:solidFill>
                      <a:latin typeface="Segoe UI" panose="020B0502040204020203" pitchFamily="34" charset="0"/>
                      <a:ea typeface="Arial"/>
                      <a:cs typeface="Segoe UI" panose="020B0502040204020203" pitchFamily="34" charset="0"/>
                      <a:sym typeface="Arial"/>
                    </a:defRPr>
                  </a:pPr>
                  <a:endParaRPr lang="pt-B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1A-4445-8F47-38D4D8A73345}"/>
                </c:ext>
              </c:extLst>
            </c:dLbl>
            <c:spPr>
              <a:noFill/>
              <a:ln>
                <a:noFill/>
              </a:ln>
              <a:effectLst/>
            </c:spPr>
            <c:txPr>
              <a:bodyPr wrap="square" lIns="38100" tIns="19050" rIns="38100" bIns="19050" anchor="ctr">
                <a:spAutoFit/>
              </a:bodyPr>
              <a:lstStyle/>
              <a:p>
                <a:pPr>
                  <a:defRPr b="1" smtId="4294967295">
                    <a:latin typeface="Segoe UI" panose="020B0502040204020203" pitchFamily="34" charset="0"/>
                    <a:cs typeface="Segoe UI" panose="020B0502040204020203"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19.19649999999999</c:v>
                </c:pt>
                <c:pt idx="1">
                  <c:v>637.75250000000005</c:v>
                </c:pt>
                <c:pt idx="2">
                  <c:v>1074.345</c:v>
                </c:pt>
                <c:pt idx="3">
                  <c:v>1028.8470751633799</c:v>
                </c:pt>
                <c:pt idx="4">
                  <c:v>1104.1177898029</c:v>
                </c:pt>
                <c:pt idx="5">
                  <c:v>1152.81400855473</c:v>
                </c:pt>
                <c:pt idx="6">
                  <c:v>2100.2887670045202</c:v>
                </c:pt>
                <c:pt idx="7">
                  <c:v>2710.06872091999</c:v>
                </c:pt>
                <c:pt idx="8">
                  <c:v>2205.62349033593</c:v>
                </c:pt>
                <c:pt idx="9">
                  <c:v>2516.9838579000002</c:v>
                </c:pt>
                <c:pt idx="10">
                  <c:v>559.32974620000005</c:v>
                </c:pt>
              </c:numCache>
            </c:numRef>
          </c:val>
          <c:extLst>
            <c:ext xmlns:c16="http://schemas.microsoft.com/office/drawing/2014/chart" uri="{C3380CC4-5D6E-409C-BE32-E72D297353CC}">
              <c16:uniqueId val="{00000008-2429-4694-84F2-720ACAF7BC28}"/>
            </c:ext>
          </c:extLst>
        </c:ser>
        <c:ser>
          <c:idx val="2"/>
          <c:order val="2"/>
          <c:spPr>
            <a:gradFill>
              <a:gsLst>
                <a:gs pos="0">
                  <a:srgbClr val="4894F1"/>
                </a:gs>
                <a:gs pos="93583">
                  <a:schemeClr val="bg1"/>
                </a:gs>
                <a:gs pos="74000">
                  <a:srgbClr val="4894F1"/>
                </a:gs>
              </a:gsLst>
              <a:lin ang="5400000" scaled="0"/>
            </a:gradFill>
            <a:ln>
              <a:noFill/>
            </a:ln>
          </c:spPr>
          <c:invertIfNegative val="0"/>
          <c:dPt>
            <c:idx val="10"/>
            <c:invertIfNegative val="0"/>
            <c:bubble3D val="0"/>
            <c:extLst>
              <c:ext xmlns:c16="http://schemas.microsoft.com/office/drawing/2014/chart" uri="{C3380CC4-5D6E-409C-BE32-E72D297353CC}">
                <c16:uniqueId val="{0000000A-2429-4694-84F2-720ACAF7BC28}"/>
              </c:ext>
            </c:extLst>
          </c:dPt>
          <c:val>
            <c:numRef>
              <c:f>Sheet1!$A$3:$K$3</c:f>
              <c:numCache>
                <c:formatCode>General</c:formatCode>
                <c:ptCount val="11"/>
                <c:pt idx="0">
                  <c:v>24</c:v>
                </c:pt>
                <c:pt idx="1">
                  <c:v>0</c:v>
                </c:pt>
                <c:pt idx="2">
                  <c:v>0</c:v>
                </c:pt>
                <c:pt idx="3">
                  <c:v>1901</c:v>
                </c:pt>
                <c:pt idx="4">
                  <c:v>0</c:v>
                </c:pt>
                <c:pt idx="5">
                  <c:v>0</c:v>
                </c:pt>
                <c:pt idx="6">
                  <c:v>0</c:v>
                </c:pt>
                <c:pt idx="7">
                  <c:v>0</c:v>
                </c:pt>
                <c:pt idx="8">
                  <c:v>0</c:v>
                </c:pt>
                <c:pt idx="9">
                  <c:v>0</c:v>
                </c:pt>
                <c:pt idx="10">
                  <c:v>0</c:v>
                </c:pt>
              </c:numCache>
            </c:numRef>
          </c:val>
          <c:extLst>
            <c:ext xmlns:c16="http://schemas.microsoft.com/office/drawing/2014/chart" uri="{C3380CC4-5D6E-409C-BE32-E72D297353CC}">
              <c16:uniqueId val="{0000000B-2429-4694-84F2-720ACAF7BC28}"/>
            </c:ext>
          </c:extLst>
        </c:ser>
        <c:dLbls>
          <c:showLegendKey val="0"/>
          <c:showVal val="0"/>
          <c:showCatName val="0"/>
          <c:showSerName val="0"/>
          <c:showPercent val="0"/>
          <c:showBubbleSize val="0"/>
        </c:dLbls>
        <c:gapWidth val="80"/>
        <c:overlap val="100"/>
        <c:axId val="328680488"/>
        <c:axId val="328680880"/>
      </c:barChart>
      <c:catAx>
        <c:axId val="328680488"/>
        <c:scaling>
          <c:orientation val="minMax"/>
        </c:scaling>
        <c:delete val="0"/>
        <c:axPos val="b"/>
        <c:majorTickMark val="none"/>
        <c:minorTickMark val="none"/>
        <c:tickLblPos val="none"/>
        <c:spPr>
          <a:ln w="9525" algn="ctr">
            <a:solidFill>
              <a:schemeClr val="bg1">
                <a:lumMod val="75000"/>
              </a:schemeClr>
            </a:solidFill>
            <a:prstDash val="solid"/>
          </a:ln>
        </c:spPr>
        <c:crossAx val="328680880"/>
        <c:crossesAt val="0"/>
        <c:auto val="0"/>
        <c:lblAlgn val="ctr"/>
        <c:lblOffset val="100"/>
        <c:noMultiLvlLbl val="0"/>
      </c:catAx>
      <c:valAx>
        <c:axId val="328680880"/>
        <c:scaling>
          <c:orientation val="minMax"/>
          <c:max val="3939.9778273578422"/>
          <c:min val="0"/>
        </c:scaling>
        <c:delete val="1"/>
        <c:axPos val="l"/>
        <c:numFmt formatCode="General" sourceLinked="1"/>
        <c:majorTickMark val="out"/>
        <c:minorTickMark val="none"/>
        <c:tickLblPos val="nextTo"/>
        <c:crossAx val="328680488"/>
        <c:crossesAt val="0"/>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ilha1!$B$1</c:f>
              <c:strCache>
                <c:ptCount val="1"/>
                <c:pt idx="0">
                  <c:v>Série 1</c:v>
                </c:pt>
              </c:strCache>
            </c:strRef>
          </c:tx>
          <c:spPr>
            <a:gradFill>
              <a:gsLst>
                <a:gs pos="33000">
                  <a:srgbClr val="0567E4"/>
                </a:gs>
                <a:gs pos="100000">
                  <a:srgbClr val="0567E4">
                    <a:alpha val="0"/>
                  </a:srgbClr>
                </a:gs>
              </a:gsLst>
              <a:lin ang="5400000" scaled="0"/>
            </a:gradFill>
            <a:ln>
              <a:noFill/>
            </a:ln>
            <a:effectLst/>
          </c:spPr>
          <c:invertIfNegative val="0"/>
          <c:dPt>
            <c:idx val="0"/>
            <c:invertIfNegative val="0"/>
            <c:bubble3D val="0"/>
            <c:spPr>
              <a:gradFill>
                <a:gsLst>
                  <a:gs pos="33000">
                    <a:srgbClr val="0567E4"/>
                  </a:gs>
                  <a:gs pos="100000">
                    <a:srgbClr val="0567E4">
                      <a:alpha val="0"/>
                    </a:srgbClr>
                  </a:gs>
                </a:gsLst>
                <a:lin ang="5400000" scaled="0"/>
              </a:gradFill>
              <a:ln>
                <a:noFill/>
              </a:ln>
              <a:effectLst/>
            </c:spPr>
            <c:extLst>
              <c:ext xmlns:c16="http://schemas.microsoft.com/office/drawing/2014/chart" uri="{C3380CC4-5D6E-409C-BE32-E72D297353CC}">
                <c16:uniqueId val="{00000001-49C4-433B-A799-4ECB59F7A8D3}"/>
              </c:ext>
            </c:extLst>
          </c:dPt>
          <c:dPt>
            <c:idx val="1"/>
            <c:invertIfNegative val="0"/>
            <c:bubble3D val="0"/>
            <c:spPr>
              <a:gradFill>
                <a:gsLst>
                  <a:gs pos="33000">
                    <a:srgbClr val="0567E4"/>
                  </a:gs>
                  <a:gs pos="100000">
                    <a:srgbClr val="0567E4">
                      <a:alpha val="0"/>
                    </a:srgbClr>
                  </a:gs>
                </a:gsLst>
                <a:lin ang="5400000" scaled="0"/>
              </a:gradFill>
              <a:ln>
                <a:noFill/>
              </a:ln>
              <a:effectLst/>
            </c:spPr>
            <c:extLst>
              <c:ext xmlns:c16="http://schemas.microsoft.com/office/drawing/2014/chart" uri="{C3380CC4-5D6E-409C-BE32-E72D297353CC}">
                <c16:uniqueId val="{00000003-49C4-433B-A799-4ECB59F7A8D3}"/>
              </c:ext>
            </c:extLst>
          </c:dPt>
          <c:dLbls>
            <c:dLbl>
              <c:idx val="0"/>
              <c:layout>
                <c:manualLayout>
                  <c:x val="-2.4128487978575483E-17"/>
                  <c:y val="0.25547775507205722"/>
                </c:manualLayout>
              </c:layout>
              <c:tx>
                <c:rich>
                  <a:bodyPr/>
                  <a:lstStyle/>
                  <a:p>
                    <a:r>
                      <a:rPr lang="en-US"/>
                      <a:t>1,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9C4-433B-A799-4ECB59F7A8D3}"/>
                </c:ext>
              </c:extLst>
            </c:dLbl>
            <c:dLbl>
              <c:idx val="1"/>
              <c:layout>
                <c:manualLayout>
                  <c:x val="0"/>
                  <c:y val="0.27959924403307024"/>
                </c:manualLayout>
              </c:layout>
              <c:tx>
                <c:rich>
                  <a:bodyPr/>
                  <a:lstStyle/>
                  <a:p>
                    <a:r>
                      <a:rPr lang="en-US"/>
                      <a:t>2,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49C4-433B-A799-4ECB59F7A8D3}"/>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Segoe UI" panose="020B0502040204020203" pitchFamily="34" charset="0"/>
                    <a:ea typeface="+mn-ea"/>
                    <a:cs typeface="Segoe UI" panose="020B0502040204020203" pitchFamily="34" charset="0"/>
                  </a:defRPr>
                </a:pPr>
                <a:endParaRPr lang="pt-B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ilha1!$A$2:$A$3</c:f>
              <c:strCache>
                <c:ptCount val="2"/>
                <c:pt idx="0">
                  <c:v>UPDATED BOOK VALUE</c:v>
                </c:pt>
                <c:pt idx="1">
                  <c:v>BRR Recognized Investment</c:v>
                </c:pt>
              </c:strCache>
            </c:strRef>
          </c:cat>
          <c:val>
            <c:numRef>
              <c:f>Planilha1!$B$2:$B$3</c:f>
              <c:numCache>
                <c:formatCode>General</c:formatCode>
                <c:ptCount val="2"/>
                <c:pt idx="0">
                  <c:v>1580</c:v>
                </c:pt>
                <c:pt idx="1">
                  <c:v>2080</c:v>
                </c:pt>
              </c:numCache>
            </c:numRef>
          </c:val>
          <c:extLst>
            <c:ext xmlns:c16="http://schemas.microsoft.com/office/drawing/2014/chart" uri="{C3380CC4-5D6E-409C-BE32-E72D297353CC}">
              <c16:uniqueId val="{00000004-49C4-433B-A799-4ECB59F7A8D3}"/>
            </c:ext>
          </c:extLst>
        </c:ser>
        <c:dLbls>
          <c:showLegendKey val="0"/>
          <c:showVal val="0"/>
          <c:showCatName val="0"/>
          <c:showSerName val="0"/>
          <c:showPercent val="0"/>
          <c:showBubbleSize val="0"/>
        </c:dLbls>
        <c:gapWidth val="100"/>
        <c:overlap val="-26"/>
        <c:axId val="511151216"/>
        <c:axId val="239523152"/>
      </c:barChart>
      <c:catAx>
        <c:axId val="511151216"/>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050" b="0" i="0" u="none" strike="noStrike" kern="1200" baseline="0">
                <a:solidFill>
                  <a:srgbClr val="011F57"/>
                </a:solidFill>
                <a:latin typeface="Segoe UI" panose="020B0502040204020203" pitchFamily="34" charset="0"/>
                <a:ea typeface="+mn-ea"/>
                <a:cs typeface="Segoe UI" panose="020B0502040204020203" pitchFamily="34" charset="0"/>
              </a:defRPr>
            </a:pPr>
            <a:endParaRPr lang="pt-BR"/>
          </a:p>
        </c:txPr>
        <c:crossAx val="239523152"/>
        <c:crosses val="autoZero"/>
        <c:auto val="1"/>
        <c:lblAlgn val="ctr"/>
        <c:lblOffset val="100"/>
        <c:noMultiLvlLbl val="0"/>
      </c:catAx>
      <c:valAx>
        <c:axId val="239523152"/>
        <c:scaling>
          <c:orientation val="minMax"/>
        </c:scaling>
        <c:delete val="1"/>
        <c:axPos val="l"/>
        <c:numFmt formatCode="General" sourceLinked="1"/>
        <c:majorTickMark val="none"/>
        <c:minorTickMark val="none"/>
        <c:tickLblPos val="nextTo"/>
        <c:crossAx val="51115121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rgbClr val="011F57"/>
          </a:solidFill>
          <a:latin typeface="Segoe UI" panose="020B0502040204020203" pitchFamily="34" charset="0"/>
          <a:cs typeface="Segoe UI" panose="020B0502040204020203" pitchFamily="34" charset="0"/>
        </a:defRPr>
      </a:pPr>
      <a:endParaRPr lang="pt-B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626038968014647E-2"/>
          <c:y val="9.0742498089466467E-2"/>
          <c:w val="0.91274792206397071"/>
          <c:h val="0.5386727791953615"/>
        </c:manualLayout>
      </c:layout>
      <c:lineChart>
        <c:grouping val="standard"/>
        <c:varyColors val="0"/>
        <c:ser>
          <c:idx val="1"/>
          <c:order val="0"/>
          <c:spPr>
            <a:ln w="57150" cap="rnd">
              <a:solidFill>
                <a:srgbClr val="05A2FF"/>
              </a:solidFill>
              <a:round/>
            </a:ln>
            <a:effectLst/>
          </c:spPr>
          <c:marker>
            <c:symbol val="none"/>
          </c:marker>
          <c:dLbls>
            <c:dLbl>
              <c:idx val="0"/>
              <c:tx>
                <c:rich>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r>
                      <a:rPr lang="en-US"/>
                      <a:t>7.71%</a:t>
                    </a:r>
                  </a:p>
                </c:rich>
              </c:tx>
              <c:spPr>
                <a:noFill/>
                <a:ln>
                  <a:noFill/>
                </a:ln>
                <a:effectLst/>
              </c:spPr>
              <c:txPr>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B70-436D-A8E4-A2DEB2CDFBC1}"/>
                </c:ext>
              </c:extLst>
            </c:dLbl>
            <c:dLbl>
              <c:idx val="1"/>
              <c:layout>
                <c:manualLayout>
                  <c:x val="-9.7117087282532238E-2"/>
                  <c:y val="-9.6445109801817405E-2"/>
                </c:manualLayout>
              </c:layout>
              <c:tx>
                <c:rich>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r>
                      <a:rPr lang="en-US"/>
                      <a:t>7.40%</a:t>
                    </a:r>
                  </a:p>
                </c:rich>
              </c:tx>
              <c:spPr>
                <a:noFill/>
                <a:ln>
                  <a:noFill/>
                </a:ln>
                <a:effectLst/>
              </c:spPr>
              <c:txPr>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8B70-436D-A8E4-A2DEB2CDFBC1}"/>
                </c:ext>
              </c:extLst>
            </c:dLbl>
            <c:dLbl>
              <c:idx val="2"/>
              <c:layout>
                <c:manualLayout>
                  <c:x val="-2.5246481830359508E-2"/>
                  <c:y val="-6.0407324474467679E-2"/>
                </c:manualLayout>
              </c:layout>
              <c:tx>
                <c:rich>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r>
                      <a:rPr lang="en-US"/>
                      <a:t>6.96%</a:t>
                    </a:r>
                  </a:p>
                </c:rich>
              </c:tx>
              <c:spPr>
                <a:noFill/>
                <a:ln>
                  <a:noFill/>
                </a:ln>
                <a:effectLst/>
              </c:spPr>
              <c:txPr>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8B70-436D-A8E4-A2DEB2CDFBC1}"/>
                </c:ext>
              </c:extLst>
            </c:dLbl>
            <c:dLbl>
              <c:idx val="3"/>
              <c:layout>
                <c:manualLayout>
                  <c:x val="-9.4751881620399991E-2"/>
                  <c:y val="-8.2645106625230891E-2"/>
                </c:manualLayout>
              </c:layout>
              <c:tx>
                <c:rich>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r>
                      <a:rPr lang="en-US"/>
                      <a:t>6.76%</a:t>
                    </a:r>
                  </a:p>
                </c:rich>
              </c:tx>
              <c:spPr>
                <a:noFill/>
                <a:ln>
                  <a:noFill/>
                </a:ln>
                <a:effectLst/>
              </c:spPr>
              <c:txPr>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B70-436D-A8E4-A2DEB2CDFBC1}"/>
                </c:ext>
              </c:extLst>
            </c:dLbl>
            <c:dLbl>
              <c:idx val="4"/>
              <c:layout>
                <c:manualLayout>
                  <c:x val="-9.7117087282532238E-2"/>
                  <c:y val="-7.8893679446618681E-2"/>
                </c:manualLayout>
              </c:layout>
              <c:tx>
                <c:rich>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r>
                      <a:rPr lang="en-US"/>
                      <a:t>6.93%</a:t>
                    </a:r>
                  </a:p>
                </c:rich>
              </c:tx>
              <c:spPr>
                <a:noFill/>
                <a:ln>
                  <a:noFill/>
                </a:ln>
                <a:effectLst/>
              </c:spPr>
              <c:txPr>
                <a:bodyPr rot="0" spcFirstLastPara="1" vertOverflow="ellipsis" vert="horz" wrap="square" anchor="ctr" anchorCtr="1"/>
                <a:lstStyle/>
                <a:p>
                  <a:pPr>
                    <a:defRPr sz="1200" b="0"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B70-436D-A8E4-A2DEB2CDFBC1}"/>
                </c:ext>
              </c:extLst>
            </c:dLbl>
            <c:dLbl>
              <c:idx val="5"/>
              <c:tx>
                <c:rich>
                  <a:bodyPr rot="0" spcFirstLastPara="1" vertOverflow="ellipsis" vert="horz" wrap="square" anchor="ctr" anchorCtr="1"/>
                  <a:lstStyle/>
                  <a:p>
                    <a:pPr>
                      <a:defRPr sz="1600" b="1" i="0" u="none" strike="noStrike" kern="1200" baseline="0">
                        <a:solidFill>
                          <a:srgbClr val="05A2FF"/>
                        </a:solidFill>
                        <a:latin typeface="Segoe UI" panose="020B0502040204020203" pitchFamily="34" charset="0"/>
                        <a:ea typeface="+mn-ea"/>
                        <a:cs typeface="Segoe UI" panose="020B0502040204020203" pitchFamily="34" charset="0"/>
                      </a:defRPr>
                    </a:pPr>
                    <a:r>
                      <a:rPr lang="en-US"/>
                      <a:t>7.26%</a:t>
                    </a:r>
                  </a:p>
                </c:rich>
              </c:tx>
              <c:spPr>
                <a:noFill/>
                <a:ln>
                  <a:noFill/>
                </a:ln>
                <a:effectLst/>
              </c:spPr>
              <c:txPr>
                <a:bodyPr rot="0" spcFirstLastPara="1" vertOverflow="ellipsis" vert="horz" wrap="square" anchor="ctr" anchorCtr="1"/>
                <a:lstStyle/>
                <a:p>
                  <a:pPr>
                    <a:defRPr sz="1600" b="1" i="0" u="none" strike="noStrike" kern="1200" baseline="0">
                      <a:solidFill>
                        <a:srgbClr val="05A2FF"/>
                      </a:solidFill>
                      <a:latin typeface="Segoe UI" panose="020B0502040204020203" pitchFamily="34" charset="0"/>
                      <a:ea typeface="+mn-ea"/>
                      <a:cs typeface="Segoe UI" panose="020B0502040204020203" pitchFamily="34" charset="0"/>
                    </a:defRPr>
                  </a:pPr>
                  <a:endParaRPr lang="pt-BR"/>
                </a:p>
              </c:txPr>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B70-436D-A8E4-A2DEB2CDFBC1}"/>
                </c:ext>
              </c:extLst>
            </c:dLbl>
            <c:spPr>
              <a:noFill/>
              <a:ln>
                <a:noFill/>
              </a:ln>
              <a:effectLst/>
            </c:spPr>
            <c:txPr>
              <a:bodyPr rot="0" spcFirstLastPara="1" vertOverflow="ellipsis" vert="horz" wrap="square" anchor="ctr" anchorCtr="1"/>
              <a:lstStyle/>
              <a:p>
                <a:pPr>
                  <a:defRPr sz="1200" b="1" i="0" u="none" strike="noStrike" kern="1200" baseline="0">
                    <a:solidFill>
                      <a:srgbClr val="002581"/>
                    </a:solidFill>
                    <a:latin typeface="Segoe UI" panose="020B0502040204020203" pitchFamily="34" charset="0"/>
                    <a:ea typeface="+mn-ea"/>
                    <a:cs typeface="Segoe UI" panose="020B0502040204020203" pitchFamily="34" charset="0"/>
                  </a:defRPr>
                </a:pPr>
                <a:endParaRPr lang="pt-B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ilha1!$D$26:$D$31</c:f>
              <c:numCache>
                <c:formatCode>General</c:formatCode>
                <c:ptCount val="6"/>
                <c:pt idx="0">
                  <c:v>2018</c:v>
                </c:pt>
                <c:pt idx="1">
                  <c:v>2019</c:v>
                </c:pt>
                <c:pt idx="2">
                  <c:v>2020</c:v>
                </c:pt>
                <c:pt idx="3">
                  <c:v>2021</c:v>
                </c:pt>
                <c:pt idx="4">
                  <c:v>2022</c:v>
                </c:pt>
                <c:pt idx="5">
                  <c:v>2023</c:v>
                </c:pt>
              </c:numCache>
            </c:numRef>
          </c:cat>
          <c:val>
            <c:numRef>
              <c:f>Planilha1!$E$26:$E$31</c:f>
              <c:numCache>
                <c:formatCode>0.00%</c:formatCode>
                <c:ptCount val="6"/>
                <c:pt idx="0">
                  <c:v>7.7100000000000002E-2</c:v>
                </c:pt>
                <c:pt idx="1">
                  <c:v>7.3999999999999996E-2</c:v>
                </c:pt>
                <c:pt idx="2">
                  <c:v>6.9599999999999995E-2</c:v>
                </c:pt>
                <c:pt idx="3">
                  <c:v>6.7599999999999993E-2</c:v>
                </c:pt>
                <c:pt idx="4">
                  <c:v>6.93E-2</c:v>
                </c:pt>
                <c:pt idx="5">
                  <c:v>7.2599999999999998E-2</c:v>
                </c:pt>
              </c:numCache>
            </c:numRef>
          </c:val>
          <c:smooth val="0"/>
          <c:extLst>
            <c:ext xmlns:c16="http://schemas.microsoft.com/office/drawing/2014/chart" uri="{C3380CC4-5D6E-409C-BE32-E72D297353CC}">
              <c16:uniqueId val="{00000005-8B70-436D-A8E4-A2DEB2CDFBC1}"/>
            </c:ext>
          </c:extLst>
        </c:ser>
        <c:dLbls>
          <c:showLegendKey val="0"/>
          <c:showVal val="0"/>
          <c:showCatName val="0"/>
          <c:showSerName val="0"/>
          <c:showPercent val="0"/>
          <c:showBubbleSize val="0"/>
        </c:dLbls>
        <c:smooth val="0"/>
        <c:axId val="1969350591"/>
        <c:axId val="1906223231"/>
      </c:lineChart>
      <c:catAx>
        <c:axId val="196935059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050" b="0" i="0" u="none" strike="noStrike" kern="1200" baseline="0">
                <a:solidFill>
                  <a:srgbClr val="011F57"/>
                </a:solidFill>
                <a:latin typeface="Segoe UI" panose="020B0502040204020203" pitchFamily="34" charset="0"/>
                <a:ea typeface="Segoe UI Black" panose="020B0A02040204020203" pitchFamily="34" charset="0"/>
                <a:cs typeface="Segoe UI" panose="020B0502040204020203" pitchFamily="34" charset="0"/>
              </a:defRPr>
            </a:pPr>
            <a:endParaRPr lang="pt-BR"/>
          </a:p>
        </c:txPr>
        <c:crossAx val="1906223231"/>
        <c:crosses val="autoZero"/>
        <c:auto val="1"/>
        <c:lblAlgn val="ctr"/>
        <c:lblOffset val="100"/>
        <c:noMultiLvlLbl val="0"/>
      </c:catAx>
      <c:valAx>
        <c:axId val="1906223231"/>
        <c:scaling>
          <c:orientation val="minMax"/>
        </c:scaling>
        <c:delete val="1"/>
        <c:axPos val="l"/>
        <c:numFmt formatCode="0.00%" sourceLinked="1"/>
        <c:majorTickMark val="none"/>
        <c:minorTickMark val="none"/>
        <c:tickLblPos val="nextTo"/>
        <c:crossAx val="1969350591"/>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solidFill>
            <a:srgbClr val="011F57"/>
          </a:solidFill>
          <a:latin typeface="Segoe UI Light" panose="020B0502040204020203" pitchFamily="34" charset="0"/>
          <a:cs typeface="Segoe UI Light" panose="020B0502040204020203" pitchFamily="34" charset="0"/>
        </a:defRPr>
      </a:pPr>
      <a:endParaRPr lang="pt-B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244286619126797E-2"/>
          <c:y val="0.18421052396297455"/>
          <c:w val="0.97951143980026245"/>
          <c:h val="0.74376732110977173"/>
        </c:manualLayout>
      </c:layout>
      <c:barChart>
        <c:barDir val="col"/>
        <c:grouping val="stacked"/>
        <c:varyColors val="0"/>
        <c:ser>
          <c:idx val="0"/>
          <c:order val="0"/>
          <c:spPr>
            <a:gradFill>
              <a:gsLst>
                <a:gs pos="30000">
                  <a:srgbClr val="005FD7"/>
                </a:gs>
                <a:gs pos="100000">
                  <a:srgbClr val="005FD7">
                    <a:alpha val="0"/>
                  </a:srgbClr>
                </a:gs>
              </a:gsLst>
              <a:lin ang="5400000" scaled="0"/>
            </a:gradFill>
            <a:ln>
              <a:noFill/>
            </a:ln>
          </c:spPr>
          <c:invertIfNegative val="0"/>
          <c:dLbls>
            <c:dLbl>
              <c:idx val="0"/>
              <c:layout>
                <c:manualLayout>
                  <c:x val="0"/>
                  <c:y val="-0.37950137257575989"/>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540.1</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0-EE97-4BC1-8CAC-D11D9BEF3ADD}"/>
                </c:ext>
              </c:extLst>
            </c:dLbl>
            <c:dLbl>
              <c:idx val="1"/>
              <c:layout>
                <c:manualLayout>
                  <c:x val="0"/>
                  <c:y val="-0.3199445903301239"/>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426.4</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EE97-4BC1-8CAC-D11D9BEF3ADD}"/>
                </c:ext>
              </c:extLst>
            </c:dLbl>
            <c:dLbl>
              <c:idx val="2"/>
              <c:layout>
                <c:manualLayout>
                  <c:x val="0"/>
                  <c:y val="-0.3199445903301239"/>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430.0</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EE97-4BC1-8CAC-D11D9BEF3ADD}"/>
                </c:ext>
              </c:extLst>
            </c:dLbl>
            <c:dLbl>
              <c:idx val="3"/>
              <c:layout>
                <c:manualLayout>
                  <c:x val="0"/>
                  <c:y val="-0.3684210479259491"/>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495.0</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3-EE97-4BC1-8CAC-D11D9BEF3ADD}"/>
                </c:ext>
              </c:extLst>
            </c:dLbl>
            <c:dLbl>
              <c:idx val="4"/>
              <c:layout>
                <c:manualLayout>
                  <c:x val="0"/>
                  <c:y val="-0.3628808856010437"/>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509.1</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4-EE97-4BC1-8CAC-D11D9BEF3ADD}"/>
                </c:ext>
              </c:extLst>
            </c:dLbl>
            <c:dLbl>
              <c:idx val="5"/>
              <c:layout>
                <c:manualLayout>
                  <c:x val="0"/>
                  <c:y val="-0.37811633944511414"/>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538.0</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5-EE97-4BC1-8CAC-D11D9BEF3ADD}"/>
                </c:ext>
              </c:extLst>
            </c:dLbl>
            <c:dLbl>
              <c:idx val="6"/>
              <c:layout>
                <c:manualLayout>
                  <c:x val="0"/>
                  <c:y val="-0.408587247133255"/>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594.2</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6-EE97-4BC1-8CAC-D11D9BEF3ADD}"/>
                </c:ext>
              </c:extLst>
            </c:dLbl>
            <c:dLbl>
              <c:idx val="7"/>
              <c:layout>
                <c:manualLayout>
                  <c:x val="0"/>
                  <c:y val="-0.39750692248344421"/>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575.3</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7-EE97-4BC1-8CAC-D11D9BEF3ADD}"/>
                </c:ext>
              </c:extLst>
            </c:dLbl>
            <c:dLbl>
              <c:idx val="8"/>
              <c:layout>
                <c:manualLayout>
                  <c:x val="0"/>
                  <c:y val="-0.42797783017158508"/>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631.4</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8-EE97-4BC1-8CAC-D11D9BEF3ADD}"/>
                </c:ext>
              </c:extLst>
            </c:dLbl>
            <c:dLbl>
              <c:idx val="9"/>
              <c:layout>
                <c:manualLayout>
                  <c:x val="1.5760441292355031E-3"/>
                  <c:y val="-0.43631557135690446"/>
                </c:manualLayout>
              </c:layout>
              <c:tx>
                <c:rich>
                  <a:bodyPr wrap="none"/>
                  <a:lstStyle/>
                  <a:p>
                    <a:pPr>
                      <a:defRPr sz="1400" b="1" kern="1200" smtId="4294967295">
                        <a:solidFill>
                          <a:srgbClr val="005FD7"/>
                        </a:solidFill>
                        <a:latin typeface="Segoe UI" panose="020B0502040204020203" pitchFamily="34" charset="0"/>
                        <a:ea typeface="Segoe UI"/>
                        <a:cs typeface="Segoe UI" panose="020B0502040204020203" pitchFamily="34" charset="0"/>
                        <a:sym typeface="Segoe UI"/>
                      </a:defRPr>
                    </a:pPr>
                    <a:r>
                      <a:rPr lang="en-US"/>
                      <a:t>697.0</a:t>
                    </a:r>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9-EE97-4BC1-8CAC-D11D9BEF3ADD}"/>
                </c:ext>
              </c:extLst>
            </c:dLbl>
            <c:spPr>
              <a:noFill/>
              <a:ln>
                <a:noFill/>
              </a:ln>
              <a:effectLst/>
            </c:spPr>
            <c:txPr>
              <a:bodyPr wrap="square" lIns="38100" tIns="19050" rIns="38100" bIns="19050" anchor="ctr">
                <a:spAutoFit/>
              </a:bodyPr>
              <a:lstStyle/>
              <a:p>
                <a:pPr>
                  <a:defRPr sz="1400" b="1" smtId="4294967295">
                    <a:solidFill>
                      <a:srgbClr val="005FD7"/>
                    </a:solidFill>
                    <a:latin typeface="Segoe UI" panose="020B0502040204020203" pitchFamily="34" charset="0"/>
                    <a:cs typeface="Segoe UI" panose="020B0502040204020203" pitchFamily="34" charset="0"/>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0.0;"-"#,##0.0</c:formatCode>
                <c:ptCount val="10"/>
                <c:pt idx="0">
                  <c:v>540.08100000000002</c:v>
                </c:pt>
                <c:pt idx="1">
                  <c:v>426.44200000000001</c:v>
                </c:pt>
                <c:pt idx="2">
                  <c:v>430.01400000000001</c:v>
                </c:pt>
                <c:pt idx="3">
                  <c:v>495</c:v>
                </c:pt>
                <c:pt idx="4">
                  <c:v>509.14299999999997</c:v>
                </c:pt>
                <c:pt idx="5">
                  <c:v>537.98199999999997</c:v>
                </c:pt>
                <c:pt idx="6">
                  <c:v>594.23199999999997</c:v>
                </c:pt>
                <c:pt idx="7">
                  <c:v>575.26599999999996</c:v>
                </c:pt>
                <c:pt idx="8">
                  <c:v>631.40499999999997</c:v>
                </c:pt>
                <c:pt idx="9">
                  <c:v>696.98299999999995</c:v>
                </c:pt>
              </c:numCache>
            </c:numRef>
          </c:val>
          <c:extLst>
            <c:ext xmlns:c16="http://schemas.microsoft.com/office/drawing/2014/chart" uri="{C3380CC4-5D6E-409C-BE32-E72D297353CC}">
              <c16:uniqueId val="{0000000A-18E6-49C9-9957-C63E73DD7BDD}"/>
            </c:ext>
          </c:extLst>
        </c:ser>
        <c:dLbls>
          <c:showLegendKey val="0"/>
          <c:showVal val="0"/>
          <c:showCatName val="0"/>
          <c:showSerName val="0"/>
          <c:showPercent val="0"/>
          <c:showBubbleSize val="0"/>
        </c:dLbls>
        <c:gapWidth val="80"/>
        <c:overlap val="100"/>
        <c:axId val="350160544"/>
        <c:axId val="350160936"/>
      </c:barChart>
      <c:lineChart>
        <c:grouping val="standard"/>
        <c:varyColors val="0"/>
        <c:ser>
          <c:idx val="1"/>
          <c:order val="1"/>
          <c:spPr>
            <a:ln w="19050" cmpd="sng" algn="ctr">
              <a:solidFill>
                <a:srgbClr val="00FFFF"/>
              </a:solidFill>
              <a:prstDash val="dash"/>
            </a:ln>
          </c:spPr>
          <c:marker>
            <c:symbol val="none"/>
          </c:marker>
          <c:val>
            <c:numRef>
              <c:f>Sheet1!$A$2:$J$2</c:f>
              <c:numCache>
                <c:formatCode>General</c:formatCode>
                <c:ptCount val="10"/>
                <c:pt idx="0">
                  <c:v>460.82865279803099</c:v>
                </c:pt>
                <c:pt idx="1">
                  <c:v>230.44367092868001</c:v>
                </c:pt>
                <c:pt idx="2">
                  <c:v>207.87073979403101</c:v>
                </c:pt>
                <c:pt idx="3">
                  <c:v>252.29595250679299</c:v>
                </c:pt>
                <c:pt idx="4">
                  <c:v>251.52642219202201</c:v>
                </c:pt>
                <c:pt idx="5">
                  <c:v>252.31796453495801</c:v>
                </c:pt>
                <c:pt idx="6">
                  <c:v>271.61972082448801</c:v>
                </c:pt>
                <c:pt idx="7">
                  <c:v>218.41037517914501</c:v>
                </c:pt>
                <c:pt idx="8">
                  <c:v>251.08489349346701</c:v>
                </c:pt>
                <c:pt idx="9">
                  <c:v>253.909468219443</c:v>
                </c:pt>
              </c:numCache>
            </c:numRef>
          </c:val>
          <c:smooth val="0"/>
          <c:extLst>
            <c:ext xmlns:c16="http://schemas.microsoft.com/office/drawing/2014/chart" uri="{C3380CC4-5D6E-409C-BE32-E72D297353CC}">
              <c16:uniqueId val="{0000000B-18E6-49C9-9957-C63E73DD7BDD}"/>
            </c:ext>
          </c:extLst>
        </c:ser>
        <c:dLbls>
          <c:showLegendKey val="0"/>
          <c:showVal val="0"/>
          <c:showCatName val="0"/>
          <c:showSerName val="0"/>
          <c:showPercent val="0"/>
          <c:showBubbleSize val="0"/>
        </c:dLbls>
        <c:marker val="1"/>
        <c:smooth val="0"/>
        <c:axId val="350160544"/>
        <c:axId val="350160936"/>
      </c:lineChart>
      <c:catAx>
        <c:axId val="350160544"/>
        <c:scaling>
          <c:orientation val="minMax"/>
        </c:scaling>
        <c:delete val="0"/>
        <c:axPos val="b"/>
        <c:majorTickMark val="none"/>
        <c:minorTickMark val="none"/>
        <c:tickLblPos val="none"/>
        <c:spPr>
          <a:ln w="9525" cmpd="sng" algn="ctr">
            <a:solidFill>
              <a:schemeClr val="bg1">
                <a:lumMod val="75000"/>
              </a:schemeClr>
            </a:solidFill>
            <a:prstDash val="solid"/>
          </a:ln>
        </c:spPr>
        <c:crossAx val="350160936"/>
        <c:crossesAt val="0"/>
        <c:auto val="0"/>
        <c:lblAlgn val="ctr"/>
        <c:lblOffset val="100"/>
        <c:noMultiLvlLbl val="0"/>
      </c:catAx>
      <c:valAx>
        <c:axId val="350160936"/>
        <c:scaling>
          <c:orientation val="minMax"/>
          <c:max val="696.98299999999995"/>
          <c:min val="0"/>
        </c:scaling>
        <c:delete val="1"/>
        <c:axPos val="l"/>
        <c:numFmt formatCode="#,##0.0;&quot;-&quot;#,##0.0" sourceLinked="1"/>
        <c:majorTickMark val="out"/>
        <c:minorTickMark val="none"/>
        <c:tickLblPos val="nextTo"/>
        <c:crossAx val="350160544"/>
        <c:crossesAt val="0"/>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a:effectLst/>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3" Type="http://schemas.openxmlformats.org/officeDocument/2006/relationships/tags" Target="../tags/tag231.xml"/><Relationship Id="rId7" Type="http://schemas.openxmlformats.org/officeDocument/2006/relationships/tags" Target="../tags/tag235.xml"/><Relationship Id="rId2" Type="http://schemas.openxmlformats.org/officeDocument/2006/relationships/tags" Target="../tags/tag230.xml"/><Relationship Id="rId1" Type="http://schemas.openxmlformats.org/officeDocument/2006/relationships/theme" Target="../theme/theme4.xml"/><Relationship Id="rId6" Type="http://schemas.openxmlformats.org/officeDocument/2006/relationships/tags" Target="../tags/tag234.xml"/><Relationship Id="rId5" Type="http://schemas.openxmlformats.org/officeDocument/2006/relationships/tags" Target="../tags/tag233.xml"/><Relationship Id="rId4" Type="http://schemas.openxmlformats.org/officeDocument/2006/relationships/tags" Target="../tags/tag23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custDataLst>
              <p:tags r:id="rId2"/>
            </p:custDataLst>
          </p:nvPr>
        </p:nvSpPr>
        <p:spPr>
          <a:xfrm>
            <a:off x="0" y="0"/>
            <a:ext cx="3078427" cy="513508"/>
          </a:xfrm>
          <a:prstGeom prst="rect">
            <a:avLst/>
          </a:prstGeom>
        </p:spPr>
        <p:txBody>
          <a:bodyPr vert="horz" lIns="99075" tIns="49538" rIns="99075" bIns="49538" rtlCol="0"/>
          <a:lstStyle>
            <a:lvl1pPr algn="l">
              <a:defRPr sz="1300"/>
            </a:lvl1pPr>
          </a:lstStyle>
          <a:p>
            <a:endParaRPr lang="pt-BR" dirty="0"/>
          </a:p>
        </p:txBody>
      </p:sp>
      <p:sp>
        <p:nvSpPr>
          <p:cNvPr id="3" name="Espaço Reservado para Data 2"/>
          <p:cNvSpPr>
            <a:spLocks noGrp="1"/>
          </p:cNvSpPr>
          <p:nvPr>
            <p:ph type="dt" idx="1"/>
            <p:custDataLst>
              <p:tags r:id="rId3"/>
            </p:custDataLst>
          </p:nvPr>
        </p:nvSpPr>
        <p:spPr>
          <a:xfrm>
            <a:off x="4023992" y="0"/>
            <a:ext cx="3078427" cy="513508"/>
          </a:xfrm>
          <a:prstGeom prst="rect">
            <a:avLst/>
          </a:prstGeom>
        </p:spPr>
        <p:txBody>
          <a:bodyPr vert="horz" lIns="99075" tIns="49538" rIns="99075" bIns="49538" rtlCol="0"/>
          <a:lstStyle>
            <a:lvl1pPr algn="r">
              <a:defRPr sz="1300"/>
            </a:lvl1pPr>
          </a:lstStyle>
          <a:p>
            <a:fld id="{4FAACDBF-6DBC-4CCF-98DB-9FC8B36EE297}" type="datetimeFigureOut">
              <a:rPr lang="pt-BR" smtClean="0"/>
              <a:t>25/09/2023</a:t>
            </a:fld>
            <a:endParaRPr lang="pt-BR" dirty="0"/>
          </a:p>
        </p:txBody>
      </p:sp>
      <p:sp>
        <p:nvSpPr>
          <p:cNvPr id="4" name="Espaço Reservado para Imagem de Slide 3"/>
          <p:cNvSpPr>
            <a:spLocks noGrp="1" noRot="1" noChangeAspect="1"/>
          </p:cNvSpPr>
          <p:nvPr>
            <p:ph type="sldImg" idx="2"/>
            <p:custDataLst>
              <p:tags r:id="rId4"/>
            </p:custDataLst>
          </p:nvPr>
        </p:nvSpPr>
        <p:spPr>
          <a:xfrm>
            <a:off x="482600" y="1279525"/>
            <a:ext cx="6140450" cy="3454400"/>
          </a:xfrm>
          <a:prstGeom prst="rect">
            <a:avLst/>
          </a:prstGeom>
          <a:noFill/>
          <a:ln w="12700">
            <a:solidFill>
              <a:prstClr val="black"/>
            </a:solidFill>
          </a:ln>
        </p:spPr>
      </p:sp>
      <p:sp>
        <p:nvSpPr>
          <p:cNvPr id="5" name="Espaço Reservado para Anotações 4"/>
          <p:cNvSpPr>
            <a:spLocks noGrp="1"/>
          </p:cNvSpPr>
          <p:nvPr>
            <p:ph type="body" sz="quarter" idx="3"/>
            <p:custDataLst>
              <p:tags r:id="rId5"/>
            </p:custDataLst>
          </p:nvPr>
        </p:nvSpPr>
        <p:spPr>
          <a:xfrm>
            <a:off x="710407" y="4925407"/>
            <a:ext cx="5683250" cy="4029879"/>
          </a:xfrm>
          <a:prstGeom prst="rect">
            <a:avLst/>
          </a:prstGeom>
        </p:spPr>
        <p:txBody>
          <a:bodyPr vert="horz" lIns="99075" tIns="49538" rIns="99075" bIns="49538" rtlCol="0"/>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custDataLst>
              <p:tags r:id="rId6"/>
            </p:custDataLst>
          </p:nvPr>
        </p:nvSpPr>
        <p:spPr>
          <a:xfrm>
            <a:off x="0" y="9721107"/>
            <a:ext cx="3078427" cy="513507"/>
          </a:xfrm>
          <a:prstGeom prst="rect">
            <a:avLst/>
          </a:prstGeom>
        </p:spPr>
        <p:txBody>
          <a:bodyPr vert="horz" lIns="99075" tIns="49538" rIns="99075" bIns="49538" rtlCol="0" anchor="b"/>
          <a:lstStyle>
            <a:lvl1pPr algn="l">
              <a:defRPr sz="1300"/>
            </a:lvl1pPr>
          </a:lstStyle>
          <a:p>
            <a:endParaRPr lang="pt-BR" dirty="0"/>
          </a:p>
        </p:txBody>
      </p:sp>
      <p:sp>
        <p:nvSpPr>
          <p:cNvPr id="7" name="Espaço Reservado para Número de Slide 6"/>
          <p:cNvSpPr>
            <a:spLocks noGrp="1"/>
          </p:cNvSpPr>
          <p:nvPr>
            <p:ph type="sldNum" sz="quarter" idx="5"/>
            <p:custDataLst>
              <p:tags r:id="rId7"/>
            </p:custDataLst>
          </p:nvPr>
        </p:nvSpPr>
        <p:spPr>
          <a:xfrm>
            <a:off x="4023992" y="9721107"/>
            <a:ext cx="3078427" cy="513507"/>
          </a:xfrm>
          <a:prstGeom prst="rect">
            <a:avLst/>
          </a:prstGeom>
        </p:spPr>
        <p:txBody>
          <a:bodyPr vert="horz" lIns="99075" tIns="49538" rIns="99075" bIns="49538" rtlCol="0" anchor="b"/>
          <a:lstStyle>
            <a:lvl1pPr algn="r">
              <a:defRPr sz="1300"/>
            </a:lvl1pPr>
          </a:lstStyle>
          <a:p>
            <a:fld id="{4B65B367-E0C9-4B72-9D3C-E1CB17B2C6C6}" type="slidenum">
              <a:rPr lang="pt-BR" smtClean="0"/>
              <a:t>‹nº›</a:t>
            </a:fld>
            <a:endParaRPr lang="pt-BR" dirty="0"/>
          </a:p>
        </p:txBody>
      </p:sp>
    </p:spTree>
    <p:extLst>
      <p:ext uri="{BB962C8B-B14F-4D97-AF65-F5344CB8AC3E}">
        <p14:creationId xmlns:p14="http://schemas.microsoft.com/office/powerpoint/2010/main" val="306417513"/>
      </p:ext>
    </p:extLst>
  </p:cSld>
  <p:clrMap bg1="lt1" tx1="dk1" bg2="lt2" tx2="dk2" accent1="accent1" accent2="accent2" accent3="accent3" accent4="accent4" accent5="accent5" accent6="accent6" hlink="hlink" folHlink="folHlink"/>
  <p:notesStyle>
    <a:lvl1pPr marL="0" algn="l" defTabSz="674919" rtl="0" eaLnBrk="1" latinLnBrk="0" hangingPunct="1">
      <a:defRPr sz="886" kern="1200">
        <a:solidFill>
          <a:schemeClr val="tx1"/>
        </a:solidFill>
        <a:latin typeface="+mn-lt"/>
        <a:ea typeface="+mn-ea"/>
        <a:cs typeface="+mn-cs"/>
      </a:defRPr>
    </a:lvl1pPr>
    <a:lvl2pPr marL="337459" algn="l" defTabSz="674919" rtl="0" eaLnBrk="1" latinLnBrk="0" hangingPunct="1">
      <a:defRPr sz="886" kern="1200">
        <a:solidFill>
          <a:schemeClr val="tx1"/>
        </a:solidFill>
        <a:latin typeface="+mn-lt"/>
        <a:ea typeface="+mn-ea"/>
        <a:cs typeface="+mn-cs"/>
      </a:defRPr>
    </a:lvl2pPr>
    <a:lvl3pPr marL="674919" algn="l" defTabSz="674919" rtl="0" eaLnBrk="1" latinLnBrk="0" hangingPunct="1">
      <a:defRPr sz="886" kern="1200">
        <a:solidFill>
          <a:schemeClr val="tx1"/>
        </a:solidFill>
        <a:latin typeface="+mn-lt"/>
        <a:ea typeface="+mn-ea"/>
        <a:cs typeface="+mn-cs"/>
      </a:defRPr>
    </a:lvl3pPr>
    <a:lvl4pPr marL="1012378" algn="l" defTabSz="674919" rtl="0" eaLnBrk="1" latinLnBrk="0" hangingPunct="1">
      <a:defRPr sz="886" kern="1200">
        <a:solidFill>
          <a:schemeClr val="tx1"/>
        </a:solidFill>
        <a:latin typeface="+mn-lt"/>
        <a:ea typeface="+mn-ea"/>
        <a:cs typeface="+mn-cs"/>
      </a:defRPr>
    </a:lvl4pPr>
    <a:lvl5pPr marL="1349837" algn="l" defTabSz="674919" rtl="0" eaLnBrk="1" latinLnBrk="0" hangingPunct="1">
      <a:defRPr sz="886" kern="1200">
        <a:solidFill>
          <a:schemeClr val="tx1"/>
        </a:solidFill>
        <a:latin typeface="+mn-lt"/>
        <a:ea typeface="+mn-ea"/>
        <a:cs typeface="+mn-cs"/>
      </a:defRPr>
    </a:lvl5pPr>
    <a:lvl6pPr marL="1687297" algn="l" defTabSz="674919" rtl="0" eaLnBrk="1" latinLnBrk="0" hangingPunct="1">
      <a:defRPr sz="886" kern="1200">
        <a:solidFill>
          <a:schemeClr val="tx1"/>
        </a:solidFill>
        <a:latin typeface="+mn-lt"/>
        <a:ea typeface="+mn-ea"/>
        <a:cs typeface="+mn-cs"/>
      </a:defRPr>
    </a:lvl6pPr>
    <a:lvl7pPr marL="2024756" algn="l" defTabSz="674919" rtl="0" eaLnBrk="1" latinLnBrk="0" hangingPunct="1">
      <a:defRPr sz="886" kern="1200">
        <a:solidFill>
          <a:schemeClr val="tx1"/>
        </a:solidFill>
        <a:latin typeface="+mn-lt"/>
        <a:ea typeface="+mn-ea"/>
        <a:cs typeface="+mn-cs"/>
      </a:defRPr>
    </a:lvl7pPr>
    <a:lvl8pPr marL="2362215" algn="l" defTabSz="674919" rtl="0" eaLnBrk="1" latinLnBrk="0" hangingPunct="1">
      <a:defRPr sz="886" kern="1200">
        <a:solidFill>
          <a:schemeClr val="tx1"/>
        </a:solidFill>
        <a:latin typeface="+mn-lt"/>
        <a:ea typeface="+mn-ea"/>
        <a:cs typeface="+mn-cs"/>
      </a:defRPr>
    </a:lvl8pPr>
    <a:lvl9pPr marL="2699675" algn="l" defTabSz="674919" rtl="0" eaLnBrk="1" latinLnBrk="0" hangingPunct="1">
      <a:defRPr sz="88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36.xml"/><Relationship Id="rId2" Type="http://schemas.openxmlformats.org/officeDocument/2006/relationships/tags" Target="../tags/tag735.xml"/><Relationship Id="rId1" Type="http://schemas.openxmlformats.org/officeDocument/2006/relationships/tags" Target="../tags/tag734.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827.xml"/><Relationship Id="rId2" Type="http://schemas.openxmlformats.org/officeDocument/2006/relationships/tags" Target="../tags/tag826.xml"/><Relationship Id="rId1" Type="http://schemas.openxmlformats.org/officeDocument/2006/relationships/tags" Target="../tags/tag825.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871.xml"/><Relationship Id="rId2" Type="http://schemas.openxmlformats.org/officeDocument/2006/relationships/tags" Target="../tags/tag870.xml"/><Relationship Id="rId1" Type="http://schemas.openxmlformats.org/officeDocument/2006/relationships/tags" Target="../tags/tag869.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902.xml"/><Relationship Id="rId2" Type="http://schemas.openxmlformats.org/officeDocument/2006/relationships/tags" Target="../tags/tag901.xml"/><Relationship Id="rId1" Type="http://schemas.openxmlformats.org/officeDocument/2006/relationships/tags" Target="../tags/tag900.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931.xml"/><Relationship Id="rId2" Type="http://schemas.openxmlformats.org/officeDocument/2006/relationships/tags" Target="../tags/tag930.xml"/><Relationship Id="rId1" Type="http://schemas.openxmlformats.org/officeDocument/2006/relationships/tags" Target="../tags/tag929.xml"/><Relationship Id="rId5" Type="http://schemas.openxmlformats.org/officeDocument/2006/relationships/slide" Target="../slides/slide20.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958.xml"/><Relationship Id="rId2" Type="http://schemas.openxmlformats.org/officeDocument/2006/relationships/tags" Target="../tags/tag957.xml"/><Relationship Id="rId1" Type="http://schemas.openxmlformats.org/officeDocument/2006/relationships/tags" Target="../tags/tag956.xml"/><Relationship Id="rId5" Type="http://schemas.openxmlformats.org/officeDocument/2006/relationships/slide" Target="../slides/slide21.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977.xml"/><Relationship Id="rId2" Type="http://schemas.openxmlformats.org/officeDocument/2006/relationships/tags" Target="../tags/tag976.xml"/><Relationship Id="rId1" Type="http://schemas.openxmlformats.org/officeDocument/2006/relationships/tags" Target="../tags/tag975.xml"/><Relationship Id="rId5" Type="http://schemas.openxmlformats.org/officeDocument/2006/relationships/slide" Target="../slides/slide23.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tags" Target="../tags/tag1114.xml"/><Relationship Id="rId2" Type="http://schemas.openxmlformats.org/officeDocument/2006/relationships/tags" Target="../tags/tag1113.xml"/><Relationship Id="rId1" Type="http://schemas.openxmlformats.org/officeDocument/2006/relationships/tags" Target="../tags/tag1112.xml"/><Relationship Id="rId5" Type="http://schemas.openxmlformats.org/officeDocument/2006/relationships/slide" Target="../slides/slide24.xml"/><Relationship Id="rId4"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tags" Target="../tags/tag1178.xml"/><Relationship Id="rId2" Type="http://schemas.openxmlformats.org/officeDocument/2006/relationships/tags" Target="../tags/tag1177.xml"/><Relationship Id="rId1" Type="http://schemas.openxmlformats.org/officeDocument/2006/relationships/tags" Target="../tags/tag1176.xml"/><Relationship Id="rId5" Type="http://schemas.openxmlformats.org/officeDocument/2006/relationships/slide" Target="../slides/slide26.xml"/><Relationship Id="rId4"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tags" Target="../tags/tag1276.xml"/><Relationship Id="rId2" Type="http://schemas.openxmlformats.org/officeDocument/2006/relationships/tags" Target="../tags/tag1275.xml"/><Relationship Id="rId1" Type="http://schemas.openxmlformats.org/officeDocument/2006/relationships/tags" Target="../tags/tag1274.xml"/><Relationship Id="rId5" Type="http://schemas.openxmlformats.org/officeDocument/2006/relationships/slide" Target="../slides/slide36.xml"/><Relationship Id="rId4"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3" Type="http://schemas.openxmlformats.org/officeDocument/2006/relationships/tags" Target="../tags/tag1324.xml"/><Relationship Id="rId2" Type="http://schemas.openxmlformats.org/officeDocument/2006/relationships/tags" Target="../tags/tag1323.xml"/><Relationship Id="rId1" Type="http://schemas.openxmlformats.org/officeDocument/2006/relationships/tags" Target="../tags/tag1322.xml"/><Relationship Id="rId5" Type="http://schemas.openxmlformats.org/officeDocument/2006/relationships/slide" Target="../slides/slide37.xml"/><Relationship Id="rId4"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tags" Target="../tags/tag1343.xml"/><Relationship Id="rId2" Type="http://schemas.openxmlformats.org/officeDocument/2006/relationships/tags" Target="../tags/tag1342.xml"/><Relationship Id="rId1" Type="http://schemas.openxmlformats.org/officeDocument/2006/relationships/tags" Target="../tags/tag1341.xml"/><Relationship Id="rId5" Type="http://schemas.openxmlformats.org/officeDocument/2006/relationships/slide" Target="../slides/slide38.xml"/><Relationship Id="rId4"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tags" Target="../tags/tag408.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450.xml"/><Relationship Id="rId2" Type="http://schemas.openxmlformats.org/officeDocument/2006/relationships/tags" Target="../tags/tag449.xml"/><Relationship Id="rId1" Type="http://schemas.openxmlformats.org/officeDocument/2006/relationships/tags" Target="../tags/tag448.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4B65B367-E0C9-4B72-9D3C-E1CB17B2C6C6}" type="slidenum">
              <a:rPr lang="pt-BR" smtClean="0"/>
              <a:t>2</a:t>
            </a:fld>
            <a:endParaRPr lang="pt-BR" dirty="0"/>
          </a:p>
        </p:txBody>
      </p:sp>
    </p:spTree>
    <p:extLst>
      <p:ext uri="{BB962C8B-B14F-4D97-AF65-F5344CB8AC3E}">
        <p14:creationId xmlns:p14="http://schemas.microsoft.com/office/powerpoint/2010/main" val="13210891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4B65B367-E0C9-4B72-9D3C-E1CB17B2C6C6}" type="slidenum">
              <a:rPr lang="pt-BR" smtClean="0"/>
              <a:t>13</a:t>
            </a:fld>
            <a:endParaRPr lang="pt-BR" dirty="0"/>
          </a:p>
        </p:txBody>
      </p:sp>
    </p:spTree>
    <p:extLst>
      <p:ext uri="{BB962C8B-B14F-4D97-AF65-F5344CB8AC3E}">
        <p14:creationId xmlns:p14="http://schemas.microsoft.com/office/powerpoint/2010/main" val="5449395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1123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a:p>
            <a:endParaRPr lang="pt-BR" dirty="0"/>
          </a:p>
          <a:p>
            <a:endParaRPr lang="pt-BR" dirty="0"/>
          </a:p>
        </p:txBody>
      </p:sp>
      <p:sp>
        <p:nvSpPr>
          <p:cNvPr id="4" name="Espaço Reservado para Número de Slide 3"/>
          <p:cNvSpPr>
            <a:spLocks noGrp="1"/>
          </p:cNvSpPr>
          <p:nvPr>
            <p:ph type="sldNum" sz="quarter" idx="5"/>
            <p:custDataLst>
              <p:tags r:id="rId3"/>
            </p:custDataLst>
          </p:nvPr>
        </p:nvSpPr>
        <p:spPr/>
        <p:txBody>
          <a:bodyPr/>
          <a:lstStyle/>
          <a:p>
            <a:fld id="{4B65B367-E0C9-4B72-9D3C-E1CB17B2C6C6}" type="slidenum">
              <a:rPr lang="pt-BR" smtClean="0"/>
              <a:t>16</a:t>
            </a:fld>
            <a:endParaRPr lang="pt-BR" dirty="0"/>
          </a:p>
        </p:txBody>
      </p:sp>
    </p:spTree>
    <p:extLst>
      <p:ext uri="{BB962C8B-B14F-4D97-AF65-F5344CB8AC3E}">
        <p14:creationId xmlns:p14="http://schemas.microsoft.com/office/powerpoint/2010/main" val="32128240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17</a:t>
            </a:fld>
            <a:endParaRPr kumimoji="0" lang="en-US"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5222064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B65B367-E0C9-4B72-9D3C-E1CB17B2C6C6}" type="slidenum">
              <a:rPr kumimoji="0" lang="pt-BR"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18</a:t>
            </a:fld>
            <a:endParaRPr kumimoji="0" lang="pt-BR"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8284656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94B93AA9-4D6C-42A3-AB50-A30606618F00}"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ct val="0"/>
                </a:spcBef>
                <a:spcAft>
                  <a:spcPct val="0"/>
                </a:spcAft>
                <a:buClrTx/>
                <a:buSzTx/>
                <a:buFontTx/>
                <a:buNone/>
                <a:defRPr/>
              </a:pPr>
              <a:t>19</a:t>
            </a:fld>
            <a:endParaRPr kumimoji="0" lang="pt-BR"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083522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fld id="{4B65B367-E0C9-4B72-9D3C-E1CB17B2C6C6}" type="slidenum">
              <a:rPr lang="pt-BR" smtClean="0"/>
              <a:t>20</a:t>
            </a:fld>
            <a:endParaRPr lang="pt-BR" dirty="0"/>
          </a:p>
        </p:txBody>
      </p:sp>
    </p:spTree>
    <p:extLst>
      <p:ext uri="{BB962C8B-B14F-4D97-AF65-F5344CB8AC3E}">
        <p14:creationId xmlns:p14="http://schemas.microsoft.com/office/powerpoint/2010/main" val="717527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pPr marL="285750" indent="-285750">
              <a:buFontTx/>
              <a:buChar char="-"/>
            </a:pPr>
            <a:endParaRPr lang="pt-BR" sz="1800" dirty="0">
              <a:effectLst/>
              <a:latin typeface="Calibri" panose="020F0502020204030204" pitchFamily="34" charset="0"/>
              <a:ea typeface="Calibri" panose="020F0502020204030204" pitchFamily="34" charset="0"/>
            </a:endParaRPr>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CD66168D-FB22-2F49-8C03-159A1A50C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ct val="0"/>
                </a:spcBef>
                <a:spcAft>
                  <a:spcPct val="0"/>
                </a:spcAft>
                <a:buClrTx/>
                <a:buSzTx/>
                <a:buFontTx/>
                <a:buNone/>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3086422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5231631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pPr marL="457200" lvl="1" indent="0">
              <a:buFont typeface="Arial" panose="020B0604020202020204" pitchFamily="34" charset="0"/>
              <a:buNone/>
            </a:pPr>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2FE70FC8-ADF9-7D43-AFED-FEC449691EF1}" type="slidenum">
              <a:rPr kumimoji="0" lang="es-ES_tradnl"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23</a:t>
            </a:fld>
            <a:endParaRPr kumimoji="0" lang="es-ES_tradnl"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15261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fld id="{4B65B367-E0C9-4B72-9D3C-E1CB17B2C6C6}" type="slidenum">
              <a:rPr lang="pt-BR" smtClean="0"/>
              <a:t>4</a:t>
            </a:fld>
            <a:endParaRPr lang="pt-BR"/>
          </a:p>
        </p:txBody>
      </p:sp>
    </p:spTree>
    <p:extLst>
      <p:ext uri="{BB962C8B-B14F-4D97-AF65-F5344CB8AC3E}">
        <p14:creationId xmlns:p14="http://schemas.microsoft.com/office/powerpoint/2010/main" val="38484839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en-US" dirty="0"/>
          </a:p>
        </p:txBody>
      </p:sp>
      <p:sp>
        <p:nvSpPr>
          <p:cNvPr id="4" name="Espaço Reservado para Número de Slide 3"/>
          <p:cNvSpPr>
            <a:spLocks noGrp="1"/>
          </p:cNvSpPr>
          <p:nvPr>
            <p:ph type="sldNum" sz="quarter" idx="5"/>
            <p:custDataLst>
              <p:tags r:id="rId3"/>
            </p:custDataLst>
          </p:nvPr>
        </p:nvSpPr>
        <p:spPr/>
        <p:txBody>
          <a:bodyPr/>
          <a:lstStyle/>
          <a:p>
            <a:fld id="{4B65B367-E0C9-4B72-9D3C-E1CB17B2C6C6}" type="slidenum">
              <a:rPr lang="pt-BR" smtClean="0"/>
              <a:t>24</a:t>
            </a:fld>
            <a:endParaRPr lang="pt-BR" dirty="0"/>
          </a:p>
        </p:txBody>
      </p:sp>
    </p:spTree>
    <p:extLst>
      <p:ext uri="{BB962C8B-B14F-4D97-AF65-F5344CB8AC3E}">
        <p14:creationId xmlns:p14="http://schemas.microsoft.com/office/powerpoint/2010/main" val="421175059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rtl="0"/>
            <a:r>
              <a:rPr lang="pt-BR" dirty="0">
                <a:effectLst/>
                <a:latin typeface="Tahoma" panose="020B0604030504040204" pitchFamily="34" charset="0"/>
              </a:rPr>
              <a:t>(unidades em construção – destacar leilões):</a:t>
            </a:r>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92746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en-US" dirty="0"/>
          </a:p>
        </p:txBody>
      </p:sp>
      <p:sp>
        <p:nvSpPr>
          <p:cNvPr id="4" name="Espaço Reservado para Número de Slide 3"/>
          <p:cNvSpPr>
            <a:spLocks noGrp="1"/>
          </p:cNvSpPr>
          <p:nvPr>
            <p:ph type="sldNum" sz="quarter" idx="5"/>
            <p:custDataLst>
              <p:tags r:id="rId3"/>
            </p:custDataLst>
          </p:nvPr>
        </p:nvSpPr>
        <p:spPr/>
        <p:txBody>
          <a:bodyPr/>
          <a:lstStyle/>
          <a:p>
            <a:fld id="{4B65B367-E0C9-4B72-9D3C-E1CB17B2C6C6}" type="slidenum">
              <a:rPr lang="pt-BR" smtClean="0"/>
              <a:t>26</a:t>
            </a:fld>
            <a:endParaRPr lang="pt-BR" dirty="0"/>
          </a:p>
        </p:txBody>
      </p:sp>
    </p:spTree>
    <p:extLst>
      <p:ext uri="{BB962C8B-B14F-4D97-AF65-F5344CB8AC3E}">
        <p14:creationId xmlns:p14="http://schemas.microsoft.com/office/powerpoint/2010/main" val="16860103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2115525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6954311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9983278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957981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8639089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9989102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D66168D-FB22-2F49-8C03-159A1A50CDA5}" type="slidenum">
              <a:rPr kumimoji="0" lang="en-US"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740894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4B65B367-E0C9-4B72-9D3C-E1CB17B2C6C6}" type="slidenum">
              <a:rPr lang="pt-BR" smtClean="0"/>
              <a:t>5</a:t>
            </a:fld>
            <a:endParaRPr lang="pt-BR" dirty="0"/>
          </a:p>
        </p:txBody>
      </p:sp>
    </p:spTree>
    <p:extLst>
      <p:ext uri="{BB962C8B-B14F-4D97-AF65-F5344CB8AC3E}">
        <p14:creationId xmlns:p14="http://schemas.microsoft.com/office/powerpoint/2010/main" val="26322933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4953551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B65B367-E0C9-4B72-9D3C-E1CB17B2C6C6}" type="slidenum">
              <a:rPr kumimoji="0" lang="pt-BR"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36</a:t>
            </a:fld>
            <a:endParaRPr kumimoji="0" lang="pt-BR"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25942321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2FE70FC8-ADF9-7D43-AFED-FEC449691EF1}" type="slidenum">
              <a:rPr kumimoji="0" lang="es-ES_tradnl"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37</a:t>
            </a:fld>
            <a:endParaRPr kumimoji="0" lang="es-ES_tradnl"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2878991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fld id="{4B65B367-E0C9-4B72-9D3C-E1CB17B2C6C6}" type="slidenum">
              <a:rPr lang="pt-BR" smtClean="0"/>
              <a:t>38</a:t>
            </a:fld>
            <a:endParaRPr lang="pt-BR" dirty="0"/>
          </a:p>
        </p:txBody>
      </p:sp>
    </p:spTree>
    <p:extLst>
      <p:ext uri="{BB962C8B-B14F-4D97-AF65-F5344CB8AC3E}">
        <p14:creationId xmlns:p14="http://schemas.microsoft.com/office/powerpoint/2010/main" val="20996544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pPr marL="0" marR="0" lvl="0" indent="0" algn="l" defTabSz="674919" rtl="0" eaLnBrk="1" fontAlgn="auto" latinLnBrk="0" hangingPunct="1">
              <a:lnSpc>
                <a:spcPct val="100000"/>
              </a:lnSpc>
              <a:spcBef>
                <a:spcPts val="0"/>
              </a:spcBef>
              <a:spcAft>
                <a:spcPts val="0"/>
              </a:spcAft>
              <a:buClrTx/>
              <a:buSzTx/>
              <a:buFontTx/>
              <a:buNone/>
              <a:tabLst/>
              <a:defRPr/>
            </a:pPr>
            <a:r>
              <a:rPr lang="pt-BR" sz="1800" b="1" dirty="0" err="1">
                <a:effectLst/>
                <a:latin typeface="Calibri" panose="020F0502020204030204" pitchFamily="34" charset="0"/>
                <a:ea typeface="Calibri" panose="020F0502020204030204" pitchFamily="34" charset="0"/>
              </a:rPr>
              <a:t>Talking</a:t>
            </a:r>
            <a:r>
              <a:rPr lang="pt-BR" sz="1800" b="1" dirty="0">
                <a:effectLst/>
                <a:latin typeface="Calibri" panose="020F0502020204030204" pitchFamily="34" charset="0"/>
                <a:ea typeface="Calibri" panose="020F0502020204030204" pitchFamily="34" charset="0"/>
              </a:rPr>
              <a:t> Points:</a:t>
            </a:r>
          </a:p>
          <a:p>
            <a:pPr marL="0" marR="0" lvl="0" indent="0" algn="l" defTabSz="674919" rtl="0" eaLnBrk="1" fontAlgn="auto" latinLnBrk="0" hangingPunct="1">
              <a:lnSpc>
                <a:spcPct val="100000"/>
              </a:lnSpc>
              <a:spcBef>
                <a:spcPts val="0"/>
              </a:spcBef>
              <a:spcAft>
                <a:spcPts val="0"/>
              </a:spcAft>
              <a:buClrTx/>
              <a:buSzTx/>
              <a:buFontTx/>
              <a:buNone/>
              <a:tabLst/>
              <a:defRPr/>
            </a:pPr>
            <a:endParaRPr lang="pt-BR" sz="1800" dirty="0">
              <a:effectLst/>
              <a:latin typeface="Calibri" panose="020F0502020204030204" pitchFamily="34" charset="0"/>
              <a:ea typeface="Calibri" panose="020F0502020204030204" pitchFamily="34" charset="0"/>
            </a:endParaRPr>
          </a:p>
          <a:p>
            <a:pPr marL="0" marR="0" lvl="0" indent="0" algn="l" defTabSz="674919" rtl="0" eaLnBrk="1" fontAlgn="auto" latinLnBrk="0" hangingPunct="1">
              <a:lnSpc>
                <a:spcPct val="100000"/>
              </a:lnSpc>
              <a:spcBef>
                <a:spcPts val="0"/>
              </a:spcBef>
              <a:spcAft>
                <a:spcPts val="0"/>
              </a:spcAft>
              <a:buClrTx/>
              <a:buSzTx/>
              <a:buFontTx/>
              <a:buNone/>
              <a:tabLst/>
              <a:defRPr/>
            </a:pPr>
            <a:r>
              <a:rPr lang="pt-BR" sz="1800" dirty="0">
                <a:effectLst/>
                <a:latin typeface="Calibri" panose="020F0502020204030204" pitchFamily="34" charset="0"/>
                <a:ea typeface="Calibri" panose="020F0502020204030204" pitchFamily="34" charset="0"/>
              </a:rPr>
              <a:t>- Forte retorno total ao acionista, consideravelmente acima de outros indicadores como o IBOVESPA, CDI, IPCA e acima dos pares de mercado, considerando o reinvestimento dos proventos distribuídos no período.</a:t>
            </a:r>
          </a:p>
          <a:p>
            <a:pPr marL="0" marR="0" lvl="0" indent="0" algn="l" defTabSz="674919" rtl="0" eaLnBrk="1" fontAlgn="auto" latinLnBrk="0" hangingPunct="1">
              <a:lnSpc>
                <a:spcPct val="100000"/>
              </a:lnSpc>
              <a:spcBef>
                <a:spcPts val="0"/>
              </a:spcBef>
              <a:spcAft>
                <a:spcPts val="0"/>
              </a:spcAft>
              <a:buClrTx/>
              <a:buSzTx/>
              <a:buFontTx/>
              <a:buNone/>
              <a:tabLst/>
              <a:defRPr/>
            </a:pPr>
            <a:r>
              <a:rPr lang="pt-BR" sz="1800" dirty="0">
                <a:effectLst/>
                <a:latin typeface="Calibri" panose="020F0502020204030204" pitchFamily="34" charset="0"/>
                <a:ea typeface="Calibri" panose="020F0502020204030204" pitchFamily="34" charset="0"/>
              </a:rPr>
              <a:t>- Transmissão não é renda fixa e tão pouco uma </a:t>
            </a:r>
            <a:r>
              <a:rPr lang="pt-BR" sz="1800" dirty="0" err="1">
                <a:effectLst/>
                <a:latin typeface="Calibri" panose="020F0502020204030204" pitchFamily="34" charset="0"/>
                <a:ea typeface="Calibri" panose="020F0502020204030204" pitchFamily="34" charset="0"/>
              </a:rPr>
              <a:t>commoditie</a:t>
            </a:r>
            <a:r>
              <a:rPr lang="pt-BR" sz="1800" dirty="0">
                <a:effectLst/>
                <a:latin typeface="Calibri" panose="020F0502020204030204" pitchFamily="34" charset="0"/>
                <a:ea typeface="Calibri" panose="020F0502020204030204" pitchFamily="34" charset="0"/>
              </a:rPr>
              <a:t>,  para gerar o valor apresentado nos últimos anos pela Cia tem que conhecer o negócio, trabalhar com excelência na execução de projetos, fazer gestão adequada de temas regulatórios, inovar constantemente, buscar eficiência e alocação responsável dos recursos da Cia. Com equilíbrio no tripé de crescimento, rentabilidade e longevidade. Tudo isto pautado em sólido alicerce de governança e sustentabilidade.</a:t>
            </a:r>
          </a:p>
          <a:p>
            <a:endParaRPr lang="pt-BR" dirty="0"/>
          </a:p>
          <a:p>
            <a:endParaRPr lang="pt-BR" dirty="0"/>
          </a:p>
        </p:txBody>
      </p:sp>
      <p:sp>
        <p:nvSpPr>
          <p:cNvPr id="4" name="Espaço Reservado para Número de Slide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E70FC8-ADF9-7D43-AFED-FEC449691EF1}" type="slidenum">
              <a:rPr kumimoji="0" lang="es-ES_tradnl"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s-ES_tradnl" sz="13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14782486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892413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8481707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957946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CD66168D-FB22-2F49-8C03-159A1A50CD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ct val="0"/>
                </a:spcBef>
                <a:spcAft>
                  <a:spcPct val="0"/>
                </a:spcAft>
                <a:buClrTx/>
                <a:buSzTx/>
                <a:buFontTx/>
                <a:buNone/>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84741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custDataLst>
              <p:tags r:id="rId1"/>
            </p:custDataLst>
          </p:nvPr>
        </p:nvSpPr>
        <p:spPr/>
      </p:sp>
      <p:sp>
        <p:nvSpPr>
          <p:cNvPr id="3" name="Espaço Reservado para Anotações 2"/>
          <p:cNvSpPr>
            <a:spLocks noGrp="1"/>
          </p:cNvSpPr>
          <p:nvPr>
            <p:ph type="body" idx="1"/>
            <p:custDataLst>
              <p:tags r:id="rId2"/>
            </p:custDataLst>
          </p:nvPr>
        </p:nvSpPr>
        <p:spPr/>
        <p:txBody>
          <a:bodyPr/>
          <a:lstStyle/>
          <a:p>
            <a:pPr marL="0" indent="0" defTabSz="990752">
              <a:buFontTx/>
              <a:buNone/>
              <a:defRPr/>
            </a:pPr>
            <a:endParaRPr lang="pt-BR" sz="1300" kern="100" dirty="0">
              <a:latin typeface="Calibri" panose="020F0502020204030204" pitchFamily="34" charset="0"/>
              <a:ea typeface="Calibri" panose="020F0502020204030204" pitchFamily="34" charset="0"/>
              <a:cs typeface="Times New Roman" panose="02020603050405020304" pitchFamily="18" charset="0"/>
            </a:endParaRPr>
          </a:p>
          <a:p>
            <a:endParaRPr lang="pt-BR" dirty="0"/>
          </a:p>
        </p:txBody>
      </p:sp>
      <p:sp>
        <p:nvSpPr>
          <p:cNvPr id="4" name="Espaço Reservado para Número de Slide 3"/>
          <p:cNvSpPr>
            <a:spLocks noGrp="1"/>
          </p:cNvSpPr>
          <p:nvPr>
            <p:ph type="sldNum" sz="quarter" idx="5"/>
            <p:custDataLst>
              <p:tags r:id="rId3"/>
            </p:custDataLst>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B65B367-E0C9-4B72-9D3C-E1CB17B2C6C6}" type="slidenum">
              <a:rPr kumimoji="0" lang="pt-BR" sz="13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ct val="0"/>
                </a:spcBef>
                <a:spcAft>
                  <a:spcPct val="0"/>
                </a:spcAft>
                <a:buClrTx/>
                <a:buSzTx/>
                <a:buFontTx/>
                <a:buNone/>
                <a:defRPr/>
              </a:pPr>
              <a:t>9</a:t>
            </a:fld>
            <a:endParaRPr kumimoji="0" lang="pt-BR" sz="1300" b="0" i="0" u="none" strike="noStrike" kern="1200" cap="none" spc="0" normalizeH="0" baseline="0" noProof="0" dirty="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700513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en-US" dirty="0"/>
          </a:p>
        </p:txBody>
      </p:sp>
      <p:sp>
        <p:nvSpPr>
          <p:cNvPr id="4" name="Espaço Reservado para Número de Slide 3"/>
          <p:cNvSpPr>
            <a:spLocks noGrp="1"/>
          </p:cNvSpPr>
          <p:nvPr>
            <p:ph type="sldNum" sz="quarter" idx="10"/>
          </p:nvPr>
        </p:nvSpPr>
        <p:spPr/>
        <p:txBody>
          <a:bodyPr/>
          <a:lstStyle/>
          <a:p>
            <a:fld id="{4B65B367-E0C9-4B72-9D3C-E1CB17B2C6C6}" type="slidenum">
              <a:rPr lang="pt-BR" smtClean="0"/>
              <a:t>10</a:t>
            </a:fld>
            <a:endParaRPr lang="pt-BR" dirty="0"/>
          </a:p>
        </p:txBody>
      </p:sp>
    </p:spTree>
    <p:extLst>
      <p:ext uri="{BB962C8B-B14F-4D97-AF65-F5344CB8AC3E}">
        <p14:creationId xmlns:p14="http://schemas.microsoft.com/office/powerpoint/2010/main" val="41089235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
        <p:nvSpPr>
          <p:cNvPr id="4" name="Espaço Reservado para Número de Slid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D8241B-84CB-4B30-A920-AE97D3CD0BB8}" type="slidenum">
              <a:rPr kumimoji="0" lang="pt-BR"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pt-BR" sz="1200" b="0" i="0" u="none" strike="noStrike" kern="1200" cap="none" spc="0" normalizeH="0" baseline="0" noProof="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655983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slideMaster" Target="../slideMasters/slideMaster1.xml"/><Relationship Id="rId5" Type="http://schemas.openxmlformats.org/officeDocument/2006/relationships/tags" Target="../tags/tag65.xml"/><Relationship Id="rId4" Type="http://schemas.openxmlformats.org/officeDocument/2006/relationships/tags" Target="../tags/tag64.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4" Type="http://schemas.openxmlformats.org/officeDocument/2006/relationships/image" Target="../media/image2.jpe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0.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slideMaster" Target="../slideMasters/slideMaster1.xml"/><Relationship Id="rId4" Type="http://schemas.openxmlformats.org/officeDocument/2006/relationships/tags" Target="../tags/tag75.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83.xml"/><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0" Type="http://schemas.openxmlformats.org/officeDocument/2006/relationships/tags" Target="../tags/tag85.xml"/><Relationship Id="rId4" Type="http://schemas.openxmlformats.org/officeDocument/2006/relationships/tags" Target="../tags/tag79.xml"/><Relationship Id="rId9" Type="http://schemas.openxmlformats.org/officeDocument/2006/relationships/tags" Target="../tags/tag8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slideMaster" Target="../slideMasters/slideMaster2.xml"/><Relationship Id="rId5" Type="http://schemas.openxmlformats.org/officeDocument/2006/relationships/tags" Target="../tags/tag97.xml"/><Relationship Id="rId4" Type="http://schemas.openxmlformats.org/officeDocument/2006/relationships/tags" Target="../tags/tag96.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Master" Target="../slideMasters/slideMaster2.xml"/><Relationship Id="rId5" Type="http://schemas.openxmlformats.org/officeDocument/2006/relationships/tags" Target="../tags/tag102.xml"/><Relationship Id="rId4" Type="http://schemas.openxmlformats.org/officeDocument/2006/relationships/tags" Target="../tags/tag10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2.xml"/><Relationship Id="rId5" Type="http://schemas.openxmlformats.org/officeDocument/2006/relationships/tags" Target="../tags/tag107.xml"/><Relationship Id="rId4" Type="http://schemas.openxmlformats.org/officeDocument/2006/relationships/tags" Target="../tags/tag106.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slideMaster" Target="../slideMasters/slideMaster1.xml"/><Relationship Id="rId5" Type="http://schemas.openxmlformats.org/officeDocument/2006/relationships/tags" Target="../tags/tag17.xml"/><Relationship Id="rId4"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tags" Target="../tags/tag113.xml"/><Relationship Id="rId5" Type="http://schemas.openxmlformats.org/officeDocument/2006/relationships/tags" Target="../tags/tag112.xml"/><Relationship Id="rId4" Type="http://schemas.openxmlformats.org/officeDocument/2006/relationships/tags" Target="../tags/tag111.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tags" Target="../tags/tag119.xml"/><Relationship Id="rId5" Type="http://schemas.openxmlformats.org/officeDocument/2006/relationships/tags" Target="../tags/tag118.xml"/><Relationship Id="rId4" Type="http://schemas.openxmlformats.org/officeDocument/2006/relationships/tags" Target="../tags/tag117.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slideMaster" Target="../slideMasters/slideMaster2.xml"/><Relationship Id="rId4" Type="http://schemas.openxmlformats.org/officeDocument/2006/relationships/tags" Target="../tags/tag125.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tags" Target="../tags/tag126.xml"/><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tags" Target="../tags/tag134.xml"/><Relationship Id="rId5" Type="http://schemas.openxmlformats.org/officeDocument/2006/relationships/tags" Target="../tags/tag133.xml"/><Relationship Id="rId4" Type="http://schemas.openxmlformats.org/officeDocument/2006/relationships/tags" Target="../tags/tag13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slideMaster" Target="../slideMasters/slideMaster2.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tags" Target="../tags/tag140.xml"/><Relationship Id="rId5" Type="http://schemas.openxmlformats.org/officeDocument/2006/relationships/tags" Target="../tags/tag139.xml"/><Relationship Id="rId4" Type="http://schemas.openxmlformats.org/officeDocument/2006/relationships/tags" Target="../tags/tag138.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43.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slideMaster" Target="../slideMasters/slideMaster2.xml"/><Relationship Id="rId5" Type="http://schemas.openxmlformats.org/officeDocument/2006/relationships/tags" Target="../tags/tag145.xml"/><Relationship Id="rId4" Type="http://schemas.openxmlformats.org/officeDocument/2006/relationships/tags" Target="../tags/tag144.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48.xml"/><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slideMaster" Target="../slideMasters/slideMaster2.xml"/><Relationship Id="rId5" Type="http://schemas.openxmlformats.org/officeDocument/2006/relationships/tags" Target="../tags/tag150.xml"/><Relationship Id="rId4" Type="http://schemas.openxmlformats.org/officeDocument/2006/relationships/tags" Target="../tags/tag149.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slideMaster" Target="../slideMasters/slideMaster2.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5" Type="http://schemas.openxmlformats.org/officeDocument/2006/relationships/tags" Target="../tags/tag155.xml"/><Relationship Id="rId10" Type="http://schemas.openxmlformats.org/officeDocument/2006/relationships/tags" Target="../tags/tag160.xml"/><Relationship Id="rId4" Type="http://schemas.openxmlformats.org/officeDocument/2006/relationships/tags" Target="../tags/tag154.xml"/><Relationship Id="rId9" Type="http://schemas.openxmlformats.org/officeDocument/2006/relationships/tags" Target="../tags/tag15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slideMaster" Target="../slideMasters/slideMaster3.xml"/><Relationship Id="rId5" Type="http://schemas.openxmlformats.org/officeDocument/2006/relationships/tags" Target="../tags/tag172.xml"/><Relationship Id="rId4" Type="http://schemas.openxmlformats.org/officeDocument/2006/relationships/tags" Target="../tags/tag17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6" Type="http://schemas.openxmlformats.org/officeDocument/2006/relationships/slideMaster" Target="../slideMasters/slideMaster3.xml"/><Relationship Id="rId5" Type="http://schemas.openxmlformats.org/officeDocument/2006/relationships/tags" Target="../tags/tag177.xml"/><Relationship Id="rId4" Type="http://schemas.openxmlformats.org/officeDocument/2006/relationships/tags" Target="../tags/tag176.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tags" Target="../tags/tag178.xml"/><Relationship Id="rId6" Type="http://schemas.openxmlformats.org/officeDocument/2006/relationships/slideMaster" Target="../slideMasters/slideMaster3.xml"/><Relationship Id="rId5" Type="http://schemas.openxmlformats.org/officeDocument/2006/relationships/tags" Target="../tags/tag182.xml"/><Relationship Id="rId4" Type="http://schemas.openxmlformats.org/officeDocument/2006/relationships/tags" Target="../tags/tag18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slideMaster" Target="../slideMasters/slideMaster3.xml"/><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tags" Target="../tags/tag188.xml"/><Relationship Id="rId5" Type="http://schemas.openxmlformats.org/officeDocument/2006/relationships/tags" Target="../tags/tag187.xml"/><Relationship Id="rId4" Type="http://schemas.openxmlformats.org/officeDocument/2006/relationships/tags" Target="../tags/tag186.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96.xml"/><Relationship Id="rId3" Type="http://schemas.openxmlformats.org/officeDocument/2006/relationships/tags" Target="../tags/tag191.xml"/><Relationship Id="rId7" Type="http://schemas.openxmlformats.org/officeDocument/2006/relationships/tags" Target="../tags/tag195.xml"/><Relationship Id="rId2" Type="http://schemas.openxmlformats.org/officeDocument/2006/relationships/tags" Target="../tags/tag190.xml"/><Relationship Id="rId1" Type="http://schemas.openxmlformats.org/officeDocument/2006/relationships/tags" Target="../tags/tag189.xml"/><Relationship Id="rId6" Type="http://schemas.openxmlformats.org/officeDocument/2006/relationships/tags" Target="../tags/tag194.xml"/><Relationship Id="rId5" Type="http://schemas.openxmlformats.org/officeDocument/2006/relationships/tags" Target="../tags/tag193.xml"/><Relationship Id="rId4" Type="http://schemas.openxmlformats.org/officeDocument/2006/relationships/tags" Target="../tags/tag192.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slideMaster" Target="../slideMasters/slideMaster3.xml"/><Relationship Id="rId4" Type="http://schemas.openxmlformats.org/officeDocument/2006/relationships/tags" Target="../tags/tag20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03.xml"/><Relationship Id="rId2" Type="http://schemas.openxmlformats.org/officeDocument/2006/relationships/tags" Target="../tags/tag202.xml"/><Relationship Id="rId1" Type="http://schemas.openxmlformats.org/officeDocument/2006/relationships/tags" Target="../tags/tag201.xml"/><Relationship Id="rId4"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06.xml"/><Relationship Id="rId7" Type="http://schemas.openxmlformats.org/officeDocument/2006/relationships/slideMaster" Target="../slideMasters/slideMaster3.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tags" Target="../tags/tag209.xml"/><Relationship Id="rId5" Type="http://schemas.openxmlformats.org/officeDocument/2006/relationships/tags" Target="../tags/tag208.xml"/><Relationship Id="rId4" Type="http://schemas.openxmlformats.org/officeDocument/2006/relationships/tags" Target="../tags/tag207.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12.xml"/><Relationship Id="rId7" Type="http://schemas.openxmlformats.org/officeDocument/2006/relationships/slideMaster" Target="../slideMasters/slideMaster3.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5" Type="http://schemas.openxmlformats.org/officeDocument/2006/relationships/tags" Target="../tags/tag214.xml"/><Relationship Id="rId4" Type="http://schemas.openxmlformats.org/officeDocument/2006/relationships/tags" Target="../tags/tag21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18.xml"/><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slideMaster" Target="../slideMasters/slideMaster3.xml"/><Relationship Id="rId5" Type="http://schemas.openxmlformats.org/officeDocument/2006/relationships/tags" Target="../tags/tag220.xml"/><Relationship Id="rId4" Type="http://schemas.openxmlformats.org/officeDocument/2006/relationships/tags" Target="../tags/tag219.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23.xml"/><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slideMaster" Target="../slideMasters/slideMaster3.xml"/><Relationship Id="rId5" Type="http://schemas.openxmlformats.org/officeDocument/2006/relationships/tags" Target="../tags/tag225.xml"/><Relationship Id="rId4" Type="http://schemas.openxmlformats.org/officeDocument/2006/relationships/tags" Target="../tags/tag224.xml"/></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28.xml"/><Relationship Id="rId7" Type="http://schemas.openxmlformats.org/officeDocument/2006/relationships/image" Target="../media/image4.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3.jpeg"/><Relationship Id="rId5" Type="http://schemas.openxmlformats.org/officeDocument/2006/relationships/slideMaster" Target="../slideMasters/slideMaster3.xml"/><Relationship Id="rId4" Type="http://schemas.openxmlformats.org/officeDocument/2006/relationships/tags" Target="../tags/tag229.xml"/><Relationship Id="rId9"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tags" Target="../tags/tag34.xml"/><Relationship Id="rId5" Type="http://schemas.openxmlformats.org/officeDocument/2006/relationships/tags" Target="../tags/tag33.xml"/><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slideMaster" Target="../slideMasters/slideMaster1.xml"/><Relationship Id="rId4" Type="http://schemas.openxmlformats.org/officeDocument/2006/relationships/tags" Target="../tags/tag40.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tags" Target="../tags/tag41.xml"/><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5" Type="http://schemas.openxmlformats.org/officeDocument/2006/relationships/tags" Target="../tags/tag48.xml"/><Relationship Id="rId4" Type="http://schemas.openxmlformats.org/officeDocument/2006/relationships/tags" Target="../tags/tag4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tags" Target="../tags/tag55.xml"/><Relationship Id="rId5" Type="http://schemas.openxmlformats.org/officeDocument/2006/relationships/tags" Target="../tags/tag54.xml"/><Relationship Id="rId4" Type="http://schemas.openxmlformats.org/officeDocument/2006/relationships/tags" Target="../tags/tag5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itle 1"/>
          <p:cNvSpPr>
            <a:spLocks noGrp="1"/>
          </p:cNvSpPr>
          <p:nvPr>
            <p:ph type="ctrTitle"/>
            <p:custDataLst>
              <p:tags r:id="rId1"/>
            </p:custDataLst>
          </p:nvPr>
        </p:nvSpPr>
        <p:spPr>
          <a:xfrm>
            <a:off x="1124942" y="828522"/>
            <a:ext cx="6749654" cy="1762513"/>
          </a:xfrm>
        </p:spPr>
        <p:txBody>
          <a:bodyPr anchor="b"/>
          <a:lstStyle>
            <a:lvl1pPr algn="ctr">
              <a:defRPr sz="4429"/>
            </a:lvl1pPr>
          </a:lstStyle>
          <a:p>
            <a:r>
              <a:rPr lang="pt-BR"/>
              <a:t>Clique para editar o título Mestre</a:t>
            </a:r>
            <a:endParaRPr lang="en-US"/>
          </a:p>
        </p:txBody>
      </p:sp>
      <p:sp>
        <p:nvSpPr>
          <p:cNvPr id="3" name="Subtitle 2"/>
          <p:cNvSpPr>
            <a:spLocks noGrp="1"/>
          </p:cNvSpPr>
          <p:nvPr>
            <p:ph type="subTitle" idx="1"/>
            <p:custDataLst>
              <p:tags r:id="rId2"/>
            </p:custDataLst>
          </p:nvPr>
        </p:nvSpPr>
        <p:spPr>
          <a:xfrm>
            <a:off x="1124942" y="2659005"/>
            <a:ext cx="6749654" cy="1222274"/>
          </a:xfrm>
        </p:spPr>
        <p:txBody>
          <a:bodyPr/>
          <a:lstStyle>
            <a:lvl1pPr marL="0" indent="0" algn="ctr">
              <a:buNone/>
              <a:defRPr sz="1772"/>
            </a:lvl1pPr>
            <a:lvl2pPr marL="337505" indent="0" algn="ctr">
              <a:buNone/>
              <a:defRPr sz="1476"/>
            </a:lvl2pPr>
            <a:lvl3pPr marL="675010" indent="0" algn="ctr">
              <a:buNone/>
              <a:defRPr sz="1329"/>
            </a:lvl3pPr>
            <a:lvl4pPr marL="1012515" indent="0" algn="ctr">
              <a:buNone/>
              <a:defRPr sz="1181"/>
            </a:lvl4pPr>
            <a:lvl5pPr marL="1350020" indent="0" algn="ctr">
              <a:buNone/>
              <a:defRPr sz="1181"/>
            </a:lvl5pPr>
            <a:lvl6pPr marL="1687525" indent="0" algn="ctr">
              <a:buNone/>
              <a:defRPr sz="1181"/>
            </a:lvl6pPr>
            <a:lvl7pPr marL="2025030" indent="0" algn="ctr">
              <a:buNone/>
              <a:defRPr sz="1181"/>
            </a:lvl7pPr>
            <a:lvl8pPr marL="2362535" indent="0" algn="ctr">
              <a:buNone/>
              <a:defRPr sz="1181"/>
            </a:lvl8pPr>
            <a:lvl9pPr marL="2700040" indent="0" algn="ctr">
              <a:buNone/>
              <a:defRPr sz="1181"/>
            </a:lvl9pPr>
          </a:lstStyle>
          <a:p>
            <a:r>
              <a:rPr lang="pt-BR"/>
              <a:t>Clique para editar o estilo do subtítulo Mestre</a:t>
            </a:r>
            <a:endParaRPr lang="en-US"/>
          </a:p>
        </p:txBody>
      </p:sp>
      <p:sp>
        <p:nvSpPr>
          <p:cNvPr id="4" name="Date Placeholder 3"/>
          <p:cNvSpPr>
            <a:spLocks noGrp="1"/>
          </p:cNvSpPr>
          <p:nvPr>
            <p:ph type="dt" sz="half" idx="10"/>
            <p:custDataLst>
              <p:tags r:id="rId3"/>
            </p:custDataLst>
          </p:nvPr>
        </p:nvSpPr>
        <p:spPr/>
        <p:txBody>
          <a:bodyPr/>
          <a:lstStyle/>
          <a:p>
            <a:fld id="{0DE1E16F-BFFF-48B6-B146-C7AA2B590390}" type="datetimeFigureOut">
              <a:rPr lang="pt-BR" smtClean="0"/>
              <a:t>25/09/2023</a:t>
            </a:fld>
            <a:endParaRPr lang="pt-BR" dirty="0"/>
          </a:p>
        </p:txBody>
      </p:sp>
      <p:sp>
        <p:nvSpPr>
          <p:cNvPr id="5" name="Footer Placeholder 4"/>
          <p:cNvSpPr>
            <a:spLocks noGrp="1"/>
          </p:cNvSpPr>
          <p:nvPr>
            <p:ph type="ftr" sz="quarter" idx="11"/>
            <p:custDataLst>
              <p:tags r:id="rId4"/>
            </p:custDataLst>
          </p:nvPr>
        </p:nvSpPr>
        <p:spPr/>
        <p:txBody>
          <a:bodyPr/>
          <a:lstStyle/>
          <a:p>
            <a:endParaRPr lang="pt-BR" dirty="0"/>
          </a:p>
        </p:txBody>
      </p:sp>
      <p:sp>
        <p:nvSpPr>
          <p:cNvPr id="6" name="Slide Number Placeholder 5"/>
          <p:cNvSpPr>
            <a:spLocks noGrp="1"/>
          </p:cNvSpPr>
          <p:nvPr>
            <p:ph type="sldNum" sz="quarter" idx="12"/>
            <p:custDataLst>
              <p:tags r:id="rId5"/>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1344790400"/>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t-BR"/>
              <a:t>Clique para editar o título Mestre</a:t>
            </a:r>
            <a:endParaRPr lang="en-US"/>
          </a:p>
        </p:txBody>
      </p:sp>
      <p:sp>
        <p:nvSpPr>
          <p:cNvPr id="3" name="Vertical Text Placeholder 2"/>
          <p:cNvSpPr>
            <a:spLocks noGrp="1"/>
          </p:cNvSpPr>
          <p:nvPr>
            <p:ph type="body" orient="vert" idx="1"/>
            <p:custDataLst>
              <p:tags r:id="rId2"/>
            </p:custDataLst>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custDataLst>
              <p:tags r:id="rId3"/>
            </p:custDataLst>
          </p:nvPr>
        </p:nvSpPr>
        <p:spPr/>
        <p:txBody>
          <a:bodyPr/>
          <a:lstStyle/>
          <a:p>
            <a:fld id="{0DE1E16F-BFFF-48B6-B146-C7AA2B590390}" type="datetimeFigureOut">
              <a:rPr lang="pt-BR" smtClean="0"/>
              <a:t>25/09/2023</a:t>
            </a:fld>
            <a:endParaRPr lang="pt-BR" dirty="0"/>
          </a:p>
        </p:txBody>
      </p:sp>
      <p:sp>
        <p:nvSpPr>
          <p:cNvPr id="5" name="Footer Placeholder 4"/>
          <p:cNvSpPr>
            <a:spLocks noGrp="1"/>
          </p:cNvSpPr>
          <p:nvPr>
            <p:ph type="ftr" sz="quarter" idx="11"/>
            <p:custDataLst>
              <p:tags r:id="rId4"/>
            </p:custDataLst>
          </p:nvPr>
        </p:nvSpPr>
        <p:spPr/>
        <p:txBody>
          <a:bodyPr/>
          <a:lstStyle/>
          <a:p>
            <a:endParaRPr lang="pt-BR" dirty="0"/>
          </a:p>
        </p:txBody>
      </p:sp>
      <p:sp>
        <p:nvSpPr>
          <p:cNvPr id="6" name="Slide Number Placeholder 5"/>
          <p:cNvSpPr>
            <a:spLocks noGrp="1"/>
          </p:cNvSpPr>
          <p:nvPr>
            <p:ph type="sldNum" sz="quarter" idx="12"/>
            <p:custDataLst>
              <p:tags r:id="rId5"/>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1990079806"/>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Vertical Title 1"/>
          <p:cNvSpPr>
            <a:spLocks noGrp="1"/>
          </p:cNvSpPr>
          <p:nvPr>
            <p:ph type="title" orient="vert"/>
            <p:custDataLst>
              <p:tags r:id="rId1"/>
            </p:custDataLst>
          </p:nvPr>
        </p:nvSpPr>
        <p:spPr>
          <a:xfrm>
            <a:off x="6440295" y="269533"/>
            <a:ext cx="1940525" cy="4290267"/>
          </a:xfrm>
        </p:spPr>
        <p:txBody>
          <a:bodyPr vert="eaVert"/>
          <a:lstStyle/>
          <a:p>
            <a:r>
              <a:rPr lang="pt-BR"/>
              <a:t>Clique para editar o título Mestre</a:t>
            </a:r>
            <a:endParaRPr lang="en-US"/>
          </a:p>
        </p:txBody>
      </p:sp>
      <p:sp>
        <p:nvSpPr>
          <p:cNvPr id="3" name="Vertical Text Placeholder 2"/>
          <p:cNvSpPr>
            <a:spLocks noGrp="1"/>
          </p:cNvSpPr>
          <p:nvPr>
            <p:ph type="body" orient="vert" idx="1"/>
            <p:custDataLst>
              <p:tags r:id="rId2"/>
            </p:custDataLst>
          </p:nvPr>
        </p:nvSpPr>
        <p:spPr>
          <a:xfrm>
            <a:off x="618718" y="269533"/>
            <a:ext cx="5709082" cy="429026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custDataLst>
              <p:tags r:id="rId3"/>
            </p:custDataLst>
          </p:nvPr>
        </p:nvSpPr>
        <p:spPr/>
        <p:txBody>
          <a:bodyPr/>
          <a:lstStyle/>
          <a:p>
            <a:fld id="{0DE1E16F-BFFF-48B6-B146-C7AA2B590390}" type="datetimeFigureOut">
              <a:rPr lang="pt-BR" smtClean="0"/>
              <a:t>25/09/2023</a:t>
            </a:fld>
            <a:endParaRPr lang="pt-BR" dirty="0"/>
          </a:p>
        </p:txBody>
      </p:sp>
      <p:sp>
        <p:nvSpPr>
          <p:cNvPr id="5" name="Footer Placeholder 4"/>
          <p:cNvSpPr>
            <a:spLocks noGrp="1"/>
          </p:cNvSpPr>
          <p:nvPr>
            <p:ph type="ftr" sz="quarter" idx="11"/>
            <p:custDataLst>
              <p:tags r:id="rId4"/>
            </p:custDataLst>
          </p:nvPr>
        </p:nvSpPr>
        <p:spPr/>
        <p:txBody>
          <a:bodyPr/>
          <a:lstStyle/>
          <a:p>
            <a:endParaRPr lang="pt-BR" dirty="0"/>
          </a:p>
        </p:txBody>
      </p:sp>
      <p:sp>
        <p:nvSpPr>
          <p:cNvPr id="6" name="Slide Number Placeholder 5"/>
          <p:cNvSpPr>
            <a:spLocks noGrp="1"/>
          </p:cNvSpPr>
          <p:nvPr>
            <p:ph type="sldNum" sz="quarter" idx="12"/>
            <p:custDataLst>
              <p:tags r:id="rId5"/>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122967198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apositiva en blanco 2">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90EB9B5A-7A8D-544A-8FC6-415D47B9ACF8}"/>
              </a:ext>
            </a:extLst>
          </p:cNvPr>
          <p:cNvPicPr>
            <a:picLocks noChangeAspect="1"/>
          </p:cNvPicPr>
          <p:nvPr userDrawn="1">
            <p:custDataLst>
              <p:tags r:id="rId1"/>
            </p:custDataLst>
          </p:nvPr>
        </p:nvPicPr>
        <p:blipFill>
          <a:blip r:embed="rId4">
            <a:extLst>
              <a:ext uri="{28A0092B-C50C-407E-A947-70E740481C1C}">
                <a14:useLocalDpi xmlns:a14="http://schemas.microsoft.com/office/drawing/2010/main"/>
              </a:ext>
            </a:extLst>
          </a:blip>
          <a:stretch>
            <a:fillRect/>
          </a:stretch>
        </p:blipFill>
        <p:spPr>
          <a:xfrm>
            <a:off x="1821" y="0"/>
            <a:ext cx="8995896" cy="5062538"/>
          </a:xfrm>
          <a:prstGeom prst="rect">
            <a:avLst/>
          </a:prstGeom>
        </p:spPr>
      </p:pic>
      <p:sp>
        <p:nvSpPr>
          <p:cNvPr id="3" name="Slide Number Placeholder 5">
            <a:extLst>
              <a:ext uri="{FF2B5EF4-FFF2-40B4-BE49-F238E27FC236}">
                <a16:creationId xmlns:a16="http://schemas.microsoft.com/office/drawing/2014/main" id="{8DBE17D6-7E56-9447-81ED-CA4FFA22AFFB}"/>
              </a:ext>
            </a:extLst>
          </p:cNvPr>
          <p:cNvSpPr>
            <a:spLocks noGrp="1"/>
          </p:cNvSpPr>
          <p:nvPr>
            <p:ph type="sldNum" sz="quarter" idx="4"/>
            <p:custDataLst>
              <p:tags r:id="rId2"/>
            </p:custDataLst>
          </p:nvPr>
        </p:nvSpPr>
        <p:spPr>
          <a:xfrm>
            <a:off x="8426335" y="4692223"/>
            <a:ext cx="400615" cy="269533"/>
          </a:xfrm>
          <a:prstGeom prst="rect">
            <a:avLst/>
          </a:prstGeom>
        </p:spPr>
        <p:txBody>
          <a:bodyPr/>
          <a:lstStyle>
            <a:lvl1pPr>
              <a:defRPr>
                <a:solidFill>
                  <a:srgbClr val="033085"/>
                </a:solidFill>
                <a:latin typeface="Tahoma" panose="020B0604030504040204" pitchFamily="34" charset="0"/>
                <a:ea typeface="Tahoma" panose="020B0604030504040204" pitchFamily="34" charset="0"/>
                <a:cs typeface="Tahoma" panose="020B0604030504040204" pitchFamily="34" charset="0"/>
              </a:defRPr>
            </a:lvl1pPr>
          </a:lstStyle>
          <a:p>
            <a:fld id="{BEF51303-8DBA-4547-8DCC-488F17BA83D1}" type="slidenum">
              <a:rPr lang="en-US" smtClean="0"/>
              <a:t>‹nº›</a:t>
            </a:fld>
            <a:endParaRPr lang="en-US" dirty="0"/>
          </a:p>
        </p:txBody>
      </p:sp>
    </p:spTree>
    <p:extLst>
      <p:ext uri="{BB962C8B-B14F-4D97-AF65-F5344CB8AC3E}">
        <p14:creationId xmlns:p14="http://schemas.microsoft.com/office/powerpoint/2010/main" val="114122193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ítulo e Conteúd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129151" y="130959"/>
            <a:ext cx="7443612" cy="196024"/>
          </a:xfrm>
        </p:spPr>
        <p:txBody>
          <a:bodyPr/>
          <a:lstStyle>
            <a:lvl1pPr>
              <a:defRPr sz="1575"/>
            </a:lvl1pPr>
          </a:lstStyle>
          <a:p>
            <a:r>
              <a:rPr lang="pt-BR"/>
              <a:t>Clique para editar o título</a:t>
            </a:r>
            <a:endParaRPr lang="en-US"/>
          </a:p>
        </p:txBody>
      </p:sp>
      <p:sp>
        <p:nvSpPr>
          <p:cNvPr id="3" name="Content Placeholder 2"/>
          <p:cNvSpPr>
            <a:spLocks noGrp="1"/>
          </p:cNvSpPr>
          <p:nvPr>
            <p:ph idx="1"/>
            <p:custDataLst>
              <p:tags r:id="rId2"/>
            </p:custDataLst>
          </p:nvPr>
        </p:nvSpPr>
        <p:spPr>
          <a:xfrm>
            <a:off x="218311" y="878232"/>
            <a:ext cx="8568738" cy="3956179"/>
          </a:xfrm>
        </p:spPr>
        <p:txBody>
          <a:bodyPr/>
          <a:lstStyle>
            <a:lvl1pPr>
              <a:defRPr>
                <a:solidFill>
                  <a:srgbClr val="232323"/>
                </a:solidFill>
              </a:defRPr>
            </a:lvl1pPr>
            <a:lvl2pPr>
              <a:defRPr>
                <a:solidFill>
                  <a:srgbClr val="232323"/>
                </a:solidFill>
              </a:defRPr>
            </a:lvl2pPr>
            <a:lvl3pPr>
              <a:defRPr>
                <a:solidFill>
                  <a:srgbClr val="232323"/>
                </a:solidFill>
              </a:defRPr>
            </a:lvl3pPr>
            <a:lvl4pPr>
              <a:defRPr>
                <a:solidFill>
                  <a:srgbClr val="232323"/>
                </a:solidFill>
              </a:defRPr>
            </a:lvl4pPr>
            <a:lvl5pPr>
              <a:defRPr>
                <a:solidFill>
                  <a:srgbClr val="232323"/>
                </a:solidFill>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Slide Number Placeholder 5"/>
          <p:cNvSpPr>
            <a:spLocks noGrp="1"/>
          </p:cNvSpPr>
          <p:nvPr>
            <p:ph type="sldNum" sz="quarter" idx="12"/>
            <p:custDataLst>
              <p:tags r:id="rId3"/>
            </p:custDataLst>
          </p:nvPr>
        </p:nvSpPr>
        <p:spPr/>
        <p:txBody>
          <a:bodyPr/>
          <a:lstStyle/>
          <a:p>
            <a:fld id="{781AA1C5-E3DE-4B74-BB1A-54F4897D5034}" type="slidenum">
              <a:rPr lang="pt-BR" smtClean="0"/>
              <a:t>‹nº›</a:t>
            </a:fld>
            <a:endParaRPr lang="pt-BR" dirty="0"/>
          </a:p>
        </p:txBody>
      </p:sp>
      <p:sp>
        <p:nvSpPr>
          <p:cNvPr id="8" name="Espaço Reservado para Conteúdo 7">
            <a:extLst>
              <a:ext uri="{FF2B5EF4-FFF2-40B4-BE49-F238E27FC236}">
                <a16:creationId xmlns:a16="http://schemas.microsoft.com/office/drawing/2014/main" id="{DD226C32-8166-423A-A65B-FEBB2B98639B}"/>
              </a:ext>
            </a:extLst>
          </p:cNvPr>
          <p:cNvSpPr>
            <a:spLocks noGrp="1"/>
          </p:cNvSpPr>
          <p:nvPr>
            <p:ph sz="quarter" idx="13" hasCustomPrompt="1"/>
            <p:custDataLst>
              <p:tags r:id="rId4"/>
            </p:custDataLst>
          </p:nvPr>
        </p:nvSpPr>
        <p:spPr>
          <a:xfrm>
            <a:off x="136497" y="341073"/>
            <a:ext cx="7446492" cy="196024"/>
          </a:xfrm>
        </p:spPr>
        <p:txBody>
          <a:bodyPr>
            <a:noAutofit/>
          </a:bodyPr>
          <a:lstStyle>
            <a:lvl1pPr marL="0" indent="0">
              <a:buNone/>
              <a:defRPr sz="1181">
                <a:solidFill>
                  <a:srgbClr val="0070C0"/>
                </a:solidFill>
              </a:defRPr>
            </a:lvl1pPr>
          </a:lstStyle>
          <a:p>
            <a:pPr lvl="0"/>
            <a:r>
              <a:rPr lang="pt-BR"/>
              <a:t>Clique para editar subtítulo</a:t>
            </a:r>
          </a:p>
        </p:txBody>
      </p:sp>
    </p:spTree>
    <p:extLst>
      <p:ext uri="{BB962C8B-B14F-4D97-AF65-F5344CB8AC3E}">
        <p14:creationId xmlns:p14="http://schemas.microsoft.com/office/powerpoint/2010/main" val="245571045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ítulo e Conteúd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129151" y="130959"/>
            <a:ext cx="7443612" cy="196024"/>
          </a:xfrm>
        </p:spPr>
        <p:txBody>
          <a:bodyPr/>
          <a:lstStyle>
            <a:lvl1pPr>
              <a:defRPr sz="1575"/>
            </a:lvl1pPr>
          </a:lstStyle>
          <a:p>
            <a:r>
              <a:rPr lang="pt-BR"/>
              <a:t>Clique para editar o título</a:t>
            </a:r>
            <a:endParaRPr lang="en-US"/>
          </a:p>
        </p:txBody>
      </p:sp>
      <p:sp>
        <p:nvSpPr>
          <p:cNvPr id="3" name="Content Placeholder 2"/>
          <p:cNvSpPr>
            <a:spLocks noGrp="1"/>
          </p:cNvSpPr>
          <p:nvPr>
            <p:ph idx="1"/>
            <p:custDataLst>
              <p:tags r:id="rId2"/>
            </p:custDataLst>
          </p:nvPr>
        </p:nvSpPr>
        <p:spPr>
          <a:xfrm>
            <a:off x="218311" y="878232"/>
            <a:ext cx="8568738" cy="3956179"/>
          </a:xfrm>
        </p:spPr>
        <p:txBody>
          <a:bodyPr/>
          <a:lstStyle>
            <a:lvl1pPr>
              <a:defRPr>
                <a:solidFill>
                  <a:srgbClr val="232323"/>
                </a:solidFill>
              </a:defRPr>
            </a:lvl1pPr>
            <a:lvl2pPr>
              <a:defRPr>
                <a:solidFill>
                  <a:srgbClr val="232323"/>
                </a:solidFill>
              </a:defRPr>
            </a:lvl2pPr>
            <a:lvl3pPr>
              <a:defRPr>
                <a:solidFill>
                  <a:srgbClr val="232323"/>
                </a:solidFill>
              </a:defRPr>
            </a:lvl3pPr>
            <a:lvl4pPr>
              <a:defRPr>
                <a:solidFill>
                  <a:srgbClr val="232323"/>
                </a:solidFill>
              </a:defRPr>
            </a:lvl4pPr>
            <a:lvl5pPr>
              <a:defRPr>
                <a:solidFill>
                  <a:srgbClr val="232323"/>
                </a:solidFill>
              </a:defRPr>
            </a:lvl5pPr>
          </a:lstStyle>
          <a:p>
            <a:pPr lvl="0"/>
            <a:r>
              <a:rPr lang="pt-BR"/>
              <a:t>Editar estilos de texto Mestre</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6" name="Slide Number Placeholder 5"/>
          <p:cNvSpPr>
            <a:spLocks noGrp="1"/>
          </p:cNvSpPr>
          <p:nvPr>
            <p:ph type="sldNum" sz="quarter" idx="12"/>
            <p:custDataLst>
              <p:tags r:id="rId3"/>
            </p:custDataLst>
          </p:nvPr>
        </p:nvSpPr>
        <p:spPr/>
        <p:txBody>
          <a:bodyPr/>
          <a:lstStyle/>
          <a:p>
            <a:fld id="{781AA1C5-E3DE-4B74-BB1A-54F4897D5034}" type="slidenum">
              <a:rPr lang="pt-BR" smtClean="0"/>
              <a:t>‹nº›</a:t>
            </a:fld>
            <a:endParaRPr lang="pt-BR" dirty="0"/>
          </a:p>
        </p:txBody>
      </p:sp>
      <p:sp>
        <p:nvSpPr>
          <p:cNvPr id="8" name="Espaço Reservado para Conteúdo 7">
            <a:extLst>
              <a:ext uri="{FF2B5EF4-FFF2-40B4-BE49-F238E27FC236}">
                <a16:creationId xmlns:a16="http://schemas.microsoft.com/office/drawing/2014/main" id="{DD226C32-8166-423A-A65B-FEBB2B98639B}"/>
              </a:ext>
            </a:extLst>
          </p:cNvPr>
          <p:cNvSpPr>
            <a:spLocks noGrp="1"/>
          </p:cNvSpPr>
          <p:nvPr>
            <p:ph sz="quarter" idx="13" hasCustomPrompt="1"/>
            <p:custDataLst>
              <p:tags r:id="rId4"/>
            </p:custDataLst>
          </p:nvPr>
        </p:nvSpPr>
        <p:spPr>
          <a:xfrm>
            <a:off x="136497" y="341073"/>
            <a:ext cx="7446492" cy="196024"/>
          </a:xfrm>
        </p:spPr>
        <p:txBody>
          <a:bodyPr>
            <a:noAutofit/>
          </a:bodyPr>
          <a:lstStyle>
            <a:lvl1pPr marL="0" indent="0">
              <a:buNone/>
              <a:defRPr sz="1181">
                <a:solidFill>
                  <a:srgbClr val="0070C0"/>
                </a:solidFill>
              </a:defRPr>
            </a:lvl1pPr>
          </a:lstStyle>
          <a:p>
            <a:pPr lvl="0"/>
            <a:r>
              <a:rPr lang="pt-BR"/>
              <a:t>Clique para editar subtítulo</a:t>
            </a:r>
          </a:p>
        </p:txBody>
      </p:sp>
    </p:spTree>
    <p:extLst>
      <p:ext uri="{BB962C8B-B14F-4D97-AF65-F5344CB8AC3E}">
        <p14:creationId xmlns:p14="http://schemas.microsoft.com/office/powerpoint/2010/main" val="20404852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 Quadros Horizontais">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p:txBody>
          <a:bodyPr/>
          <a:lstStyle>
            <a:lvl1pPr>
              <a:defRPr>
                <a:solidFill>
                  <a:schemeClr val="accent5"/>
                </a:solidFill>
              </a:defRPr>
            </a:lvl1pPr>
          </a:lstStyle>
          <a:p>
            <a:fld id="{781AA1C5-E3DE-4B74-BB1A-54F4897D5034}" type="slidenum">
              <a:rPr lang="pt-BR" smtClean="0"/>
              <a:t>‹nº›</a:t>
            </a:fld>
            <a:endParaRPr lang="pt-BR" dirty="0"/>
          </a:p>
        </p:txBody>
      </p:sp>
      <p:sp>
        <p:nvSpPr>
          <p:cNvPr id="10" name="Espaço Reservado para Texto 31">
            <a:extLst>
              <a:ext uri="{FF2B5EF4-FFF2-40B4-BE49-F238E27FC236}">
                <a16:creationId xmlns:a16="http://schemas.microsoft.com/office/drawing/2014/main" id="{A9A0DCF7-07A0-4023-92B3-FC8F83EBB41C}"/>
              </a:ext>
            </a:extLst>
          </p:cNvPr>
          <p:cNvSpPr>
            <a:spLocks noGrp="1"/>
          </p:cNvSpPr>
          <p:nvPr>
            <p:ph type="body" sz="quarter" idx="19"/>
            <p:custDataLst>
              <p:tags r:id="rId2"/>
            </p:custDataLst>
          </p:nvPr>
        </p:nvSpPr>
        <p:spPr>
          <a:xfrm>
            <a:off x="452789" y="1102620"/>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2" name="Espaço Reservado para Texto 31">
            <a:extLst>
              <a:ext uri="{FF2B5EF4-FFF2-40B4-BE49-F238E27FC236}">
                <a16:creationId xmlns:a16="http://schemas.microsoft.com/office/drawing/2014/main" id="{BFA65592-4A57-40A0-8A55-704AD016437B}"/>
              </a:ext>
            </a:extLst>
          </p:cNvPr>
          <p:cNvSpPr>
            <a:spLocks noGrp="1"/>
          </p:cNvSpPr>
          <p:nvPr>
            <p:ph type="body" sz="quarter" idx="21"/>
            <p:custDataLst>
              <p:tags r:id="rId3"/>
            </p:custDataLst>
          </p:nvPr>
        </p:nvSpPr>
        <p:spPr>
          <a:xfrm>
            <a:off x="452789" y="2033463"/>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4" name="Espaço Reservado para Texto 31">
            <a:extLst>
              <a:ext uri="{FF2B5EF4-FFF2-40B4-BE49-F238E27FC236}">
                <a16:creationId xmlns:a16="http://schemas.microsoft.com/office/drawing/2014/main" id="{C9E94EC7-0F9D-4734-85FE-F522A72220DF}"/>
              </a:ext>
            </a:extLst>
          </p:cNvPr>
          <p:cNvSpPr>
            <a:spLocks noGrp="1"/>
          </p:cNvSpPr>
          <p:nvPr>
            <p:ph type="body" sz="quarter" idx="23"/>
            <p:custDataLst>
              <p:tags r:id="rId4"/>
            </p:custDataLst>
          </p:nvPr>
        </p:nvSpPr>
        <p:spPr>
          <a:xfrm>
            <a:off x="452789" y="2971675"/>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6" name="Espaço Reservado para Texto 31">
            <a:extLst>
              <a:ext uri="{FF2B5EF4-FFF2-40B4-BE49-F238E27FC236}">
                <a16:creationId xmlns:a16="http://schemas.microsoft.com/office/drawing/2014/main" id="{0BAE3DEC-3E80-4A30-A235-16AF5BD9B286}"/>
              </a:ext>
            </a:extLst>
          </p:cNvPr>
          <p:cNvSpPr>
            <a:spLocks noGrp="1"/>
          </p:cNvSpPr>
          <p:nvPr>
            <p:ph type="body" sz="quarter" idx="25"/>
            <p:custDataLst>
              <p:tags r:id="rId5"/>
            </p:custDataLst>
          </p:nvPr>
        </p:nvSpPr>
        <p:spPr>
          <a:xfrm>
            <a:off x="452789" y="3902517"/>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4" name="Espaço Reservado para Texto 3">
            <a:extLst>
              <a:ext uri="{FF2B5EF4-FFF2-40B4-BE49-F238E27FC236}">
                <a16:creationId xmlns:a16="http://schemas.microsoft.com/office/drawing/2014/main" id="{7C65D32A-B352-48AB-871D-635A7AD0E7BE}"/>
              </a:ext>
            </a:extLst>
          </p:cNvPr>
          <p:cNvSpPr>
            <a:spLocks noGrp="1"/>
          </p:cNvSpPr>
          <p:nvPr>
            <p:ph type="body" sz="quarter" idx="27"/>
            <p:custDataLst>
              <p:tags r:id="rId6"/>
            </p:custDataLst>
          </p:nvPr>
        </p:nvSpPr>
        <p:spPr>
          <a:xfrm>
            <a:off x="609813" y="993982"/>
            <a:ext cx="1223375" cy="812506"/>
          </a:xfrm>
          <a:solidFill>
            <a:schemeClr val="accent1"/>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8" name="Espaço Reservado para Texto 3">
            <a:extLst>
              <a:ext uri="{FF2B5EF4-FFF2-40B4-BE49-F238E27FC236}">
                <a16:creationId xmlns:a16="http://schemas.microsoft.com/office/drawing/2014/main" id="{0817756E-1E5F-4AF1-B586-7E654743AA96}"/>
              </a:ext>
            </a:extLst>
          </p:cNvPr>
          <p:cNvSpPr>
            <a:spLocks noGrp="1"/>
          </p:cNvSpPr>
          <p:nvPr>
            <p:ph type="body" sz="quarter" idx="28"/>
            <p:custDataLst>
              <p:tags r:id="rId7"/>
            </p:custDataLst>
          </p:nvPr>
        </p:nvSpPr>
        <p:spPr>
          <a:xfrm>
            <a:off x="609812" y="1930728"/>
            <a:ext cx="1223375" cy="812506"/>
          </a:xfrm>
          <a:solidFill>
            <a:schemeClr val="accent2"/>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9" name="Espaço Reservado para Texto 3">
            <a:extLst>
              <a:ext uri="{FF2B5EF4-FFF2-40B4-BE49-F238E27FC236}">
                <a16:creationId xmlns:a16="http://schemas.microsoft.com/office/drawing/2014/main" id="{3CC2B6F9-3311-4ACE-AE38-6724D55067D6}"/>
              </a:ext>
            </a:extLst>
          </p:cNvPr>
          <p:cNvSpPr>
            <a:spLocks noGrp="1"/>
          </p:cNvSpPr>
          <p:nvPr>
            <p:ph type="body" sz="quarter" idx="29"/>
            <p:custDataLst>
              <p:tags r:id="rId8"/>
            </p:custDataLst>
          </p:nvPr>
        </p:nvSpPr>
        <p:spPr>
          <a:xfrm>
            <a:off x="609812" y="2878941"/>
            <a:ext cx="1223375" cy="812506"/>
          </a:xfrm>
          <a:solidFill>
            <a:schemeClr val="accent3"/>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20" name="Espaço Reservado para Texto 3">
            <a:extLst>
              <a:ext uri="{FF2B5EF4-FFF2-40B4-BE49-F238E27FC236}">
                <a16:creationId xmlns:a16="http://schemas.microsoft.com/office/drawing/2014/main" id="{BA25F346-C335-4510-8CFE-AB0168CD6665}"/>
              </a:ext>
            </a:extLst>
          </p:cNvPr>
          <p:cNvSpPr>
            <a:spLocks noGrp="1"/>
          </p:cNvSpPr>
          <p:nvPr>
            <p:ph type="body" sz="quarter" idx="30"/>
            <p:custDataLst>
              <p:tags r:id="rId9"/>
            </p:custDataLst>
          </p:nvPr>
        </p:nvSpPr>
        <p:spPr>
          <a:xfrm>
            <a:off x="609812" y="3807150"/>
            <a:ext cx="1223375" cy="812506"/>
          </a:xfrm>
          <a:solidFill>
            <a:schemeClr val="accent5"/>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7" name="Title 1">
            <a:extLst>
              <a:ext uri="{FF2B5EF4-FFF2-40B4-BE49-F238E27FC236}">
                <a16:creationId xmlns:a16="http://schemas.microsoft.com/office/drawing/2014/main" id="{E5990CB5-8C00-43E2-9161-5FB0D09E2B62}"/>
              </a:ext>
            </a:extLst>
          </p:cNvPr>
          <p:cNvSpPr>
            <a:spLocks noGrp="1"/>
          </p:cNvSpPr>
          <p:nvPr>
            <p:ph type="title"/>
            <p:custDataLst>
              <p:tags r:id="rId10"/>
            </p:custDataLst>
          </p:nvPr>
        </p:nvSpPr>
        <p:spPr>
          <a:xfrm>
            <a:off x="129151" y="130959"/>
            <a:ext cx="7443612" cy="196024"/>
          </a:xfrm>
        </p:spPr>
        <p:txBody>
          <a:bodyPr/>
          <a:lstStyle>
            <a:lvl1pPr>
              <a:defRPr sz="1575"/>
            </a:lvl1pPr>
          </a:lstStyle>
          <a:p>
            <a:r>
              <a:rPr lang="pt-BR"/>
              <a:t>Clique para editar o título</a:t>
            </a:r>
            <a:endParaRPr lang="en-US"/>
          </a:p>
        </p:txBody>
      </p:sp>
      <p:sp>
        <p:nvSpPr>
          <p:cNvPr id="21" name="Espaço Reservado para Conteúdo 7">
            <a:extLst>
              <a:ext uri="{FF2B5EF4-FFF2-40B4-BE49-F238E27FC236}">
                <a16:creationId xmlns:a16="http://schemas.microsoft.com/office/drawing/2014/main" id="{971A6E7C-1E48-4F8D-9245-DD3A6BD233E3}"/>
              </a:ext>
            </a:extLst>
          </p:cNvPr>
          <p:cNvSpPr>
            <a:spLocks noGrp="1"/>
          </p:cNvSpPr>
          <p:nvPr>
            <p:ph sz="quarter" idx="13" hasCustomPrompt="1"/>
            <p:custDataLst>
              <p:tags r:id="rId11"/>
            </p:custDataLst>
          </p:nvPr>
        </p:nvSpPr>
        <p:spPr>
          <a:xfrm>
            <a:off x="136497" y="341073"/>
            <a:ext cx="7446492" cy="196024"/>
          </a:xfrm>
        </p:spPr>
        <p:txBody>
          <a:bodyPr>
            <a:noAutofit/>
          </a:bodyPr>
          <a:lstStyle>
            <a:lvl1pPr marL="0" indent="0">
              <a:buNone/>
              <a:defRPr sz="1181">
                <a:solidFill>
                  <a:srgbClr val="0070C0"/>
                </a:solidFill>
              </a:defRPr>
            </a:lvl1pPr>
          </a:lstStyle>
          <a:p>
            <a:pPr lvl="0"/>
            <a:r>
              <a:rPr lang="pt-BR"/>
              <a:t>Clique para editar subtítulo</a:t>
            </a:r>
          </a:p>
        </p:txBody>
      </p:sp>
    </p:spTree>
    <p:extLst>
      <p:ext uri="{BB962C8B-B14F-4D97-AF65-F5344CB8AC3E}">
        <p14:creationId xmlns:p14="http://schemas.microsoft.com/office/powerpoint/2010/main" val="1237191695"/>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814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7CA245-CB28-454A-A119-5FCBC05A512A}"/>
              </a:ext>
            </a:extLst>
          </p:cNvPr>
          <p:cNvSpPr>
            <a:spLocks noGrp="1"/>
          </p:cNvSpPr>
          <p:nvPr>
            <p:ph type="ctrTitle"/>
            <p:custDataLst>
              <p:tags r:id="rId1"/>
            </p:custDataLst>
          </p:nvPr>
        </p:nvSpPr>
        <p:spPr>
          <a:xfrm>
            <a:off x="1124942" y="828522"/>
            <a:ext cx="6749654" cy="1762513"/>
          </a:xfrm>
        </p:spPr>
        <p:txBody>
          <a:bodyPr anchor="b"/>
          <a:lstStyle>
            <a:lvl1pPr algn="ctr">
              <a:defRPr sz="4429"/>
            </a:lvl1pPr>
          </a:lstStyle>
          <a:p>
            <a:r>
              <a:rPr lang="pt-BR"/>
              <a:t>Clique para editar o título Mestre</a:t>
            </a:r>
          </a:p>
        </p:txBody>
      </p:sp>
      <p:sp>
        <p:nvSpPr>
          <p:cNvPr id="3" name="Subtítulo 2">
            <a:extLst>
              <a:ext uri="{FF2B5EF4-FFF2-40B4-BE49-F238E27FC236}">
                <a16:creationId xmlns:a16="http://schemas.microsoft.com/office/drawing/2014/main" id="{8CD5EDBD-27CC-48A0-81F9-D79754E32A79}"/>
              </a:ext>
            </a:extLst>
          </p:cNvPr>
          <p:cNvSpPr>
            <a:spLocks noGrp="1"/>
          </p:cNvSpPr>
          <p:nvPr>
            <p:ph type="subTitle" idx="1"/>
            <p:custDataLst>
              <p:tags r:id="rId2"/>
            </p:custDataLst>
          </p:nvPr>
        </p:nvSpPr>
        <p:spPr>
          <a:xfrm>
            <a:off x="1124942" y="2659005"/>
            <a:ext cx="6749654" cy="1222274"/>
          </a:xfrm>
        </p:spPr>
        <p:txBody>
          <a:bodyPr/>
          <a:lstStyle>
            <a:lvl1pPr marL="0" indent="0" algn="ctr">
              <a:buNone/>
              <a:defRPr sz="1772"/>
            </a:lvl1pPr>
            <a:lvl2pPr marL="337505" indent="0" algn="ctr">
              <a:buNone/>
              <a:defRPr sz="1476"/>
            </a:lvl2pPr>
            <a:lvl3pPr marL="675010" indent="0" algn="ctr">
              <a:buNone/>
              <a:defRPr sz="1329"/>
            </a:lvl3pPr>
            <a:lvl4pPr marL="1012515" indent="0" algn="ctr">
              <a:buNone/>
              <a:defRPr sz="1181"/>
            </a:lvl4pPr>
            <a:lvl5pPr marL="1350020" indent="0" algn="ctr">
              <a:buNone/>
              <a:defRPr sz="1181"/>
            </a:lvl5pPr>
            <a:lvl6pPr marL="1687525" indent="0" algn="ctr">
              <a:buNone/>
              <a:defRPr sz="1181"/>
            </a:lvl6pPr>
            <a:lvl7pPr marL="2025030" indent="0" algn="ctr">
              <a:buNone/>
              <a:defRPr sz="1181"/>
            </a:lvl7pPr>
            <a:lvl8pPr marL="2362535" indent="0" algn="ctr">
              <a:buNone/>
              <a:defRPr sz="1181"/>
            </a:lvl8pPr>
            <a:lvl9pPr marL="2700040" indent="0" algn="ctr">
              <a:buNone/>
              <a:defRPr sz="1181"/>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2615801E-8C6A-41AA-B94A-81CE24B0D560}"/>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854B3E7B-CBFA-461F-9A74-5C7FB78218A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F81309D1-282B-46A7-BFDA-3CA73588D4CA}"/>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2665706041"/>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5A17B4-FFF4-4415-B79A-6F771F7D1B5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A3CB097-14CA-47BF-ADA5-F8FC3557C30E}"/>
              </a:ext>
            </a:extLst>
          </p:cNvPr>
          <p:cNvSpPr>
            <a:spLocks noGrp="1"/>
          </p:cNvSpPr>
          <p:nvPr>
            <p:ph idx="1"/>
            <p:custDataLst>
              <p:tags r:id="rId2"/>
            </p:custDataLst>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E26D95A-96EE-4AC3-9940-845934449953}"/>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A61E97E4-527D-4836-9755-380D6E52589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55E83B5A-A240-4CA1-BBED-9E2BBB32AA6D}"/>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95287948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F1D056-D85C-41FC-A461-4A67EE83F7A8}"/>
              </a:ext>
            </a:extLst>
          </p:cNvPr>
          <p:cNvSpPr>
            <a:spLocks noGrp="1"/>
          </p:cNvSpPr>
          <p:nvPr>
            <p:ph type="title"/>
            <p:custDataLst>
              <p:tags r:id="rId1"/>
            </p:custDataLst>
          </p:nvPr>
        </p:nvSpPr>
        <p:spPr>
          <a:xfrm>
            <a:off x="614031" y="1262119"/>
            <a:ext cx="7762102" cy="2105875"/>
          </a:xfrm>
        </p:spPr>
        <p:txBody>
          <a:bodyPr anchor="b"/>
          <a:lstStyle>
            <a:lvl1pPr>
              <a:defRPr sz="4429"/>
            </a:lvl1pPr>
          </a:lstStyle>
          <a:p>
            <a:r>
              <a:rPr lang="pt-BR"/>
              <a:t>Clique para editar o título Mestre</a:t>
            </a:r>
          </a:p>
        </p:txBody>
      </p:sp>
      <p:sp>
        <p:nvSpPr>
          <p:cNvPr id="3" name="Espaço Reservado para Texto 2">
            <a:extLst>
              <a:ext uri="{FF2B5EF4-FFF2-40B4-BE49-F238E27FC236}">
                <a16:creationId xmlns:a16="http://schemas.microsoft.com/office/drawing/2014/main" id="{5BDAFDFF-B9E8-4CE6-B81F-35C50DF9AC46}"/>
              </a:ext>
            </a:extLst>
          </p:cNvPr>
          <p:cNvSpPr>
            <a:spLocks noGrp="1"/>
          </p:cNvSpPr>
          <p:nvPr>
            <p:ph type="body" idx="1"/>
            <p:custDataLst>
              <p:tags r:id="rId2"/>
            </p:custDataLst>
          </p:nvPr>
        </p:nvSpPr>
        <p:spPr>
          <a:xfrm>
            <a:off x="614031" y="3387917"/>
            <a:ext cx="7762102" cy="1107430"/>
          </a:xfrm>
        </p:spPr>
        <p:txBody>
          <a:bodyPr/>
          <a:lstStyle>
            <a:lvl1pPr marL="0" indent="0">
              <a:buNone/>
              <a:defRPr sz="1772">
                <a:solidFill>
                  <a:schemeClr val="tx1">
                    <a:tint val="75000"/>
                  </a:schemeClr>
                </a:solidFill>
              </a:defRPr>
            </a:lvl1pPr>
            <a:lvl2pPr marL="337505" indent="0">
              <a:buNone/>
              <a:defRPr sz="1476">
                <a:solidFill>
                  <a:schemeClr val="tx1">
                    <a:tint val="75000"/>
                  </a:schemeClr>
                </a:solidFill>
              </a:defRPr>
            </a:lvl2pPr>
            <a:lvl3pPr marL="675010" indent="0">
              <a:buNone/>
              <a:defRPr sz="1329">
                <a:solidFill>
                  <a:schemeClr val="tx1">
                    <a:tint val="75000"/>
                  </a:schemeClr>
                </a:solidFill>
              </a:defRPr>
            </a:lvl3pPr>
            <a:lvl4pPr marL="1012515" indent="0">
              <a:buNone/>
              <a:defRPr sz="1181">
                <a:solidFill>
                  <a:schemeClr val="tx1">
                    <a:tint val="75000"/>
                  </a:schemeClr>
                </a:solidFill>
              </a:defRPr>
            </a:lvl4pPr>
            <a:lvl5pPr marL="1350020" indent="0">
              <a:buNone/>
              <a:defRPr sz="1181">
                <a:solidFill>
                  <a:schemeClr val="tx1">
                    <a:tint val="75000"/>
                  </a:schemeClr>
                </a:solidFill>
              </a:defRPr>
            </a:lvl5pPr>
            <a:lvl6pPr marL="1687525" indent="0">
              <a:buNone/>
              <a:defRPr sz="1181">
                <a:solidFill>
                  <a:schemeClr val="tx1">
                    <a:tint val="75000"/>
                  </a:schemeClr>
                </a:solidFill>
              </a:defRPr>
            </a:lvl6pPr>
            <a:lvl7pPr marL="2025030" indent="0">
              <a:buNone/>
              <a:defRPr sz="1181">
                <a:solidFill>
                  <a:schemeClr val="tx1">
                    <a:tint val="75000"/>
                  </a:schemeClr>
                </a:solidFill>
              </a:defRPr>
            </a:lvl7pPr>
            <a:lvl8pPr marL="2362535" indent="0">
              <a:buNone/>
              <a:defRPr sz="1181">
                <a:solidFill>
                  <a:schemeClr val="tx1">
                    <a:tint val="75000"/>
                  </a:schemeClr>
                </a:solidFill>
              </a:defRPr>
            </a:lvl8pPr>
            <a:lvl9pPr marL="2700040" indent="0">
              <a:buNone/>
              <a:defRPr sz="1181">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C427148C-6DB7-4700-B3BC-62EA0C585EF2}"/>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669376D2-EAC3-4B20-931B-B8A120FF090C}"/>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1767B515-768A-4083-B79B-CDF3E1E76F90}"/>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107149309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t-BR"/>
              <a:t>Clique para editar o título Mestre</a:t>
            </a:r>
            <a:endParaRPr lang="en-US"/>
          </a:p>
        </p:txBody>
      </p:sp>
      <p:sp>
        <p:nvSpPr>
          <p:cNvPr id="3" name="Content Placeholder 2"/>
          <p:cNvSpPr>
            <a:spLocks noGrp="1"/>
          </p:cNvSpPr>
          <p:nvPr>
            <p:ph idx="1"/>
            <p:custDataLst>
              <p:tags r:id="rId2"/>
            </p:custDataLst>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10"/>
            <p:custDataLst>
              <p:tags r:id="rId3"/>
            </p:custDataLst>
          </p:nvPr>
        </p:nvSpPr>
        <p:spPr/>
        <p:txBody>
          <a:bodyPr/>
          <a:lstStyle/>
          <a:p>
            <a:fld id="{0DE1E16F-BFFF-48B6-B146-C7AA2B590390}" type="datetimeFigureOut">
              <a:rPr lang="pt-BR" smtClean="0"/>
              <a:t>25/09/2023</a:t>
            </a:fld>
            <a:endParaRPr lang="pt-BR" dirty="0"/>
          </a:p>
        </p:txBody>
      </p:sp>
      <p:sp>
        <p:nvSpPr>
          <p:cNvPr id="5" name="Footer Placeholder 4"/>
          <p:cNvSpPr>
            <a:spLocks noGrp="1"/>
          </p:cNvSpPr>
          <p:nvPr>
            <p:ph type="ftr" sz="quarter" idx="11"/>
            <p:custDataLst>
              <p:tags r:id="rId4"/>
            </p:custDataLst>
          </p:nvPr>
        </p:nvSpPr>
        <p:spPr/>
        <p:txBody>
          <a:bodyPr/>
          <a:lstStyle/>
          <a:p>
            <a:endParaRPr lang="pt-BR" dirty="0"/>
          </a:p>
        </p:txBody>
      </p:sp>
      <p:sp>
        <p:nvSpPr>
          <p:cNvPr id="6" name="Slide Number Placeholder 5"/>
          <p:cNvSpPr>
            <a:spLocks noGrp="1"/>
          </p:cNvSpPr>
          <p:nvPr>
            <p:ph type="sldNum" sz="quarter" idx="12"/>
            <p:custDataLst>
              <p:tags r:id="rId5"/>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415554884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A885178-4836-4570-ACA5-7AD814EF3DC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2426BBB-E50C-489F-9B9B-0E9F4BEC0A97}"/>
              </a:ext>
            </a:extLst>
          </p:cNvPr>
          <p:cNvSpPr>
            <a:spLocks noGrp="1"/>
          </p:cNvSpPr>
          <p:nvPr>
            <p:ph sz="half" idx="1"/>
            <p:custDataLst>
              <p:tags r:id="rId2"/>
            </p:custDataLst>
          </p:nvPr>
        </p:nvSpPr>
        <p:spPr>
          <a:xfrm>
            <a:off x="618718"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6BF8C5C-981A-437C-92FA-00FA8A3EA2B0}"/>
              </a:ext>
            </a:extLst>
          </p:cNvPr>
          <p:cNvSpPr>
            <a:spLocks noGrp="1"/>
          </p:cNvSpPr>
          <p:nvPr>
            <p:ph sz="half" idx="2"/>
            <p:custDataLst>
              <p:tags r:id="rId3"/>
            </p:custDataLst>
          </p:nvPr>
        </p:nvSpPr>
        <p:spPr>
          <a:xfrm>
            <a:off x="4556016"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F4DF0EDB-7EC2-4734-8481-DB7EDCB71976}"/>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4F891293-D189-4AFC-9784-53C067583448}"/>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A5F17044-A0EB-4C6A-9EDA-3561D8E28917}"/>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82751357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4CB578A-2AAB-4356-BBDF-D0170744A1BE}"/>
              </a:ext>
            </a:extLst>
          </p:cNvPr>
          <p:cNvSpPr>
            <a:spLocks noGrp="1"/>
          </p:cNvSpPr>
          <p:nvPr>
            <p:ph type="title"/>
            <p:custDataLst>
              <p:tags r:id="rId1"/>
            </p:custDataLst>
          </p:nvPr>
        </p:nvSpPr>
        <p:spPr>
          <a:xfrm>
            <a:off x="619890" y="269534"/>
            <a:ext cx="7762102" cy="97852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74DED941-843A-4CDE-938B-A1559BBD862F}"/>
              </a:ext>
            </a:extLst>
          </p:cNvPr>
          <p:cNvSpPr>
            <a:spLocks noGrp="1"/>
          </p:cNvSpPr>
          <p:nvPr>
            <p:ph type="body" idx="1"/>
            <p:custDataLst>
              <p:tags r:id="rId2"/>
            </p:custDataLst>
          </p:nvPr>
        </p:nvSpPr>
        <p:spPr>
          <a:xfrm>
            <a:off x="619891" y="1241025"/>
            <a:ext cx="380722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494E450B-B88E-411A-9123-B9989EA865C3}"/>
              </a:ext>
            </a:extLst>
          </p:cNvPr>
          <p:cNvSpPr>
            <a:spLocks noGrp="1"/>
          </p:cNvSpPr>
          <p:nvPr>
            <p:ph sz="half" idx="2"/>
            <p:custDataLst>
              <p:tags r:id="rId3"/>
            </p:custDataLst>
          </p:nvPr>
        </p:nvSpPr>
        <p:spPr>
          <a:xfrm>
            <a:off x="619891" y="1849232"/>
            <a:ext cx="380722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8C9CE56A-08B0-434F-94CB-A8A0F5A555A3}"/>
              </a:ext>
            </a:extLst>
          </p:cNvPr>
          <p:cNvSpPr>
            <a:spLocks noGrp="1"/>
          </p:cNvSpPr>
          <p:nvPr>
            <p:ph type="body" sz="quarter" idx="3"/>
            <p:custDataLst>
              <p:tags r:id="rId4"/>
            </p:custDataLst>
          </p:nvPr>
        </p:nvSpPr>
        <p:spPr>
          <a:xfrm>
            <a:off x="4556016" y="1241025"/>
            <a:ext cx="382597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F3967004-581B-4100-8056-0A553B235F8E}"/>
              </a:ext>
            </a:extLst>
          </p:cNvPr>
          <p:cNvSpPr>
            <a:spLocks noGrp="1"/>
          </p:cNvSpPr>
          <p:nvPr>
            <p:ph sz="quarter" idx="4"/>
            <p:custDataLst>
              <p:tags r:id="rId5"/>
            </p:custDataLst>
          </p:nvPr>
        </p:nvSpPr>
        <p:spPr>
          <a:xfrm>
            <a:off x="4556016" y="1849232"/>
            <a:ext cx="382597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708967A3-F245-4506-A143-3570E75AAD30}"/>
              </a:ext>
            </a:extLst>
          </p:cNvPr>
          <p:cNvSpPr>
            <a:spLocks noGrp="1"/>
          </p:cNvSpPr>
          <p:nvPr>
            <p:ph type="dt" sz="half" idx="10"/>
            <p:custDataLst>
              <p:tags r:id="rId6"/>
            </p:custDataLst>
          </p:nvPr>
        </p:nvSpPr>
        <p:spPr/>
        <p:txBody>
          <a:bodyPr/>
          <a:lstStyle/>
          <a:p>
            <a:fld id="{1EEF3305-C503-4829-A822-59E60DC5EA27}" type="datetimeFigureOut">
              <a:rPr lang="pt-BR" smtClean="0"/>
              <a:t>25/09/2023</a:t>
            </a:fld>
            <a:endParaRPr lang="pt-BR" dirty="0"/>
          </a:p>
        </p:txBody>
      </p:sp>
      <p:sp>
        <p:nvSpPr>
          <p:cNvPr id="8" name="Espaço Reservado para Rodapé 7">
            <a:extLst>
              <a:ext uri="{FF2B5EF4-FFF2-40B4-BE49-F238E27FC236}">
                <a16:creationId xmlns:a16="http://schemas.microsoft.com/office/drawing/2014/main" id="{73E03CD6-3C12-41A2-A415-7A19409DECFB}"/>
              </a:ext>
            </a:extLst>
          </p:cNvPr>
          <p:cNvSpPr>
            <a:spLocks noGrp="1"/>
          </p:cNvSpPr>
          <p:nvPr>
            <p:ph type="ftr" sz="quarter" idx="11"/>
            <p:custDataLst>
              <p:tags r:id="rId7"/>
            </p:custDataLst>
          </p:nvPr>
        </p:nvSpPr>
        <p:spPr/>
        <p:txBody>
          <a:bodyPr/>
          <a:lstStyle/>
          <a:p>
            <a:endParaRPr lang="pt-BR" dirty="0"/>
          </a:p>
        </p:txBody>
      </p:sp>
      <p:sp>
        <p:nvSpPr>
          <p:cNvPr id="9" name="Espaço Reservado para Número de Slide 8">
            <a:extLst>
              <a:ext uri="{FF2B5EF4-FFF2-40B4-BE49-F238E27FC236}">
                <a16:creationId xmlns:a16="http://schemas.microsoft.com/office/drawing/2014/main" id="{118AE566-2925-4BD2-86DD-DB88CCC31745}"/>
              </a:ext>
            </a:extLst>
          </p:cNvPr>
          <p:cNvSpPr>
            <a:spLocks noGrp="1"/>
          </p:cNvSpPr>
          <p:nvPr>
            <p:ph type="sldNum" sz="quarter" idx="12"/>
            <p:custDataLst>
              <p:tags r:id="rId8"/>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44957486"/>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391CEA-CF85-4AD3-8D86-8C5F687362F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BAF2A81E-8BF6-4E86-AFB4-6A3C4D50130F}"/>
              </a:ext>
            </a:extLst>
          </p:cNvPr>
          <p:cNvSpPr>
            <a:spLocks noGrp="1"/>
          </p:cNvSpPr>
          <p:nvPr>
            <p:ph type="dt" sz="half" idx="10"/>
            <p:custDataLst>
              <p:tags r:id="rId2"/>
            </p:custDataLst>
          </p:nvPr>
        </p:nvSpPr>
        <p:spPr/>
        <p:txBody>
          <a:bodyPr/>
          <a:lstStyle/>
          <a:p>
            <a:fld id="{1EEF3305-C503-4829-A822-59E60DC5EA27}" type="datetimeFigureOut">
              <a:rPr lang="pt-BR" smtClean="0"/>
              <a:t>25/09/2023</a:t>
            </a:fld>
            <a:endParaRPr lang="pt-BR" dirty="0"/>
          </a:p>
        </p:txBody>
      </p:sp>
      <p:sp>
        <p:nvSpPr>
          <p:cNvPr id="4" name="Espaço Reservado para Rodapé 3">
            <a:extLst>
              <a:ext uri="{FF2B5EF4-FFF2-40B4-BE49-F238E27FC236}">
                <a16:creationId xmlns:a16="http://schemas.microsoft.com/office/drawing/2014/main" id="{750789BA-BE2D-4E24-A82A-1DFCEB856E77}"/>
              </a:ext>
            </a:extLst>
          </p:cNvPr>
          <p:cNvSpPr>
            <a:spLocks noGrp="1"/>
          </p:cNvSpPr>
          <p:nvPr>
            <p:ph type="ftr" sz="quarter" idx="11"/>
            <p:custDataLst>
              <p:tags r:id="rId3"/>
            </p:custDataLst>
          </p:nvPr>
        </p:nvSpPr>
        <p:spPr/>
        <p:txBody>
          <a:bodyPr/>
          <a:lstStyle/>
          <a:p>
            <a:endParaRPr lang="pt-BR" dirty="0"/>
          </a:p>
        </p:txBody>
      </p:sp>
      <p:sp>
        <p:nvSpPr>
          <p:cNvPr id="5" name="Espaço Reservado para Número de Slide 4">
            <a:extLst>
              <a:ext uri="{FF2B5EF4-FFF2-40B4-BE49-F238E27FC236}">
                <a16:creationId xmlns:a16="http://schemas.microsoft.com/office/drawing/2014/main" id="{A5DDDC67-FF2D-4CD2-85A2-650114774BCC}"/>
              </a:ext>
            </a:extLst>
          </p:cNvPr>
          <p:cNvSpPr>
            <a:spLocks noGrp="1"/>
          </p:cNvSpPr>
          <p:nvPr>
            <p:ph type="sldNum" sz="quarter" idx="12"/>
            <p:custDataLst>
              <p:tags r:id="rId4"/>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1647807509"/>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39F1B8F0-009E-4839-865E-519F62521837}"/>
              </a:ext>
            </a:extLst>
          </p:cNvPr>
          <p:cNvSpPr>
            <a:spLocks noGrp="1"/>
          </p:cNvSpPr>
          <p:nvPr>
            <p:ph type="dt" sz="half" idx="10"/>
            <p:custDataLst>
              <p:tags r:id="rId1"/>
            </p:custDataLst>
          </p:nvPr>
        </p:nvSpPr>
        <p:spPr/>
        <p:txBody>
          <a:bodyPr/>
          <a:lstStyle/>
          <a:p>
            <a:fld id="{1EEF3305-C503-4829-A822-59E60DC5EA27}" type="datetimeFigureOut">
              <a:rPr lang="pt-BR" smtClean="0"/>
              <a:t>25/09/2023</a:t>
            </a:fld>
            <a:endParaRPr lang="pt-BR" dirty="0"/>
          </a:p>
        </p:txBody>
      </p:sp>
      <p:sp>
        <p:nvSpPr>
          <p:cNvPr id="3" name="Espaço Reservado para Rodapé 2">
            <a:extLst>
              <a:ext uri="{FF2B5EF4-FFF2-40B4-BE49-F238E27FC236}">
                <a16:creationId xmlns:a16="http://schemas.microsoft.com/office/drawing/2014/main" id="{D15617DD-609E-43CC-B1B9-5A0FF1108F71}"/>
              </a:ext>
            </a:extLst>
          </p:cNvPr>
          <p:cNvSpPr>
            <a:spLocks noGrp="1"/>
          </p:cNvSpPr>
          <p:nvPr>
            <p:ph type="ftr" sz="quarter" idx="11"/>
            <p:custDataLst>
              <p:tags r:id="rId2"/>
            </p:custDataLst>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C774E06F-BB9E-48AD-BA8B-AD7DE1EE7250}"/>
              </a:ext>
            </a:extLst>
          </p:cNvPr>
          <p:cNvSpPr>
            <a:spLocks noGrp="1"/>
          </p:cNvSpPr>
          <p:nvPr>
            <p:ph type="sldNum" sz="quarter" idx="12"/>
            <p:custDataLst>
              <p:tags r:id="rId3"/>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221026650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60E1272-DFE1-4A81-AE74-DB21A61E10E6}"/>
              </a:ext>
            </a:extLst>
          </p:cNvPr>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p>
        </p:txBody>
      </p:sp>
      <p:sp>
        <p:nvSpPr>
          <p:cNvPr id="3" name="Espaço Reservado para Conteúdo 2">
            <a:extLst>
              <a:ext uri="{FF2B5EF4-FFF2-40B4-BE49-F238E27FC236}">
                <a16:creationId xmlns:a16="http://schemas.microsoft.com/office/drawing/2014/main" id="{C304603D-D66F-4D68-8B67-0D65DEC02CDD}"/>
              </a:ext>
            </a:extLst>
          </p:cNvPr>
          <p:cNvSpPr>
            <a:spLocks noGrp="1"/>
          </p:cNvSpPr>
          <p:nvPr>
            <p:ph idx="1"/>
            <p:custDataLst>
              <p:tags r:id="rId2"/>
            </p:custDataLst>
          </p:nvPr>
        </p:nvSpPr>
        <p:spPr>
          <a:xfrm>
            <a:off x="3825976" y="728912"/>
            <a:ext cx="4556016" cy="3597683"/>
          </a:xfrm>
        </p:spPr>
        <p:txBody>
          <a:bodyPr/>
          <a:lstStyle>
            <a:lvl1pPr>
              <a:defRPr sz="2362"/>
            </a:lvl1pPr>
            <a:lvl2pPr>
              <a:defRPr sz="2067"/>
            </a:lvl2pPr>
            <a:lvl3pPr>
              <a:defRPr sz="1772"/>
            </a:lvl3pPr>
            <a:lvl4pPr>
              <a:defRPr sz="1476"/>
            </a:lvl4pPr>
            <a:lvl5pPr>
              <a:defRPr sz="1476"/>
            </a:lvl5pPr>
            <a:lvl6pPr>
              <a:defRPr sz="1476"/>
            </a:lvl6pPr>
            <a:lvl7pPr>
              <a:defRPr sz="1476"/>
            </a:lvl7pPr>
            <a:lvl8pPr>
              <a:defRPr sz="1476"/>
            </a:lvl8pPr>
            <a:lvl9pPr>
              <a:defRPr sz="1476"/>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EB1737F2-70F4-4099-BD59-5464CACE17BF}"/>
              </a:ext>
            </a:extLst>
          </p:cNvPr>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CEDCB4DD-AA79-407D-8685-17DE048BE4B3}"/>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EC5B65AB-7BE9-4F87-B0D3-5B35089B3BFD}"/>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62E40F8C-CC48-4540-9B4B-9B09EF4EC8DA}"/>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175329457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BF6152-23AE-48F9-8D69-11E527C55AE6}"/>
              </a:ext>
            </a:extLst>
          </p:cNvPr>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p>
        </p:txBody>
      </p:sp>
      <p:sp>
        <p:nvSpPr>
          <p:cNvPr id="3" name="Espaço Reservado para Imagem 2">
            <a:extLst>
              <a:ext uri="{FF2B5EF4-FFF2-40B4-BE49-F238E27FC236}">
                <a16:creationId xmlns:a16="http://schemas.microsoft.com/office/drawing/2014/main" id="{0C58DF68-1760-4202-8ECF-3DD598982C86}"/>
              </a:ext>
            </a:extLst>
          </p:cNvPr>
          <p:cNvSpPr>
            <a:spLocks noGrp="1"/>
          </p:cNvSpPr>
          <p:nvPr>
            <p:ph type="pic" idx="1"/>
            <p:custDataLst>
              <p:tags r:id="rId2"/>
            </p:custDataLst>
          </p:nvPr>
        </p:nvSpPr>
        <p:spPr>
          <a:xfrm>
            <a:off x="3825976" y="728912"/>
            <a:ext cx="4556016" cy="3597683"/>
          </a:xfrm>
        </p:spPr>
        <p:txBody>
          <a:bodyPr/>
          <a:lstStyle>
            <a:lvl1pPr marL="0" indent="0">
              <a:buNone/>
              <a:defRPr sz="2362"/>
            </a:lvl1pPr>
            <a:lvl2pPr marL="337505" indent="0">
              <a:buNone/>
              <a:defRPr sz="2067"/>
            </a:lvl2pPr>
            <a:lvl3pPr marL="675010" indent="0">
              <a:buNone/>
              <a:defRPr sz="1772"/>
            </a:lvl3pPr>
            <a:lvl4pPr marL="1012515" indent="0">
              <a:buNone/>
              <a:defRPr sz="1476"/>
            </a:lvl4pPr>
            <a:lvl5pPr marL="1350020" indent="0">
              <a:buNone/>
              <a:defRPr sz="1476"/>
            </a:lvl5pPr>
            <a:lvl6pPr marL="1687525" indent="0">
              <a:buNone/>
              <a:defRPr sz="1476"/>
            </a:lvl6pPr>
            <a:lvl7pPr marL="2025030" indent="0">
              <a:buNone/>
              <a:defRPr sz="1476"/>
            </a:lvl7pPr>
            <a:lvl8pPr marL="2362535" indent="0">
              <a:buNone/>
              <a:defRPr sz="1476"/>
            </a:lvl8pPr>
            <a:lvl9pPr marL="2700040" indent="0">
              <a:buNone/>
              <a:defRPr sz="1476"/>
            </a:lvl9pPr>
          </a:lstStyle>
          <a:p>
            <a:endParaRPr lang="pt-BR" dirty="0"/>
          </a:p>
        </p:txBody>
      </p:sp>
      <p:sp>
        <p:nvSpPr>
          <p:cNvPr id="4" name="Espaço Reservado para Texto 3">
            <a:extLst>
              <a:ext uri="{FF2B5EF4-FFF2-40B4-BE49-F238E27FC236}">
                <a16:creationId xmlns:a16="http://schemas.microsoft.com/office/drawing/2014/main" id="{EC4D9220-04D8-4F24-B776-FCB3D6017460}"/>
              </a:ext>
            </a:extLst>
          </p:cNvPr>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8C33B52A-6B7D-4BDE-A5AB-5CF33882C712}"/>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9804C66B-41DF-4058-A93D-7E76A595ED06}"/>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79D2C10E-7EAF-4A0B-8EC3-C1D3364C242F}"/>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429377951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2D2DDA1-9917-481E-B522-F26629F4412D}"/>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BB2BE9BC-C0F1-421C-9A3D-9B717ADE719B}"/>
              </a:ext>
            </a:extLst>
          </p:cNvPr>
          <p:cNvSpPr>
            <a:spLocks noGrp="1"/>
          </p:cNvSpPr>
          <p:nvPr>
            <p:ph type="body" orient="vert" idx="1"/>
            <p:custDataLst>
              <p:tags r:id="rId2"/>
            </p:custDataLst>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43B0341-1164-47A4-AD95-562F08DA2BD8}"/>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A7A42210-BD12-40C0-BEBB-61A994F8BB5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D83C0A24-06A7-45DD-A999-0FC1C0712AA1}"/>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102681325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283F672-4386-4AA1-8F4C-8792D8DC8FF0}"/>
              </a:ext>
            </a:extLst>
          </p:cNvPr>
          <p:cNvSpPr>
            <a:spLocks noGrp="1"/>
          </p:cNvSpPr>
          <p:nvPr>
            <p:ph type="title" orient="vert"/>
            <p:custDataLst>
              <p:tags r:id="rId1"/>
            </p:custDataLst>
          </p:nvPr>
        </p:nvSpPr>
        <p:spPr>
          <a:xfrm>
            <a:off x="6440295" y="269533"/>
            <a:ext cx="1940525" cy="429026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0A5A34B7-4B7B-4027-AE30-BC33F13F4A35}"/>
              </a:ext>
            </a:extLst>
          </p:cNvPr>
          <p:cNvSpPr>
            <a:spLocks noGrp="1"/>
          </p:cNvSpPr>
          <p:nvPr>
            <p:ph type="body" orient="vert" idx="1"/>
            <p:custDataLst>
              <p:tags r:id="rId2"/>
            </p:custDataLst>
          </p:nvPr>
        </p:nvSpPr>
        <p:spPr>
          <a:xfrm>
            <a:off x="618718" y="269533"/>
            <a:ext cx="5709082" cy="429026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A424FBC-B9D8-44A1-983E-A0C7F7167FD9}"/>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8E10561F-79EA-4201-A0CE-859641322E99}"/>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F89C4D17-477F-475F-B80E-49F3E6FD9749}"/>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60952182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 Quadros Horizontais">
    <p:spTree>
      <p:nvGrpSpPr>
        <p:cNvPr id="1" name=""/>
        <p:cNvGrpSpPr/>
        <p:nvPr/>
      </p:nvGrpSpPr>
      <p:grpSpPr>
        <a:xfrm>
          <a:off x="0" y="0"/>
          <a:ext cx="0" cy="0"/>
          <a:chOff x="0" y="0"/>
          <a:chExt cx="0" cy="0"/>
        </a:xfrm>
      </p:grpSpPr>
      <p:sp>
        <p:nvSpPr>
          <p:cNvPr id="6" name="Slide Number Placeholder 5"/>
          <p:cNvSpPr>
            <a:spLocks noGrp="1"/>
          </p:cNvSpPr>
          <p:nvPr>
            <p:ph type="sldNum" sz="quarter" idx="12"/>
            <p:custDataLst>
              <p:tags r:id="rId1"/>
            </p:custDataLst>
          </p:nvPr>
        </p:nvSpPr>
        <p:spPr/>
        <p:txBody>
          <a:bodyPr/>
          <a:lstStyle>
            <a:lvl1pPr>
              <a:defRPr>
                <a:solidFill>
                  <a:schemeClr val="accent5"/>
                </a:solidFill>
              </a:defRPr>
            </a:lvl1pPr>
          </a:lstStyle>
          <a:p>
            <a:fld id="{781AA1C5-E3DE-4B74-BB1A-54F4897D5034}" type="slidenum">
              <a:rPr lang="pt-BR" smtClean="0"/>
              <a:t>‹nº›</a:t>
            </a:fld>
            <a:endParaRPr lang="pt-BR" dirty="0"/>
          </a:p>
        </p:txBody>
      </p:sp>
      <p:sp>
        <p:nvSpPr>
          <p:cNvPr id="10" name="Espaço Reservado para Texto 31">
            <a:extLst>
              <a:ext uri="{FF2B5EF4-FFF2-40B4-BE49-F238E27FC236}">
                <a16:creationId xmlns:a16="http://schemas.microsoft.com/office/drawing/2014/main" id="{A9A0DCF7-07A0-4023-92B3-FC8F83EBB41C}"/>
              </a:ext>
            </a:extLst>
          </p:cNvPr>
          <p:cNvSpPr>
            <a:spLocks noGrp="1"/>
          </p:cNvSpPr>
          <p:nvPr>
            <p:ph type="body" sz="quarter" idx="19"/>
            <p:custDataLst>
              <p:tags r:id="rId2"/>
            </p:custDataLst>
          </p:nvPr>
        </p:nvSpPr>
        <p:spPr>
          <a:xfrm>
            <a:off x="452789" y="1102620"/>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2" name="Espaço Reservado para Texto 31">
            <a:extLst>
              <a:ext uri="{FF2B5EF4-FFF2-40B4-BE49-F238E27FC236}">
                <a16:creationId xmlns:a16="http://schemas.microsoft.com/office/drawing/2014/main" id="{BFA65592-4A57-40A0-8A55-704AD016437B}"/>
              </a:ext>
            </a:extLst>
          </p:cNvPr>
          <p:cNvSpPr>
            <a:spLocks noGrp="1"/>
          </p:cNvSpPr>
          <p:nvPr>
            <p:ph type="body" sz="quarter" idx="21"/>
            <p:custDataLst>
              <p:tags r:id="rId3"/>
            </p:custDataLst>
          </p:nvPr>
        </p:nvSpPr>
        <p:spPr>
          <a:xfrm>
            <a:off x="452789" y="2033463"/>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4" name="Espaço Reservado para Texto 31">
            <a:extLst>
              <a:ext uri="{FF2B5EF4-FFF2-40B4-BE49-F238E27FC236}">
                <a16:creationId xmlns:a16="http://schemas.microsoft.com/office/drawing/2014/main" id="{C9E94EC7-0F9D-4734-85FE-F522A72220DF}"/>
              </a:ext>
            </a:extLst>
          </p:cNvPr>
          <p:cNvSpPr>
            <a:spLocks noGrp="1"/>
          </p:cNvSpPr>
          <p:nvPr>
            <p:ph type="body" sz="quarter" idx="23"/>
            <p:custDataLst>
              <p:tags r:id="rId4"/>
            </p:custDataLst>
          </p:nvPr>
        </p:nvSpPr>
        <p:spPr>
          <a:xfrm>
            <a:off x="452789" y="2971675"/>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16" name="Espaço Reservado para Texto 31">
            <a:extLst>
              <a:ext uri="{FF2B5EF4-FFF2-40B4-BE49-F238E27FC236}">
                <a16:creationId xmlns:a16="http://schemas.microsoft.com/office/drawing/2014/main" id="{0BAE3DEC-3E80-4A30-A235-16AF5BD9B286}"/>
              </a:ext>
            </a:extLst>
          </p:cNvPr>
          <p:cNvSpPr>
            <a:spLocks noGrp="1"/>
          </p:cNvSpPr>
          <p:nvPr>
            <p:ph type="body" sz="quarter" idx="25"/>
            <p:custDataLst>
              <p:tags r:id="rId5"/>
            </p:custDataLst>
          </p:nvPr>
        </p:nvSpPr>
        <p:spPr>
          <a:xfrm>
            <a:off x="452789" y="3902517"/>
            <a:ext cx="8090210" cy="607036"/>
          </a:xfrm>
          <a:ln>
            <a:noFill/>
          </a:ln>
        </p:spPr>
        <p:txBody>
          <a:bodyPr/>
          <a:lstStyle>
            <a:lvl1pPr marL="1594472">
              <a:buClr>
                <a:schemeClr val="accent5"/>
              </a:buClr>
              <a:defRPr>
                <a:solidFill>
                  <a:srgbClr val="232323"/>
                </a:solidFill>
              </a:defRPr>
            </a:lvl1pPr>
            <a:lvl2pPr marL="1860217">
              <a:buClr>
                <a:schemeClr val="accent5"/>
              </a:buClr>
              <a:defRPr>
                <a:solidFill>
                  <a:srgbClr val="232323"/>
                </a:solidFill>
              </a:defRPr>
            </a:lvl2pPr>
            <a:lvl3pPr marL="2125963">
              <a:buClr>
                <a:schemeClr val="accent5"/>
              </a:buClr>
              <a:defRPr>
                <a:solidFill>
                  <a:srgbClr val="232323"/>
                </a:solidFill>
              </a:defRPr>
            </a:lvl3pPr>
          </a:lstStyle>
          <a:p>
            <a:pPr lvl="0"/>
            <a:r>
              <a:rPr lang="pt-BR"/>
              <a:t>Editar estilos de texto Mestre</a:t>
            </a:r>
          </a:p>
          <a:p>
            <a:pPr lvl="1"/>
            <a:r>
              <a:rPr lang="pt-BR"/>
              <a:t>Segundo nível</a:t>
            </a:r>
          </a:p>
          <a:p>
            <a:pPr lvl="2"/>
            <a:r>
              <a:rPr lang="pt-BR"/>
              <a:t>Terceiro nível</a:t>
            </a:r>
          </a:p>
        </p:txBody>
      </p:sp>
      <p:sp>
        <p:nvSpPr>
          <p:cNvPr id="4" name="Espaço Reservado para Texto 3">
            <a:extLst>
              <a:ext uri="{FF2B5EF4-FFF2-40B4-BE49-F238E27FC236}">
                <a16:creationId xmlns:a16="http://schemas.microsoft.com/office/drawing/2014/main" id="{7C65D32A-B352-48AB-871D-635A7AD0E7BE}"/>
              </a:ext>
            </a:extLst>
          </p:cNvPr>
          <p:cNvSpPr>
            <a:spLocks noGrp="1"/>
          </p:cNvSpPr>
          <p:nvPr>
            <p:ph type="body" sz="quarter" idx="27"/>
            <p:custDataLst>
              <p:tags r:id="rId6"/>
            </p:custDataLst>
          </p:nvPr>
        </p:nvSpPr>
        <p:spPr>
          <a:xfrm>
            <a:off x="609813" y="993982"/>
            <a:ext cx="1223375" cy="812506"/>
          </a:xfrm>
          <a:solidFill>
            <a:schemeClr val="accent1"/>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8" name="Espaço Reservado para Texto 3">
            <a:extLst>
              <a:ext uri="{FF2B5EF4-FFF2-40B4-BE49-F238E27FC236}">
                <a16:creationId xmlns:a16="http://schemas.microsoft.com/office/drawing/2014/main" id="{0817756E-1E5F-4AF1-B586-7E654743AA96}"/>
              </a:ext>
            </a:extLst>
          </p:cNvPr>
          <p:cNvSpPr>
            <a:spLocks noGrp="1"/>
          </p:cNvSpPr>
          <p:nvPr>
            <p:ph type="body" sz="quarter" idx="28"/>
            <p:custDataLst>
              <p:tags r:id="rId7"/>
            </p:custDataLst>
          </p:nvPr>
        </p:nvSpPr>
        <p:spPr>
          <a:xfrm>
            <a:off x="609812" y="1930728"/>
            <a:ext cx="1223375" cy="812506"/>
          </a:xfrm>
          <a:solidFill>
            <a:schemeClr val="accent2"/>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9" name="Espaço Reservado para Texto 3">
            <a:extLst>
              <a:ext uri="{FF2B5EF4-FFF2-40B4-BE49-F238E27FC236}">
                <a16:creationId xmlns:a16="http://schemas.microsoft.com/office/drawing/2014/main" id="{3CC2B6F9-3311-4ACE-AE38-6724D55067D6}"/>
              </a:ext>
            </a:extLst>
          </p:cNvPr>
          <p:cNvSpPr>
            <a:spLocks noGrp="1"/>
          </p:cNvSpPr>
          <p:nvPr>
            <p:ph type="body" sz="quarter" idx="29"/>
            <p:custDataLst>
              <p:tags r:id="rId8"/>
            </p:custDataLst>
          </p:nvPr>
        </p:nvSpPr>
        <p:spPr>
          <a:xfrm>
            <a:off x="609812" y="2878941"/>
            <a:ext cx="1223375" cy="812506"/>
          </a:xfrm>
          <a:solidFill>
            <a:schemeClr val="accent3"/>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20" name="Espaço Reservado para Texto 3">
            <a:extLst>
              <a:ext uri="{FF2B5EF4-FFF2-40B4-BE49-F238E27FC236}">
                <a16:creationId xmlns:a16="http://schemas.microsoft.com/office/drawing/2014/main" id="{BA25F346-C335-4510-8CFE-AB0168CD6665}"/>
              </a:ext>
            </a:extLst>
          </p:cNvPr>
          <p:cNvSpPr>
            <a:spLocks noGrp="1"/>
          </p:cNvSpPr>
          <p:nvPr>
            <p:ph type="body" sz="quarter" idx="30"/>
            <p:custDataLst>
              <p:tags r:id="rId9"/>
            </p:custDataLst>
          </p:nvPr>
        </p:nvSpPr>
        <p:spPr>
          <a:xfrm>
            <a:off x="609812" y="3807150"/>
            <a:ext cx="1223375" cy="812506"/>
          </a:xfrm>
          <a:solidFill>
            <a:schemeClr val="accent5"/>
          </a:solidFill>
        </p:spPr>
        <p:txBody>
          <a:bodyPr anchor="ctr">
            <a:noAutofit/>
          </a:bodyPr>
          <a:lstStyle>
            <a:lvl1pPr marL="0" indent="0" algn="r">
              <a:buNone/>
              <a:defRPr sz="1378" b="0">
                <a:solidFill>
                  <a:schemeClr val="bg1"/>
                </a:solidFill>
              </a:defRPr>
            </a:lvl1pPr>
          </a:lstStyle>
          <a:p>
            <a:pPr lvl="0"/>
            <a:r>
              <a:rPr lang="pt-BR"/>
              <a:t>Editar estilos de texto Mestre</a:t>
            </a:r>
          </a:p>
        </p:txBody>
      </p:sp>
      <p:sp>
        <p:nvSpPr>
          <p:cNvPr id="17" name="Title 1">
            <a:extLst>
              <a:ext uri="{FF2B5EF4-FFF2-40B4-BE49-F238E27FC236}">
                <a16:creationId xmlns:a16="http://schemas.microsoft.com/office/drawing/2014/main" id="{E5990CB5-8C00-43E2-9161-5FB0D09E2B62}"/>
              </a:ext>
            </a:extLst>
          </p:cNvPr>
          <p:cNvSpPr>
            <a:spLocks noGrp="1"/>
          </p:cNvSpPr>
          <p:nvPr>
            <p:ph type="title"/>
            <p:custDataLst>
              <p:tags r:id="rId10"/>
            </p:custDataLst>
          </p:nvPr>
        </p:nvSpPr>
        <p:spPr>
          <a:xfrm>
            <a:off x="129151" y="130959"/>
            <a:ext cx="7443612" cy="196024"/>
          </a:xfrm>
        </p:spPr>
        <p:txBody>
          <a:bodyPr/>
          <a:lstStyle>
            <a:lvl1pPr>
              <a:defRPr sz="1575"/>
            </a:lvl1pPr>
          </a:lstStyle>
          <a:p>
            <a:r>
              <a:rPr lang="pt-BR"/>
              <a:t>Clique para editar o título</a:t>
            </a:r>
            <a:endParaRPr lang="en-US"/>
          </a:p>
        </p:txBody>
      </p:sp>
      <p:sp>
        <p:nvSpPr>
          <p:cNvPr id="21" name="Espaço Reservado para Conteúdo 7">
            <a:extLst>
              <a:ext uri="{FF2B5EF4-FFF2-40B4-BE49-F238E27FC236}">
                <a16:creationId xmlns:a16="http://schemas.microsoft.com/office/drawing/2014/main" id="{971A6E7C-1E48-4F8D-9245-DD3A6BD233E3}"/>
              </a:ext>
            </a:extLst>
          </p:cNvPr>
          <p:cNvSpPr>
            <a:spLocks noGrp="1"/>
          </p:cNvSpPr>
          <p:nvPr>
            <p:ph sz="quarter" idx="13" hasCustomPrompt="1"/>
            <p:custDataLst>
              <p:tags r:id="rId11"/>
            </p:custDataLst>
          </p:nvPr>
        </p:nvSpPr>
        <p:spPr>
          <a:xfrm>
            <a:off x="136497" y="341073"/>
            <a:ext cx="7446492" cy="196024"/>
          </a:xfrm>
        </p:spPr>
        <p:txBody>
          <a:bodyPr>
            <a:noAutofit/>
          </a:bodyPr>
          <a:lstStyle>
            <a:lvl1pPr marL="0" indent="0">
              <a:buNone/>
              <a:defRPr sz="1181">
                <a:solidFill>
                  <a:srgbClr val="0070C0"/>
                </a:solidFill>
              </a:defRPr>
            </a:lvl1pPr>
          </a:lstStyle>
          <a:p>
            <a:pPr lvl="0"/>
            <a:r>
              <a:rPr lang="pt-BR"/>
              <a:t>Clique para editar subtítulo</a:t>
            </a:r>
          </a:p>
        </p:txBody>
      </p:sp>
    </p:spTree>
    <p:extLst>
      <p:ext uri="{BB962C8B-B14F-4D97-AF65-F5344CB8AC3E}">
        <p14:creationId xmlns:p14="http://schemas.microsoft.com/office/powerpoint/2010/main" val="3144941063"/>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Slide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99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14031" y="1262119"/>
            <a:ext cx="7762102" cy="2105875"/>
          </a:xfrm>
        </p:spPr>
        <p:txBody>
          <a:bodyPr anchor="b"/>
          <a:lstStyle>
            <a:lvl1pPr>
              <a:defRPr sz="4429"/>
            </a:lvl1pPr>
          </a:lstStyle>
          <a:p>
            <a:r>
              <a:rPr lang="pt-BR"/>
              <a:t>Clique para editar o título Mestre</a:t>
            </a:r>
            <a:endParaRPr lang="en-US"/>
          </a:p>
        </p:txBody>
      </p:sp>
      <p:sp>
        <p:nvSpPr>
          <p:cNvPr id="3" name="Text Placeholder 2"/>
          <p:cNvSpPr>
            <a:spLocks noGrp="1"/>
          </p:cNvSpPr>
          <p:nvPr>
            <p:ph type="body" idx="1"/>
            <p:custDataLst>
              <p:tags r:id="rId2"/>
            </p:custDataLst>
          </p:nvPr>
        </p:nvSpPr>
        <p:spPr>
          <a:xfrm>
            <a:off x="614031" y="3387917"/>
            <a:ext cx="7762102" cy="1107430"/>
          </a:xfrm>
        </p:spPr>
        <p:txBody>
          <a:bodyPr/>
          <a:lstStyle>
            <a:lvl1pPr marL="0" indent="0">
              <a:buNone/>
              <a:defRPr sz="1772">
                <a:solidFill>
                  <a:schemeClr val="tx1">
                    <a:tint val="75000"/>
                  </a:schemeClr>
                </a:solidFill>
              </a:defRPr>
            </a:lvl1pPr>
            <a:lvl2pPr marL="337505" indent="0">
              <a:buNone/>
              <a:defRPr sz="1476">
                <a:solidFill>
                  <a:schemeClr val="tx1">
                    <a:tint val="75000"/>
                  </a:schemeClr>
                </a:solidFill>
              </a:defRPr>
            </a:lvl2pPr>
            <a:lvl3pPr marL="675010" indent="0">
              <a:buNone/>
              <a:defRPr sz="1329">
                <a:solidFill>
                  <a:schemeClr val="tx1">
                    <a:tint val="75000"/>
                  </a:schemeClr>
                </a:solidFill>
              </a:defRPr>
            </a:lvl3pPr>
            <a:lvl4pPr marL="1012515" indent="0">
              <a:buNone/>
              <a:defRPr sz="1181">
                <a:solidFill>
                  <a:schemeClr val="tx1">
                    <a:tint val="75000"/>
                  </a:schemeClr>
                </a:solidFill>
              </a:defRPr>
            </a:lvl4pPr>
            <a:lvl5pPr marL="1350020" indent="0">
              <a:buNone/>
              <a:defRPr sz="1181">
                <a:solidFill>
                  <a:schemeClr val="tx1">
                    <a:tint val="75000"/>
                  </a:schemeClr>
                </a:solidFill>
              </a:defRPr>
            </a:lvl5pPr>
            <a:lvl6pPr marL="1687525" indent="0">
              <a:buNone/>
              <a:defRPr sz="1181">
                <a:solidFill>
                  <a:schemeClr val="tx1">
                    <a:tint val="75000"/>
                  </a:schemeClr>
                </a:solidFill>
              </a:defRPr>
            </a:lvl6pPr>
            <a:lvl7pPr marL="2025030" indent="0">
              <a:buNone/>
              <a:defRPr sz="1181">
                <a:solidFill>
                  <a:schemeClr val="tx1">
                    <a:tint val="75000"/>
                  </a:schemeClr>
                </a:solidFill>
              </a:defRPr>
            </a:lvl7pPr>
            <a:lvl8pPr marL="2362535" indent="0">
              <a:buNone/>
              <a:defRPr sz="1181">
                <a:solidFill>
                  <a:schemeClr val="tx1">
                    <a:tint val="75000"/>
                  </a:schemeClr>
                </a:solidFill>
              </a:defRPr>
            </a:lvl8pPr>
            <a:lvl9pPr marL="2700040" indent="0">
              <a:buNone/>
              <a:defRPr sz="1181">
                <a:solidFill>
                  <a:schemeClr val="tx1">
                    <a:tint val="75000"/>
                  </a:schemeClr>
                </a:solidFill>
              </a:defRPr>
            </a:lvl9pPr>
          </a:lstStyle>
          <a:p>
            <a:pPr lvl="0"/>
            <a:r>
              <a:rPr lang="pt-BR"/>
              <a:t>Clique para editar os estilos de texto Mestres</a:t>
            </a:r>
          </a:p>
        </p:txBody>
      </p:sp>
      <p:sp>
        <p:nvSpPr>
          <p:cNvPr id="4" name="Date Placeholder 3"/>
          <p:cNvSpPr>
            <a:spLocks noGrp="1"/>
          </p:cNvSpPr>
          <p:nvPr>
            <p:ph type="dt" sz="half" idx="10"/>
            <p:custDataLst>
              <p:tags r:id="rId3"/>
            </p:custDataLst>
          </p:nvPr>
        </p:nvSpPr>
        <p:spPr/>
        <p:txBody>
          <a:bodyPr/>
          <a:lstStyle/>
          <a:p>
            <a:fld id="{0DE1E16F-BFFF-48B6-B146-C7AA2B590390}" type="datetimeFigureOut">
              <a:rPr lang="pt-BR" smtClean="0"/>
              <a:t>25/09/2023</a:t>
            </a:fld>
            <a:endParaRPr lang="pt-BR" dirty="0"/>
          </a:p>
        </p:txBody>
      </p:sp>
      <p:sp>
        <p:nvSpPr>
          <p:cNvPr id="5" name="Footer Placeholder 4"/>
          <p:cNvSpPr>
            <a:spLocks noGrp="1"/>
          </p:cNvSpPr>
          <p:nvPr>
            <p:ph type="ftr" sz="quarter" idx="11"/>
            <p:custDataLst>
              <p:tags r:id="rId4"/>
            </p:custDataLst>
          </p:nvPr>
        </p:nvSpPr>
        <p:spPr/>
        <p:txBody>
          <a:bodyPr/>
          <a:lstStyle/>
          <a:p>
            <a:endParaRPr lang="pt-BR" dirty="0"/>
          </a:p>
        </p:txBody>
      </p:sp>
      <p:sp>
        <p:nvSpPr>
          <p:cNvPr id="6" name="Slide Number Placeholder 5"/>
          <p:cNvSpPr>
            <a:spLocks noGrp="1"/>
          </p:cNvSpPr>
          <p:nvPr>
            <p:ph type="sldNum" sz="quarter" idx="12"/>
            <p:custDataLst>
              <p:tags r:id="rId5"/>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1163725212"/>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ulo contenido blanco">
    <p:spTree>
      <p:nvGrpSpPr>
        <p:cNvPr id="1" name=""/>
        <p:cNvGrpSpPr/>
        <p:nvPr/>
      </p:nvGrpSpPr>
      <p:grpSpPr>
        <a:xfrm>
          <a:off x="0" y="0"/>
          <a:ext cx="0" cy="0"/>
          <a:chOff x="0" y="0"/>
          <a:chExt cx="0" cy="0"/>
        </a:xfrm>
      </p:grpSpPr>
      <p:sp>
        <p:nvSpPr>
          <p:cNvPr id="7" name="Text Placeholder 2">
            <a:extLst>
              <a:ext uri="{FF2B5EF4-FFF2-40B4-BE49-F238E27FC236}">
                <a16:creationId xmlns:a16="http://schemas.microsoft.com/office/drawing/2014/main" id="{6206BE30-A7FB-564F-84C0-6344C7FC460E}"/>
              </a:ext>
            </a:extLst>
          </p:cNvPr>
          <p:cNvSpPr>
            <a:spLocks noGrp="1"/>
          </p:cNvSpPr>
          <p:nvPr>
            <p:ph type="body" idx="1" hasCustomPrompt="1"/>
          </p:nvPr>
        </p:nvSpPr>
        <p:spPr>
          <a:xfrm>
            <a:off x="1640373" y="900007"/>
            <a:ext cx="2232642" cy="859825"/>
          </a:xfrm>
          <a:prstGeom prst="rect">
            <a:avLst/>
          </a:prstGeom>
        </p:spPr>
        <p:txBody>
          <a:bodyPr anchor="b"/>
          <a:lstStyle>
            <a:lvl1pPr marL="0" indent="0">
              <a:buNone/>
              <a:defRPr sz="2215" b="1">
                <a:solidFill>
                  <a:srgbClr val="033085"/>
                </a:solidFill>
              </a:defRPr>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en-US"/>
              <a:t>CLICK TO EDIT MASTER TEXT STYLES</a:t>
            </a:r>
          </a:p>
        </p:txBody>
      </p:sp>
      <p:sp>
        <p:nvSpPr>
          <p:cNvPr id="11" name="Text Placeholder 12">
            <a:extLst>
              <a:ext uri="{FF2B5EF4-FFF2-40B4-BE49-F238E27FC236}">
                <a16:creationId xmlns:a16="http://schemas.microsoft.com/office/drawing/2014/main" id="{CD5114C2-A755-0B47-89CD-21198D50291D}"/>
              </a:ext>
            </a:extLst>
          </p:cNvPr>
          <p:cNvSpPr>
            <a:spLocks noGrp="1"/>
          </p:cNvSpPr>
          <p:nvPr>
            <p:ph type="body" sz="quarter" idx="13"/>
          </p:nvPr>
        </p:nvSpPr>
        <p:spPr>
          <a:xfrm>
            <a:off x="5036129" y="900007"/>
            <a:ext cx="2247875" cy="2114078"/>
          </a:xfrm>
          <a:prstGeom prst="rect">
            <a:avLst/>
          </a:prstGeom>
        </p:spPr>
        <p:txBody>
          <a:bodyPr/>
          <a:lstStyle>
            <a:lvl1pPr marL="0" indent="0">
              <a:buFontTx/>
              <a:buNone/>
              <a:defRPr sz="1624">
                <a:solidFill>
                  <a:srgbClr val="033085"/>
                </a:solidFill>
              </a:defRPr>
            </a:lvl1pPr>
            <a:lvl2pPr marL="337505" indent="0">
              <a:buFontTx/>
              <a:buNone/>
              <a:defRPr sz="1624">
                <a:solidFill>
                  <a:srgbClr val="033085"/>
                </a:solidFill>
              </a:defRPr>
            </a:lvl2pPr>
            <a:lvl3pPr marL="675010" indent="0">
              <a:buFontTx/>
              <a:buNone/>
              <a:defRPr sz="1624">
                <a:solidFill>
                  <a:srgbClr val="033085"/>
                </a:solidFill>
              </a:defRPr>
            </a:lvl3pPr>
            <a:lvl4pPr marL="1012515" indent="0">
              <a:buFontTx/>
              <a:buNone/>
              <a:defRPr sz="1624">
                <a:solidFill>
                  <a:srgbClr val="033085"/>
                </a:solidFill>
              </a:defRPr>
            </a:lvl4pPr>
            <a:lvl5pPr marL="1350020" indent="0">
              <a:buFontTx/>
              <a:buNone/>
              <a:defRPr sz="1624">
                <a:solidFill>
                  <a:srgbClr val="033085"/>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146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F7CA245-CB28-454A-A119-5FCBC05A512A}"/>
              </a:ext>
            </a:extLst>
          </p:cNvPr>
          <p:cNvSpPr>
            <a:spLocks noGrp="1"/>
          </p:cNvSpPr>
          <p:nvPr>
            <p:ph type="ctrTitle"/>
            <p:custDataLst>
              <p:tags r:id="rId1"/>
            </p:custDataLst>
          </p:nvPr>
        </p:nvSpPr>
        <p:spPr>
          <a:xfrm>
            <a:off x="1124942" y="828522"/>
            <a:ext cx="6749654" cy="1762513"/>
          </a:xfrm>
        </p:spPr>
        <p:txBody>
          <a:bodyPr anchor="b"/>
          <a:lstStyle>
            <a:lvl1pPr algn="ctr">
              <a:defRPr sz="4429"/>
            </a:lvl1pPr>
          </a:lstStyle>
          <a:p>
            <a:r>
              <a:rPr lang="pt-BR"/>
              <a:t>Clique para editar o título Mestre</a:t>
            </a:r>
          </a:p>
        </p:txBody>
      </p:sp>
      <p:sp>
        <p:nvSpPr>
          <p:cNvPr id="3" name="Subtítulo 2">
            <a:extLst>
              <a:ext uri="{FF2B5EF4-FFF2-40B4-BE49-F238E27FC236}">
                <a16:creationId xmlns:a16="http://schemas.microsoft.com/office/drawing/2014/main" id="{8CD5EDBD-27CC-48A0-81F9-D79754E32A79}"/>
              </a:ext>
            </a:extLst>
          </p:cNvPr>
          <p:cNvSpPr>
            <a:spLocks noGrp="1"/>
          </p:cNvSpPr>
          <p:nvPr>
            <p:ph type="subTitle" idx="1"/>
            <p:custDataLst>
              <p:tags r:id="rId2"/>
            </p:custDataLst>
          </p:nvPr>
        </p:nvSpPr>
        <p:spPr>
          <a:xfrm>
            <a:off x="1124942" y="2659005"/>
            <a:ext cx="6749654" cy="1222274"/>
          </a:xfrm>
        </p:spPr>
        <p:txBody>
          <a:bodyPr/>
          <a:lstStyle>
            <a:lvl1pPr marL="0" indent="0" algn="ctr">
              <a:buNone/>
              <a:defRPr sz="1772"/>
            </a:lvl1pPr>
            <a:lvl2pPr marL="337505" indent="0" algn="ctr">
              <a:buNone/>
              <a:defRPr sz="1476"/>
            </a:lvl2pPr>
            <a:lvl3pPr marL="675010" indent="0" algn="ctr">
              <a:buNone/>
              <a:defRPr sz="1329"/>
            </a:lvl3pPr>
            <a:lvl4pPr marL="1012515" indent="0" algn="ctr">
              <a:buNone/>
              <a:defRPr sz="1181"/>
            </a:lvl4pPr>
            <a:lvl5pPr marL="1350020" indent="0" algn="ctr">
              <a:buNone/>
              <a:defRPr sz="1181"/>
            </a:lvl5pPr>
            <a:lvl6pPr marL="1687525" indent="0" algn="ctr">
              <a:buNone/>
              <a:defRPr sz="1181"/>
            </a:lvl6pPr>
            <a:lvl7pPr marL="2025030" indent="0" algn="ctr">
              <a:buNone/>
              <a:defRPr sz="1181"/>
            </a:lvl7pPr>
            <a:lvl8pPr marL="2362535" indent="0" algn="ctr">
              <a:buNone/>
              <a:defRPr sz="1181"/>
            </a:lvl8pPr>
            <a:lvl9pPr marL="2700040" indent="0" algn="ctr">
              <a:buNone/>
              <a:defRPr sz="1181"/>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2615801E-8C6A-41AA-B94A-81CE24B0D560}"/>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854B3E7B-CBFA-461F-9A74-5C7FB78218A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F81309D1-282B-46A7-BFDA-3CA73588D4CA}"/>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391358256"/>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05A17B4-FFF4-4415-B79A-6F771F7D1B5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A3CB097-14CA-47BF-ADA5-F8FC3557C30E}"/>
              </a:ext>
            </a:extLst>
          </p:cNvPr>
          <p:cNvSpPr>
            <a:spLocks noGrp="1"/>
          </p:cNvSpPr>
          <p:nvPr>
            <p:ph idx="1"/>
            <p:custDataLst>
              <p:tags r:id="rId2"/>
            </p:custDataLst>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E26D95A-96EE-4AC3-9940-845934449953}"/>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A61E97E4-527D-4836-9755-380D6E52589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55E83B5A-A240-4CA1-BBED-9E2BBB32AA6D}"/>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626553496"/>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9F1D056-D85C-41FC-A461-4A67EE83F7A8}"/>
              </a:ext>
            </a:extLst>
          </p:cNvPr>
          <p:cNvSpPr>
            <a:spLocks noGrp="1"/>
          </p:cNvSpPr>
          <p:nvPr>
            <p:ph type="title"/>
            <p:custDataLst>
              <p:tags r:id="rId1"/>
            </p:custDataLst>
          </p:nvPr>
        </p:nvSpPr>
        <p:spPr>
          <a:xfrm>
            <a:off x="614031" y="1262119"/>
            <a:ext cx="7762102" cy="2105875"/>
          </a:xfrm>
        </p:spPr>
        <p:txBody>
          <a:bodyPr anchor="b"/>
          <a:lstStyle>
            <a:lvl1pPr>
              <a:defRPr sz="4429"/>
            </a:lvl1pPr>
          </a:lstStyle>
          <a:p>
            <a:r>
              <a:rPr lang="pt-BR"/>
              <a:t>Clique para editar o título Mestre</a:t>
            </a:r>
          </a:p>
        </p:txBody>
      </p:sp>
      <p:sp>
        <p:nvSpPr>
          <p:cNvPr id="3" name="Espaço Reservado para Texto 2">
            <a:extLst>
              <a:ext uri="{FF2B5EF4-FFF2-40B4-BE49-F238E27FC236}">
                <a16:creationId xmlns:a16="http://schemas.microsoft.com/office/drawing/2014/main" id="{5BDAFDFF-B9E8-4CE6-B81F-35C50DF9AC46}"/>
              </a:ext>
            </a:extLst>
          </p:cNvPr>
          <p:cNvSpPr>
            <a:spLocks noGrp="1"/>
          </p:cNvSpPr>
          <p:nvPr>
            <p:ph type="body" idx="1"/>
            <p:custDataLst>
              <p:tags r:id="rId2"/>
            </p:custDataLst>
          </p:nvPr>
        </p:nvSpPr>
        <p:spPr>
          <a:xfrm>
            <a:off x="614031" y="3387917"/>
            <a:ext cx="7762102" cy="1107430"/>
          </a:xfrm>
        </p:spPr>
        <p:txBody>
          <a:bodyPr/>
          <a:lstStyle>
            <a:lvl1pPr marL="0" indent="0">
              <a:buNone/>
              <a:defRPr sz="1772">
                <a:solidFill>
                  <a:schemeClr val="tx1">
                    <a:tint val="75000"/>
                  </a:schemeClr>
                </a:solidFill>
              </a:defRPr>
            </a:lvl1pPr>
            <a:lvl2pPr marL="337505" indent="0">
              <a:buNone/>
              <a:defRPr sz="1476">
                <a:solidFill>
                  <a:schemeClr val="tx1">
                    <a:tint val="75000"/>
                  </a:schemeClr>
                </a:solidFill>
              </a:defRPr>
            </a:lvl2pPr>
            <a:lvl3pPr marL="675010" indent="0">
              <a:buNone/>
              <a:defRPr sz="1329">
                <a:solidFill>
                  <a:schemeClr val="tx1">
                    <a:tint val="75000"/>
                  </a:schemeClr>
                </a:solidFill>
              </a:defRPr>
            </a:lvl3pPr>
            <a:lvl4pPr marL="1012515" indent="0">
              <a:buNone/>
              <a:defRPr sz="1181">
                <a:solidFill>
                  <a:schemeClr val="tx1">
                    <a:tint val="75000"/>
                  </a:schemeClr>
                </a:solidFill>
              </a:defRPr>
            </a:lvl4pPr>
            <a:lvl5pPr marL="1350020" indent="0">
              <a:buNone/>
              <a:defRPr sz="1181">
                <a:solidFill>
                  <a:schemeClr val="tx1">
                    <a:tint val="75000"/>
                  </a:schemeClr>
                </a:solidFill>
              </a:defRPr>
            </a:lvl5pPr>
            <a:lvl6pPr marL="1687525" indent="0">
              <a:buNone/>
              <a:defRPr sz="1181">
                <a:solidFill>
                  <a:schemeClr val="tx1">
                    <a:tint val="75000"/>
                  </a:schemeClr>
                </a:solidFill>
              </a:defRPr>
            </a:lvl6pPr>
            <a:lvl7pPr marL="2025030" indent="0">
              <a:buNone/>
              <a:defRPr sz="1181">
                <a:solidFill>
                  <a:schemeClr val="tx1">
                    <a:tint val="75000"/>
                  </a:schemeClr>
                </a:solidFill>
              </a:defRPr>
            </a:lvl7pPr>
            <a:lvl8pPr marL="2362535" indent="0">
              <a:buNone/>
              <a:defRPr sz="1181">
                <a:solidFill>
                  <a:schemeClr val="tx1">
                    <a:tint val="75000"/>
                  </a:schemeClr>
                </a:solidFill>
              </a:defRPr>
            </a:lvl8pPr>
            <a:lvl9pPr marL="2700040" indent="0">
              <a:buNone/>
              <a:defRPr sz="1181">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C427148C-6DB7-4700-B3BC-62EA0C585EF2}"/>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669376D2-EAC3-4B20-931B-B8A120FF090C}"/>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1767B515-768A-4083-B79B-CDF3E1E76F90}"/>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2885364082"/>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A885178-4836-4570-ACA5-7AD814EF3DC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2426BBB-E50C-489F-9B9B-0E9F4BEC0A97}"/>
              </a:ext>
            </a:extLst>
          </p:cNvPr>
          <p:cNvSpPr>
            <a:spLocks noGrp="1"/>
          </p:cNvSpPr>
          <p:nvPr>
            <p:ph sz="half" idx="1"/>
            <p:custDataLst>
              <p:tags r:id="rId2"/>
            </p:custDataLst>
          </p:nvPr>
        </p:nvSpPr>
        <p:spPr>
          <a:xfrm>
            <a:off x="618718"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C6BF8C5C-981A-437C-92FA-00FA8A3EA2B0}"/>
              </a:ext>
            </a:extLst>
          </p:cNvPr>
          <p:cNvSpPr>
            <a:spLocks noGrp="1"/>
          </p:cNvSpPr>
          <p:nvPr>
            <p:ph sz="half" idx="2"/>
            <p:custDataLst>
              <p:tags r:id="rId3"/>
            </p:custDataLst>
          </p:nvPr>
        </p:nvSpPr>
        <p:spPr>
          <a:xfrm>
            <a:off x="4556016"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F4DF0EDB-7EC2-4734-8481-DB7EDCB71976}"/>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4F891293-D189-4AFC-9784-53C067583448}"/>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A5F17044-A0EB-4C6A-9EDA-3561D8E28917}"/>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87370625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4CB578A-2AAB-4356-BBDF-D0170744A1BE}"/>
              </a:ext>
            </a:extLst>
          </p:cNvPr>
          <p:cNvSpPr>
            <a:spLocks noGrp="1"/>
          </p:cNvSpPr>
          <p:nvPr>
            <p:ph type="title"/>
            <p:custDataLst>
              <p:tags r:id="rId1"/>
            </p:custDataLst>
          </p:nvPr>
        </p:nvSpPr>
        <p:spPr>
          <a:xfrm>
            <a:off x="619890" y="269534"/>
            <a:ext cx="7762102" cy="97852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74DED941-843A-4CDE-938B-A1559BBD862F}"/>
              </a:ext>
            </a:extLst>
          </p:cNvPr>
          <p:cNvSpPr>
            <a:spLocks noGrp="1"/>
          </p:cNvSpPr>
          <p:nvPr>
            <p:ph type="body" idx="1"/>
            <p:custDataLst>
              <p:tags r:id="rId2"/>
            </p:custDataLst>
          </p:nvPr>
        </p:nvSpPr>
        <p:spPr>
          <a:xfrm>
            <a:off x="619891" y="1241025"/>
            <a:ext cx="380722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494E450B-B88E-411A-9123-B9989EA865C3}"/>
              </a:ext>
            </a:extLst>
          </p:cNvPr>
          <p:cNvSpPr>
            <a:spLocks noGrp="1"/>
          </p:cNvSpPr>
          <p:nvPr>
            <p:ph sz="half" idx="2"/>
            <p:custDataLst>
              <p:tags r:id="rId3"/>
            </p:custDataLst>
          </p:nvPr>
        </p:nvSpPr>
        <p:spPr>
          <a:xfrm>
            <a:off x="619891" y="1849232"/>
            <a:ext cx="380722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8C9CE56A-08B0-434F-94CB-A8A0F5A555A3}"/>
              </a:ext>
            </a:extLst>
          </p:cNvPr>
          <p:cNvSpPr>
            <a:spLocks noGrp="1"/>
          </p:cNvSpPr>
          <p:nvPr>
            <p:ph type="body" sz="quarter" idx="3"/>
            <p:custDataLst>
              <p:tags r:id="rId4"/>
            </p:custDataLst>
          </p:nvPr>
        </p:nvSpPr>
        <p:spPr>
          <a:xfrm>
            <a:off x="4556016" y="1241025"/>
            <a:ext cx="382597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F3967004-581B-4100-8056-0A553B235F8E}"/>
              </a:ext>
            </a:extLst>
          </p:cNvPr>
          <p:cNvSpPr>
            <a:spLocks noGrp="1"/>
          </p:cNvSpPr>
          <p:nvPr>
            <p:ph sz="quarter" idx="4"/>
            <p:custDataLst>
              <p:tags r:id="rId5"/>
            </p:custDataLst>
          </p:nvPr>
        </p:nvSpPr>
        <p:spPr>
          <a:xfrm>
            <a:off x="4556016" y="1849232"/>
            <a:ext cx="382597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708967A3-F245-4506-A143-3570E75AAD30}"/>
              </a:ext>
            </a:extLst>
          </p:cNvPr>
          <p:cNvSpPr>
            <a:spLocks noGrp="1"/>
          </p:cNvSpPr>
          <p:nvPr>
            <p:ph type="dt" sz="half" idx="10"/>
            <p:custDataLst>
              <p:tags r:id="rId6"/>
            </p:custDataLst>
          </p:nvPr>
        </p:nvSpPr>
        <p:spPr/>
        <p:txBody>
          <a:bodyPr/>
          <a:lstStyle/>
          <a:p>
            <a:fld id="{1EEF3305-C503-4829-A822-59E60DC5EA27}" type="datetimeFigureOut">
              <a:rPr lang="pt-BR" smtClean="0"/>
              <a:t>25/09/2023</a:t>
            </a:fld>
            <a:endParaRPr lang="pt-BR" dirty="0"/>
          </a:p>
        </p:txBody>
      </p:sp>
      <p:sp>
        <p:nvSpPr>
          <p:cNvPr id="8" name="Espaço Reservado para Rodapé 7">
            <a:extLst>
              <a:ext uri="{FF2B5EF4-FFF2-40B4-BE49-F238E27FC236}">
                <a16:creationId xmlns:a16="http://schemas.microsoft.com/office/drawing/2014/main" id="{73E03CD6-3C12-41A2-A415-7A19409DECFB}"/>
              </a:ext>
            </a:extLst>
          </p:cNvPr>
          <p:cNvSpPr>
            <a:spLocks noGrp="1"/>
          </p:cNvSpPr>
          <p:nvPr>
            <p:ph type="ftr" sz="quarter" idx="11"/>
            <p:custDataLst>
              <p:tags r:id="rId7"/>
            </p:custDataLst>
          </p:nvPr>
        </p:nvSpPr>
        <p:spPr/>
        <p:txBody>
          <a:bodyPr/>
          <a:lstStyle/>
          <a:p>
            <a:endParaRPr lang="pt-BR" dirty="0"/>
          </a:p>
        </p:txBody>
      </p:sp>
      <p:sp>
        <p:nvSpPr>
          <p:cNvPr id="9" name="Espaço Reservado para Número de Slide 8">
            <a:extLst>
              <a:ext uri="{FF2B5EF4-FFF2-40B4-BE49-F238E27FC236}">
                <a16:creationId xmlns:a16="http://schemas.microsoft.com/office/drawing/2014/main" id="{118AE566-2925-4BD2-86DD-DB88CCC31745}"/>
              </a:ext>
            </a:extLst>
          </p:cNvPr>
          <p:cNvSpPr>
            <a:spLocks noGrp="1"/>
          </p:cNvSpPr>
          <p:nvPr>
            <p:ph type="sldNum" sz="quarter" idx="12"/>
            <p:custDataLst>
              <p:tags r:id="rId8"/>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659137011"/>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F391CEA-CF85-4AD3-8D86-8C5F687362FC}"/>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BAF2A81E-8BF6-4E86-AFB4-6A3C4D50130F}"/>
              </a:ext>
            </a:extLst>
          </p:cNvPr>
          <p:cNvSpPr>
            <a:spLocks noGrp="1"/>
          </p:cNvSpPr>
          <p:nvPr>
            <p:ph type="dt" sz="half" idx="10"/>
            <p:custDataLst>
              <p:tags r:id="rId2"/>
            </p:custDataLst>
          </p:nvPr>
        </p:nvSpPr>
        <p:spPr/>
        <p:txBody>
          <a:bodyPr/>
          <a:lstStyle/>
          <a:p>
            <a:fld id="{1EEF3305-C503-4829-A822-59E60DC5EA27}" type="datetimeFigureOut">
              <a:rPr lang="pt-BR" smtClean="0"/>
              <a:t>25/09/2023</a:t>
            </a:fld>
            <a:endParaRPr lang="pt-BR" dirty="0"/>
          </a:p>
        </p:txBody>
      </p:sp>
      <p:sp>
        <p:nvSpPr>
          <p:cNvPr id="4" name="Espaço Reservado para Rodapé 3">
            <a:extLst>
              <a:ext uri="{FF2B5EF4-FFF2-40B4-BE49-F238E27FC236}">
                <a16:creationId xmlns:a16="http://schemas.microsoft.com/office/drawing/2014/main" id="{750789BA-BE2D-4E24-A82A-1DFCEB856E77}"/>
              </a:ext>
            </a:extLst>
          </p:cNvPr>
          <p:cNvSpPr>
            <a:spLocks noGrp="1"/>
          </p:cNvSpPr>
          <p:nvPr>
            <p:ph type="ftr" sz="quarter" idx="11"/>
            <p:custDataLst>
              <p:tags r:id="rId3"/>
            </p:custDataLst>
          </p:nvPr>
        </p:nvSpPr>
        <p:spPr/>
        <p:txBody>
          <a:bodyPr/>
          <a:lstStyle/>
          <a:p>
            <a:endParaRPr lang="pt-BR" dirty="0"/>
          </a:p>
        </p:txBody>
      </p:sp>
      <p:sp>
        <p:nvSpPr>
          <p:cNvPr id="5" name="Espaço Reservado para Número de Slide 4">
            <a:extLst>
              <a:ext uri="{FF2B5EF4-FFF2-40B4-BE49-F238E27FC236}">
                <a16:creationId xmlns:a16="http://schemas.microsoft.com/office/drawing/2014/main" id="{A5DDDC67-FF2D-4CD2-85A2-650114774BCC}"/>
              </a:ext>
            </a:extLst>
          </p:cNvPr>
          <p:cNvSpPr>
            <a:spLocks noGrp="1"/>
          </p:cNvSpPr>
          <p:nvPr>
            <p:ph type="sldNum" sz="quarter" idx="12"/>
            <p:custDataLst>
              <p:tags r:id="rId4"/>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130391298"/>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39F1B8F0-009E-4839-865E-519F62521837}"/>
              </a:ext>
            </a:extLst>
          </p:cNvPr>
          <p:cNvSpPr>
            <a:spLocks noGrp="1"/>
          </p:cNvSpPr>
          <p:nvPr>
            <p:ph type="dt" sz="half" idx="10"/>
            <p:custDataLst>
              <p:tags r:id="rId1"/>
            </p:custDataLst>
          </p:nvPr>
        </p:nvSpPr>
        <p:spPr/>
        <p:txBody>
          <a:bodyPr/>
          <a:lstStyle/>
          <a:p>
            <a:fld id="{1EEF3305-C503-4829-A822-59E60DC5EA27}" type="datetimeFigureOut">
              <a:rPr lang="pt-BR" smtClean="0"/>
              <a:t>25/09/2023</a:t>
            </a:fld>
            <a:endParaRPr lang="pt-BR" dirty="0"/>
          </a:p>
        </p:txBody>
      </p:sp>
      <p:sp>
        <p:nvSpPr>
          <p:cNvPr id="3" name="Espaço Reservado para Rodapé 2">
            <a:extLst>
              <a:ext uri="{FF2B5EF4-FFF2-40B4-BE49-F238E27FC236}">
                <a16:creationId xmlns:a16="http://schemas.microsoft.com/office/drawing/2014/main" id="{D15617DD-609E-43CC-B1B9-5A0FF1108F71}"/>
              </a:ext>
            </a:extLst>
          </p:cNvPr>
          <p:cNvSpPr>
            <a:spLocks noGrp="1"/>
          </p:cNvSpPr>
          <p:nvPr>
            <p:ph type="ftr" sz="quarter" idx="11"/>
            <p:custDataLst>
              <p:tags r:id="rId2"/>
            </p:custDataLst>
          </p:nvPr>
        </p:nvSpPr>
        <p:spPr/>
        <p:txBody>
          <a:bodyPr/>
          <a:lstStyle/>
          <a:p>
            <a:endParaRPr lang="pt-BR" dirty="0"/>
          </a:p>
        </p:txBody>
      </p:sp>
      <p:sp>
        <p:nvSpPr>
          <p:cNvPr id="4" name="Espaço Reservado para Número de Slide 3">
            <a:extLst>
              <a:ext uri="{FF2B5EF4-FFF2-40B4-BE49-F238E27FC236}">
                <a16:creationId xmlns:a16="http://schemas.microsoft.com/office/drawing/2014/main" id="{C774E06F-BB9E-48AD-BA8B-AD7DE1EE7250}"/>
              </a:ext>
            </a:extLst>
          </p:cNvPr>
          <p:cNvSpPr>
            <a:spLocks noGrp="1"/>
          </p:cNvSpPr>
          <p:nvPr>
            <p:ph type="sldNum" sz="quarter" idx="12"/>
            <p:custDataLst>
              <p:tags r:id="rId3"/>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146719803"/>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60E1272-DFE1-4A81-AE74-DB21A61E10E6}"/>
              </a:ext>
            </a:extLst>
          </p:cNvPr>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p>
        </p:txBody>
      </p:sp>
      <p:sp>
        <p:nvSpPr>
          <p:cNvPr id="3" name="Espaço Reservado para Conteúdo 2">
            <a:extLst>
              <a:ext uri="{FF2B5EF4-FFF2-40B4-BE49-F238E27FC236}">
                <a16:creationId xmlns:a16="http://schemas.microsoft.com/office/drawing/2014/main" id="{C304603D-D66F-4D68-8B67-0D65DEC02CDD}"/>
              </a:ext>
            </a:extLst>
          </p:cNvPr>
          <p:cNvSpPr>
            <a:spLocks noGrp="1"/>
          </p:cNvSpPr>
          <p:nvPr>
            <p:ph idx="1"/>
            <p:custDataLst>
              <p:tags r:id="rId2"/>
            </p:custDataLst>
          </p:nvPr>
        </p:nvSpPr>
        <p:spPr>
          <a:xfrm>
            <a:off x="3825976" y="728912"/>
            <a:ext cx="4556016" cy="3597683"/>
          </a:xfrm>
        </p:spPr>
        <p:txBody>
          <a:bodyPr/>
          <a:lstStyle>
            <a:lvl1pPr>
              <a:defRPr sz="2362"/>
            </a:lvl1pPr>
            <a:lvl2pPr>
              <a:defRPr sz="2067"/>
            </a:lvl2pPr>
            <a:lvl3pPr>
              <a:defRPr sz="1772"/>
            </a:lvl3pPr>
            <a:lvl4pPr>
              <a:defRPr sz="1476"/>
            </a:lvl4pPr>
            <a:lvl5pPr>
              <a:defRPr sz="1476"/>
            </a:lvl5pPr>
            <a:lvl6pPr>
              <a:defRPr sz="1476"/>
            </a:lvl6pPr>
            <a:lvl7pPr>
              <a:defRPr sz="1476"/>
            </a:lvl7pPr>
            <a:lvl8pPr>
              <a:defRPr sz="1476"/>
            </a:lvl8pPr>
            <a:lvl9pPr>
              <a:defRPr sz="1476"/>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EB1737F2-70F4-4099-BD59-5464CACE17BF}"/>
              </a:ext>
            </a:extLst>
          </p:cNvPr>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CEDCB4DD-AA79-407D-8685-17DE048BE4B3}"/>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EC5B65AB-7BE9-4F87-B0D3-5B35089B3BFD}"/>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62E40F8C-CC48-4540-9B4B-9B09EF4EC8DA}"/>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692199995"/>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ABF6152-23AE-48F9-8D69-11E527C55AE6}"/>
              </a:ext>
            </a:extLst>
          </p:cNvPr>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p>
        </p:txBody>
      </p:sp>
      <p:sp>
        <p:nvSpPr>
          <p:cNvPr id="3" name="Espaço Reservado para Imagem 2">
            <a:extLst>
              <a:ext uri="{FF2B5EF4-FFF2-40B4-BE49-F238E27FC236}">
                <a16:creationId xmlns:a16="http://schemas.microsoft.com/office/drawing/2014/main" id="{0C58DF68-1760-4202-8ECF-3DD598982C86}"/>
              </a:ext>
            </a:extLst>
          </p:cNvPr>
          <p:cNvSpPr>
            <a:spLocks noGrp="1"/>
          </p:cNvSpPr>
          <p:nvPr>
            <p:ph type="pic" idx="1"/>
            <p:custDataLst>
              <p:tags r:id="rId2"/>
            </p:custDataLst>
          </p:nvPr>
        </p:nvSpPr>
        <p:spPr>
          <a:xfrm>
            <a:off x="3825976" y="728912"/>
            <a:ext cx="4556016" cy="3597683"/>
          </a:xfrm>
        </p:spPr>
        <p:txBody>
          <a:bodyPr/>
          <a:lstStyle>
            <a:lvl1pPr marL="0" indent="0">
              <a:buNone/>
              <a:defRPr sz="2362"/>
            </a:lvl1pPr>
            <a:lvl2pPr marL="337505" indent="0">
              <a:buNone/>
              <a:defRPr sz="2067"/>
            </a:lvl2pPr>
            <a:lvl3pPr marL="675010" indent="0">
              <a:buNone/>
              <a:defRPr sz="1772"/>
            </a:lvl3pPr>
            <a:lvl4pPr marL="1012515" indent="0">
              <a:buNone/>
              <a:defRPr sz="1476"/>
            </a:lvl4pPr>
            <a:lvl5pPr marL="1350020" indent="0">
              <a:buNone/>
              <a:defRPr sz="1476"/>
            </a:lvl5pPr>
            <a:lvl6pPr marL="1687525" indent="0">
              <a:buNone/>
              <a:defRPr sz="1476"/>
            </a:lvl6pPr>
            <a:lvl7pPr marL="2025030" indent="0">
              <a:buNone/>
              <a:defRPr sz="1476"/>
            </a:lvl7pPr>
            <a:lvl8pPr marL="2362535" indent="0">
              <a:buNone/>
              <a:defRPr sz="1476"/>
            </a:lvl8pPr>
            <a:lvl9pPr marL="2700040" indent="0">
              <a:buNone/>
              <a:defRPr sz="1476"/>
            </a:lvl9pPr>
          </a:lstStyle>
          <a:p>
            <a:endParaRPr lang="pt-BR" dirty="0"/>
          </a:p>
        </p:txBody>
      </p:sp>
      <p:sp>
        <p:nvSpPr>
          <p:cNvPr id="4" name="Espaço Reservado para Texto 3">
            <a:extLst>
              <a:ext uri="{FF2B5EF4-FFF2-40B4-BE49-F238E27FC236}">
                <a16:creationId xmlns:a16="http://schemas.microsoft.com/office/drawing/2014/main" id="{EC4D9220-04D8-4F24-B776-FCB3D6017460}"/>
              </a:ext>
            </a:extLst>
          </p:cNvPr>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8C33B52A-6B7D-4BDE-A5AB-5CF33882C712}"/>
              </a:ext>
            </a:extLst>
          </p:cNvPr>
          <p:cNvSpPr>
            <a:spLocks noGrp="1"/>
          </p:cNvSpPr>
          <p:nvPr>
            <p:ph type="dt" sz="half" idx="10"/>
            <p:custDataLst>
              <p:tags r:id="rId4"/>
            </p:custDataLst>
          </p:nvPr>
        </p:nvSpPr>
        <p:spPr/>
        <p:txBody>
          <a:bodyPr/>
          <a:lstStyle/>
          <a:p>
            <a:fld id="{1EEF3305-C503-4829-A822-59E60DC5EA27}" type="datetimeFigureOut">
              <a:rPr lang="pt-BR" smtClean="0"/>
              <a:t>25/09/2023</a:t>
            </a:fld>
            <a:endParaRPr lang="pt-BR" dirty="0"/>
          </a:p>
        </p:txBody>
      </p:sp>
      <p:sp>
        <p:nvSpPr>
          <p:cNvPr id="6" name="Espaço Reservado para Rodapé 5">
            <a:extLst>
              <a:ext uri="{FF2B5EF4-FFF2-40B4-BE49-F238E27FC236}">
                <a16:creationId xmlns:a16="http://schemas.microsoft.com/office/drawing/2014/main" id="{9804C66B-41DF-4058-A93D-7E76A595ED06}"/>
              </a:ext>
            </a:extLst>
          </p:cNvPr>
          <p:cNvSpPr>
            <a:spLocks noGrp="1"/>
          </p:cNvSpPr>
          <p:nvPr>
            <p:ph type="ftr" sz="quarter" idx="11"/>
            <p:custDataLst>
              <p:tags r:id="rId5"/>
            </p:custDataLst>
          </p:nvPr>
        </p:nvSpPr>
        <p:spPr/>
        <p:txBody>
          <a:bodyPr/>
          <a:lstStyle/>
          <a:p>
            <a:endParaRPr lang="pt-BR" dirty="0"/>
          </a:p>
        </p:txBody>
      </p:sp>
      <p:sp>
        <p:nvSpPr>
          <p:cNvPr id="7" name="Espaço Reservado para Número de Slide 6">
            <a:extLst>
              <a:ext uri="{FF2B5EF4-FFF2-40B4-BE49-F238E27FC236}">
                <a16:creationId xmlns:a16="http://schemas.microsoft.com/office/drawing/2014/main" id="{79D2C10E-7EAF-4A0B-8EC3-C1D3364C242F}"/>
              </a:ext>
            </a:extLst>
          </p:cNvPr>
          <p:cNvSpPr>
            <a:spLocks noGrp="1"/>
          </p:cNvSpPr>
          <p:nvPr>
            <p:ph type="sldNum" sz="quarter" idx="12"/>
            <p:custDataLst>
              <p:tags r:id="rId6"/>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1221599691"/>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t-BR"/>
              <a:t>Clique para editar o título Mestre</a:t>
            </a:r>
            <a:endParaRPr lang="en-US"/>
          </a:p>
        </p:txBody>
      </p:sp>
      <p:sp>
        <p:nvSpPr>
          <p:cNvPr id="3" name="Content Placeholder 2"/>
          <p:cNvSpPr>
            <a:spLocks noGrp="1"/>
          </p:cNvSpPr>
          <p:nvPr>
            <p:ph sz="half" idx="1"/>
            <p:custDataLst>
              <p:tags r:id="rId2"/>
            </p:custDataLst>
          </p:nvPr>
        </p:nvSpPr>
        <p:spPr>
          <a:xfrm>
            <a:off x="618718"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Content Placeholder 3"/>
          <p:cNvSpPr>
            <a:spLocks noGrp="1"/>
          </p:cNvSpPr>
          <p:nvPr>
            <p:ph sz="half" idx="2"/>
            <p:custDataLst>
              <p:tags r:id="rId3"/>
            </p:custDataLst>
          </p:nvPr>
        </p:nvSpPr>
        <p:spPr>
          <a:xfrm>
            <a:off x="4556016" y="1347666"/>
            <a:ext cx="3824804" cy="3212134"/>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Date Placeholder 4"/>
          <p:cNvSpPr>
            <a:spLocks noGrp="1"/>
          </p:cNvSpPr>
          <p:nvPr>
            <p:ph type="dt" sz="half" idx="10"/>
            <p:custDataLst>
              <p:tags r:id="rId4"/>
            </p:custDataLst>
          </p:nvPr>
        </p:nvSpPr>
        <p:spPr/>
        <p:txBody>
          <a:bodyPr/>
          <a:lstStyle/>
          <a:p>
            <a:fld id="{0DE1E16F-BFFF-48B6-B146-C7AA2B590390}" type="datetimeFigureOut">
              <a:rPr lang="pt-BR" smtClean="0"/>
              <a:t>25/09/2023</a:t>
            </a:fld>
            <a:endParaRPr lang="pt-BR" dirty="0"/>
          </a:p>
        </p:txBody>
      </p:sp>
      <p:sp>
        <p:nvSpPr>
          <p:cNvPr id="6" name="Footer Placeholder 5"/>
          <p:cNvSpPr>
            <a:spLocks noGrp="1"/>
          </p:cNvSpPr>
          <p:nvPr>
            <p:ph type="ftr" sz="quarter" idx="11"/>
            <p:custDataLst>
              <p:tags r:id="rId5"/>
            </p:custDataLst>
          </p:nvPr>
        </p:nvSpPr>
        <p:spPr/>
        <p:txBody>
          <a:bodyPr/>
          <a:lstStyle/>
          <a:p>
            <a:endParaRPr lang="pt-BR" dirty="0"/>
          </a:p>
        </p:txBody>
      </p:sp>
      <p:sp>
        <p:nvSpPr>
          <p:cNvPr id="7" name="Slide Number Placeholder 6"/>
          <p:cNvSpPr>
            <a:spLocks noGrp="1"/>
          </p:cNvSpPr>
          <p:nvPr>
            <p:ph type="sldNum" sz="quarter" idx="12"/>
            <p:custDataLst>
              <p:tags r:id="rId6"/>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952237410"/>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2D2DDA1-9917-481E-B522-F26629F4412D}"/>
              </a:ext>
            </a:extLst>
          </p:cNvPr>
          <p:cNvSpPr>
            <a:spLocks noGrp="1"/>
          </p:cNvSpPr>
          <p:nvPr>
            <p:ph type="title"/>
            <p:custDataLst>
              <p:tags r:id="rId1"/>
            </p:custDataLst>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BB2BE9BC-C0F1-421C-9A3D-9B717ADE719B}"/>
              </a:ext>
            </a:extLst>
          </p:cNvPr>
          <p:cNvSpPr>
            <a:spLocks noGrp="1"/>
          </p:cNvSpPr>
          <p:nvPr>
            <p:ph type="body" orient="vert" idx="1"/>
            <p:custDataLst>
              <p:tags r:id="rId2"/>
            </p:custDataLst>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843B0341-1164-47A4-AD95-562F08DA2BD8}"/>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A7A42210-BD12-40C0-BEBB-61A994F8BB5E}"/>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D83C0A24-06A7-45DD-A999-0FC1C0712AA1}"/>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795330139"/>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0283F672-4386-4AA1-8F4C-8792D8DC8FF0}"/>
              </a:ext>
            </a:extLst>
          </p:cNvPr>
          <p:cNvSpPr>
            <a:spLocks noGrp="1"/>
          </p:cNvSpPr>
          <p:nvPr>
            <p:ph type="title" orient="vert"/>
            <p:custDataLst>
              <p:tags r:id="rId1"/>
            </p:custDataLst>
          </p:nvPr>
        </p:nvSpPr>
        <p:spPr>
          <a:xfrm>
            <a:off x="6440295" y="269533"/>
            <a:ext cx="1940525" cy="4290267"/>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0A5A34B7-4B7B-4027-AE30-BC33F13F4A35}"/>
              </a:ext>
            </a:extLst>
          </p:cNvPr>
          <p:cNvSpPr>
            <a:spLocks noGrp="1"/>
          </p:cNvSpPr>
          <p:nvPr>
            <p:ph type="body" orient="vert" idx="1"/>
            <p:custDataLst>
              <p:tags r:id="rId2"/>
            </p:custDataLst>
          </p:nvPr>
        </p:nvSpPr>
        <p:spPr>
          <a:xfrm>
            <a:off x="618718" y="269533"/>
            <a:ext cx="5709082" cy="4290267"/>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A424FBC-B9D8-44A1-983E-A0C7F7167FD9}"/>
              </a:ext>
            </a:extLst>
          </p:cNvPr>
          <p:cNvSpPr>
            <a:spLocks noGrp="1"/>
          </p:cNvSpPr>
          <p:nvPr>
            <p:ph type="dt" sz="half" idx="10"/>
            <p:custDataLst>
              <p:tags r:id="rId3"/>
            </p:custDataLst>
          </p:nvPr>
        </p:nvSpPr>
        <p:spPr/>
        <p:txBody>
          <a:body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8E10561F-79EA-4201-A0CE-859641322E99}"/>
              </a:ext>
            </a:extLst>
          </p:cNvPr>
          <p:cNvSpPr>
            <a:spLocks noGrp="1"/>
          </p:cNvSpPr>
          <p:nvPr>
            <p:ph type="ftr" sz="quarter" idx="11"/>
            <p:custDataLst>
              <p:tags r:id="rId4"/>
            </p:custDataLst>
          </p:nvPr>
        </p:nvSpPr>
        <p:spPr/>
        <p:txBody>
          <a:bodyPr/>
          <a:lstStyle/>
          <a:p>
            <a:endParaRPr lang="pt-BR" dirty="0"/>
          </a:p>
        </p:txBody>
      </p:sp>
      <p:sp>
        <p:nvSpPr>
          <p:cNvPr id="6" name="Espaço Reservado para Número de Slide 5">
            <a:extLst>
              <a:ext uri="{FF2B5EF4-FFF2-40B4-BE49-F238E27FC236}">
                <a16:creationId xmlns:a16="http://schemas.microsoft.com/office/drawing/2014/main" id="{F89C4D17-477F-475F-B80E-49F3E6FD9749}"/>
              </a:ext>
            </a:extLst>
          </p:cNvPr>
          <p:cNvSpPr>
            <a:spLocks noGrp="1"/>
          </p:cNvSpPr>
          <p:nvPr>
            <p:ph type="sldNum" sz="quarter" idx="12"/>
            <p:custDataLst>
              <p:tags r:id="rId5"/>
            </p:custDataLst>
          </p:nvPr>
        </p:nvSpPr>
        <p:spPr/>
        <p:txBody>
          <a:bodyPr/>
          <a:lstStyle/>
          <a:p>
            <a:fld id="{24F7CEB5-DF05-4A54-908D-1B0053156649}" type="slidenum">
              <a:rPr lang="pt-BR" smtClean="0"/>
              <a:t>‹nº›</a:t>
            </a:fld>
            <a:endParaRPr lang="pt-BR" dirty="0"/>
          </a:p>
        </p:txBody>
      </p:sp>
    </p:spTree>
    <p:extLst>
      <p:ext uri="{BB962C8B-B14F-4D97-AF65-F5344CB8AC3E}">
        <p14:creationId xmlns:p14="http://schemas.microsoft.com/office/powerpoint/2010/main" val="913086196"/>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Diapositiva en blanco ">
    <p:spTree>
      <p:nvGrpSpPr>
        <p:cNvPr id="1" name=""/>
        <p:cNvGrpSpPr/>
        <p:nvPr/>
      </p:nvGrpSpPr>
      <p:grpSpPr>
        <a:xfrm>
          <a:off x="0" y="0"/>
          <a:ext cx="0" cy="0"/>
          <a:chOff x="0" y="0"/>
          <a:chExt cx="0" cy="0"/>
        </a:xfrm>
      </p:grpSpPr>
      <p:pic>
        <p:nvPicPr>
          <p:cNvPr id="6" name="Imagen 5">
            <a:extLst>
              <a:ext uri="{FF2B5EF4-FFF2-40B4-BE49-F238E27FC236}">
                <a16:creationId xmlns:a16="http://schemas.microsoft.com/office/drawing/2014/main" id="{361959FE-BFB5-4B47-8E5E-0D3778FBED4E}"/>
              </a:ext>
            </a:extLst>
          </p:cNvPr>
          <p:cNvPicPr>
            <a:picLocks noChangeAspect="1"/>
          </p:cNvPicPr>
          <p:nvPr userDrawn="1">
            <p:custDataLst>
              <p:tags r:id="rId1"/>
            </p:custDataLst>
          </p:nvPr>
        </p:nvPicPr>
        <p:blipFill>
          <a:blip r:embed="rId6">
            <a:alphaModFix amt="66000"/>
            <a:extLst>
              <a:ext uri="{28A0092B-C50C-407E-A947-70E740481C1C}">
                <a14:useLocalDpi xmlns:a14="http://schemas.microsoft.com/office/drawing/2010/main"/>
              </a:ext>
            </a:extLst>
          </a:blip>
          <a:stretch>
            <a:fillRect/>
          </a:stretch>
        </p:blipFill>
        <p:spPr>
          <a:xfrm>
            <a:off x="-16885" y="0"/>
            <a:ext cx="9067410" cy="5062538"/>
          </a:xfrm>
          <a:prstGeom prst="rect">
            <a:avLst/>
          </a:prstGeom>
        </p:spPr>
      </p:pic>
      <p:pic>
        <p:nvPicPr>
          <p:cNvPr id="7" name="Imagen 6">
            <a:extLst>
              <a:ext uri="{FF2B5EF4-FFF2-40B4-BE49-F238E27FC236}">
                <a16:creationId xmlns:a16="http://schemas.microsoft.com/office/drawing/2014/main" id="{53D26233-530C-6D49-B50B-0FC5B69DA761}"/>
              </a:ext>
            </a:extLst>
          </p:cNvPr>
          <p:cNvPicPr>
            <a:picLocks noChangeAspect="1"/>
          </p:cNvPicPr>
          <p:nvPr userDrawn="1">
            <p:custDataLst>
              <p:tags r:id="rId2"/>
            </p:custDataLst>
          </p:nvPr>
        </p:nvPicPr>
        <p:blipFill>
          <a:blip r:embed="rId7">
            <a:extLst>
              <a:ext uri="{28A0092B-C50C-407E-A947-70E740481C1C}">
                <a14:useLocalDpi xmlns:a14="http://schemas.microsoft.com/office/drawing/2010/main"/>
              </a:ext>
            </a:extLst>
          </a:blip>
          <a:stretch>
            <a:fillRect/>
          </a:stretch>
        </p:blipFill>
        <p:spPr>
          <a:xfrm>
            <a:off x="0" y="3692878"/>
            <a:ext cx="9050525" cy="1369660"/>
          </a:xfrm>
          <a:prstGeom prst="rect">
            <a:avLst/>
          </a:prstGeom>
        </p:spPr>
      </p:pic>
      <p:pic>
        <p:nvPicPr>
          <p:cNvPr id="8" name="Imagen 7">
            <a:extLst>
              <a:ext uri="{FF2B5EF4-FFF2-40B4-BE49-F238E27FC236}">
                <a16:creationId xmlns:a16="http://schemas.microsoft.com/office/drawing/2014/main" id="{1F4232E5-1906-EA4A-A2A5-90B7F570792D}"/>
              </a:ext>
            </a:extLst>
          </p:cNvPr>
          <p:cNvPicPr>
            <a:picLocks noChangeAspect="1"/>
          </p:cNvPicPr>
          <p:nvPr userDrawn="1">
            <p:custDataLst>
              <p:tags r:id="rId3"/>
            </p:custDataLst>
          </p:nvPr>
        </p:nvPicPr>
        <p:blipFill>
          <a:blip r:embed="rId8">
            <a:extLst>
              <a:ext uri="{28A0092B-C50C-407E-A947-70E740481C1C}">
                <a14:useLocalDpi xmlns:a14="http://schemas.microsoft.com/office/drawing/2010/main"/>
              </a:ext>
            </a:extLst>
          </a:blip>
          <a:stretch>
            <a:fillRect/>
          </a:stretch>
        </p:blipFill>
        <p:spPr>
          <a:xfrm flipV="1">
            <a:off x="556164" y="357229"/>
            <a:ext cx="7073501" cy="48267"/>
          </a:xfrm>
          <a:prstGeom prst="rect">
            <a:avLst/>
          </a:prstGeom>
        </p:spPr>
      </p:pic>
      <p:pic>
        <p:nvPicPr>
          <p:cNvPr id="2" name="Imagem 1" descr="Uma imagem contendo Interface gráfica do usuário&#10;&#10;Descrição gerada automaticamente">
            <a:extLst>
              <a:ext uri="{FF2B5EF4-FFF2-40B4-BE49-F238E27FC236}">
                <a16:creationId xmlns:a16="http://schemas.microsoft.com/office/drawing/2014/main" id="{F983B9BC-295C-2E99-AE11-F49268E284EF}"/>
              </a:ext>
            </a:extLst>
          </p:cNvPr>
          <p:cNvPicPr>
            <a:picLocks noChangeAspect="1"/>
          </p:cNvPicPr>
          <p:nvPr userDrawn="1">
            <p:custDataLst>
              <p:tags r:id="rId4"/>
            </p:custDataLst>
          </p:nvPr>
        </p:nvPicPr>
        <p:blipFill>
          <a:blip r:embed="rId9">
            <a:extLst>
              <a:ext uri="{28A0092B-C50C-407E-A947-70E740481C1C}">
                <a14:useLocalDpi xmlns:a14="http://schemas.microsoft.com/office/drawing/2010/main"/>
              </a:ext>
            </a:extLst>
          </a:blip>
          <a:stretch>
            <a:fillRect/>
          </a:stretch>
        </p:blipFill>
        <p:spPr>
          <a:xfrm>
            <a:off x="7832737" y="119070"/>
            <a:ext cx="1075235" cy="595403"/>
          </a:xfrm>
          <a:prstGeom prst="rect">
            <a:avLst/>
          </a:prstGeom>
        </p:spPr>
      </p:pic>
    </p:spTree>
    <p:extLst>
      <p:ext uri="{BB962C8B-B14F-4D97-AF65-F5344CB8AC3E}">
        <p14:creationId xmlns:p14="http://schemas.microsoft.com/office/powerpoint/2010/main" val="365989429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19890" y="269534"/>
            <a:ext cx="7762102" cy="978523"/>
          </a:xfrm>
        </p:spPr>
        <p:txBody>
          <a:bodyPr/>
          <a:lstStyle/>
          <a:p>
            <a:r>
              <a:rPr lang="pt-BR"/>
              <a:t>Clique para editar o título Mestre</a:t>
            </a:r>
            <a:endParaRPr lang="en-US"/>
          </a:p>
        </p:txBody>
      </p:sp>
      <p:sp>
        <p:nvSpPr>
          <p:cNvPr id="3" name="Text Placeholder 2"/>
          <p:cNvSpPr>
            <a:spLocks noGrp="1"/>
          </p:cNvSpPr>
          <p:nvPr>
            <p:ph type="body" idx="1"/>
            <p:custDataLst>
              <p:tags r:id="rId2"/>
            </p:custDataLst>
          </p:nvPr>
        </p:nvSpPr>
        <p:spPr>
          <a:xfrm>
            <a:off x="619891" y="1241025"/>
            <a:ext cx="380722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4" name="Content Placeholder 3"/>
          <p:cNvSpPr>
            <a:spLocks noGrp="1"/>
          </p:cNvSpPr>
          <p:nvPr>
            <p:ph sz="half" idx="2"/>
            <p:custDataLst>
              <p:tags r:id="rId3"/>
            </p:custDataLst>
          </p:nvPr>
        </p:nvSpPr>
        <p:spPr>
          <a:xfrm>
            <a:off x="619891" y="1849232"/>
            <a:ext cx="380722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5" name="Text Placeholder 4"/>
          <p:cNvSpPr>
            <a:spLocks noGrp="1"/>
          </p:cNvSpPr>
          <p:nvPr>
            <p:ph type="body" sz="quarter" idx="3"/>
            <p:custDataLst>
              <p:tags r:id="rId4"/>
            </p:custDataLst>
          </p:nvPr>
        </p:nvSpPr>
        <p:spPr>
          <a:xfrm>
            <a:off x="4556016" y="1241025"/>
            <a:ext cx="3825976" cy="608207"/>
          </a:xfrm>
        </p:spPr>
        <p:txBody>
          <a:bodyPr anchor="b"/>
          <a:lstStyle>
            <a:lvl1pPr marL="0" indent="0">
              <a:buNone/>
              <a:defRPr sz="1772" b="1"/>
            </a:lvl1pPr>
            <a:lvl2pPr marL="337505" indent="0">
              <a:buNone/>
              <a:defRPr sz="1476" b="1"/>
            </a:lvl2pPr>
            <a:lvl3pPr marL="675010" indent="0">
              <a:buNone/>
              <a:defRPr sz="1329" b="1"/>
            </a:lvl3pPr>
            <a:lvl4pPr marL="1012515" indent="0">
              <a:buNone/>
              <a:defRPr sz="1181" b="1"/>
            </a:lvl4pPr>
            <a:lvl5pPr marL="1350020" indent="0">
              <a:buNone/>
              <a:defRPr sz="1181" b="1"/>
            </a:lvl5pPr>
            <a:lvl6pPr marL="1687525" indent="0">
              <a:buNone/>
              <a:defRPr sz="1181" b="1"/>
            </a:lvl6pPr>
            <a:lvl7pPr marL="2025030" indent="0">
              <a:buNone/>
              <a:defRPr sz="1181" b="1"/>
            </a:lvl7pPr>
            <a:lvl8pPr marL="2362535" indent="0">
              <a:buNone/>
              <a:defRPr sz="1181" b="1"/>
            </a:lvl8pPr>
            <a:lvl9pPr marL="2700040" indent="0">
              <a:buNone/>
              <a:defRPr sz="1181" b="1"/>
            </a:lvl9pPr>
          </a:lstStyle>
          <a:p>
            <a:pPr lvl="0"/>
            <a:r>
              <a:rPr lang="pt-BR"/>
              <a:t>Clique para editar os estilos de texto Mestres</a:t>
            </a:r>
          </a:p>
        </p:txBody>
      </p:sp>
      <p:sp>
        <p:nvSpPr>
          <p:cNvPr id="6" name="Content Placeholder 5"/>
          <p:cNvSpPr>
            <a:spLocks noGrp="1"/>
          </p:cNvSpPr>
          <p:nvPr>
            <p:ph sz="quarter" idx="4"/>
            <p:custDataLst>
              <p:tags r:id="rId5"/>
            </p:custDataLst>
          </p:nvPr>
        </p:nvSpPr>
        <p:spPr>
          <a:xfrm>
            <a:off x="4556016" y="1849232"/>
            <a:ext cx="3825976" cy="2719943"/>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7" name="Date Placeholder 6"/>
          <p:cNvSpPr>
            <a:spLocks noGrp="1"/>
          </p:cNvSpPr>
          <p:nvPr>
            <p:ph type="dt" sz="half" idx="10"/>
            <p:custDataLst>
              <p:tags r:id="rId6"/>
            </p:custDataLst>
          </p:nvPr>
        </p:nvSpPr>
        <p:spPr/>
        <p:txBody>
          <a:bodyPr/>
          <a:lstStyle/>
          <a:p>
            <a:fld id="{0DE1E16F-BFFF-48B6-B146-C7AA2B590390}" type="datetimeFigureOut">
              <a:rPr lang="pt-BR" smtClean="0"/>
              <a:t>25/09/2023</a:t>
            </a:fld>
            <a:endParaRPr lang="pt-BR" dirty="0"/>
          </a:p>
        </p:txBody>
      </p:sp>
      <p:sp>
        <p:nvSpPr>
          <p:cNvPr id="8" name="Footer Placeholder 7"/>
          <p:cNvSpPr>
            <a:spLocks noGrp="1"/>
          </p:cNvSpPr>
          <p:nvPr>
            <p:ph type="ftr" sz="quarter" idx="11"/>
            <p:custDataLst>
              <p:tags r:id="rId7"/>
            </p:custDataLst>
          </p:nvPr>
        </p:nvSpPr>
        <p:spPr/>
        <p:txBody>
          <a:bodyPr/>
          <a:lstStyle/>
          <a:p>
            <a:endParaRPr lang="pt-BR" dirty="0"/>
          </a:p>
        </p:txBody>
      </p:sp>
      <p:sp>
        <p:nvSpPr>
          <p:cNvPr id="9" name="Slide Number Placeholder 8"/>
          <p:cNvSpPr>
            <a:spLocks noGrp="1"/>
          </p:cNvSpPr>
          <p:nvPr>
            <p:ph type="sldNum" sz="quarter" idx="12"/>
            <p:custDataLst>
              <p:tags r:id="rId8"/>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49374285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pt-BR"/>
              <a:t>Clique para editar o título Mestre</a:t>
            </a:r>
            <a:endParaRPr lang="en-US"/>
          </a:p>
        </p:txBody>
      </p:sp>
      <p:sp>
        <p:nvSpPr>
          <p:cNvPr id="3" name="Date Placeholder 2"/>
          <p:cNvSpPr>
            <a:spLocks noGrp="1"/>
          </p:cNvSpPr>
          <p:nvPr>
            <p:ph type="dt" sz="half" idx="10"/>
            <p:custDataLst>
              <p:tags r:id="rId2"/>
            </p:custDataLst>
          </p:nvPr>
        </p:nvSpPr>
        <p:spPr/>
        <p:txBody>
          <a:bodyPr/>
          <a:lstStyle/>
          <a:p>
            <a:fld id="{0DE1E16F-BFFF-48B6-B146-C7AA2B590390}" type="datetimeFigureOut">
              <a:rPr lang="pt-BR" smtClean="0"/>
              <a:t>25/09/2023</a:t>
            </a:fld>
            <a:endParaRPr lang="pt-BR" dirty="0"/>
          </a:p>
        </p:txBody>
      </p:sp>
      <p:sp>
        <p:nvSpPr>
          <p:cNvPr id="4" name="Footer Placeholder 3"/>
          <p:cNvSpPr>
            <a:spLocks noGrp="1"/>
          </p:cNvSpPr>
          <p:nvPr>
            <p:ph type="ftr" sz="quarter" idx="11"/>
            <p:custDataLst>
              <p:tags r:id="rId3"/>
            </p:custDataLst>
          </p:nvPr>
        </p:nvSpPr>
        <p:spPr/>
        <p:txBody>
          <a:bodyPr/>
          <a:lstStyle/>
          <a:p>
            <a:endParaRPr lang="pt-BR" dirty="0"/>
          </a:p>
        </p:txBody>
      </p:sp>
      <p:sp>
        <p:nvSpPr>
          <p:cNvPr id="5" name="Slide Number Placeholder 4"/>
          <p:cNvSpPr>
            <a:spLocks noGrp="1"/>
          </p:cNvSpPr>
          <p:nvPr>
            <p:ph type="sldNum" sz="quarter" idx="12"/>
            <p:custDataLst>
              <p:tags r:id="rId4"/>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64206089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Date Placeholder 1"/>
          <p:cNvSpPr>
            <a:spLocks noGrp="1"/>
          </p:cNvSpPr>
          <p:nvPr>
            <p:ph type="dt" sz="half" idx="10"/>
            <p:custDataLst>
              <p:tags r:id="rId1"/>
            </p:custDataLst>
          </p:nvPr>
        </p:nvSpPr>
        <p:spPr/>
        <p:txBody>
          <a:bodyPr/>
          <a:lstStyle/>
          <a:p>
            <a:fld id="{0DE1E16F-BFFF-48B6-B146-C7AA2B590390}" type="datetimeFigureOut">
              <a:rPr lang="pt-BR" smtClean="0"/>
              <a:t>25/09/2023</a:t>
            </a:fld>
            <a:endParaRPr lang="pt-BR" dirty="0"/>
          </a:p>
        </p:txBody>
      </p:sp>
      <p:sp>
        <p:nvSpPr>
          <p:cNvPr id="3" name="Footer Placeholder 2"/>
          <p:cNvSpPr>
            <a:spLocks noGrp="1"/>
          </p:cNvSpPr>
          <p:nvPr>
            <p:ph type="ftr" sz="quarter" idx="11"/>
            <p:custDataLst>
              <p:tags r:id="rId2"/>
            </p:custDataLst>
          </p:nvPr>
        </p:nvSpPr>
        <p:spPr/>
        <p:txBody>
          <a:bodyPr/>
          <a:lstStyle/>
          <a:p>
            <a:endParaRPr lang="pt-BR" dirty="0"/>
          </a:p>
        </p:txBody>
      </p:sp>
      <p:sp>
        <p:nvSpPr>
          <p:cNvPr id="4" name="Slide Number Placeholder 3"/>
          <p:cNvSpPr>
            <a:spLocks noGrp="1"/>
          </p:cNvSpPr>
          <p:nvPr>
            <p:ph type="sldNum" sz="quarter" idx="12"/>
            <p:custDataLst>
              <p:tags r:id="rId3"/>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101671488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endParaRPr lang="en-US"/>
          </a:p>
        </p:txBody>
      </p:sp>
      <p:sp>
        <p:nvSpPr>
          <p:cNvPr id="3" name="Content Placeholder 2"/>
          <p:cNvSpPr>
            <a:spLocks noGrp="1"/>
          </p:cNvSpPr>
          <p:nvPr>
            <p:ph idx="1"/>
            <p:custDataLst>
              <p:tags r:id="rId2"/>
            </p:custDataLst>
          </p:nvPr>
        </p:nvSpPr>
        <p:spPr>
          <a:xfrm>
            <a:off x="3825976" y="728912"/>
            <a:ext cx="4556016" cy="3597683"/>
          </a:xfrm>
        </p:spPr>
        <p:txBody>
          <a:bodyPr/>
          <a:lstStyle>
            <a:lvl1pPr>
              <a:defRPr sz="2362"/>
            </a:lvl1pPr>
            <a:lvl2pPr>
              <a:defRPr sz="2067"/>
            </a:lvl2pPr>
            <a:lvl3pPr>
              <a:defRPr sz="1772"/>
            </a:lvl3pPr>
            <a:lvl4pPr>
              <a:defRPr sz="1476"/>
            </a:lvl4pPr>
            <a:lvl5pPr>
              <a:defRPr sz="1476"/>
            </a:lvl5pPr>
            <a:lvl6pPr>
              <a:defRPr sz="1476"/>
            </a:lvl6pPr>
            <a:lvl7pPr>
              <a:defRPr sz="1476"/>
            </a:lvl7pPr>
            <a:lvl8pPr>
              <a:defRPr sz="1476"/>
            </a:lvl8pPr>
            <a:lvl9pPr>
              <a:defRPr sz="1476"/>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Text Placeholder 3"/>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Date Placeholder 4"/>
          <p:cNvSpPr>
            <a:spLocks noGrp="1"/>
          </p:cNvSpPr>
          <p:nvPr>
            <p:ph type="dt" sz="half" idx="10"/>
            <p:custDataLst>
              <p:tags r:id="rId4"/>
            </p:custDataLst>
          </p:nvPr>
        </p:nvSpPr>
        <p:spPr/>
        <p:txBody>
          <a:bodyPr/>
          <a:lstStyle/>
          <a:p>
            <a:fld id="{0DE1E16F-BFFF-48B6-B146-C7AA2B590390}" type="datetimeFigureOut">
              <a:rPr lang="pt-BR" smtClean="0"/>
              <a:t>25/09/2023</a:t>
            </a:fld>
            <a:endParaRPr lang="pt-BR" dirty="0"/>
          </a:p>
        </p:txBody>
      </p:sp>
      <p:sp>
        <p:nvSpPr>
          <p:cNvPr id="6" name="Footer Placeholder 5"/>
          <p:cNvSpPr>
            <a:spLocks noGrp="1"/>
          </p:cNvSpPr>
          <p:nvPr>
            <p:ph type="ftr" sz="quarter" idx="11"/>
            <p:custDataLst>
              <p:tags r:id="rId5"/>
            </p:custDataLst>
          </p:nvPr>
        </p:nvSpPr>
        <p:spPr/>
        <p:txBody>
          <a:bodyPr/>
          <a:lstStyle/>
          <a:p>
            <a:endParaRPr lang="pt-BR" dirty="0"/>
          </a:p>
        </p:txBody>
      </p:sp>
      <p:sp>
        <p:nvSpPr>
          <p:cNvPr id="7" name="Slide Number Placeholder 6"/>
          <p:cNvSpPr>
            <a:spLocks noGrp="1"/>
          </p:cNvSpPr>
          <p:nvPr>
            <p:ph type="sldNum" sz="quarter" idx="12"/>
            <p:custDataLst>
              <p:tags r:id="rId6"/>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2356124038"/>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619891" y="337502"/>
            <a:ext cx="2902585" cy="1181259"/>
          </a:xfrm>
        </p:spPr>
        <p:txBody>
          <a:bodyPr anchor="b"/>
          <a:lstStyle>
            <a:lvl1pPr>
              <a:defRPr sz="2362"/>
            </a:lvl1pPr>
          </a:lstStyle>
          <a:p>
            <a:r>
              <a:rPr lang="pt-BR"/>
              <a:t>Clique para editar o título Mestre</a:t>
            </a:r>
            <a:endParaRPr lang="en-US"/>
          </a:p>
        </p:txBody>
      </p:sp>
      <p:sp>
        <p:nvSpPr>
          <p:cNvPr id="3" name="Picture Placeholder 2"/>
          <p:cNvSpPr>
            <a:spLocks noGrp="1" noChangeAspect="1"/>
          </p:cNvSpPr>
          <p:nvPr>
            <p:ph type="pic" idx="1"/>
            <p:custDataLst>
              <p:tags r:id="rId2"/>
            </p:custDataLst>
          </p:nvPr>
        </p:nvSpPr>
        <p:spPr>
          <a:xfrm>
            <a:off x="3825976" y="728912"/>
            <a:ext cx="4556016" cy="3597683"/>
          </a:xfrm>
        </p:spPr>
        <p:txBody>
          <a:bodyPr anchor="t"/>
          <a:lstStyle>
            <a:lvl1pPr marL="0" indent="0">
              <a:buNone/>
              <a:defRPr sz="2362"/>
            </a:lvl1pPr>
            <a:lvl2pPr marL="337505" indent="0">
              <a:buNone/>
              <a:defRPr sz="2067"/>
            </a:lvl2pPr>
            <a:lvl3pPr marL="675010" indent="0">
              <a:buNone/>
              <a:defRPr sz="1772"/>
            </a:lvl3pPr>
            <a:lvl4pPr marL="1012515" indent="0">
              <a:buNone/>
              <a:defRPr sz="1476"/>
            </a:lvl4pPr>
            <a:lvl5pPr marL="1350020" indent="0">
              <a:buNone/>
              <a:defRPr sz="1476"/>
            </a:lvl5pPr>
            <a:lvl6pPr marL="1687525" indent="0">
              <a:buNone/>
              <a:defRPr sz="1476"/>
            </a:lvl6pPr>
            <a:lvl7pPr marL="2025030" indent="0">
              <a:buNone/>
              <a:defRPr sz="1476"/>
            </a:lvl7pPr>
            <a:lvl8pPr marL="2362535" indent="0">
              <a:buNone/>
              <a:defRPr sz="1476"/>
            </a:lvl8pPr>
            <a:lvl9pPr marL="2700040" indent="0">
              <a:buNone/>
              <a:defRPr sz="1476"/>
            </a:lvl9pPr>
          </a:lstStyle>
          <a:p>
            <a:r>
              <a:rPr lang="pt-BR" dirty="0"/>
              <a:t>Clique no ícone para adicionar uma imagem</a:t>
            </a:r>
            <a:endParaRPr lang="en-US" dirty="0"/>
          </a:p>
        </p:txBody>
      </p:sp>
      <p:sp>
        <p:nvSpPr>
          <p:cNvPr id="4" name="Text Placeholder 3"/>
          <p:cNvSpPr>
            <a:spLocks noGrp="1"/>
          </p:cNvSpPr>
          <p:nvPr>
            <p:ph type="body" sz="half" idx="2"/>
            <p:custDataLst>
              <p:tags r:id="rId3"/>
            </p:custDataLst>
          </p:nvPr>
        </p:nvSpPr>
        <p:spPr>
          <a:xfrm>
            <a:off x="619891" y="1518762"/>
            <a:ext cx="2902585" cy="2813693"/>
          </a:xfrm>
        </p:spPr>
        <p:txBody>
          <a:bodyPr/>
          <a:lstStyle>
            <a:lvl1pPr marL="0" indent="0">
              <a:buNone/>
              <a:defRPr sz="1181"/>
            </a:lvl1pPr>
            <a:lvl2pPr marL="337505" indent="0">
              <a:buNone/>
              <a:defRPr sz="1033"/>
            </a:lvl2pPr>
            <a:lvl3pPr marL="675010" indent="0">
              <a:buNone/>
              <a:defRPr sz="886"/>
            </a:lvl3pPr>
            <a:lvl4pPr marL="1012515" indent="0">
              <a:buNone/>
              <a:defRPr sz="738"/>
            </a:lvl4pPr>
            <a:lvl5pPr marL="1350020" indent="0">
              <a:buNone/>
              <a:defRPr sz="738"/>
            </a:lvl5pPr>
            <a:lvl6pPr marL="1687525" indent="0">
              <a:buNone/>
              <a:defRPr sz="738"/>
            </a:lvl6pPr>
            <a:lvl7pPr marL="2025030" indent="0">
              <a:buNone/>
              <a:defRPr sz="738"/>
            </a:lvl7pPr>
            <a:lvl8pPr marL="2362535" indent="0">
              <a:buNone/>
              <a:defRPr sz="738"/>
            </a:lvl8pPr>
            <a:lvl9pPr marL="2700040" indent="0">
              <a:buNone/>
              <a:defRPr sz="738"/>
            </a:lvl9pPr>
          </a:lstStyle>
          <a:p>
            <a:pPr lvl="0"/>
            <a:r>
              <a:rPr lang="pt-BR"/>
              <a:t>Clique para editar os estilos de texto Mestres</a:t>
            </a:r>
          </a:p>
        </p:txBody>
      </p:sp>
      <p:sp>
        <p:nvSpPr>
          <p:cNvPr id="5" name="Date Placeholder 4"/>
          <p:cNvSpPr>
            <a:spLocks noGrp="1"/>
          </p:cNvSpPr>
          <p:nvPr>
            <p:ph type="dt" sz="half" idx="10"/>
            <p:custDataLst>
              <p:tags r:id="rId4"/>
            </p:custDataLst>
          </p:nvPr>
        </p:nvSpPr>
        <p:spPr/>
        <p:txBody>
          <a:bodyPr/>
          <a:lstStyle/>
          <a:p>
            <a:fld id="{0DE1E16F-BFFF-48B6-B146-C7AA2B590390}" type="datetimeFigureOut">
              <a:rPr lang="pt-BR" smtClean="0"/>
              <a:t>25/09/2023</a:t>
            </a:fld>
            <a:endParaRPr lang="pt-BR" dirty="0"/>
          </a:p>
        </p:txBody>
      </p:sp>
      <p:sp>
        <p:nvSpPr>
          <p:cNvPr id="6" name="Footer Placeholder 5"/>
          <p:cNvSpPr>
            <a:spLocks noGrp="1"/>
          </p:cNvSpPr>
          <p:nvPr>
            <p:ph type="ftr" sz="quarter" idx="11"/>
            <p:custDataLst>
              <p:tags r:id="rId5"/>
            </p:custDataLst>
          </p:nvPr>
        </p:nvSpPr>
        <p:spPr/>
        <p:txBody>
          <a:bodyPr/>
          <a:lstStyle/>
          <a:p>
            <a:endParaRPr lang="pt-BR" dirty="0"/>
          </a:p>
        </p:txBody>
      </p:sp>
      <p:sp>
        <p:nvSpPr>
          <p:cNvPr id="7" name="Slide Number Placeholder 6"/>
          <p:cNvSpPr>
            <a:spLocks noGrp="1"/>
          </p:cNvSpPr>
          <p:nvPr>
            <p:ph type="sldNum" sz="quarter" idx="12"/>
            <p:custDataLst>
              <p:tags r:id="rId6"/>
            </p:custDataLst>
          </p:nvPr>
        </p:nvSpPr>
        <p:spPr/>
        <p:txBody>
          <a:bodyPr/>
          <a:lstStyle/>
          <a:p>
            <a:fld id="{00D5DBA0-B28C-4170-A10E-6E66C0F8CCA9}" type="slidenum">
              <a:rPr lang="pt-BR" smtClean="0"/>
              <a:t>‹nº›</a:t>
            </a:fld>
            <a:endParaRPr lang="pt-BR" dirty="0"/>
          </a:p>
        </p:txBody>
      </p:sp>
    </p:spTree>
    <p:extLst>
      <p:ext uri="{BB962C8B-B14F-4D97-AF65-F5344CB8AC3E}">
        <p14:creationId xmlns:p14="http://schemas.microsoft.com/office/powerpoint/2010/main" val="2077240320"/>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tags" Target="../tags/tag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89.xml"/><Relationship Id="rId3" Type="http://schemas.openxmlformats.org/officeDocument/2006/relationships/slideLayout" Target="../slideLayouts/slideLayout19.xml"/><Relationship Id="rId21" Type="http://schemas.openxmlformats.org/officeDocument/2006/relationships/tags" Target="../tags/tag92.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88.xml"/><Relationship Id="rId2" Type="http://schemas.openxmlformats.org/officeDocument/2006/relationships/slideLayout" Target="../slideLayouts/slideLayout18.xml"/><Relationship Id="rId16" Type="http://schemas.openxmlformats.org/officeDocument/2006/relationships/tags" Target="../tags/tag87.xml"/><Relationship Id="rId20" Type="http://schemas.openxmlformats.org/officeDocument/2006/relationships/tags" Target="../tags/tag91.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23"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tags" Target="../tags/tag90.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18" Type="http://schemas.openxmlformats.org/officeDocument/2006/relationships/tags" Target="../tags/tag166.xml"/><Relationship Id="rId3" Type="http://schemas.openxmlformats.org/officeDocument/2006/relationships/slideLayout" Target="../slideLayouts/slideLayout33.xml"/><Relationship Id="rId21" Type="http://schemas.openxmlformats.org/officeDocument/2006/relationships/image" Target="../media/image1.emf"/><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ags" Target="../tags/tag165.xml"/><Relationship Id="rId2" Type="http://schemas.openxmlformats.org/officeDocument/2006/relationships/slideLayout" Target="../slideLayouts/slideLayout32.xml"/><Relationship Id="rId16" Type="http://schemas.openxmlformats.org/officeDocument/2006/relationships/tags" Target="../tags/tag164.xml"/><Relationship Id="rId20" Type="http://schemas.openxmlformats.org/officeDocument/2006/relationships/oleObject" Target="../embeddings/oleObject3.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163.xml"/><Relationship Id="rId10" Type="http://schemas.openxmlformats.org/officeDocument/2006/relationships/slideLayout" Target="../slideLayouts/slideLayout40.xml"/><Relationship Id="rId19" Type="http://schemas.openxmlformats.org/officeDocument/2006/relationships/tags" Target="../tags/tag167.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tags" Target="../tags/tag1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18"/>
            </p:custDataLst>
          </p:nvPr>
        </p:nvSpPr>
        <p:spPr>
          <a:xfrm>
            <a:off x="618718" y="269534"/>
            <a:ext cx="7762102" cy="978523"/>
          </a:xfrm>
          <a:prstGeom prst="rect">
            <a:avLst/>
          </a:prstGeom>
        </p:spPr>
        <p:txBody>
          <a:bodyPr vert="horz" lIns="91440" tIns="45720" rIns="91440" bIns="45720" rtlCol="0" anchor="ctr">
            <a:normAutofit/>
          </a:bodyPr>
          <a:lstStyle/>
          <a:p>
            <a:r>
              <a:rPr lang="pt-BR"/>
              <a:t>Clique para editar o título Mestre</a:t>
            </a:r>
            <a:endParaRPr lang="en-US"/>
          </a:p>
        </p:txBody>
      </p:sp>
      <p:sp>
        <p:nvSpPr>
          <p:cNvPr id="3" name="Text Placeholder 2"/>
          <p:cNvSpPr>
            <a:spLocks noGrp="1"/>
          </p:cNvSpPr>
          <p:nvPr>
            <p:ph type="body" idx="1"/>
            <p:custDataLst>
              <p:tags r:id="rId19"/>
            </p:custDataLst>
          </p:nvPr>
        </p:nvSpPr>
        <p:spPr>
          <a:xfrm>
            <a:off x="618718" y="1347666"/>
            <a:ext cx="7762102" cy="3212134"/>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endParaRPr lang="en-US"/>
          </a:p>
        </p:txBody>
      </p:sp>
      <p:sp>
        <p:nvSpPr>
          <p:cNvPr id="4" name="Date Placeholder 3"/>
          <p:cNvSpPr>
            <a:spLocks noGrp="1"/>
          </p:cNvSpPr>
          <p:nvPr>
            <p:ph type="dt" sz="half" idx="2"/>
            <p:custDataLst>
              <p:tags r:id="rId20"/>
            </p:custDataLst>
          </p:nvPr>
        </p:nvSpPr>
        <p:spPr>
          <a:xfrm>
            <a:off x="618718" y="4692223"/>
            <a:ext cx="2024896" cy="269533"/>
          </a:xfrm>
          <a:prstGeom prst="rect">
            <a:avLst/>
          </a:prstGeom>
        </p:spPr>
        <p:txBody>
          <a:bodyPr vert="horz" lIns="91440" tIns="45720" rIns="91440" bIns="45720" rtlCol="0" anchor="ctr"/>
          <a:lstStyle>
            <a:lvl1pPr algn="l">
              <a:defRPr sz="886">
                <a:solidFill>
                  <a:schemeClr val="tx1">
                    <a:tint val="75000"/>
                  </a:schemeClr>
                </a:solidFill>
              </a:defRPr>
            </a:lvl1pPr>
          </a:lstStyle>
          <a:p>
            <a:fld id="{0DE1E16F-BFFF-48B6-B146-C7AA2B590390}" type="datetimeFigureOut">
              <a:rPr lang="pt-BR" smtClean="0"/>
              <a:t>25/09/2023</a:t>
            </a:fld>
            <a:endParaRPr lang="pt-BR" dirty="0"/>
          </a:p>
        </p:txBody>
      </p:sp>
      <p:sp>
        <p:nvSpPr>
          <p:cNvPr id="5" name="Footer Placeholder 4"/>
          <p:cNvSpPr>
            <a:spLocks noGrp="1"/>
          </p:cNvSpPr>
          <p:nvPr>
            <p:ph type="ftr" sz="quarter" idx="3"/>
            <p:custDataLst>
              <p:tags r:id="rId21"/>
            </p:custDataLst>
          </p:nvPr>
        </p:nvSpPr>
        <p:spPr>
          <a:xfrm>
            <a:off x="2981097" y="4692223"/>
            <a:ext cx="3037344" cy="269533"/>
          </a:xfrm>
          <a:prstGeom prst="rect">
            <a:avLst/>
          </a:prstGeom>
        </p:spPr>
        <p:txBody>
          <a:bodyPr vert="horz" lIns="91440" tIns="45720" rIns="91440" bIns="45720" rtlCol="0" anchor="ctr"/>
          <a:lstStyle>
            <a:lvl1pPr algn="ctr">
              <a:defRPr sz="886">
                <a:solidFill>
                  <a:schemeClr val="tx1">
                    <a:tint val="75000"/>
                  </a:schemeClr>
                </a:solidFill>
              </a:defRPr>
            </a:lvl1pPr>
          </a:lstStyle>
          <a:p>
            <a:endParaRPr lang="pt-BR" dirty="0"/>
          </a:p>
        </p:txBody>
      </p:sp>
      <p:sp>
        <p:nvSpPr>
          <p:cNvPr id="6" name="Slide Number Placeholder 5"/>
          <p:cNvSpPr>
            <a:spLocks noGrp="1"/>
          </p:cNvSpPr>
          <p:nvPr>
            <p:ph type="sldNum" sz="quarter" idx="4"/>
            <p:custDataLst>
              <p:tags r:id="rId22"/>
            </p:custDataLst>
          </p:nvPr>
        </p:nvSpPr>
        <p:spPr>
          <a:xfrm>
            <a:off x="6355924" y="4692223"/>
            <a:ext cx="2024896" cy="269533"/>
          </a:xfrm>
          <a:prstGeom prst="rect">
            <a:avLst/>
          </a:prstGeom>
        </p:spPr>
        <p:txBody>
          <a:bodyPr vert="horz" lIns="91440" tIns="45720" rIns="91440" bIns="45720" rtlCol="0" anchor="ctr"/>
          <a:lstStyle>
            <a:lvl1pPr algn="r">
              <a:defRPr sz="886">
                <a:solidFill>
                  <a:schemeClr val="tx1">
                    <a:tint val="75000"/>
                  </a:schemeClr>
                </a:solidFill>
              </a:defRPr>
            </a:lvl1pPr>
          </a:lstStyle>
          <a:p>
            <a:fld id="{00D5DBA0-B28C-4170-A10E-6E66C0F8CCA9}" type="slidenum">
              <a:rPr lang="pt-BR" smtClean="0"/>
              <a:t>‹nº›</a:t>
            </a:fld>
            <a:endParaRPr lang="pt-BR" dirty="0"/>
          </a:p>
        </p:txBody>
      </p:sp>
      <p:graphicFrame>
        <p:nvGraphicFramePr>
          <p:cNvPr id="7" name="Objeto 6" hidden="1">
            <a:extLst>
              <a:ext uri="{FF2B5EF4-FFF2-40B4-BE49-F238E27FC236}">
                <a16:creationId xmlns:a16="http://schemas.microsoft.com/office/drawing/2014/main" id="{6250E67F-5B17-491E-DB47-4B1A028476CC}"/>
              </a:ext>
            </a:extLst>
          </p:cNvPr>
          <p:cNvGraphicFramePr>
            <a:graphicFrameLocks noChangeAspect="1"/>
          </p:cNvGraphicFramePr>
          <p:nvPr userDrawn="1">
            <p:custDataLst>
              <p:tags r:id="rId23"/>
            </p:custDataLst>
            <p:extLst>
              <p:ext uri="{D42A27DB-BD31-4B8C-83A1-F6EECF244321}">
                <p14:modId xmlns:p14="http://schemas.microsoft.com/office/powerpoint/2010/main" val="2601751339"/>
              </p:ext>
            </p:extLst>
          </p:nvPr>
        </p:nvGraphicFramePr>
        <p:xfrm>
          <a:off x="1172" y="1172"/>
          <a:ext cx="1172" cy="1172"/>
        </p:xfrm>
        <a:graphic>
          <a:graphicData uri="http://schemas.openxmlformats.org/presentationml/2006/ole">
            <mc:AlternateContent xmlns:mc="http://schemas.openxmlformats.org/markup-compatibility/2006">
              <mc:Choice xmlns:v="urn:schemas-microsoft-com:vml" Requires="v">
                <p:oleObj name="Slide do think-cell" r:id="rId24" imgW="0" imgH="0" progId="TCLayout.ActiveDocument.1">
                  <p:embed/>
                </p:oleObj>
              </mc:Choice>
              <mc:Fallback>
                <p:oleObj name="Slide do think-cell" r:id="rId24" imgW="0" imgH="0" progId="TCLayout.ActiveDocument.1">
                  <p:embed/>
                  <p:pic>
                    <p:nvPicPr>
                      <p:cNvPr id="0" name="OLE substitute image"/>
                      <p:cNvPicPr/>
                      <p:nvPr/>
                    </p:nvPicPr>
                    <p:blipFill>
                      <a:blip r:embed="rId25"/>
                      <a:stretch>
                        <a:fillRect/>
                      </a:stretch>
                    </p:blipFill>
                    <p:spPr>
                      <a:xfrm>
                        <a:off x="1172" y="1172"/>
                        <a:ext cx="1172" cy="1172"/>
                      </a:xfrm>
                      <a:prstGeom prst="rect">
                        <a:avLst/>
                      </a:prstGeom>
                    </p:spPr>
                  </p:pic>
                </p:oleObj>
              </mc:Fallback>
            </mc:AlternateContent>
          </a:graphicData>
        </a:graphic>
      </p:graphicFrame>
    </p:spTree>
    <p:extLst>
      <p:ext uri="{BB962C8B-B14F-4D97-AF65-F5344CB8AC3E}">
        <p14:creationId xmlns:p14="http://schemas.microsoft.com/office/powerpoint/2010/main" val="36574397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4" r:id="rId12"/>
    <p:sldLayoutId id="2147483696" r:id="rId13"/>
    <p:sldLayoutId id="2147483702" r:id="rId14"/>
    <p:sldLayoutId id="2147483703" r:id="rId15"/>
    <p:sldLayoutId id="2147483705" r:id="rId16"/>
  </p:sldLayoutIdLst>
  <p:transition/>
  <p:txStyles>
    <p:titleStyle>
      <a:lvl1pPr algn="l" defTabSz="675010" rtl="0" eaLnBrk="1" latinLnBrk="0" hangingPunct="1">
        <a:lnSpc>
          <a:spcPct val="90000"/>
        </a:lnSpc>
        <a:spcBef>
          <a:spcPct val="0"/>
        </a:spcBef>
        <a:buNone/>
        <a:defRPr sz="3248" kern="1200">
          <a:solidFill>
            <a:schemeClr val="tx1"/>
          </a:solidFill>
          <a:latin typeface="+mj-lt"/>
          <a:ea typeface="+mj-ea"/>
          <a:cs typeface="+mj-cs"/>
        </a:defRPr>
      </a:lvl1pPr>
    </p:titleStyle>
    <p:bodyStyle>
      <a:lvl1pPr marL="168753" indent="-168753" algn="l" defTabSz="675010" rtl="0" eaLnBrk="1" latinLnBrk="0" hangingPunct="1">
        <a:lnSpc>
          <a:spcPct val="90000"/>
        </a:lnSpc>
        <a:spcBef>
          <a:spcPts val="738"/>
        </a:spcBef>
        <a:buFont typeface="Arial" panose="020B0604020202020204" pitchFamily="34" charset="0"/>
        <a:buChar char="•"/>
        <a:defRPr sz="2067" kern="1200">
          <a:solidFill>
            <a:schemeClr val="tx1"/>
          </a:solidFill>
          <a:latin typeface="+mn-lt"/>
          <a:ea typeface="+mn-ea"/>
          <a:cs typeface="+mn-cs"/>
        </a:defRPr>
      </a:lvl1pPr>
      <a:lvl2pPr marL="506258" indent="-168753" algn="l" defTabSz="675010" rtl="0" eaLnBrk="1" latinLnBrk="0" hangingPunct="1">
        <a:lnSpc>
          <a:spcPct val="90000"/>
        </a:lnSpc>
        <a:spcBef>
          <a:spcPts val="369"/>
        </a:spcBef>
        <a:buFont typeface="Arial" panose="020B0604020202020204" pitchFamily="34" charset="0"/>
        <a:buChar char="•"/>
        <a:defRPr sz="1772" kern="1200">
          <a:solidFill>
            <a:schemeClr val="tx1"/>
          </a:solidFill>
          <a:latin typeface="+mn-lt"/>
          <a:ea typeface="+mn-ea"/>
          <a:cs typeface="+mn-cs"/>
        </a:defRPr>
      </a:lvl2pPr>
      <a:lvl3pPr marL="843763" indent="-168753" algn="l" defTabSz="675010" rtl="0" eaLnBrk="1" latinLnBrk="0" hangingPunct="1">
        <a:lnSpc>
          <a:spcPct val="90000"/>
        </a:lnSpc>
        <a:spcBef>
          <a:spcPts val="369"/>
        </a:spcBef>
        <a:buFont typeface="Arial" panose="020B0604020202020204" pitchFamily="34" charset="0"/>
        <a:buChar char="•"/>
        <a:defRPr sz="1476" kern="1200">
          <a:solidFill>
            <a:schemeClr val="tx1"/>
          </a:solidFill>
          <a:latin typeface="+mn-lt"/>
          <a:ea typeface="+mn-ea"/>
          <a:cs typeface="+mn-cs"/>
        </a:defRPr>
      </a:lvl3pPr>
      <a:lvl4pPr marL="118126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4pPr>
      <a:lvl5pPr marL="151877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5pPr>
      <a:lvl6pPr marL="185627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6pPr>
      <a:lvl7pPr marL="219378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7pPr>
      <a:lvl8pPr marL="253128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8pPr>
      <a:lvl9pPr marL="286879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9pPr>
    </p:bodyStyle>
    <p:otherStyle>
      <a:defPPr>
        <a:defRPr lang="en-US"/>
      </a:defPPr>
      <a:lvl1pPr marL="0" algn="l" defTabSz="675010" rtl="0" eaLnBrk="1" latinLnBrk="0" hangingPunct="1">
        <a:defRPr sz="1329" kern="1200">
          <a:solidFill>
            <a:schemeClr val="tx1"/>
          </a:solidFill>
          <a:latin typeface="+mn-lt"/>
          <a:ea typeface="+mn-ea"/>
          <a:cs typeface="+mn-cs"/>
        </a:defRPr>
      </a:lvl1pPr>
      <a:lvl2pPr marL="337505" algn="l" defTabSz="675010" rtl="0" eaLnBrk="1" latinLnBrk="0" hangingPunct="1">
        <a:defRPr sz="1329" kern="1200">
          <a:solidFill>
            <a:schemeClr val="tx1"/>
          </a:solidFill>
          <a:latin typeface="+mn-lt"/>
          <a:ea typeface="+mn-ea"/>
          <a:cs typeface="+mn-cs"/>
        </a:defRPr>
      </a:lvl2pPr>
      <a:lvl3pPr marL="675010" algn="l" defTabSz="675010" rtl="0" eaLnBrk="1" latinLnBrk="0" hangingPunct="1">
        <a:defRPr sz="1329" kern="1200">
          <a:solidFill>
            <a:schemeClr val="tx1"/>
          </a:solidFill>
          <a:latin typeface="+mn-lt"/>
          <a:ea typeface="+mn-ea"/>
          <a:cs typeface="+mn-cs"/>
        </a:defRPr>
      </a:lvl3pPr>
      <a:lvl4pPr marL="1012515" algn="l" defTabSz="675010" rtl="0" eaLnBrk="1" latinLnBrk="0" hangingPunct="1">
        <a:defRPr sz="1329" kern="1200">
          <a:solidFill>
            <a:schemeClr val="tx1"/>
          </a:solidFill>
          <a:latin typeface="+mn-lt"/>
          <a:ea typeface="+mn-ea"/>
          <a:cs typeface="+mn-cs"/>
        </a:defRPr>
      </a:lvl4pPr>
      <a:lvl5pPr marL="1350020" algn="l" defTabSz="675010" rtl="0" eaLnBrk="1" latinLnBrk="0" hangingPunct="1">
        <a:defRPr sz="1329" kern="1200">
          <a:solidFill>
            <a:schemeClr val="tx1"/>
          </a:solidFill>
          <a:latin typeface="+mn-lt"/>
          <a:ea typeface="+mn-ea"/>
          <a:cs typeface="+mn-cs"/>
        </a:defRPr>
      </a:lvl5pPr>
      <a:lvl6pPr marL="1687525" algn="l" defTabSz="675010" rtl="0" eaLnBrk="1" latinLnBrk="0" hangingPunct="1">
        <a:defRPr sz="1329" kern="1200">
          <a:solidFill>
            <a:schemeClr val="tx1"/>
          </a:solidFill>
          <a:latin typeface="+mn-lt"/>
          <a:ea typeface="+mn-ea"/>
          <a:cs typeface="+mn-cs"/>
        </a:defRPr>
      </a:lvl6pPr>
      <a:lvl7pPr marL="2025030" algn="l" defTabSz="675010" rtl="0" eaLnBrk="1" latinLnBrk="0" hangingPunct="1">
        <a:defRPr sz="1329" kern="1200">
          <a:solidFill>
            <a:schemeClr val="tx1"/>
          </a:solidFill>
          <a:latin typeface="+mn-lt"/>
          <a:ea typeface="+mn-ea"/>
          <a:cs typeface="+mn-cs"/>
        </a:defRPr>
      </a:lvl7pPr>
      <a:lvl8pPr marL="2362535" algn="l" defTabSz="675010" rtl="0" eaLnBrk="1" latinLnBrk="0" hangingPunct="1">
        <a:defRPr sz="1329" kern="1200">
          <a:solidFill>
            <a:schemeClr val="tx1"/>
          </a:solidFill>
          <a:latin typeface="+mn-lt"/>
          <a:ea typeface="+mn-ea"/>
          <a:cs typeface="+mn-cs"/>
        </a:defRPr>
      </a:lvl8pPr>
      <a:lvl9pPr marL="2700040" algn="l" defTabSz="675010" rtl="0" eaLnBrk="1" latinLnBrk="0" hangingPunct="1">
        <a:defRPr sz="1329"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A6498AE6-B255-50D4-A987-A33E6CA8A64F}"/>
              </a:ext>
            </a:extLst>
          </p:cNvPr>
          <p:cNvGraphicFramePr>
            <a:graphicFrameLocks noChangeAspect="1"/>
          </p:cNvGraphicFramePr>
          <p:nvPr userDrawn="1">
            <p:custDataLst>
              <p:tags r:id="rId16"/>
            </p:custDataLst>
            <p:extLst>
              <p:ext uri="{D42A27DB-BD31-4B8C-83A1-F6EECF244321}">
                <p14:modId xmlns:p14="http://schemas.microsoft.com/office/powerpoint/2010/main" val="4181779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2" imgW="0" imgH="0" progId="TCLayout.ActiveDocument.1">
                  <p:embed/>
                </p:oleObj>
              </mc:Choice>
              <mc:Fallback>
                <p:oleObj name="Slide do think-cell" r:id="rId22" imgW="0" imgH="0" progId="TCLayout.ActiveDocument.1">
                  <p:embed/>
                  <p:pic>
                    <p:nvPicPr>
                      <p:cNvPr id="0" name="OLE substitute imag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Espaço Reservado para Título 1">
            <a:extLst>
              <a:ext uri="{FF2B5EF4-FFF2-40B4-BE49-F238E27FC236}">
                <a16:creationId xmlns:a16="http://schemas.microsoft.com/office/drawing/2014/main" id="{270B39D0-869C-4CE8-97EF-49EDAF216443}"/>
              </a:ext>
            </a:extLst>
          </p:cNvPr>
          <p:cNvSpPr>
            <a:spLocks noGrp="1"/>
          </p:cNvSpPr>
          <p:nvPr>
            <p:ph type="title"/>
            <p:custDataLst>
              <p:tags r:id="rId17"/>
            </p:custDataLst>
          </p:nvPr>
        </p:nvSpPr>
        <p:spPr>
          <a:xfrm>
            <a:off x="618718" y="269534"/>
            <a:ext cx="7762102" cy="97852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8B420546-3EF0-4A5C-AB0E-310F48D925DB}"/>
              </a:ext>
            </a:extLst>
          </p:cNvPr>
          <p:cNvSpPr>
            <a:spLocks noGrp="1"/>
          </p:cNvSpPr>
          <p:nvPr>
            <p:ph type="body" idx="1"/>
            <p:custDataLst>
              <p:tags r:id="rId18"/>
            </p:custDataLst>
          </p:nvPr>
        </p:nvSpPr>
        <p:spPr>
          <a:xfrm>
            <a:off x="618718" y="1347666"/>
            <a:ext cx="7762102" cy="3212134"/>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2300794-F77D-49A1-BFB0-4221195712E1}"/>
              </a:ext>
            </a:extLst>
          </p:cNvPr>
          <p:cNvSpPr>
            <a:spLocks noGrp="1"/>
          </p:cNvSpPr>
          <p:nvPr>
            <p:ph type="dt" sz="half" idx="2"/>
            <p:custDataLst>
              <p:tags r:id="rId19"/>
            </p:custDataLst>
          </p:nvPr>
        </p:nvSpPr>
        <p:spPr>
          <a:xfrm>
            <a:off x="618718" y="4692223"/>
            <a:ext cx="2024896" cy="269533"/>
          </a:xfrm>
          <a:prstGeom prst="rect">
            <a:avLst/>
          </a:prstGeom>
        </p:spPr>
        <p:txBody>
          <a:bodyPr vert="horz" lIns="91440" tIns="45720" rIns="91440" bIns="45720" rtlCol="0" anchor="ctr"/>
          <a:lstStyle>
            <a:lvl1pPr algn="l">
              <a:defRPr sz="886">
                <a:solidFill>
                  <a:schemeClr val="tx1">
                    <a:tint val="75000"/>
                  </a:schemeClr>
                </a:solidFill>
              </a:defRPr>
            </a:lvl1p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EBDA29F0-74C2-4AEC-9608-EA81B9FA39D1}"/>
              </a:ext>
            </a:extLst>
          </p:cNvPr>
          <p:cNvSpPr>
            <a:spLocks noGrp="1"/>
          </p:cNvSpPr>
          <p:nvPr>
            <p:ph type="ftr" sz="quarter" idx="3"/>
            <p:custDataLst>
              <p:tags r:id="rId20"/>
            </p:custDataLst>
          </p:nvPr>
        </p:nvSpPr>
        <p:spPr>
          <a:xfrm>
            <a:off x="2981097" y="4692223"/>
            <a:ext cx="3037344" cy="269533"/>
          </a:xfrm>
          <a:prstGeom prst="rect">
            <a:avLst/>
          </a:prstGeom>
        </p:spPr>
        <p:txBody>
          <a:bodyPr vert="horz" lIns="91440" tIns="45720" rIns="91440" bIns="45720" rtlCol="0" anchor="ctr"/>
          <a:lstStyle>
            <a:lvl1pPr algn="ctr">
              <a:defRPr sz="886">
                <a:solidFill>
                  <a:schemeClr val="tx1">
                    <a:tint val="75000"/>
                  </a:schemeClr>
                </a:solidFill>
              </a:defRPr>
            </a:lvl1pPr>
          </a:lstStyle>
          <a:p>
            <a:endParaRPr lang="pt-BR" dirty="0"/>
          </a:p>
        </p:txBody>
      </p:sp>
      <p:sp>
        <p:nvSpPr>
          <p:cNvPr id="6" name="Espaço Reservado para Número de Slide 5">
            <a:extLst>
              <a:ext uri="{FF2B5EF4-FFF2-40B4-BE49-F238E27FC236}">
                <a16:creationId xmlns:a16="http://schemas.microsoft.com/office/drawing/2014/main" id="{A3EDC662-7D65-4366-9FC9-28B422F28D1D}"/>
              </a:ext>
            </a:extLst>
          </p:cNvPr>
          <p:cNvSpPr>
            <a:spLocks noGrp="1"/>
          </p:cNvSpPr>
          <p:nvPr>
            <p:ph type="sldNum" sz="quarter" idx="4"/>
            <p:custDataLst>
              <p:tags r:id="rId21"/>
            </p:custDataLst>
          </p:nvPr>
        </p:nvSpPr>
        <p:spPr>
          <a:xfrm>
            <a:off x="6355924" y="4692223"/>
            <a:ext cx="2024896" cy="269533"/>
          </a:xfrm>
          <a:prstGeom prst="rect">
            <a:avLst/>
          </a:prstGeom>
        </p:spPr>
        <p:txBody>
          <a:bodyPr vert="horz" lIns="91440" tIns="45720" rIns="91440" bIns="45720" rtlCol="0" anchor="ctr"/>
          <a:lstStyle>
            <a:lvl1pPr algn="r">
              <a:defRPr sz="886">
                <a:solidFill>
                  <a:schemeClr val="tx1">
                    <a:tint val="75000"/>
                  </a:schemeClr>
                </a:solidFill>
              </a:defRPr>
            </a:lvl1pPr>
          </a:lstStyle>
          <a:p>
            <a:fld id="{24F7CEB5-DF05-4A54-908D-1B0053156649}" type="slidenum">
              <a:rPr lang="pt-BR" smtClean="0"/>
              <a:t>‹nº›</a:t>
            </a:fld>
            <a:endParaRPr lang="pt-BR" dirty="0"/>
          </a:p>
        </p:txBody>
      </p:sp>
    </p:spTree>
    <p:extLst>
      <p:ext uri="{BB962C8B-B14F-4D97-AF65-F5344CB8AC3E}">
        <p14:creationId xmlns:p14="http://schemas.microsoft.com/office/powerpoint/2010/main" val="3484294025"/>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31" r:id="rId12"/>
    <p:sldLayoutId id="2147483732" r:id="rId13"/>
    <p:sldLayoutId id="2147483733" r:id="rId14"/>
  </p:sldLayoutIdLst>
  <p:transition/>
  <p:txStyles>
    <p:titleStyle>
      <a:lvl1pPr algn="l" defTabSz="675010" rtl="0" eaLnBrk="1" latinLnBrk="0" hangingPunct="1">
        <a:lnSpc>
          <a:spcPct val="90000"/>
        </a:lnSpc>
        <a:spcBef>
          <a:spcPct val="0"/>
        </a:spcBef>
        <a:buNone/>
        <a:defRPr sz="3248" kern="1200">
          <a:solidFill>
            <a:schemeClr val="tx1"/>
          </a:solidFill>
          <a:latin typeface="+mj-lt"/>
          <a:ea typeface="+mj-ea"/>
          <a:cs typeface="+mj-cs"/>
        </a:defRPr>
      </a:lvl1pPr>
    </p:titleStyle>
    <p:bodyStyle>
      <a:lvl1pPr marL="168753" indent="-168753" algn="l" defTabSz="675010" rtl="0" eaLnBrk="1" latinLnBrk="0" hangingPunct="1">
        <a:lnSpc>
          <a:spcPct val="90000"/>
        </a:lnSpc>
        <a:spcBef>
          <a:spcPts val="738"/>
        </a:spcBef>
        <a:buFont typeface="Arial" panose="020B0604020202020204" pitchFamily="34" charset="0"/>
        <a:buChar char="•"/>
        <a:defRPr sz="2067" kern="1200">
          <a:solidFill>
            <a:schemeClr val="tx1"/>
          </a:solidFill>
          <a:latin typeface="+mn-lt"/>
          <a:ea typeface="+mn-ea"/>
          <a:cs typeface="+mn-cs"/>
        </a:defRPr>
      </a:lvl1pPr>
      <a:lvl2pPr marL="506258" indent="-168753" algn="l" defTabSz="675010" rtl="0" eaLnBrk="1" latinLnBrk="0" hangingPunct="1">
        <a:lnSpc>
          <a:spcPct val="90000"/>
        </a:lnSpc>
        <a:spcBef>
          <a:spcPts val="369"/>
        </a:spcBef>
        <a:buFont typeface="Arial" panose="020B0604020202020204" pitchFamily="34" charset="0"/>
        <a:buChar char="•"/>
        <a:defRPr sz="1772" kern="1200">
          <a:solidFill>
            <a:schemeClr val="tx1"/>
          </a:solidFill>
          <a:latin typeface="+mn-lt"/>
          <a:ea typeface="+mn-ea"/>
          <a:cs typeface="+mn-cs"/>
        </a:defRPr>
      </a:lvl2pPr>
      <a:lvl3pPr marL="843763" indent="-168753" algn="l" defTabSz="675010" rtl="0" eaLnBrk="1" latinLnBrk="0" hangingPunct="1">
        <a:lnSpc>
          <a:spcPct val="90000"/>
        </a:lnSpc>
        <a:spcBef>
          <a:spcPts val="369"/>
        </a:spcBef>
        <a:buFont typeface="Arial" panose="020B0604020202020204" pitchFamily="34" charset="0"/>
        <a:buChar char="•"/>
        <a:defRPr sz="1476" kern="1200">
          <a:solidFill>
            <a:schemeClr val="tx1"/>
          </a:solidFill>
          <a:latin typeface="+mn-lt"/>
          <a:ea typeface="+mn-ea"/>
          <a:cs typeface="+mn-cs"/>
        </a:defRPr>
      </a:lvl3pPr>
      <a:lvl4pPr marL="118126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4pPr>
      <a:lvl5pPr marL="151877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5pPr>
      <a:lvl6pPr marL="185627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6pPr>
      <a:lvl7pPr marL="219378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7pPr>
      <a:lvl8pPr marL="253128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8pPr>
      <a:lvl9pPr marL="286879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9pPr>
    </p:bodyStyle>
    <p:otherStyle>
      <a:defPPr>
        <a:defRPr lang="pt-BR"/>
      </a:defPPr>
      <a:lvl1pPr marL="0" algn="l" defTabSz="675010" rtl="0" eaLnBrk="1" latinLnBrk="0" hangingPunct="1">
        <a:defRPr sz="1329" kern="1200">
          <a:solidFill>
            <a:schemeClr val="tx1"/>
          </a:solidFill>
          <a:latin typeface="+mn-lt"/>
          <a:ea typeface="+mn-ea"/>
          <a:cs typeface="+mn-cs"/>
        </a:defRPr>
      </a:lvl1pPr>
      <a:lvl2pPr marL="337505" algn="l" defTabSz="675010" rtl="0" eaLnBrk="1" latinLnBrk="0" hangingPunct="1">
        <a:defRPr sz="1329" kern="1200">
          <a:solidFill>
            <a:schemeClr val="tx1"/>
          </a:solidFill>
          <a:latin typeface="+mn-lt"/>
          <a:ea typeface="+mn-ea"/>
          <a:cs typeface="+mn-cs"/>
        </a:defRPr>
      </a:lvl2pPr>
      <a:lvl3pPr marL="675010" algn="l" defTabSz="675010" rtl="0" eaLnBrk="1" latinLnBrk="0" hangingPunct="1">
        <a:defRPr sz="1329" kern="1200">
          <a:solidFill>
            <a:schemeClr val="tx1"/>
          </a:solidFill>
          <a:latin typeface="+mn-lt"/>
          <a:ea typeface="+mn-ea"/>
          <a:cs typeface="+mn-cs"/>
        </a:defRPr>
      </a:lvl3pPr>
      <a:lvl4pPr marL="1012515" algn="l" defTabSz="675010" rtl="0" eaLnBrk="1" latinLnBrk="0" hangingPunct="1">
        <a:defRPr sz="1329" kern="1200">
          <a:solidFill>
            <a:schemeClr val="tx1"/>
          </a:solidFill>
          <a:latin typeface="+mn-lt"/>
          <a:ea typeface="+mn-ea"/>
          <a:cs typeface="+mn-cs"/>
        </a:defRPr>
      </a:lvl4pPr>
      <a:lvl5pPr marL="1350020" algn="l" defTabSz="675010" rtl="0" eaLnBrk="1" latinLnBrk="0" hangingPunct="1">
        <a:defRPr sz="1329" kern="1200">
          <a:solidFill>
            <a:schemeClr val="tx1"/>
          </a:solidFill>
          <a:latin typeface="+mn-lt"/>
          <a:ea typeface="+mn-ea"/>
          <a:cs typeface="+mn-cs"/>
        </a:defRPr>
      </a:lvl5pPr>
      <a:lvl6pPr marL="1687525" algn="l" defTabSz="675010" rtl="0" eaLnBrk="1" latinLnBrk="0" hangingPunct="1">
        <a:defRPr sz="1329" kern="1200">
          <a:solidFill>
            <a:schemeClr val="tx1"/>
          </a:solidFill>
          <a:latin typeface="+mn-lt"/>
          <a:ea typeface="+mn-ea"/>
          <a:cs typeface="+mn-cs"/>
        </a:defRPr>
      </a:lvl6pPr>
      <a:lvl7pPr marL="2025030" algn="l" defTabSz="675010" rtl="0" eaLnBrk="1" latinLnBrk="0" hangingPunct="1">
        <a:defRPr sz="1329" kern="1200">
          <a:solidFill>
            <a:schemeClr val="tx1"/>
          </a:solidFill>
          <a:latin typeface="+mn-lt"/>
          <a:ea typeface="+mn-ea"/>
          <a:cs typeface="+mn-cs"/>
        </a:defRPr>
      </a:lvl7pPr>
      <a:lvl8pPr marL="2362535" algn="l" defTabSz="675010" rtl="0" eaLnBrk="1" latinLnBrk="0" hangingPunct="1">
        <a:defRPr sz="1329" kern="1200">
          <a:solidFill>
            <a:schemeClr val="tx1"/>
          </a:solidFill>
          <a:latin typeface="+mn-lt"/>
          <a:ea typeface="+mn-ea"/>
          <a:cs typeface="+mn-cs"/>
        </a:defRPr>
      </a:lvl8pPr>
      <a:lvl9pPr marL="2700040" algn="l" defTabSz="675010" rtl="0" eaLnBrk="1" latinLnBrk="0" hangingPunct="1">
        <a:defRPr sz="132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to 11" hidden="1">
            <a:extLst>
              <a:ext uri="{FF2B5EF4-FFF2-40B4-BE49-F238E27FC236}">
                <a16:creationId xmlns:a16="http://schemas.microsoft.com/office/drawing/2014/main" id="{558B6B17-D1F4-073E-ED89-11CCB48C832B}"/>
              </a:ext>
            </a:extLst>
          </p:cNvPr>
          <p:cNvGraphicFramePr>
            <a:graphicFrameLocks noChangeAspect="1"/>
          </p:cNvGraphicFramePr>
          <p:nvPr userDrawn="1">
            <p:custDataLst>
              <p:tags r:id="rId14"/>
            </p:custDataLst>
            <p:extLst>
              <p:ext uri="{D42A27DB-BD31-4B8C-83A1-F6EECF244321}">
                <p14:modId xmlns:p14="http://schemas.microsoft.com/office/powerpoint/2010/main" val="2477204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20" imgW="0" imgH="0" progId="TCLayout.ActiveDocument.1">
                  <p:embed/>
                </p:oleObj>
              </mc:Choice>
              <mc:Fallback>
                <p:oleObj name="Slide do think-cell" r:id="rId20" imgW="0" imgH="0" progId="TCLayout.ActiveDocument.1">
                  <p:embed/>
                  <p:pic>
                    <p:nvPicPr>
                      <p:cNvPr id="0" name="OLE substitute imag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Espaço Reservado para Título 1">
            <a:extLst>
              <a:ext uri="{FF2B5EF4-FFF2-40B4-BE49-F238E27FC236}">
                <a16:creationId xmlns:a16="http://schemas.microsoft.com/office/drawing/2014/main" id="{270B39D0-869C-4CE8-97EF-49EDAF216443}"/>
              </a:ext>
            </a:extLst>
          </p:cNvPr>
          <p:cNvSpPr>
            <a:spLocks noGrp="1"/>
          </p:cNvSpPr>
          <p:nvPr>
            <p:ph type="title"/>
            <p:custDataLst>
              <p:tags r:id="rId15"/>
            </p:custDataLst>
          </p:nvPr>
        </p:nvSpPr>
        <p:spPr>
          <a:xfrm>
            <a:off x="618718" y="269534"/>
            <a:ext cx="7762102" cy="97852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8B420546-3EF0-4A5C-AB0E-310F48D925DB}"/>
              </a:ext>
            </a:extLst>
          </p:cNvPr>
          <p:cNvSpPr>
            <a:spLocks noGrp="1"/>
          </p:cNvSpPr>
          <p:nvPr>
            <p:ph type="body" idx="1"/>
            <p:custDataLst>
              <p:tags r:id="rId16"/>
            </p:custDataLst>
          </p:nvPr>
        </p:nvSpPr>
        <p:spPr>
          <a:xfrm>
            <a:off x="618718" y="1347666"/>
            <a:ext cx="7762102" cy="3212134"/>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32300794-F77D-49A1-BFB0-4221195712E1}"/>
              </a:ext>
            </a:extLst>
          </p:cNvPr>
          <p:cNvSpPr>
            <a:spLocks noGrp="1"/>
          </p:cNvSpPr>
          <p:nvPr>
            <p:ph type="dt" sz="half" idx="2"/>
            <p:custDataLst>
              <p:tags r:id="rId17"/>
            </p:custDataLst>
          </p:nvPr>
        </p:nvSpPr>
        <p:spPr>
          <a:xfrm>
            <a:off x="618718" y="4692223"/>
            <a:ext cx="2024896" cy="269533"/>
          </a:xfrm>
          <a:prstGeom prst="rect">
            <a:avLst/>
          </a:prstGeom>
        </p:spPr>
        <p:txBody>
          <a:bodyPr vert="horz" lIns="91440" tIns="45720" rIns="91440" bIns="45720" rtlCol="0" anchor="ctr"/>
          <a:lstStyle>
            <a:lvl1pPr algn="l">
              <a:defRPr sz="886">
                <a:solidFill>
                  <a:schemeClr val="tx1">
                    <a:tint val="75000"/>
                  </a:schemeClr>
                </a:solidFill>
              </a:defRPr>
            </a:lvl1pPr>
          </a:lstStyle>
          <a:p>
            <a:fld id="{1EEF3305-C503-4829-A822-59E60DC5EA27}" type="datetimeFigureOut">
              <a:rPr lang="pt-BR" smtClean="0"/>
              <a:t>25/09/2023</a:t>
            </a:fld>
            <a:endParaRPr lang="pt-BR" dirty="0"/>
          </a:p>
        </p:txBody>
      </p:sp>
      <p:sp>
        <p:nvSpPr>
          <p:cNvPr id="5" name="Espaço Reservado para Rodapé 4">
            <a:extLst>
              <a:ext uri="{FF2B5EF4-FFF2-40B4-BE49-F238E27FC236}">
                <a16:creationId xmlns:a16="http://schemas.microsoft.com/office/drawing/2014/main" id="{EBDA29F0-74C2-4AEC-9608-EA81B9FA39D1}"/>
              </a:ext>
            </a:extLst>
          </p:cNvPr>
          <p:cNvSpPr>
            <a:spLocks noGrp="1"/>
          </p:cNvSpPr>
          <p:nvPr>
            <p:ph type="ftr" sz="quarter" idx="3"/>
            <p:custDataLst>
              <p:tags r:id="rId18"/>
            </p:custDataLst>
          </p:nvPr>
        </p:nvSpPr>
        <p:spPr>
          <a:xfrm>
            <a:off x="2981097" y="4692223"/>
            <a:ext cx="3037344" cy="269533"/>
          </a:xfrm>
          <a:prstGeom prst="rect">
            <a:avLst/>
          </a:prstGeom>
        </p:spPr>
        <p:txBody>
          <a:bodyPr vert="horz" lIns="91440" tIns="45720" rIns="91440" bIns="45720" rtlCol="0" anchor="ctr"/>
          <a:lstStyle>
            <a:lvl1pPr algn="ctr">
              <a:defRPr sz="886">
                <a:solidFill>
                  <a:schemeClr val="tx1">
                    <a:tint val="75000"/>
                  </a:schemeClr>
                </a:solidFill>
              </a:defRPr>
            </a:lvl1pPr>
          </a:lstStyle>
          <a:p>
            <a:endParaRPr lang="pt-BR" dirty="0"/>
          </a:p>
        </p:txBody>
      </p:sp>
      <p:sp>
        <p:nvSpPr>
          <p:cNvPr id="6" name="Espaço Reservado para Número de Slide 5">
            <a:extLst>
              <a:ext uri="{FF2B5EF4-FFF2-40B4-BE49-F238E27FC236}">
                <a16:creationId xmlns:a16="http://schemas.microsoft.com/office/drawing/2014/main" id="{A3EDC662-7D65-4366-9FC9-28B422F28D1D}"/>
              </a:ext>
            </a:extLst>
          </p:cNvPr>
          <p:cNvSpPr>
            <a:spLocks noGrp="1"/>
          </p:cNvSpPr>
          <p:nvPr>
            <p:ph type="sldNum" sz="quarter" idx="4"/>
            <p:custDataLst>
              <p:tags r:id="rId19"/>
            </p:custDataLst>
          </p:nvPr>
        </p:nvSpPr>
        <p:spPr>
          <a:xfrm>
            <a:off x="6355924" y="4692223"/>
            <a:ext cx="2024896" cy="269533"/>
          </a:xfrm>
          <a:prstGeom prst="rect">
            <a:avLst/>
          </a:prstGeom>
        </p:spPr>
        <p:txBody>
          <a:bodyPr vert="horz" lIns="91440" tIns="45720" rIns="91440" bIns="45720" rtlCol="0" anchor="ctr"/>
          <a:lstStyle>
            <a:lvl1pPr algn="r">
              <a:defRPr sz="886">
                <a:solidFill>
                  <a:schemeClr val="tx1">
                    <a:tint val="75000"/>
                  </a:schemeClr>
                </a:solidFill>
              </a:defRPr>
            </a:lvl1pPr>
          </a:lstStyle>
          <a:p>
            <a:fld id="{24F7CEB5-DF05-4A54-908D-1B0053156649}" type="slidenum">
              <a:rPr lang="pt-BR" smtClean="0"/>
              <a:t>‹nº›</a:t>
            </a:fld>
            <a:endParaRPr lang="pt-BR" dirty="0"/>
          </a:p>
        </p:txBody>
      </p:sp>
    </p:spTree>
    <p:extLst>
      <p:ext uri="{BB962C8B-B14F-4D97-AF65-F5344CB8AC3E}">
        <p14:creationId xmlns:p14="http://schemas.microsoft.com/office/powerpoint/2010/main" val="414348766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transition/>
  <p:txStyles>
    <p:titleStyle>
      <a:lvl1pPr algn="l" defTabSz="675010" rtl="0" eaLnBrk="1" latinLnBrk="0" hangingPunct="1">
        <a:lnSpc>
          <a:spcPct val="90000"/>
        </a:lnSpc>
        <a:spcBef>
          <a:spcPct val="0"/>
        </a:spcBef>
        <a:buNone/>
        <a:defRPr sz="3248" kern="1200">
          <a:solidFill>
            <a:schemeClr val="tx1"/>
          </a:solidFill>
          <a:latin typeface="+mj-lt"/>
          <a:ea typeface="+mj-ea"/>
          <a:cs typeface="+mj-cs"/>
        </a:defRPr>
      </a:lvl1pPr>
    </p:titleStyle>
    <p:bodyStyle>
      <a:lvl1pPr marL="168753" indent="-168753" algn="l" defTabSz="675010" rtl="0" eaLnBrk="1" latinLnBrk="0" hangingPunct="1">
        <a:lnSpc>
          <a:spcPct val="90000"/>
        </a:lnSpc>
        <a:spcBef>
          <a:spcPts val="738"/>
        </a:spcBef>
        <a:buFont typeface="Arial" panose="020B0604020202020204" pitchFamily="34" charset="0"/>
        <a:buChar char="•"/>
        <a:defRPr sz="2067" kern="1200">
          <a:solidFill>
            <a:schemeClr val="tx1"/>
          </a:solidFill>
          <a:latin typeface="+mn-lt"/>
          <a:ea typeface="+mn-ea"/>
          <a:cs typeface="+mn-cs"/>
        </a:defRPr>
      </a:lvl1pPr>
      <a:lvl2pPr marL="506258" indent="-168753" algn="l" defTabSz="675010" rtl="0" eaLnBrk="1" latinLnBrk="0" hangingPunct="1">
        <a:lnSpc>
          <a:spcPct val="90000"/>
        </a:lnSpc>
        <a:spcBef>
          <a:spcPts val="369"/>
        </a:spcBef>
        <a:buFont typeface="Arial" panose="020B0604020202020204" pitchFamily="34" charset="0"/>
        <a:buChar char="•"/>
        <a:defRPr sz="1772" kern="1200">
          <a:solidFill>
            <a:schemeClr val="tx1"/>
          </a:solidFill>
          <a:latin typeface="+mn-lt"/>
          <a:ea typeface="+mn-ea"/>
          <a:cs typeface="+mn-cs"/>
        </a:defRPr>
      </a:lvl2pPr>
      <a:lvl3pPr marL="843763" indent="-168753" algn="l" defTabSz="675010" rtl="0" eaLnBrk="1" latinLnBrk="0" hangingPunct="1">
        <a:lnSpc>
          <a:spcPct val="90000"/>
        </a:lnSpc>
        <a:spcBef>
          <a:spcPts val="369"/>
        </a:spcBef>
        <a:buFont typeface="Arial" panose="020B0604020202020204" pitchFamily="34" charset="0"/>
        <a:buChar char="•"/>
        <a:defRPr sz="1476" kern="1200">
          <a:solidFill>
            <a:schemeClr val="tx1"/>
          </a:solidFill>
          <a:latin typeface="+mn-lt"/>
          <a:ea typeface="+mn-ea"/>
          <a:cs typeface="+mn-cs"/>
        </a:defRPr>
      </a:lvl3pPr>
      <a:lvl4pPr marL="118126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4pPr>
      <a:lvl5pPr marL="151877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5pPr>
      <a:lvl6pPr marL="185627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6pPr>
      <a:lvl7pPr marL="219378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7pPr>
      <a:lvl8pPr marL="253128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8pPr>
      <a:lvl9pPr marL="286879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9pPr>
    </p:bodyStyle>
    <p:otherStyle>
      <a:defPPr>
        <a:defRPr lang="pt-BR"/>
      </a:defPPr>
      <a:lvl1pPr marL="0" algn="l" defTabSz="675010" rtl="0" eaLnBrk="1" latinLnBrk="0" hangingPunct="1">
        <a:defRPr sz="1329" kern="1200">
          <a:solidFill>
            <a:schemeClr val="tx1"/>
          </a:solidFill>
          <a:latin typeface="+mn-lt"/>
          <a:ea typeface="+mn-ea"/>
          <a:cs typeface="+mn-cs"/>
        </a:defRPr>
      </a:lvl1pPr>
      <a:lvl2pPr marL="337505" algn="l" defTabSz="675010" rtl="0" eaLnBrk="1" latinLnBrk="0" hangingPunct="1">
        <a:defRPr sz="1329" kern="1200">
          <a:solidFill>
            <a:schemeClr val="tx1"/>
          </a:solidFill>
          <a:latin typeface="+mn-lt"/>
          <a:ea typeface="+mn-ea"/>
          <a:cs typeface="+mn-cs"/>
        </a:defRPr>
      </a:lvl2pPr>
      <a:lvl3pPr marL="675010" algn="l" defTabSz="675010" rtl="0" eaLnBrk="1" latinLnBrk="0" hangingPunct="1">
        <a:defRPr sz="1329" kern="1200">
          <a:solidFill>
            <a:schemeClr val="tx1"/>
          </a:solidFill>
          <a:latin typeface="+mn-lt"/>
          <a:ea typeface="+mn-ea"/>
          <a:cs typeface="+mn-cs"/>
        </a:defRPr>
      </a:lvl3pPr>
      <a:lvl4pPr marL="1012515" algn="l" defTabSz="675010" rtl="0" eaLnBrk="1" latinLnBrk="0" hangingPunct="1">
        <a:defRPr sz="1329" kern="1200">
          <a:solidFill>
            <a:schemeClr val="tx1"/>
          </a:solidFill>
          <a:latin typeface="+mn-lt"/>
          <a:ea typeface="+mn-ea"/>
          <a:cs typeface="+mn-cs"/>
        </a:defRPr>
      </a:lvl4pPr>
      <a:lvl5pPr marL="1350020" algn="l" defTabSz="675010" rtl="0" eaLnBrk="1" latinLnBrk="0" hangingPunct="1">
        <a:defRPr sz="1329" kern="1200">
          <a:solidFill>
            <a:schemeClr val="tx1"/>
          </a:solidFill>
          <a:latin typeface="+mn-lt"/>
          <a:ea typeface="+mn-ea"/>
          <a:cs typeface="+mn-cs"/>
        </a:defRPr>
      </a:lvl5pPr>
      <a:lvl6pPr marL="1687525" algn="l" defTabSz="675010" rtl="0" eaLnBrk="1" latinLnBrk="0" hangingPunct="1">
        <a:defRPr sz="1329" kern="1200">
          <a:solidFill>
            <a:schemeClr val="tx1"/>
          </a:solidFill>
          <a:latin typeface="+mn-lt"/>
          <a:ea typeface="+mn-ea"/>
          <a:cs typeface="+mn-cs"/>
        </a:defRPr>
      </a:lvl6pPr>
      <a:lvl7pPr marL="2025030" algn="l" defTabSz="675010" rtl="0" eaLnBrk="1" latinLnBrk="0" hangingPunct="1">
        <a:defRPr sz="1329" kern="1200">
          <a:solidFill>
            <a:schemeClr val="tx1"/>
          </a:solidFill>
          <a:latin typeface="+mn-lt"/>
          <a:ea typeface="+mn-ea"/>
          <a:cs typeface="+mn-cs"/>
        </a:defRPr>
      </a:lvl7pPr>
      <a:lvl8pPr marL="2362535" algn="l" defTabSz="675010" rtl="0" eaLnBrk="1" latinLnBrk="0" hangingPunct="1">
        <a:defRPr sz="1329" kern="1200">
          <a:solidFill>
            <a:schemeClr val="tx1"/>
          </a:solidFill>
          <a:latin typeface="+mn-lt"/>
          <a:ea typeface="+mn-ea"/>
          <a:cs typeface="+mn-cs"/>
        </a:defRPr>
      </a:lvl8pPr>
      <a:lvl9pPr marL="2700040" algn="l" defTabSz="675010" rtl="0" eaLnBrk="1" latinLnBrk="0" hangingPunct="1">
        <a:defRPr sz="132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243.xml"/><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238.xml"/><Relationship Id="rId7" Type="http://schemas.openxmlformats.org/officeDocument/2006/relationships/tags" Target="../tags/tag242.xml"/><Relationship Id="rId12" Type="http://schemas.openxmlformats.org/officeDocument/2006/relationships/image" Target="../media/image8.jpeg"/><Relationship Id="rId17" Type="http://schemas.openxmlformats.org/officeDocument/2006/relationships/image" Target="../media/image13.png"/><Relationship Id="rId2" Type="http://schemas.openxmlformats.org/officeDocument/2006/relationships/tags" Target="../tags/tag237.xml"/><Relationship Id="rId16" Type="http://schemas.openxmlformats.org/officeDocument/2006/relationships/image" Target="../media/image12.jpeg"/><Relationship Id="rId1" Type="http://schemas.openxmlformats.org/officeDocument/2006/relationships/tags" Target="../tags/tag236.xml"/><Relationship Id="rId6" Type="http://schemas.openxmlformats.org/officeDocument/2006/relationships/tags" Target="../tags/tag241.xml"/><Relationship Id="rId11" Type="http://schemas.openxmlformats.org/officeDocument/2006/relationships/image" Target="../media/image7.jpeg"/><Relationship Id="rId5" Type="http://schemas.openxmlformats.org/officeDocument/2006/relationships/tags" Target="../tags/tag240.xml"/><Relationship Id="rId15" Type="http://schemas.openxmlformats.org/officeDocument/2006/relationships/image" Target="../media/image11.jpeg"/><Relationship Id="rId10" Type="http://schemas.openxmlformats.org/officeDocument/2006/relationships/slideLayout" Target="../slideLayouts/slideLayout16.xml"/><Relationship Id="rId4" Type="http://schemas.openxmlformats.org/officeDocument/2006/relationships/tags" Target="../tags/tag239.xml"/><Relationship Id="rId9" Type="http://schemas.openxmlformats.org/officeDocument/2006/relationships/tags" Target="../tags/tag244.xml"/><Relationship Id="rId14" Type="http://schemas.openxmlformats.org/officeDocument/2006/relationships/image" Target="../media/image10.jpeg"/></Relationships>
</file>

<file path=ppt/slides/_rels/slide10.xml.rels><?xml version="1.0" encoding="UTF-8" standalone="yes"?>
<Relationships xmlns="http://schemas.openxmlformats.org/package/2006/relationships"><Relationship Id="rId26" Type="http://schemas.openxmlformats.org/officeDocument/2006/relationships/tags" Target="../tags/tag476.xml"/><Relationship Id="rId21" Type="http://schemas.openxmlformats.org/officeDocument/2006/relationships/tags" Target="../tags/tag471.xml"/><Relationship Id="rId42" Type="http://schemas.openxmlformats.org/officeDocument/2006/relationships/tags" Target="../tags/tag492.xml"/><Relationship Id="rId47" Type="http://schemas.openxmlformats.org/officeDocument/2006/relationships/tags" Target="../tags/tag497.xml"/><Relationship Id="rId63" Type="http://schemas.openxmlformats.org/officeDocument/2006/relationships/tags" Target="../tags/tag513.xml"/><Relationship Id="rId68" Type="http://schemas.openxmlformats.org/officeDocument/2006/relationships/tags" Target="../tags/tag518.xml"/><Relationship Id="rId84" Type="http://schemas.openxmlformats.org/officeDocument/2006/relationships/tags" Target="../tags/tag534.xml"/><Relationship Id="rId89" Type="http://schemas.openxmlformats.org/officeDocument/2006/relationships/tags" Target="../tags/tag539.xml"/><Relationship Id="rId16" Type="http://schemas.openxmlformats.org/officeDocument/2006/relationships/tags" Target="../tags/tag466.xml"/><Relationship Id="rId11" Type="http://schemas.openxmlformats.org/officeDocument/2006/relationships/tags" Target="../tags/tag461.xml"/><Relationship Id="rId32" Type="http://schemas.openxmlformats.org/officeDocument/2006/relationships/tags" Target="../tags/tag482.xml"/><Relationship Id="rId37" Type="http://schemas.openxmlformats.org/officeDocument/2006/relationships/tags" Target="../tags/tag487.xml"/><Relationship Id="rId53" Type="http://schemas.openxmlformats.org/officeDocument/2006/relationships/tags" Target="../tags/tag503.xml"/><Relationship Id="rId58" Type="http://schemas.openxmlformats.org/officeDocument/2006/relationships/tags" Target="../tags/tag508.xml"/><Relationship Id="rId74" Type="http://schemas.openxmlformats.org/officeDocument/2006/relationships/tags" Target="../tags/tag524.xml"/><Relationship Id="rId79" Type="http://schemas.openxmlformats.org/officeDocument/2006/relationships/tags" Target="../tags/tag529.xml"/><Relationship Id="rId102" Type="http://schemas.openxmlformats.org/officeDocument/2006/relationships/image" Target="../media/image32.png"/><Relationship Id="rId5" Type="http://schemas.openxmlformats.org/officeDocument/2006/relationships/tags" Target="../tags/tag455.xml"/><Relationship Id="rId90" Type="http://schemas.openxmlformats.org/officeDocument/2006/relationships/tags" Target="../tags/tag540.xml"/><Relationship Id="rId95" Type="http://schemas.openxmlformats.org/officeDocument/2006/relationships/notesSlide" Target="../notesSlides/notesSlide8.xml"/><Relationship Id="rId22" Type="http://schemas.openxmlformats.org/officeDocument/2006/relationships/tags" Target="../tags/tag472.xml"/><Relationship Id="rId27" Type="http://schemas.openxmlformats.org/officeDocument/2006/relationships/tags" Target="../tags/tag477.xml"/><Relationship Id="rId43" Type="http://schemas.openxmlformats.org/officeDocument/2006/relationships/tags" Target="../tags/tag493.xml"/><Relationship Id="rId48" Type="http://schemas.openxmlformats.org/officeDocument/2006/relationships/tags" Target="../tags/tag498.xml"/><Relationship Id="rId64" Type="http://schemas.openxmlformats.org/officeDocument/2006/relationships/tags" Target="../tags/tag514.xml"/><Relationship Id="rId69" Type="http://schemas.openxmlformats.org/officeDocument/2006/relationships/tags" Target="../tags/tag519.xml"/><Relationship Id="rId80" Type="http://schemas.openxmlformats.org/officeDocument/2006/relationships/tags" Target="../tags/tag530.xml"/><Relationship Id="rId85" Type="http://schemas.openxmlformats.org/officeDocument/2006/relationships/tags" Target="../tags/tag535.xml"/><Relationship Id="rId12" Type="http://schemas.openxmlformats.org/officeDocument/2006/relationships/tags" Target="../tags/tag462.xml"/><Relationship Id="rId17" Type="http://schemas.openxmlformats.org/officeDocument/2006/relationships/tags" Target="../tags/tag467.xml"/><Relationship Id="rId25" Type="http://schemas.openxmlformats.org/officeDocument/2006/relationships/tags" Target="../tags/tag475.xml"/><Relationship Id="rId33" Type="http://schemas.openxmlformats.org/officeDocument/2006/relationships/tags" Target="../tags/tag483.xml"/><Relationship Id="rId38" Type="http://schemas.openxmlformats.org/officeDocument/2006/relationships/tags" Target="../tags/tag488.xml"/><Relationship Id="rId46" Type="http://schemas.openxmlformats.org/officeDocument/2006/relationships/tags" Target="../tags/tag496.xml"/><Relationship Id="rId59" Type="http://schemas.openxmlformats.org/officeDocument/2006/relationships/tags" Target="../tags/tag509.xml"/><Relationship Id="rId67" Type="http://schemas.openxmlformats.org/officeDocument/2006/relationships/tags" Target="../tags/tag517.xml"/><Relationship Id="rId103" Type="http://schemas.openxmlformats.org/officeDocument/2006/relationships/image" Target="../media/image33.svg"/><Relationship Id="rId20" Type="http://schemas.openxmlformats.org/officeDocument/2006/relationships/tags" Target="../tags/tag470.xml"/><Relationship Id="rId41" Type="http://schemas.openxmlformats.org/officeDocument/2006/relationships/tags" Target="../tags/tag491.xml"/><Relationship Id="rId54" Type="http://schemas.openxmlformats.org/officeDocument/2006/relationships/tags" Target="../tags/tag504.xml"/><Relationship Id="rId62" Type="http://schemas.openxmlformats.org/officeDocument/2006/relationships/tags" Target="../tags/tag512.xml"/><Relationship Id="rId70" Type="http://schemas.openxmlformats.org/officeDocument/2006/relationships/tags" Target="../tags/tag520.xml"/><Relationship Id="rId75" Type="http://schemas.openxmlformats.org/officeDocument/2006/relationships/tags" Target="../tags/tag525.xml"/><Relationship Id="rId83" Type="http://schemas.openxmlformats.org/officeDocument/2006/relationships/tags" Target="../tags/tag533.xml"/><Relationship Id="rId88" Type="http://schemas.openxmlformats.org/officeDocument/2006/relationships/tags" Target="../tags/tag538.xml"/><Relationship Id="rId91" Type="http://schemas.openxmlformats.org/officeDocument/2006/relationships/tags" Target="../tags/tag541.xml"/><Relationship Id="rId96" Type="http://schemas.openxmlformats.org/officeDocument/2006/relationships/image" Target="../media/image15.png"/><Relationship Id="rId1" Type="http://schemas.openxmlformats.org/officeDocument/2006/relationships/tags" Target="../tags/tag451.xml"/><Relationship Id="rId6" Type="http://schemas.openxmlformats.org/officeDocument/2006/relationships/tags" Target="../tags/tag456.xml"/><Relationship Id="rId15" Type="http://schemas.openxmlformats.org/officeDocument/2006/relationships/tags" Target="../tags/tag465.xml"/><Relationship Id="rId23" Type="http://schemas.openxmlformats.org/officeDocument/2006/relationships/tags" Target="../tags/tag473.xml"/><Relationship Id="rId28" Type="http://schemas.openxmlformats.org/officeDocument/2006/relationships/tags" Target="../tags/tag478.xml"/><Relationship Id="rId36" Type="http://schemas.openxmlformats.org/officeDocument/2006/relationships/tags" Target="../tags/tag486.xml"/><Relationship Id="rId49" Type="http://schemas.openxmlformats.org/officeDocument/2006/relationships/tags" Target="../tags/tag499.xml"/><Relationship Id="rId57" Type="http://schemas.openxmlformats.org/officeDocument/2006/relationships/tags" Target="../tags/tag507.xml"/><Relationship Id="rId10" Type="http://schemas.openxmlformats.org/officeDocument/2006/relationships/tags" Target="../tags/tag460.xml"/><Relationship Id="rId31" Type="http://schemas.openxmlformats.org/officeDocument/2006/relationships/tags" Target="../tags/tag481.xml"/><Relationship Id="rId44" Type="http://schemas.openxmlformats.org/officeDocument/2006/relationships/tags" Target="../tags/tag494.xml"/><Relationship Id="rId52" Type="http://schemas.openxmlformats.org/officeDocument/2006/relationships/tags" Target="../tags/tag502.xml"/><Relationship Id="rId60" Type="http://schemas.openxmlformats.org/officeDocument/2006/relationships/tags" Target="../tags/tag510.xml"/><Relationship Id="rId65" Type="http://schemas.openxmlformats.org/officeDocument/2006/relationships/tags" Target="../tags/tag515.xml"/><Relationship Id="rId73" Type="http://schemas.openxmlformats.org/officeDocument/2006/relationships/tags" Target="../tags/tag523.xml"/><Relationship Id="rId78" Type="http://schemas.openxmlformats.org/officeDocument/2006/relationships/tags" Target="../tags/tag528.xml"/><Relationship Id="rId81" Type="http://schemas.openxmlformats.org/officeDocument/2006/relationships/tags" Target="../tags/tag531.xml"/><Relationship Id="rId86" Type="http://schemas.openxmlformats.org/officeDocument/2006/relationships/tags" Target="../tags/tag536.xml"/><Relationship Id="rId94" Type="http://schemas.openxmlformats.org/officeDocument/2006/relationships/slideLayout" Target="../slideLayouts/slideLayout7.xml"/><Relationship Id="rId99" Type="http://schemas.openxmlformats.org/officeDocument/2006/relationships/image" Target="../media/image29.svg"/><Relationship Id="rId101" Type="http://schemas.openxmlformats.org/officeDocument/2006/relationships/image" Target="../media/image31.svg"/><Relationship Id="rId4" Type="http://schemas.openxmlformats.org/officeDocument/2006/relationships/tags" Target="../tags/tag454.xml"/><Relationship Id="rId9" Type="http://schemas.openxmlformats.org/officeDocument/2006/relationships/tags" Target="../tags/tag459.xml"/><Relationship Id="rId13" Type="http://schemas.openxmlformats.org/officeDocument/2006/relationships/tags" Target="../tags/tag463.xml"/><Relationship Id="rId18" Type="http://schemas.openxmlformats.org/officeDocument/2006/relationships/tags" Target="../tags/tag468.xml"/><Relationship Id="rId39" Type="http://schemas.openxmlformats.org/officeDocument/2006/relationships/tags" Target="../tags/tag489.xml"/><Relationship Id="rId34" Type="http://schemas.openxmlformats.org/officeDocument/2006/relationships/tags" Target="../tags/tag484.xml"/><Relationship Id="rId50" Type="http://schemas.openxmlformats.org/officeDocument/2006/relationships/tags" Target="../tags/tag500.xml"/><Relationship Id="rId55" Type="http://schemas.openxmlformats.org/officeDocument/2006/relationships/tags" Target="../tags/tag505.xml"/><Relationship Id="rId76" Type="http://schemas.openxmlformats.org/officeDocument/2006/relationships/tags" Target="../tags/tag526.xml"/><Relationship Id="rId97" Type="http://schemas.openxmlformats.org/officeDocument/2006/relationships/image" Target="../media/image19.png"/><Relationship Id="rId7" Type="http://schemas.openxmlformats.org/officeDocument/2006/relationships/tags" Target="../tags/tag457.xml"/><Relationship Id="rId71" Type="http://schemas.openxmlformats.org/officeDocument/2006/relationships/tags" Target="../tags/tag521.xml"/><Relationship Id="rId92" Type="http://schemas.openxmlformats.org/officeDocument/2006/relationships/tags" Target="../tags/tag542.xml"/><Relationship Id="rId2" Type="http://schemas.openxmlformats.org/officeDocument/2006/relationships/tags" Target="../tags/tag452.xml"/><Relationship Id="rId29" Type="http://schemas.openxmlformats.org/officeDocument/2006/relationships/tags" Target="../tags/tag479.xml"/><Relationship Id="rId24" Type="http://schemas.openxmlformats.org/officeDocument/2006/relationships/tags" Target="../tags/tag474.xml"/><Relationship Id="rId40" Type="http://schemas.openxmlformats.org/officeDocument/2006/relationships/tags" Target="../tags/tag490.xml"/><Relationship Id="rId45" Type="http://schemas.openxmlformats.org/officeDocument/2006/relationships/tags" Target="../tags/tag495.xml"/><Relationship Id="rId66" Type="http://schemas.openxmlformats.org/officeDocument/2006/relationships/tags" Target="../tags/tag516.xml"/><Relationship Id="rId87" Type="http://schemas.openxmlformats.org/officeDocument/2006/relationships/tags" Target="../tags/tag537.xml"/><Relationship Id="rId61" Type="http://schemas.openxmlformats.org/officeDocument/2006/relationships/tags" Target="../tags/tag511.xml"/><Relationship Id="rId82" Type="http://schemas.openxmlformats.org/officeDocument/2006/relationships/tags" Target="../tags/tag532.xml"/><Relationship Id="rId19" Type="http://schemas.openxmlformats.org/officeDocument/2006/relationships/tags" Target="../tags/tag469.xml"/><Relationship Id="rId14" Type="http://schemas.openxmlformats.org/officeDocument/2006/relationships/tags" Target="../tags/tag464.xml"/><Relationship Id="rId30" Type="http://schemas.openxmlformats.org/officeDocument/2006/relationships/tags" Target="../tags/tag480.xml"/><Relationship Id="rId35" Type="http://schemas.openxmlformats.org/officeDocument/2006/relationships/tags" Target="../tags/tag485.xml"/><Relationship Id="rId56" Type="http://schemas.openxmlformats.org/officeDocument/2006/relationships/tags" Target="../tags/tag506.xml"/><Relationship Id="rId77" Type="http://schemas.openxmlformats.org/officeDocument/2006/relationships/tags" Target="../tags/tag527.xml"/><Relationship Id="rId100" Type="http://schemas.openxmlformats.org/officeDocument/2006/relationships/image" Target="../media/image30.png"/><Relationship Id="rId8" Type="http://schemas.openxmlformats.org/officeDocument/2006/relationships/tags" Target="../tags/tag458.xml"/><Relationship Id="rId51" Type="http://schemas.openxmlformats.org/officeDocument/2006/relationships/tags" Target="../tags/tag501.xml"/><Relationship Id="rId72" Type="http://schemas.openxmlformats.org/officeDocument/2006/relationships/tags" Target="../tags/tag522.xml"/><Relationship Id="rId93" Type="http://schemas.openxmlformats.org/officeDocument/2006/relationships/tags" Target="../tags/tag543.xml"/><Relationship Id="rId98" Type="http://schemas.openxmlformats.org/officeDocument/2006/relationships/image" Target="../media/image28.png"/><Relationship Id="rId3" Type="http://schemas.openxmlformats.org/officeDocument/2006/relationships/tags" Target="../tags/tag453.xml"/></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9.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544.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26" Type="http://schemas.openxmlformats.org/officeDocument/2006/relationships/tags" Target="../tags/tag570.xml"/><Relationship Id="rId21" Type="http://schemas.openxmlformats.org/officeDocument/2006/relationships/tags" Target="../tags/tag565.xml"/><Relationship Id="rId42" Type="http://schemas.openxmlformats.org/officeDocument/2006/relationships/tags" Target="../tags/tag586.xml"/><Relationship Id="rId47" Type="http://schemas.openxmlformats.org/officeDocument/2006/relationships/tags" Target="../tags/tag591.xml"/><Relationship Id="rId63" Type="http://schemas.openxmlformats.org/officeDocument/2006/relationships/tags" Target="../tags/tag607.xml"/><Relationship Id="rId68" Type="http://schemas.openxmlformats.org/officeDocument/2006/relationships/tags" Target="../tags/tag612.xml"/><Relationship Id="rId84" Type="http://schemas.openxmlformats.org/officeDocument/2006/relationships/tags" Target="../tags/tag628.xml"/><Relationship Id="rId89" Type="http://schemas.openxmlformats.org/officeDocument/2006/relationships/tags" Target="../tags/tag633.xml"/><Relationship Id="rId16" Type="http://schemas.openxmlformats.org/officeDocument/2006/relationships/tags" Target="../tags/tag560.xml"/><Relationship Id="rId107" Type="http://schemas.openxmlformats.org/officeDocument/2006/relationships/image" Target="../media/image19.png"/><Relationship Id="rId11" Type="http://schemas.openxmlformats.org/officeDocument/2006/relationships/tags" Target="../tags/tag555.xml"/><Relationship Id="rId32" Type="http://schemas.openxmlformats.org/officeDocument/2006/relationships/tags" Target="../tags/tag576.xml"/><Relationship Id="rId37" Type="http://schemas.openxmlformats.org/officeDocument/2006/relationships/tags" Target="../tags/tag581.xml"/><Relationship Id="rId53" Type="http://schemas.openxmlformats.org/officeDocument/2006/relationships/tags" Target="../tags/tag597.xml"/><Relationship Id="rId58" Type="http://schemas.openxmlformats.org/officeDocument/2006/relationships/tags" Target="../tags/tag602.xml"/><Relationship Id="rId74" Type="http://schemas.openxmlformats.org/officeDocument/2006/relationships/tags" Target="../tags/tag618.xml"/><Relationship Id="rId79" Type="http://schemas.openxmlformats.org/officeDocument/2006/relationships/tags" Target="../tags/tag623.xml"/><Relationship Id="rId102" Type="http://schemas.openxmlformats.org/officeDocument/2006/relationships/image" Target="../media/image39.png"/><Relationship Id="rId5" Type="http://schemas.openxmlformats.org/officeDocument/2006/relationships/tags" Target="../tags/tag549.xml"/><Relationship Id="rId90" Type="http://schemas.openxmlformats.org/officeDocument/2006/relationships/tags" Target="../tags/tag634.xml"/><Relationship Id="rId95" Type="http://schemas.openxmlformats.org/officeDocument/2006/relationships/slideLayout" Target="../slideLayouts/slideLayout7.xml"/><Relationship Id="rId22" Type="http://schemas.openxmlformats.org/officeDocument/2006/relationships/tags" Target="../tags/tag566.xml"/><Relationship Id="rId27" Type="http://schemas.openxmlformats.org/officeDocument/2006/relationships/tags" Target="../tags/tag571.xml"/><Relationship Id="rId43" Type="http://schemas.openxmlformats.org/officeDocument/2006/relationships/tags" Target="../tags/tag587.xml"/><Relationship Id="rId48" Type="http://schemas.openxmlformats.org/officeDocument/2006/relationships/tags" Target="../tags/tag592.xml"/><Relationship Id="rId64" Type="http://schemas.openxmlformats.org/officeDocument/2006/relationships/tags" Target="../tags/tag608.xml"/><Relationship Id="rId69" Type="http://schemas.openxmlformats.org/officeDocument/2006/relationships/tags" Target="../tags/tag613.xml"/><Relationship Id="rId80" Type="http://schemas.openxmlformats.org/officeDocument/2006/relationships/tags" Target="../tags/tag624.xml"/><Relationship Id="rId85" Type="http://schemas.openxmlformats.org/officeDocument/2006/relationships/tags" Target="../tags/tag629.xml"/><Relationship Id="rId12" Type="http://schemas.openxmlformats.org/officeDocument/2006/relationships/tags" Target="../tags/tag556.xml"/><Relationship Id="rId17" Type="http://schemas.openxmlformats.org/officeDocument/2006/relationships/tags" Target="../tags/tag561.xml"/><Relationship Id="rId33" Type="http://schemas.openxmlformats.org/officeDocument/2006/relationships/tags" Target="../tags/tag577.xml"/><Relationship Id="rId38" Type="http://schemas.openxmlformats.org/officeDocument/2006/relationships/tags" Target="../tags/tag582.xml"/><Relationship Id="rId59" Type="http://schemas.openxmlformats.org/officeDocument/2006/relationships/tags" Target="../tags/tag603.xml"/><Relationship Id="rId103" Type="http://schemas.openxmlformats.org/officeDocument/2006/relationships/image" Target="../media/image40.png"/><Relationship Id="rId20" Type="http://schemas.openxmlformats.org/officeDocument/2006/relationships/tags" Target="../tags/tag564.xml"/><Relationship Id="rId41" Type="http://schemas.openxmlformats.org/officeDocument/2006/relationships/tags" Target="../tags/tag585.xml"/><Relationship Id="rId54" Type="http://schemas.openxmlformats.org/officeDocument/2006/relationships/tags" Target="../tags/tag598.xml"/><Relationship Id="rId62" Type="http://schemas.openxmlformats.org/officeDocument/2006/relationships/tags" Target="../tags/tag606.xml"/><Relationship Id="rId70" Type="http://schemas.openxmlformats.org/officeDocument/2006/relationships/tags" Target="../tags/tag614.xml"/><Relationship Id="rId75" Type="http://schemas.openxmlformats.org/officeDocument/2006/relationships/tags" Target="../tags/tag619.xml"/><Relationship Id="rId83" Type="http://schemas.openxmlformats.org/officeDocument/2006/relationships/tags" Target="../tags/tag627.xml"/><Relationship Id="rId88" Type="http://schemas.openxmlformats.org/officeDocument/2006/relationships/tags" Target="../tags/tag632.xml"/><Relationship Id="rId91" Type="http://schemas.openxmlformats.org/officeDocument/2006/relationships/tags" Target="../tags/tag635.xml"/><Relationship Id="rId96" Type="http://schemas.openxmlformats.org/officeDocument/2006/relationships/image" Target="../media/image15.png"/><Relationship Id="rId1" Type="http://schemas.openxmlformats.org/officeDocument/2006/relationships/tags" Target="../tags/tag545.xml"/><Relationship Id="rId6" Type="http://schemas.openxmlformats.org/officeDocument/2006/relationships/tags" Target="../tags/tag550.xml"/><Relationship Id="rId15" Type="http://schemas.openxmlformats.org/officeDocument/2006/relationships/tags" Target="../tags/tag559.xml"/><Relationship Id="rId23" Type="http://schemas.openxmlformats.org/officeDocument/2006/relationships/tags" Target="../tags/tag567.xml"/><Relationship Id="rId28" Type="http://schemas.openxmlformats.org/officeDocument/2006/relationships/tags" Target="../tags/tag572.xml"/><Relationship Id="rId36" Type="http://schemas.openxmlformats.org/officeDocument/2006/relationships/tags" Target="../tags/tag580.xml"/><Relationship Id="rId49" Type="http://schemas.openxmlformats.org/officeDocument/2006/relationships/tags" Target="../tags/tag593.xml"/><Relationship Id="rId57" Type="http://schemas.openxmlformats.org/officeDocument/2006/relationships/tags" Target="../tags/tag601.xml"/><Relationship Id="rId106" Type="http://schemas.openxmlformats.org/officeDocument/2006/relationships/image" Target="../media/image43.png"/><Relationship Id="rId10" Type="http://schemas.openxmlformats.org/officeDocument/2006/relationships/tags" Target="../tags/tag554.xml"/><Relationship Id="rId31" Type="http://schemas.openxmlformats.org/officeDocument/2006/relationships/tags" Target="../tags/tag575.xml"/><Relationship Id="rId44" Type="http://schemas.openxmlformats.org/officeDocument/2006/relationships/tags" Target="../tags/tag588.xml"/><Relationship Id="rId52" Type="http://schemas.openxmlformats.org/officeDocument/2006/relationships/tags" Target="../tags/tag596.xml"/><Relationship Id="rId60" Type="http://schemas.openxmlformats.org/officeDocument/2006/relationships/tags" Target="../tags/tag604.xml"/><Relationship Id="rId65" Type="http://schemas.openxmlformats.org/officeDocument/2006/relationships/tags" Target="../tags/tag609.xml"/><Relationship Id="rId73" Type="http://schemas.openxmlformats.org/officeDocument/2006/relationships/tags" Target="../tags/tag617.xml"/><Relationship Id="rId78" Type="http://schemas.openxmlformats.org/officeDocument/2006/relationships/tags" Target="../tags/tag622.xml"/><Relationship Id="rId81" Type="http://schemas.openxmlformats.org/officeDocument/2006/relationships/tags" Target="../tags/tag625.xml"/><Relationship Id="rId86" Type="http://schemas.openxmlformats.org/officeDocument/2006/relationships/tags" Target="../tags/tag630.xml"/><Relationship Id="rId94" Type="http://schemas.openxmlformats.org/officeDocument/2006/relationships/tags" Target="../tags/tag638.xml"/><Relationship Id="rId99" Type="http://schemas.openxmlformats.org/officeDocument/2006/relationships/image" Target="../media/image36.png"/><Relationship Id="rId101" Type="http://schemas.openxmlformats.org/officeDocument/2006/relationships/image" Target="../media/image38.png"/><Relationship Id="rId4" Type="http://schemas.openxmlformats.org/officeDocument/2006/relationships/tags" Target="../tags/tag548.xml"/><Relationship Id="rId9" Type="http://schemas.openxmlformats.org/officeDocument/2006/relationships/tags" Target="../tags/tag553.xml"/><Relationship Id="rId13" Type="http://schemas.openxmlformats.org/officeDocument/2006/relationships/tags" Target="../tags/tag557.xml"/><Relationship Id="rId18" Type="http://schemas.openxmlformats.org/officeDocument/2006/relationships/tags" Target="../tags/tag562.xml"/><Relationship Id="rId39" Type="http://schemas.openxmlformats.org/officeDocument/2006/relationships/tags" Target="../tags/tag583.xml"/><Relationship Id="rId34" Type="http://schemas.openxmlformats.org/officeDocument/2006/relationships/tags" Target="../tags/tag578.xml"/><Relationship Id="rId50" Type="http://schemas.openxmlformats.org/officeDocument/2006/relationships/tags" Target="../tags/tag594.xml"/><Relationship Id="rId55" Type="http://schemas.openxmlformats.org/officeDocument/2006/relationships/tags" Target="../tags/tag599.xml"/><Relationship Id="rId76" Type="http://schemas.openxmlformats.org/officeDocument/2006/relationships/tags" Target="../tags/tag620.xml"/><Relationship Id="rId97" Type="http://schemas.openxmlformats.org/officeDocument/2006/relationships/image" Target="../media/image34.png"/><Relationship Id="rId104" Type="http://schemas.openxmlformats.org/officeDocument/2006/relationships/image" Target="../media/image41.png"/><Relationship Id="rId7" Type="http://schemas.openxmlformats.org/officeDocument/2006/relationships/tags" Target="../tags/tag551.xml"/><Relationship Id="rId71" Type="http://schemas.openxmlformats.org/officeDocument/2006/relationships/tags" Target="../tags/tag615.xml"/><Relationship Id="rId92" Type="http://schemas.openxmlformats.org/officeDocument/2006/relationships/tags" Target="../tags/tag636.xml"/><Relationship Id="rId2" Type="http://schemas.openxmlformats.org/officeDocument/2006/relationships/tags" Target="../tags/tag546.xml"/><Relationship Id="rId29" Type="http://schemas.openxmlformats.org/officeDocument/2006/relationships/tags" Target="../tags/tag573.xml"/><Relationship Id="rId24" Type="http://schemas.openxmlformats.org/officeDocument/2006/relationships/tags" Target="../tags/tag568.xml"/><Relationship Id="rId40" Type="http://schemas.openxmlformats.org/officeDocument/2006/relationships/tags" Target="../tags/tag584.xml"/><Relationship Id="rId45" Type="http://schemas.openxmlformats.org/officeDocument/2006/relationships/tags" Target="../tags/tag589.xml"/><Relationship Id="rId66" Type="http://schemas.openxmlformats.org/officeDocument/2006/relationships/tags" Target="../tags/tag610.xml"/><Relationship Id="rId87" Type="http://schemas.openxmlformats.org/officeDocument/2006/relationships/tags" Target="../tags/tag631.xml"/><Relationship Id="rId61" Type="http://schemas.openxmlformats.org/officeDocument/2006/relationships/tags" Target="../tags/tag605.xml"/><Relationship Id="rId82" Type="http://schemas.openxmlformats.org/officeDocument/2006/relationships/tags" Target="../tags/tag626.xml"/><Relationship Id="rId19" Type="http://schemas.openxmlformats.org/officeDocument/2006/relationships/tags" Target="../tags/tag563.xml"/><Relationship Id="rId14" Type="http://schemas.openxmlformats.org/officeDocument/2006/relationships/tags" Target="../tags/tag558.xml"/><Relationship Id="rId30" Type="http://schemas.openxmlformats.org/officeDocument/2006/relationships/tags" Target="../tags/tag574.xml"/><Relationship Id="rId35" Type="http://schemas.openxmlformats.org/officeDocument/2006/relationships/tags" Target="../tags/tag579.xml"/><Relationship Id="rId56" Type="http://schemas.openxmlformats.org/officeDocument/2006/relationships/tags" Target="../tags/tag600.xml"/><Relationship Id="rId77" Type="http://schemas.openxmlformats.org/officeDocument/2006/relationships/tags" Target="../tags/tag621.xml"/><Relationship Id="rId100" Type="http://schemas.openxmlformats.org/officeDocument/2006/relationships/image" Target="../media/image37.png"/><Relationship Id="rId105" Type="http://schemas.openxmlformats.org/officeDocument/2006/relationships/image" Target="../media/image42.png"/><Relationship Id="rId8" Type="http://schemas.openxmlformats.org/officeDocument/2006/relationships/tags" Target="../tags/tag552.xml"/><Relationship Id="rId51" Type="http://schemas.openxmlformats.org/officeDocument/2006/relationships/tags" Target="../tags/tag595.xml"/><Relationship Id="rId72" Type="http://schemas.openxmlformats.org/officeDocument/2006/relationships/tags" Target="../tags/tag616.xml"/><Relationship Id="rId93" Type="http://schemas.openxmlformats.org/officeDocument/2006/relationships/tags" Target="../tags/tag637.xml"/><Relationship Id="rId98" Type="http://schemas.openxmlformats.org/officeDocument/2006/relationships/image" Target="../media/image35.png"/><Relationship Id="rId3" Type="http://schemas.openxmlformats.org/officeDocument/2006/relationships/tags" Target="../tags/tag547.xml"/><Relationship Id="rId25" Type="http://schemas.openxmlformats.org/officeDocument/2006/relationships/tags" Target="../tags/tag569.xml"/><Relationship Id="rId46" Type="http://schemas.openxmlformats.org/officeDocument/2006/relationships/tags" Target="../tags/tag590.xml"/><Relationship Id="rId67" Type="http://schemas.openxmlformats.org/officeDocument/2006/relationships/tags" Target="../tags/tag611.xml"/></Relationships>
</file>

<file path=ppt/slides/_rels/slide13.xml.rels><?xml version="1.0" encoding="UTF-8" standalone="yes"?>
<Relationships xmlns="http://schemas.openxmlformats.org/package/2006/relationships"><Relationship Id="rId13" Type="http://schemas.openxmlformats.org/officeDocument/2006/relationships/tags" Target="../tags/tag651.xml"/><Relationship Id="rId18" Type="http://schemas.openxmlformats.org/officeDocument/2006/relationships/tags" Target="../tags/tag656.xml"/><Relationship Id="rId26" Type="http://schemas.openxmlformats.org/officeDocument/2006/relationships/tags" Target="../tags/tag664.xml"/><Relationship Id="rId39" Type="http://schemas.openxmlformats.org/officeDocument/2006/relationships/image" Target="../media/image51.png"/><Relationship Id="rId21" Type="http://schemas.openxmlformats.org/officeDocument/2006/relationships/tags" Target="../tags/tag659.xml"/><Relationship Id="rId34" Type="http://schemas.openxmlformats.org/officeDocument/2006/relationships/image" Target="../media/image46.png"/><Relationship Id="rId7" Type="http://schemas.openxmlformats.org/officeDocument/2006/relationships/tags" Target="../tags/tag645.xml"/><Relationship Id="rId12" Type="http://schemas.openxmlformats.org/officeDocument/2006/relationships/tags" Target="../tags/tag650.xml"/><Relationship Id="rId17" Type="http://schemas.openxmlformats.org/officeDocument/2006/relationships/tags" Target="../tags/tag655.xml"/><Relationship Id="rId25" Type="http://schemas.openxmlformats.org/officeDocument/2006/relationships/tags" Target="../tags/tag663.xml"/><Relationship Id="rId33" Type="http://schemas.openxmlformats.org/officeDocument/2006/relationships/image" Target="../media/image19.png"/><Relationship Id="rId38" Type="http://schemas.openxmlformats.org/officeDocument/2006/relationships/image" Target="../media/image50.png"/><Relationship Id="rId2" Type="http://schemas.openxmlformats.org/officeDocument/2006/relationships/tags" Target="../tags/tag640.xml"/><Relationship Id="rId16" Type="http://schemas.openxmlformats.org/officeDocument/2006/relationships/tags" Target="../tags/tag654.xml"/><Relationship Id="rId20" Type="http://schemas.openxmlformats.org/officeDocument/2006/relationships/tags" Target="../tags/tag658.xml"/><Relationship Id="rId29" Type="http://schemas.openxmlformats.org/officeDocument/2006/relationships/notesSlide" Target="../notesSlides/notesSlide10.xml"/><Relationship Id="rId1" Type="http://schemas.openxmlformats.org/officeDocument/2006/relationships/tags" Target="../tags/tag639.xml"/><Relationship Id="rId6" Type="http://schemas.openxmlformats.org/officeDocument/2006/relationships/tags" Target="../tags/tag644.xml"/><Relationship Id="rId11" Type="http://schemas.openxmlformats.org/officeDocument/2006/relationships/tags" Target="../tags/tag649.xml"/><Relationship Id="rId24" Type="http://schemas.openxmlformats.org/officeDocument/2006/relationships/tags" Target="../tags/tag662.xml"/><Relationship Id="rId32" Type="http://schemas.openxmlformats.org/officeDocument/2006/relationships/image" Target="../media/image45.png"/><Relationship Id="rId37" Type="http://schemas.openxmlformats.org/officeDocument/2006/relationships/image" Target="../media/image49.png"/><Relationship Id="rId5" Type="http://schemas.openxmlformats.org/officeDocument/2006/relationships/tags" Target="../tags/tag643.xml"/><Relationship Id="rId15" Type="http://schemas.openxmlformats.org/officeDocument/2006/relationships/tags" Target="../tags/tag653.xml"/><Relationship Id="rId23" Type="http://schemas.openxmlformats.org/officeDocument/2006/relationships/tags" Target="../tags/tag661.xml"/><Relationship Id="rId28" Type="http://schemas.openxmlformats.org/officeDocument/2006/relationships/slideLayout" Target="../slideLayouts/slideLayout7.xml"/><Relationship Id="rId36" Type="http://schemas.openxmlformats.org/officeDocument/2006/relationships/image" Target="../media/image48.png"/><Relationship Id="rId10" Type="http://schemas.openxmlformats.org/officeDocument/2006/relationships/tags" Target="../tags/tag648.xml"/><Relationship Id="rId19" Type="http://schemas.openxmlformats.org/officeDocument/2006/relationships/tags" Target="../tags/tag657.xml"/><Relationship Id="rId31" Type="http://schemas.openxmlformats.org/officeDocument/2006/relationships/image" Target="../media/image44.png"/><Relationship Id="rId4" Type="http://schemas.openxmlformats.org/officeDocument/2006/relationships/tags" Target="../tags/tag642.xml"/><Relationship Id="rId9" Type="http://schemas.openxmlformats.org/officeDocument/2006/relationships/tags" Target="../tags/tag647.xml"/><Relationship Id="rId14" Type="http://schemas.openxmlformats.org/officeDocument/2006/relationships/tags" Target="../tags/tag652.xml"/><Relationship Id="rId22" Type="http://schemas.openxmlformats.org/officeDocument/2006/relationships/tags" Target="../tags/tag660.xml"/><Relationship Id="rId27" Type="http://schemas.openxmlformats.org/officeDocument/2006/relationships/tags" Target="../tags/tag665.xml"/><Relationship Id="rId30" Type="http://schemas.openxmlformats.org/officeDocument/2006/relationships/image" Target="../media/image15.png"/><Relationship Id="rId35" Type="http://schemas.openxmlformats.org/officeDocument/2006/relationships/image" Target="../media/image47.png"/><Relationship Id="rId8" Type="http://schemas.openxmlformats.org/officeDocument/2006/relationships/tags" Target="../tags/tag646.xml"/><Relationship Id="rId3" Type="http://schemas.openxmlformats.org/officeDocument/2006/relationships/tags" Target="../tags/tag641.xml"/></Relationships>
</file>

<file path=ppt/slides/_rels/slide14.xml.rels><?xml version="1.0" encoding="UTF-8" standalone="yes"?>
<Relationships xmlns="http://schemas.openxmlformats.org/package/2006/relationships"><Relationship Id="rId13" Type="http://schemas.openxmlformats.org/officeDocument/2006/relationships/tags" Target="../tags/tag678.xml"/><Relationship Id="rId18" Type="http://schemas.openxmlformats.org/officeDocument/2006/relationships/tags" Target="../tags/tag683.xml"/><Relationship Id="rId26" Type="http://schemas.openxmlformats.org/officeDocument/2006/relationships/tags" Target="../tags/tag691.xml"/><Relationship Id="rId39" Type="http://schemas.openxmlformats.org/officeDocument/2006/relationships/image" Target="../media/image57.png"/><Relationship Id="rId21" Type="http://schemas.openxmlformats.org/officeDocument/2006/relationships/tags" Target="../tags/tag686.xml"/><Relationship Id="rId34" Type="http://schemas.openxmlformats.org/officeDocument/2006/relationships/image" Target="../media/image53.png"/><Relationship Id="rId42" Type="http://schemas.openxmlformats.org/officeDocument/2006/relationships/image" Target="../media/image60.png"/><Relationship Id="rId7" Type="http://schemas.openxmlformats.org/officeDocument/2006/relationships/tags" Target="../tags/tag672.xml"/><Relationship Id="rId2" Type="http://schemas.openxmlformats.org/officeDocument/2006/relationships/tags" Target="../tags/tag667.xml"/><Relationship Id="rId16" Type="http://schemas.openxmlformats.org/officeDocument/2006/relationships/tags" Target="../tags/tag681.xml"/><Relationship Id="rId20" Type="http://schemas.openxmlformats.org/officeDocument/2006/relationships/tags" Target="../tags/tag685.xml"/><Relationship Id="rId29" Type="http://schemas.openxmlformats.org/officeDocument/2006/relationships/tags" Target="../tags/tag694.xml"/><Relationship Id="rId41" Type="http://schemas.openxmlformats.org/officeDocument/2006/relationships/image" Target="../media/image59.png"/><Relationship Id="rId1" Type="http://schemas.openxmlformats.org/officeDocument/2006/relationships/tags" Target="../tags/tag666.xml"/><Relationship Id="rId6" Type="http://schemas.openxmlformats.org/officeDocument/2006/relationships/tags" Target="../tags/tag671.xml"/><Relationship Id="rId11" Type="http://schemas.openxmlformats.org/officeDocument/2006/relationships/tags" Target="../tags/tag676.xml"/><Relationship Id="rId24" Type="http://schemas.openxmlformats.org/officeDocument/2006/relationships/tags" Target="../tags/tag689.xml"/><Relationship Id="rId32" Type="http://schemas.openxmlformats.org/officeDocument/2006/relationships/image" Target="../media/image44.png"/><Relationship Id="rId37" Type="http://schemas.openxmlformats.org/officeDocument/2006/relationships/image" Target="../media/image55.png"/><Relationship Id="rId40" Type="http://schemas.openxmlformats.org/officeDocument/2006/relationships/image" Target="../media/image58.png"/><Relationship Id="rId5" Type="http://schemas.openxmlformats.org/officeDocument/2006/relationships/tags" Target="../tags/tag670.xml"/><Relationship Id="rId15" Type="http://schemas.openxmlformats.org/officeDocument/2006/relationships/tags" Target="../tags/tag680.xml"/><Relationship Id="rId23" Type="http://schemas.openxmlformats.org/officeDocument/2006/relationships/tags" Target="../tags/tag688.xml"/><Relationship Id="rId28" Type="http://schemas.openxmlformats.org/officeDocument/2006/relationships/tags" Target="../tags/tag693.xml"/><Relationship Id="rId36" Type="http://schemas.openxmlformats.org/officeDocument/2006/relationships/image" Target="../media/image19.png"/><Relationship Id="rId10" Type="http://schemas.openxmlformats.org/officeDocument/2006/relationships/tags" Target="../tags/tag675.xml"/><Relationship Id="rId19" Type="http://schemas.openxmlformats.org/officeDocument/2006/relationships/tags" Target="../tags/tag684.xml"/><Relationship Id="rId31" Type="http://schemas.openxmlformats.org/officeDocument/2006/relationships/image" Target="../media/image15.png"/><Relationship Id="rId4" Type="http://schemas.openxmlformats.org/officeDocument/2006/relationships/tags" Target="../tags/tag669.xml"/><Relationship Id="rId9" Type="http://schemas.openxmlformats.org/officeDocument/2006/relationships/tags" Target="../tags/tag674.xml"/><Relationship Id="rId14" Type="http://schemas.openxmlformats.org/officeDocument/2006/relationships/tags" Target="../tags/tag679.xml"/><Relationship Id="rId22" Type="http://schemas.openxmlformats.org/officeDocument/2006/relationships/tags" Target="../tags/tag687.xml"/><Relationship Id="rId27" Type="http://schemas.openxmlformats.org/officeDocument/2006/relationships/tags" Target="../tags/tag692.xml"/><Relationship Id="rId30" Type="http://schemas.openxmlformats.org/officeDocument/2006/relationships/slideLayout" Target="../slideLayouts/slideLayout7.xml"/><Relationship Id="rId35" Type="http://schemas.openxmlformats.org/officeDocument/2006/relationships/image" Target="../media/image54.svg"/><Relationship Id="rId43" Type="http://schemas.openxmlformats.org/officeDocument/2006/relationships/image" Target="../media/image61.png"/><Relationship Id="rId8" Type="http://schemas.openxmlformats.org/officeDocument/2006/relationships/tags" Target="../tags/tag673.xml"/><Relationship Id="rId3" Type="http://schemas.openxmlformats.org/officeDocument/2006/relationships/tags" Target="../tags/tag668.xml"/><Relationship Id="rId12" Type="http://schemas.openxmlformats.org/officeDocument/2006/relationships/tags" Target="../tags/tag677.xml"/><Relationship Id="rId17" Type="http://schemas.openxmlformats.org/officeDocument/2006/relationships/tags" Target="../tags/tag682.xml"/><Relationship Id="rId25" Type="http://schemas.openxmlformats.org/officeDocument/2006/relationships/tags" Target="../tags/tag690.xml"/><Relationship Id="rId33" Type="http://schemas.openxmlformats.org/officeDocument/2006/relationships/image" Target="../media/image52.png"/><Relationship Id="rId38" Type="http://schemas.openxmlformats.org/officeDocument/2006/relationships/image" Target="../media/image56.png"/></Relationships>
</file>

<file path=ppt/slides/_rels/slide1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695.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13" Type="http://schemas.openxmlformats.org/officeDocument/2006/relationships/tags" Target="../tags/tag708.xml"/><Relationship Id="rId18" Type="http://schemas.openxmlformats.org/officeDocument/2006/relationships/tags" Target="../tags/tag713.xml"/><Relationship Id="rId26" Type="http://schemas.openxmlformats.org/officeDocument/2006/relationships/tags" Target="../tags/tag721.xml"/><Relationship Id="rId39" Type="http://schemas.openxmlformats.org/officeDocument/2006/relationships/slideLayout" Target="../slideLayouts/slideLayout14.xml"/><Relationship Id="rId21" Type="http://schemas.openxmlformats.org/officeDocument/2006/relationships/tags" Target="../tags/tag716.xml"/><Relationship Id="rId34" Type="http://schemas.openxmlformats.org/officeDocument/2006/relationships/tags" Target="../tags/tag729.xml"/><Relationship Id="rId42" Type="http://schemas.openxmlformats.org/officeDocument/2006/relationships/image" Target="../media/image62.png"/><Relationship Id="rId7" Type="http://schemas.openxmlformats.org/officeDocument/2006/relationships/tags" Target="../tags/tag702.xml"/><Relationship Id="rId2" Type="http://schemas.openxmlformats.org/officeDocument/2006/relationships/tags" Target="../tags/tag697.xml"/><Relationship Id="rId16" Type="http://schemas.openxmlformats.org/officeDocument/2006/relationships/tags" Target="../tags/tag711.xml"/><Relationship Id="rId29" Type="http://schemas.openxmlformats.org/officeDocument/2006/relationships/tags" Target="../tags/tag724.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24" Type="http://schemas.openxmlformats.org/officeDocument/2006/relationships/tags" Target="../tags/tag719.xml"/><Relationship Id="rId32" Type="http://schemas.openxmlformats.org/officeDocument/2006/relationships/tags" Target="../tags/tag727.xml"/><Relationship Id="rId37" Type="http://schemas.openxmlformats.org/officeDocument/2006/relationships/tags" Target="../tags/tag732.xml"/><Relationship Id="rId40" Type="http://schemas.openxmlformats.org/officeDocument/2006/relationships/notesSlide" Target="../notesSlides/notesSlide12.xml"/><Relationship Id="rId45" Type="http://schemas.openxmlformats.org/officeDocument/2006/relationships/image" Target="../media/image64.png"/><Relationship Id="rId5" Type="http://schemas.openxmlformats.org/officeDocument/2006/relationships/tags" Target="../tags/tag700.xml"/><Relationship Id="rId15" Type="http://schemas.openxmlformats.org/officeDocument/2006/relationships/tags" Target="../tags/tag710.xml"/><Relationship Id="rId23" Type="http://schemas.openxmlformats.org/officeDocument/2006/relationships/tags" Target="../tags/tag718.xml"/><Relationship Id="rId28" Type="http://schemas.openxmlformats.org/officeDocument/2006/relationships/tags" Target="../tags/tag723.xml"/><Relationship Id="rId36" Type="http://schemas.openxmlformats.org/officeDocument/2006/relationships/tags" Target="../tags/tag731.xml"/><Relationship Id="rId10" Type="http://schemas.openxmlformats.org/officeDocument/2006/relationships/tags" Target="../tags/tag705.xml"/><Relationship Id="rId19" Type="http://schemas.openxmlformats.org/officeDocument/2006/relationships/tags" Target="../tags/tag714.xml"/><Relationship Id="rId31" Type="http://schemas.openxmlformats.org/officeDocument/2006/relationships/tags" Target="../tags/tag726.xml"/><Relationship Id="rId44" Type="http://schemas.openxmlformats.org/officeDocument/2006/relationships/image" Target="../media/image63.png"/><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tags" Target="../tags/tag717.xml"/><Relationship Id="rId27" Type="http://schemas.openxmlformats.org/officeDocument/2006/relationships/tags" Target="../tags/tag722.xml"/><Relationship Id="rId30" Type="http://schemas.openxmlformats.org/officeDocument/2006/relationships/tags" Target="../tags/tag725.xml"/><Relationship Id="rId35" Type="http://schemas.openxmlformats.org/officeDocument/2006/relationships/tags" Target="../tags/tag730.xml"/><Relationship Id="rId43" Type="http://schemas.openxmlformats.org/officeDocument/2006/relationships/image" Target="../media/image27.png"/><Relationship Id="rId8" Type="http://schemas.openxmlformats.org/officeDocument/2006/relationships/tags" Target="../tags/tag703.xml"/><Relationship Id="rId3" Type="http://schemas.openxmlformats.org/officeDocument/2006/relationships/tags" Target="../tags/tag698.xml"/><Relationship Id="rId12" Type="http://schemas.openxmlformats.org/officeDocument/2006/relationships/tags" Target="../tags/tag707.xml"/><Relationship Id="rId17" Type="http://schemas.openxmlformats.org/officeDocument/2006/relationships/tags" Target="../tags/tag712.xml"/><Relationship Id="rId25" Type="http://schemas.openxmlformats.org/officeDocument/2006/relationships/tags" Target="../tags/tag720.xml"/><Relationship Id="rId33" Type="http://schemas.openxmlformats.org/officeDocument/2006/relationships/tags" Target="../tags/tag728.xml"/><Relationship Id="rId38" Type="http://schemas.openxmlformats.org/officeDocument/2006/relationships/tags" Target="../tags/tag733.xml"/><Relationship Id="rId46" Type="http://schemas.openxmlformats.org/officeDocument/2006/relationships/image" Target="../media/image19.png"/><Relationship Id="rId20" Type="http://schemas.openxmlformats.org/officeDocument/2006/relationships/tags" Target="../tags/tag715.xml"/><Relationship Id="rId41" Type="http://schemas.openxmlformats.org/officeDocument/2006/relationships/image" Target="../media/image15.png"/></Relationships>
</file>

<file path=ppt/slides/_rels/slide17.xml.rels><?xml version="1.0" encoding="UTF-8" standalone="yes"?>
<Relationships xmlns="http://schemas.openxmlformats.org/package/2006/relationships"><Relationship Id="rId26" Type="http://schemas.openxmlformats.org/officeDocument/2006/relationships/tags" Target="../tags/tag762.xml"/><Relationship Id="rId21" Type="http://schemas.openxmlformats.org/officeDocument/2006/relationships/tags" Target="../tags/tag757.xml"/><Relationship Id="rId42" Type="http://schemas.openxmlformats.org/officeDocument/2006/relationships/tags" Target="../tags/tag778.xml"/><Relationship Id="rId47" Type="http://schemas.openxmlformats.org/officeDocument/2006/relationships/tags" Target="../tags/tag783.xml"/><Relationship Id="rId63" Type="http://schemas.openxmlformats.org/officeDocument/2006/relationships/tags" Target="../tags/tag799.xml"/><Relationship Id="rId68" Type="http://schemas.openxmlformats.org/officeDocument/2006/relationships/tags" Target="../tags/tag804.xml"/><Relationship Id="rId84" Type="http://schemas.openxmlformats.org/officeDocument/2006/relationships/tags" Target="../tags/tag820.xml"/><Relationship Id="rId89" Type="http://schemas.openxmlformats.org/officeDocument/2006/relationships/slideLayout" Target="../slideLayouts/slideLayout15.xml"/><Relationship Id="rId16" Type="http://schemas.openxmlformats.org/officeDocument/2006/relationships/tags" Target="../tags/tag752.xml"/><Relationship Id="rId11" Type="http://schemas.openxmlformats.org/officeDocument/2006/relationships/tags" Target="../tags/tag747.xml"/><Relationship Id="rId32" Type="http://schemas.openxmlformats.org/officeDocument/2006/relationships/tags" Target="../tags/tag768.xml"/><Relationship Id="rId37" Type="http://schemas.openxmlformats.org/officeDocument/2006/relationships/tags" Target="../tags/tag773.xml"/><Relationship Id="rId53" Type="http://schemas.openxmlformats.org/officeDocument/2006/relationships/tags" Target="../tags/tag789.xml"/><Relationship Id="rId58" Type="http://schemas.openxmlformats.org/officeDocument/2006/relationships/tags" Target="../tags/tag794.xml"/><Relationship Id="rId74" Type="http://schemas.openxmlformats.org/officeDocument/2006/relationships/tags" Target="../tags/tag810.xml"/><Relationship Id="rId79" Type="http://schemas.openxmlformats.org/officeDocument/2006/relationships/tags" Target="../tags/tag815.xml"/><Relationship Id="rId5" Type="http://schemas.openxmlformats.org/officeDocument/2006/relationships/tags" Target="../tags/tag741.xml"/><Relationship Id="rId90" Type="http://schemas.openxmlformats.org/officeDocument/2006/relationships/notesSlide" Target="../notesSlides/notesSlide13.xml"/><Relationship Id="rId95" Type="http://schemas.openxmlformats.org/officeDocument/2006/relationships/image" Target="../media/image19.png"/><Relationship Id="rId22" Type="http://schemas.openxmlformats.org/officeDocument/2006/relationships/tags" Target="../tags/tag758.xml"/><Relationship Id="rId27" Type="http://schemas.openxmlformats.org/officeDocument/2006/relationships/tags" Target="../tags/tag763.xml"/><Relationship Id="rId43" Type="http://schemas.openxmlformats.org/officeDocument/2006/relationships/tags" Target="../tags/tag779.xml"/><Relationship Id="rId48" Type="http://schemas.openxmlformats.org/officeDocument/2006/relationships/tags" Target="../tags/tag784.xml"/><Relationship Id="rId64" Type="http://schemas.openxmlformats.org/officeDocument/2006/relationships/tags" Target="../tags/tag800.xml"/><Relationship Id="rId69" Type="http://schemas.openxmlformats.org/officeDocument/2006/relationships/tags" Target="../tags/tag805.xml"/><Relationship Id="rId80" Type="http://schemas.openxmlformats.org/officeDocument/2006/relationships/tags" Target="../tags/tag816.xml"/><Relationship Id="rId85" Type="http://schemas.openxmlformats.org/officeDocument/2006/relationships/tags" Target="../tags/tag821.xml"/><Relationship Id="rId3" Type="http://schemas.openxmlformats.org/officeDocument/2006/relationships/tags" Target="../tags/tag739.xml"/><Relationship Id="rId12" Type="http://schemas.openxmlformats.org/officeDocument/2006/relationships/tags" Target="../tags/tag748.xml"/><Relationship Id="rId17" Type="http://schemas.openxmlformats.org/officeDocument/2006/relationships/tags" Target="../tags/tag753.xml"/><Relationship Id="rId25" Type="http://schemas.openxmlformats.org/officeDocument/2006/relationships/tags" Target="../tags/tag761.xml"/><Relationship Id="rId33" Type="http://schemas.openxmlformats.org/officeDocument/2006/relationships/tags" Target="../tags/tag769.xml"/><Relationship Id="rId38" Type="http://schemas.openxmlformats.org/officeDocument/2006/relationships/tags" Target="../tags/tag774.xml"/><Relationship Id="rId46" Type="http://schemas.openxmlformats.org/officeDocument/2006/relationships/tags" Target="../tags/tag782.xml"/><Relationship Id="rId59" Type="http://schemas.openxmlformats.org/officeDocument/2006/relationships/tags" Target="../tags/tag795.xml"/><Relationship Id="rId67" Type="http://schemas.openxmlformats.org/officeDocument/2006/relationships/tags" Target="../tags/tag803.xml"/><Relationship Id="rId20" Type="http://schemas.openxmlformats.org/officeDocument/2006/relationships/tags" Target="../tags/tag756.xml"/><Relationship Id="rId41" Type="http://schemas.openxmlformats.org/officeDocument/2006/relationships/tags" Target="../tags/tag777.xml"/><Relationship Id="rId54" Type="http://schemas.openxmlformats.org/officeDocument/2006/relationships/tags" Target="../tags/tag790.xml"/><Relationship Id="rId62" Type="http://schemas.openxmlformats.org/officeDocument/2006/relationships/tags" Target="../tags/tag798.xml"/><Relationship Id="rId70" Type="http://schemas.openxmlformats.org/officeDocument/2006/relationships/tags" Target="../tags/tag806.xml"/><Relationship Id="rId75" Type="http://schemas.openxmlformats.org/officeDocument/2006/relationships/tags" Target="../tags/tag811.xml"/><Relationship Id="rId83" Type="http://schemas.openxmlformats.org/officeDocument/2006/relationships/tags" Target="../tags/tag819.xml"/><Relationship Id="rId88" Type="http://schemas.openxmlformats.org/officeDocument/2006/relationships/tags" Target="../tags/tag824.xml"/><Relationship Id="rId91" Type="http://schemas.openxmlformats.org/officeDocument/2006/relationships/image" Target="../media/image15.png"/><Relationship Id="rId96" Type="http://schemas.openxmlformats.org/officeDocument/2006/relationships/image" Target="../media/image66.png"/><Relationship Id="rId1" Type="http://schemas.openxmlformats.org/officeDocument/2006/relationships/tags" Target="../tags/tag737.xml"/><Relationship Id="rId6" Type="http://schemas.openxmlformats.org/officeDocument/2006/relationships/tags" Target="../tags/tag742.xml"/><Relationship Id="rId15" Type="http://schemas.openxmlformats.org/officeDocument/2006/relationships/tags" Target="../tags/tag751.xml"/><Relationship Id="rId23" Type="http://schemas.openxmlformats.org/officeDocument/2006/relationships/tags" Target="../tags/tag759.xml"/><Relationship Id="rId28" Type="http://schemas.openxmlformats.org/officeDocument/2006/relationships/tags" Target="../tags/tag764.xml"/><Relationship Id="rId36" Type="http://schemas.openxmlformats.org/officeDocument/2006/relationships/tags" Target="../tags/tag772.xml"/><Relationship Id="rId49" Type="http://schemas.openxmlformats.org/officeDocument/2006/relationships/tags" Target="../tags/tag785.xml"/><Relationship Id="rId57" Type="http://schemas.openxmlformats.org/officeDocument/2006/relationships/tags" Target="../tags/tag793.xml"/><Relationship Id="rId10" Type="http://schemas.openxmlformats.org/officeDocument/2006/relationships/tags" Target="../tags/tag746.xml"/><Relationship Id="rId31" Type="http://schemas.openxmlformats.org/officeDocument/2006/relationships/tags" Target="../tags/tag767.xml"/><Relationship Id="rId44" Type="http://schemas.openxmlformats.org/officeDocument/2006/relationships/tags" Target="../tags/tag780.xml"/><Relationship Id="rId52" Type="http://schemas.openxmlformats.org/officeDocument/2006/relationships/tags" Target="../tags/tag788.xml"/><Relationship Id="rId60" Type="http://schemas.openxmlformats.org/officeDocument/2006/relationships/tags" Target="../tags/tag796.xml"/><Relationship Id="rId65" Type="http://schemas.openxmlformats.org/officeDocument/2006/relationships/tags" Target="../tags/tag801.xml"/><Relationship Id="rId73" Type="http://schemas.openxmlformats.org/officeDocument/2006/relationships/tags" Target="../tags/tag809.xml"/><Relationship Id="rId78" Type="http://schemas.openxmlformats.org/officeDocument/2006/relationships/tags" Target="../tags/tag814.xml"/><Relationship Id="rId81" Type="http://schemas.openxmlformats.org/officeDocument/2006/relationships/tags" Target="../tags/tag817.xml"/><Relationship Id="rId86" Type="http://schemas.openxmlformats.org/officeDocument/2006/relationships/tags" Target="../tags/tag822.xml"/><Relationship Id="rId94" Type="http://schemas.openxmlformats.org/officeDocument/2006/relationships/image" Target="../media/image1.emf"/><Relationship Id="rId4" Type="http://schemas.openxmlformats.org/officeDocument/2006/relationships/tags" Target="../tags/tag740.xml"/><Relationship Id="rId9" Type="http://schemas.openxmlformats.org/officeDocument/2006/relationships/tags" Target="../tags/tag745.xml"/><Relationship Id="rId13" Type="http://schemas.openxmlformats.org/officeDocument/2006/relationships/tags" Target="../tags/tag749.xml"/><Relationship Id="rId18" Type="http://schemas.openxmlformats.org/officeDocument/2006/relationships/tags" Target="../tags/tag754.xml"/><Relationship Id="rId39" Type="http://schemas.openxmlformats.org/officeDocument/2006/relationships/tags" Target="../tags/tag775.xml"/><Relationship Id="rId34" Type="http://schemas.openxmlformats.org/officeDocument/2006/relationships/tags" Target="../tags/tag770.xml"/><Relationship Id="rId50" Type="http://schemas.openxmlformats.org/officeDocument/2006/relationships/tags" Target="../tags/tag786.xml"/><Relationship Id="rId55" Type="http://schemas.openxmlformats.org/officeDocument/2006/relationships/tags" Target="../tags/tag791.xml"/><Relationship Id="rId76" Type="http://schemas.openxmlformats.org/officeDocument/2006/relationships/tags" Target="../tags/tag812.xml"/><Relationship Id="rId97" Type="http://schemas.openxmlformats.org/officeDocument/2006/relationships/image" Target="../media/image67.svg"/><Relationship Id="rId7" Type="http://schemas.openxmlformats.org/officeDocument/2006/relationships/tags" Target="../tags/tag743.xml"/><Relationship Id="rId71" Type="http://schemas.openxmlformats.org/officeDocument/2006/relationships/tags" Target="../tags/tag807.xml"/><Relationship Id="rId92" Type="http://schemas.openxmlformats.org/officeDocument/2006/relationships/image" Target="../media/image65.png"/><Relationship Id="rId2" Type="http://schemas.openxmlformats.org/officeDocument/2006/relationships/tags" Target="../tags/tag738.xml"/><Relationship Id="rId29" Type="http://schemas.openxmlformats.org/officeDocument/2006/relationships/tags" Target="../tags/tag765.xml"/><Relationship Id="rId24" Type="http://schemas.openxmlformats.org/officeDocument/2006/relationships/tags" Target="../tags/tag760.xml"/><Relationship Id="rId40" Type="http://schemas.openxmlformats.org/officeDocument/2006/relationships/tags" Target="../tags/tag776.xml"/><Relationship Id="rId45" Type="http://schemas.openxmlformats.org/officeDocument/2006/relationships/tags" Target="../tags/tag781.xml"/><Relationship Id="rId66" Type="http://schemas.openxmlformats.org/officeDocument/2006/relationships/tags" Target="../tags/tag802.xml"/><Relationship Id="rId87" Type="http://schemas.openxmlformats.org/officeDocument/2006/relationships/tags" Target="../tags/tag823.xml"/><Relationship Id="rId61" Type="http://schemas.openxmlformats.org/officeDocument/2006/relationships/tags" Target="../tags/tag797.xml"/><Relationship Id="rId82" Type="http://schemas.openxmlformats.org/officeDocument/2006/relationships/tags" Target="../tags/tag818.xml"/><Relationship Id="rId19" Type="http://schemas.openxmlformats.org/officeDocument/2006/relationships/tags" Target="../tags/tag755.xml"/><Relationship Id="rId14" Type="http://schemas.openxmlformats.org/officeDocument/2006/relationships/tags" Target="../tags/tag750.xml"/><Relationship Id="rId30" Type="http://schemas.openxmlformats.org/officeDocument/2006/relationships/tags" Target="../tags/tag766.xml"/><Relationship Id="rId35" Type="http://schemas.openxmlformats.org/officeDocument/2006/relationships/tags" Target="../tags/tag771.xml"/><Relationship Id="rId56" Type="http://schemas.openxmlformats.org/officeDocument/2006/relationships/tags" Target="../tags/tag792.xml"/><Relationship Id="rId77" Type="http://schemas.openxmlformats.org/officeDocument/2006/relationships/tags" Target="../tags/tag813.xml"/><Relationship Id="rId8" Type="http://schemas.openxmlformats.org/officeDocument/2006/relationships/tags" Target="../tags/tag744.xml"/><Relationship Id="rId51" Type="http://schemas.openxmlformats.org/officeDocument/2006/relationships/tags" Target="../tags/tag787.xml"/><Relationship Id="rId72" Type="http://schemas.openxmlformats.org/officeDocument/2006/relationships/tags" Target="../tags/tag808.xml"/><Relationship Id="rId93"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13" Type="http://schemas.openxmlformats.org/officeDocument/2006/relationships/tags" Target="../tags/tag840.xml"/><Relationship Id="rId18" Type="http://schemas.openxmlformats.org/officeDocument/2006/relationships/tags" Target="../tags/tag845.xml"/><Relationship Id="rId26" Type="http://schemas.openxmlformats.org/officeDocument/2006/relationships/tags" Target="../tags/tag853.xml"/><Relationship Id="rId39" Type="http://schemas.openxmlformats.org/officeDocument/2006/relationships/tags" Target="../tags/tag866.xml"/><Relationship Id="rId21" Type="http://schemas.openxmlformats.org/officeDocument/2006/relationships/tags" Target="../tags/tag848.xml"/><Relationship Id="rId34" Type="http://schemas.openxmlformats.org/officeDocument/2006/relationships/tags" Target="../tags/tag861.xml"/><Relationship Id="rId42" Type="http://schemas.openxmlformats.org/officeDocument/2006/relationships/slideLayout" Target="../slideLayouts/slideLayout28.xml"/><Relationship Id="rId47" Type="http://schemas.openxmlformats.org/officeDocument/2006/relationships/image" Target="../media/image69.emf"/><Relationship Id="rId7" Type="http://schemas.openxmlformats.org/officeDocument/2006/relationships/tags" Target="../tags/tag834.xml"/><Relationship Id="rId2" Type="http://schemas.openxmlformats.org/officeDocument/2006/relationships/tags" Target="../tags/tag829.xml"/><Relationship Id="rId16" Type="http://schemas.openxmlformats.org/officeDocument/2006/relationships/tags" Target="../tags/tag843.xml"/><Relationship Id="rId29" Type="http://schemas.openxmlformats.org/officeDocument/2006/relationships/tags" Target="../tags/tag856.xml"/><Relationship Id="rId1" Type="http://schemas.openxmlformats.org/officeDocument/2006/relationships/tags" Target="../tags/tag828.xml"/><Relationship Id="rId6" Type="http://schemas.openxmlformats.org/officeDocument/2006/relationships/tags" Target="../tags/tag833.xml"/><Relationship Id="rId11" Type="http://schemas.openxmlformats.org/officeDocument/2006/relationships/tags" Target="../tags/tag838.xml"/><Relationship Id="rId24" Type="http://schemas.openxmlformats.org/officeDocument/2006/relationships/tags" Target="../tags/tag851.xml"/><Relationship Id="rId32" Type="http://schemas.openxmlformats.org/officeDocument/2006/relationships/tags" Target="../tags/tag859.xml"/><Relationship Id="rId37" Type="http://schemas.openxmlformats.org/officeDocument/2006/relationships/tags" Target="../tags/tag864.xml"/><Relationship Id="rId40" Type="http://schemas.openxmlformats.org/officeDocument/2006/relationships/tags" Target="../tags/tag867.xml"/><Relationship Id="rId45" Type="http://schemas.openxmlformats.org/officeDocument/2006/relationships/image" Target="../media/image68.png"/><Relationship Id="rId5" Type="http://schemas.openxmlformats.org/officeDocument/2006/relationships/tags" Target="../tags/tag832.xml"/><Relationship Id="rId15" Type="http://schemas.openxmlformats.org/officeDocument/2006/relationships/tags" Target="../tags/tag842.xml"/><Relationship Id="rId23" Type="http://schemas.openxmlformats.org/officeDocument/2006/relationships/tags" Target="../tags/tag850.xml"/><Relationship Id="rId28" Type="http://schemas.openxmlformats.org/officeDocument/2006/relationships/tags" Target="../tags/tag855.xml"/><Relationship Id="rId36" Type="http://schemas.openxmlformats.org/officeDocument/2006/relationships/tags" Target="../tags/tag863.xml"/><Relationship Id="rId10" Type="http://schemas.openxmlformats.org/officeDocument/2006/relationships/tags" Target="../tags/tag837.xml"/><Relationship Id="rId19" Type="http://schemas.openxmlformats.org/officeDocument/2006/relationships/tags" Target="../tags/tag846.xml"/><Relationship Id="rId31" Type="http://schemas.openxmlformats.org/officeDocument/2006/relationships/tags" Target="../tags/tag858.xml"/><Relationship Id="rId44" Type="http://schemas.openxmlformats.org/officeDocument/2006/relationships/image" Target="../media/image15.png"/><Relationship Id="rId4" Type="http://schemas.openxmlformats.org/officeDocument/2006/relationships/tags" Target="../tags/tag831.xml"/><Relationship Id="rId9" Type="http://schemas.openxmlformats.org/officeDocument/2006/relationships/tags" Target="../tags/tag836.xml"/><Relationship Id="rId14" Type="http://schemas.openxmlformats.org/officeDocument/2006/relationships/tags" Target="../tags/tag841.xml"/><Relationship Id="rId22" Type="http://schemas.openxmlformats.org/officeDocument/2006/relationships/tags" Target="../tags/tag849.xml"/><Relationship Id="rId27" Type="http://schemas.openxmlformats.org/officeDocument/2006/relationships/tags" Target="../tags/tag854.xml"/><Relationship Id="rId30" Type="http://schemas.openxmlformats.org/officeDocument/2006/relationships/tags" Target="../tags/tag857.xml"/><Relationship Id="rId35" Type="http://schemas.openxmlformats.org/officeDocument/2006/relationships/tags" Target="../tags/tag862.xml"/><Relationship Id="rId43" Type="http://schemas.openxmlformats.org/officeDocument/2006/relationships/notesSlide" Target="../notesSlides/notesSlide14.xml"/><Relationship Id="rId48" Type="http://schemas.openxmlformats.org/officeDocument/2006/relationships/image" Target="../media/image19.png"/><Relationship Id="rId8" Type="http://schemas.openxmlformats.org/officeDocument/2006/relationships/tags" Target="../tags/tag835.xml"/><Relationship Id="rId3" Type="http://schemas.openxmlformats.org/officeDocument/2006/relationships/tags" Target="../tags/tag830.xml"/><Relationship Id="rId12" Type="http://schemas.openxmlformats.org/officeDocument/2006/relationships/tags" Target="../tags/tag839.xml"/><Relationship Id="rId17" Type="http://schemas.openxmlformats.org/officeDocument/2006/relationships/tags" Target="../tags/tag844.xml"/><Relationship Id="rId25" Type="http://schemas.openxmlformats.org/officeDocument/2006/relationships/tags" Target="../tags/tag852.xml"/><Relationship Id="rId33" Type="http://schemas.openxmlformats.org/officeDocument/2006/relationships/tags" Target="../tags/tag860.xml"/><Relationship Id="rId38" Type="http://schemas.openxmlformats.org/officeDocument/2006/relationships/tags" Target="../tags/tag865.xml"/><Relationship Id="rId46" Type="http://schemas.openxmlformats.org/officeDocument/2006/relationships/oleObject" Target="../embeddings/oleObject12.bin"/><Relationship Id="rId20" Type="http://schemas.openxmlformats.org/officeDocument/2006/relationships/tags" Target="../tags/tag847.xml"/><Relationship Id="rId41" Type="http://schemas.openxmlformats.org/officeDocument/2006/relationships/tags" Target="../tags/tag868.xml"/></Relationships>
</file>

<file path=ppt/slides/_rels/slide19.xml.rels><?xml version="1.0" encoding="UTF-8" standalone="yes"?>
<Relationships xmlns="http://schemas.openxmlformats.org/package/2006/relationships"><Relationship Id="rId13" Type="http://schemas.openxmlformats.org/officeDocument/2006/relationships/tags" Target="../tags/tag884.xml"/><Relationship Id="rId18" Type="http://schemas.openxmlformats.org/officeDocument/2006/relationships/tags" Target="../tags/tag889.xml"/><Relationship Id="rId26" Type="http://schemas.openxmlformats.org/officeDocument/2006/relationships/tags" Target="../tags/tag897.xml"/><Relationship Id="rId3" Type="http://schemas.openxmlformats.org/officeDocument/2006/relationships/tags" Target="../tags/tag874.xml"/><Relationship Id="rId21" Type="http://schemas.openxmlformats.org/officeDocument/2006/relationships/tags" Target="../tags/tag892.xml"/><Relationship Id="rId7" Type="http://schemas.openxmlformats.org/officeDocument/2006/relationships/tags" Target="../tags/tag878.xml"/><Relationship Id="rId12" Type="http://schemas.openxmlformats.org/officeDocument/2006/relationships/tags" Target="../tags/tag883.xml"/><Relationship Id="rId17" Type="http://schemas.openxmlformats.org/officeDocument/2006/relationships/tags" Target="../tags/tag888.xml"/><Relationship Id="rId25" Type="http://schemas.openxmlformats.org/officeDocument/2006/relationships/tags" Target="../tags/tag896.xml"/><Relationship Id="rId33" Type="http://schemas.openxmlformats.org/officeDocument/2006/relationships/image" Target="../media/image19.png"/><Relationship Id="rId2" Type="http://schemas.openxmlformats.org/officeDocument/2006/relationships/tags" Target="../tags/tag873.xml"/><Relationship Id="rId16" Type="http://schemas.openxmlformats.org/officeDocument/2006/relationships/tags" Target="../tags/tag887.xml"/><Relationship Id="rId20" Type="http://schemas.openxmlformats.org/officeDocument/2006/relationships/tags" Target="../tags/tag891.xml"/><Relationship Id="rId29" Type="http://schemas.openxmlformats.org/officeDocument/2006/relationships/slideLayout" Target="../slideLayouts/slideLayout23.xml"/><Relationship Id="rId1" Type="http://schemas.openxmlformats.org/officeDocument/2006/relationships/tags" Target="../tags/tag872.xml"/><Relationship Id="rId6" Type="http://schemas.openxmlformats.org/officeDocument/2006/relationships/tags" Target="../tags/tag877.xml"/><Relationship Id="rId11" Type="http://schemas.openxmlformats.org/officeDocument/2006/relationships/tags" Target="../tags/tag882.xml"/><Relationship Id="rId24" Type="http://schemas.openxmlformats.org/officeDocument/2006/relationships/tags" Target="../tags/tag895.xml"/><Relationship Id="rId32" Type="http://schemas.openxmlformats.org/officeDocument/2006/relationships/image" Target="../media/image70.png"/><Relationship Id="rId5" Type="http://schemas.openxmlformats.org/officeDocument/2006/relationships/tags" Target="../tags/tag876.xml"/><Relationship Id="rId15" Type="http://schemas.openxmlformats.org/officeDocument/2006/relationships/tags" Target="../tags/tag886.xml"/><Relationship Id="rId23" Type="http://schemas.openxmlformats.org/officeDocument/2006/relationships/tags" Target="../tags/tag894.xml"/><Relationship Id="rId28" Type="http://schemas.openxmlformats.org/officeDocument/2006/relationships/tags" Target="../tags/tag899.xml"/><Relationship Id="rId10" Type="http://schemas.openxmlformats.org/officeDocument/2006/relationships/tags" Target="../tags/tag881.xml"/><Relationship Id="rId19" Type="http://schemas.openxmlformats.org/officeDocument/2006/relationships/tags" Target="../tags/tag890.xml"/><Relationship Id="rId31" Type="http://schemas.openxmlformats.org/officeDocument/2006/relationships/image" Target="../media/image15.png"/><Relationship Id="rId4" Type="http://schemas.openxmlformats.org/officeDocument/2006/relationships/tags" Target="../tags/tag875.xml"/><Relationship Id="rId9" Type="http://schemas.openxmlformats.org/officeDocument/2006/relationships/tags" Target="../tags/tag880.xml"/><Relationship Id="rId14" Type="http://schemas.openxmlformats.org/officeDocument/2006/relationships/tags" Target="../tags/tag885.xml"/><Relationship Id="rId22" Type="http://schemas.openxmlformats.org/officeDocument/2006/relationships/tags" Target="../tags/tag893.xml"/><Relationship Id="rId27" Type="http://schemas.openxmlformats.org/officeDocument/2006/relationships/tags" Target="../tags/tag898.xml"/><Relationship Id="rId30" Type="http://schemas.openxmlformats.org/officeDocument/2006/relationships/notesSlide" Target="../notesSlides/notesSlide15.xml"/><Relationship Id="rId8" Type="http://schemas.openxmlformats.org/officeDocument/2006/relationships/tags" Target="../tags/tag879.xml"/></Relationships>
</file>

<file path=ppt/slides/_rels/slide2.xml.rels><?xml version="1.0" encoding="UTF-8" standalone="yes"?>
<Relationships xmlns="http://schemas.openxmlformats.org/package/2006/relationships"><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tags" Target="../tags/tag270.xml"/><Relationship Id="rId39" Type="http://schemas.openxmlformats.org/officeDocument/2006/relationships/tags" Target="../tags/tag283.xml"/><Relationship Id="rId21" Type="http://schemas.openxmlformats.org/officeDocument/2006/relationships/tags" Target="../tags/tag265.xml"/><Relationship Id="rId34" Type="http://schemas.openxmlformats.org/officeDocument/2006/relationships/tags" Target="../tags/tag278.xml"/><Relationship Id="rId42" Type="http://schemas.openxmlformats.org/officeDocument/2006/relationships/tags" Target="../tags/tag286.xml"/><Relationship Id="rId47" Type="http://schemas.openxmlformats.org/officeDocument/2006/relationships/tags" Target="../tags/tag291.xml"/><Relationship Id="rId50" Type="http://schemas.openxmlformats.org/officeDocument/2006/relationships/tags" Target="../tags/tag294.xml"/><Relationship Id="rId55" Type="http://schemas.openxmlformats.org/officeDocument/2006/relationships/image" Target="../media/image16.png"/><Relationship Id="rId7" Type="http://schemas.openxmlformats.org/officeDocument/2006/relationships/tags" Target="../tags/tag251.xml"/><Relationship Id="rId2" Type="http://schemas.openxmlformats.org/officeDocument/2006/relationships/tags" Target="../tags/tag246.xml"/><Relationship Id="rId16" Type="http://schemas.openxmlformats.org/officeDocument/2006/relationships/tags" Target="../tags/tag260.xml"/><Relationship Id="rId29" Type="http://schemas.openxmlformats.org/officeDocument/2006/relationships/tags" Target="../tags/tag273.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tags" Target="../tags/tag276.xml"/><Relationship Id="rId37" Type="http://schemas.openxmlformats.org/officeDocument/2006/relationships/tags" Target="../tags/tag281.xml"/><Relationship Id="rId40" Type="http://schemas.openxmlformats.org/officeDocument/2006/relationships/tags" Target="../tags/tag284.xml"/><Relationship Id="rId45" Type="http://schemas.openxmlformats.org/officeDocument/2006/relationships/tags" Target="../tags/tag289.xml"/><Relationship Id="rId53" Type="http://schemas.openxmlformats.org/officeDocument/2006/relationships/notesSlide" Target="../notesSlides/notesSlide1.xml"/><Relationship Id="rId58" Type="http://schemas.openxmlformats.org/officeDocument/2006/relationships/image" Target="../media/image19.png"/><Relationship Id="rId5" Type="http://schemas.openxmlformats.org/officeDocument/2006/relationships/tags" Target="../tags/tag249.xml"/><Relationship Id="rId19" Type="http://schemas.openxmlformats.org/officeDocument/2006/relationships/tags" Target="../tags/tag263.xml"/><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tags" Target="../tags/tag271.xml"/><Relationship Id="rId30" Type="http://schemas.openxmlformats.org/officeDocument/2006/relationships/tags" Target="../tags/tag274.xml"/><Relationship Id="rId35" Type="http://schemas.openxmlformats.org/officeDocument/2006/relationships/tags" Target="../tags/tag279.xml"/><Relationship Id="rId43" Type="http://schemas.openxmlformats.org/officeDocument/2006/relationships/tags" Target="../tags/tag287.xml"/><Relationship Id="rId48" Type="http://schemas.openxmlformats.org/officeDocument/2006/relationships/tags" Target="../tags/tag292.xml"/><Relationship Id="rId56" Type="http://schemas.openxmlformats.org/officeDocument/2006/relationships/image" Target="../media/image17.png"/><Relationship Id="rId8" Type="http://schemas.openxmlformats.org/officeDocument/2006/relationships/tags" Target="../tags/tag252.xml"/><Relationship Id="rId51" Type="http://schemas.openxmlformats.org/officeDocument/2006/relationships/tags" Target="../tags/tag295.xml"/><Relationship Id="rId3" Type="http://schemas.openxmlformats.org/officeDocument/2006/relationships/tags" Target="../tags/tag247.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 Id="rId46" Type="http://schemas.openxmlformats.org/officeDocument/2006/relationships/tags" Target="../tags/tag290.xml"/><Relationship Id="rId59" Type="http://schemas.openxmlformats.org/officeDocument/2006/relationships/image" Target="../media/image20.png"/><Relationship Id="rId20" Type="http://schemas.openxmlformats.org/officeDocument/2006/relationships/tags" Target="../tags/tag264.xml"/><Relationship Id="rId41" Type="http://schemas.openxmlformats.org/officeDocument/2006/relationships/tags" Target="../tags/tag285.xml"/><Relationship Id="rId54" Type="http://schemas.openxmlformats.org/officeDocument/2006/relationships/image" Target="../media/image15.png"/><Relationship Id="rId1" Type="http://schemas.openxmlformats.org/officeDocument/2006/relationships/tags" Target="../tags/tag245.x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image" Target="../media/image18.png"/><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3" Type="http://schemas.openxmlformats.org/officeDocument/2006/relationships/tags" Target="../tags/tag915.xml"/><Relationship Id="rId18" Type="http://schemas.openxmlformats.org/officeDocument/2006/relationships/tags" Target="../tags/tag920.xml"/><Relationship Id="rId26" Type="http://schemas.openxmlformats.org/officeDocument/2006/relationships/tags" Target="../tags/tag928.xml"/><Relationship Id="rId3" Type="http://schemas.openxmlformats.org/officeDocument/2006/relationships/tags" Target="../tags/tag905.xml"/><Relationship Id="rId21" Type="http://schemas.openxmlformats.org/officeDocument/2006/relationships/tags" Target="../tags/tag923.xml"/><Relationship Id="rId7" Type="http://schemas.openxmlformats.org/officeDocument/2006/relationships/tags" Target="../tags/tag909.xml"/><Relationship Id="rId12" Type="http://schemas.openxmlformats.org/officeDocument/2006/relationships/tags" Target="../tags/tag914.xml"/><Relationship Id="rId17" Type="http://schemas.openxmlformats.org/officeDocument/2006/relationships/tags" Target="../tags/tag919.xml"/><Relationship Id="rId25" Type="http://schemas.openxmlformats.org/officeDocument/2006/relationships/tags" Target="../tags/tag927.xml"/><Relationship Id="rId33" Type="http://schemas.openxmlformats.org/officeDocument/2006/relationships/image" Target="../media/image19.png"/><Relationship Id="rId2" Type="http://schemas.openxmlformats.org/officeDocument/2006/relationships/tags" Target="../tags/tag904.xml"/><Relationship Id="rId16" Type="http://schemas.openxmlformats.org/officeDocument/2006/relationships/tags" Target="../tags/tag918.xml"/><Relationship Id="rId20" Type="http://schemas.openxmlformats.org/officeDocument/2006/relationships/tags" Target="../tags/tag922.xml"/><Relationship Id="rId29" Type="http://schemas.openxmlformats.org/officeDocument/2006/relationships/image" Target="../media/image15.png"/><Relationship Id="rId1" Type="http://schemas.openxmlformats.org/officeDocument/2006/relationships/tags" Target="../tags/tag903.xml"/><Relationship Id="rId6" Type="http://schemas.openxmlformats.org/officeDocument/2006/relationships/tags" Target="../tags/tag908.xml"/><Relationship Id="rId11" Type="http://schemas.openxmlformats.org/officeDocument/2006/relationships/tags" Target="../tags/tag913.xml"/><Relationship Id="rId24" Type="http://schemas.openxmlformats.org/officeDocument/2006/relationships/tags" Target="../tags/tag926.xml"/><Relationship Id="rId32" Type="http://schemas.openxmlformats.org/officeDocument/2006/relationships/image" Target="../media/image1.emf"/><Relationship Id="rId5" Type="http://schemas.openxmlformats.org/officeDocument/2006/relationships/tags" Target="../tags/tag907.xml"/><Relationship Id="rId15" Type="http://schemas.openxmlformats.org/officeDocument/2006/relationships/tags" Target="../tags/tag917.xml"/><Relationship Id="rId23" Type="http://schemas.openxmlformats.org/officeDocument/2006/relationships/tags" Target="../tags/tag925.xml"/><Relationship Id="rId28" Type="http://schemas.openxmlformats.org/officeDocument/2006/relationships/notesSlide" Target="../notesSlides/notesSlide16.xml"/><Relationship Id="rId10" Type="http://schemas.openxmlformats.org/officeDocument/2006/relationships/tags" Target="../tags/tag912.xml"/><Relationship Id="rId19" Type="http://schemas.openxmlformats.org/officeDocument/2006/relationships/tags" Target="../tags/tag921.xml"/><Relationship Id="rId31" Type="http://schemas.openxmlformats.org/officeDocument/2006/relationships/oleObject" Target="../embeddings/oleObject13.bin"/><Relationship Id="rId4" Type="http://schemas.openxmlformats.org/officeDocument/2006/relationships/tags" Target="../tags/tag906.xml"/><Relationship Id="rId9" Type="http://schemas.openxmlformats.org/officeDocument/2006/relationships/tags" Target="../tags/tag911.xml"/><Relationship Id="rId14" Type="http://schemas.openxmlformats.org/officeDocument/2006/relationships/tags" Target="../tags/tag916.xml"/><Relationship Id="rId22" Type="http://schemas.openxmlformats.org/officeDocument/2006/relationships/tags" Target="../tags/tag924.xml"/><Relationship Id="rId27" Type="http://schemas.openxmlformats.org/officeDocument/2006/relationships/slideLayout" Target="../slideLayouts/slideLayout23.xml"/><Relationship Id="rId30" Type="http://schemas.openxmlformats.org/officeDocument/2006/relationships/image" Target="../media/image71.png"/><Relationship Id="rId8" Type="http://schemas.openxmlformats.org/officeDocument/2006/relationships/tags" Target="../tags/tag910.xml"/></Relationships>
</file>

<file path=ppt/slides/_rels/slide21.xml.rels><?xml version="1.0" encoding="UTF-8" standalone="yes"?>
<Relationships xmlns="http://schemas.openxmlformats.org/package/2006/relationships"><Relationship Id="rId13" Type="http://schemas.openxmlformats.org/officeDocument/2006/relationships/tags" Target="../tags/tag944.xml"/><Relationship Id="rId18" Type="http://schemas.openxmlformats.org/officeDocument/2006/relationships/tags" Target="../tags/tag949.xml"/><Relationship Id="rId26" Type="http://schemas.openxmlformats.org/officeDocument/2006/relationships/notesSlide" Target="../notesSlides/notesSlide17.xml"/><Relationship Id="rId3" Type="http://schemas.openxmlformats.org/officeDocument/2006/relationships/tags" Target="../tags/tag934.xml"/><Relationship Id="rId21" Type="http://schemas.openxmlformats.org/officeDocument/2006/relationships/tags" Target="../tags/tag952.xml"/><Relationship Id="rId34" Type="http://schemas.openxmlformats.org/officeDocument/2006/relationships/image" Target="../media/image75.png"/><Relationship Id="rId7" Type="http://schemas.openxmlformats.org/officeDocument/2006/relationships/tags" Target="../tags/tag938.xml"/><Relationship Id="rId12" Type="http://schemas.openxmlformats.org/officeDocument/2006/relationships/tags" Target="../tags/tag943.xml"/><Relationship Id="rId17" Type="http://schemas.openxmlformats.org/officeDocument/2006/relationships/tags" Target="../tags/tag948.xml"/><Relationship Id="rId25" Type="http://schemas.openxmlformats.org/officeDocument/2006/relationships/slideLayout" Target="../slideLayouts/slideLayout23.xml"/><Relationship Id="rId33" Type="http://schemas.openxmlformats.org/officeDocument/2006/relationships/image" Target="../media/image74.png"/><Relationship Id="rId2" Type="http://schemas.openxmlformats.org/officeDocument/2006/relationships/tags" Target="../tags/tag933.xml"/><Relationship Id="rId16" Type="http://schemas.openxmlformats.org/officeDocument/2006/relationships/tags" Target="../tags/tag947.xml"/><Relationship Id="rId20" Type="http://schemas.openxmlformats.org/officeDocument/2006/relationships/tags" Target="../tags/tag951.xml"/><Relationship Id="rId29" Type="http://schemas.openxmlformats.org/officeDocument/2006/relationships/oleObject" Target="../embeddings/oleObject14.bin"/><Relationship Id="rId1" Type="http://schemas.openxmlformats.org/officeDocument/2006/relationships/tags" Target="../tags/tag932.xml"/><Relationship Id="rId6" Type="http://schemas.openxmlformats.org/officeDocument/2006/relationships/tags" Target="../tags/tag937.xml"/><Relationship Id="rId11" Type="http://schemas.openxmlformats.org/officeDocument/2006/relationships/tags" Target="../tags/tag942.xml"/><Relationship Id="rId24" Type="http://schemas.openxmlformats.org/officeDocument/2006/relationships/tags" Target="../tags/tag955.xml"/><Relationship Id="rId32" Type="http://schemas.openxmlformats.org/officeDocument/2006/relationships/image" Target="../media/image19.png"/><Relationship Id="rId5" Type="http://schemas.openxmlformats.org/officeDocument/2006/relationships/tags" Target="../tags/tag936.xml"/><Relationship Id="rId15" Type="http://schemas.openxmlformats.org/officeDocument/2006/relationships/tags" Target="../tags/tag946.xml"/><Relationship Id="rId23" Type="http://schemas.openxmlformats.org/officeDocument/2006/relationships/tags" Target="../tags/tag954.xml"/><Relationship Id="rId28" Type="http://schemas.openxmlformats.org/officeDocument/2006/relationships/image" Target="../media/image72.png"/><Relationship Id="rId36" Type="http://schemas.openxmlformats.org/officeDocument/2006/relationships/image" Target="../media/image77.png"/><Relationship Id="rId10" Type="http://schemas.openxmlformats.org/officeDocument/2006/relationships/tags" Target="../tags/tag941.xml"/><Relationship Id="rId19" Type="http://schemas.openxmlformats.org/officeDocument/2006/relationships/tags" Target="../tags/tag950.xml"/><Relationship Id="rId31" Type="http://schemas.openxmlformats.org/officeDocument/2006/relationships/image" Target="../media/image73.png"/><Relationship Id="rId4" Type="http://schemas.openxmlformats.org/officeDocument/2006/relationships/tags" Target="../tags/tag935.xml"/><Relationship Id="rId9" Type="http://schemas.openxmlformats.org/officeDocument/2006/relationships/tags" Target="../tags/tag940.xml"/><Relationship Id="rId14" Type="http://schemas.openxmlformats.org/officeDocument/2006/relationships/tags" Target="../tags/tag945.xml"/><Relationship Id="rId22" Type="http://schemas.openxmlformats.org/officeDocument/2006/relationships/tags" Target="../tags/tag953.xml"/><Relationship Id="rId27" Type="http://schemas.openxmlformats.org/officeDocument/2006/relationships/image" Target="../media/image15.png"/><Relationship Id="rId30" Type="http://schemas.openxmlformats.org/officeDocument/2006/relationships/image" Target="../media/image22.emf"/><Relationship Id="rId35" Type="http://schemas.openxmlformats.org/officeDocument/2006/relationships/image" Target="../media/image76.png"/><Relationship Id="rId8" Type="http://schemas.openxmlformats.org/officeDocument/2006/relationships/tags" Target="../tags/tag939.xml"/></Relationships>
</file>

<file path=ppt/slides/_rels/slide2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8.xml"/><Relationship Id="rId7"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ags" Target="../tags/tag959.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15.bin"/></Relationships>
</file>

<file path=ppt/slides/_rels/slide23.xml.rels><?xml version="1.0" encoding="UTF-8" standalone="yes"?>
<Relationships xmlns="http://schemas.openxmlformats.org/package/2006/relationships"><Relationship Id="rId8" Type="http://schemas.openxmlformats.org/officeDocument/2006/relationships/tags" Target="../tags/tag967.xml"/><Relationship Id="rId13" Type="http://schemas.openxmlformats.org/officeDocument/2006/relationships/tags" Target="../tags/tag972.xml"/><Relationship Id="rId18" Type="http://schemas.openxmlformats.org/officeDocument/2006/relationships/oleObject" Target="../embeddings/oleObject16.bin"/><Relationship Id="rId3" Type="http://schemas.openxmlformats.org/officeDocument/2006/relationships/tags" Target="../tags/tag962.xml"/><Relationship Id="rId21" Type="http://schemas.openxmlformats.org/officeDocument/2006/relationships/image" Target="../media/image78.png"/><Relationship Id="rId7" Type="http://schemas.openxmlformats.org/officeDocument/2006/relationships/tags" Target="../tags/tag966.xml"/><Relationship Id="rId12" Type="http://schemas.openxmlformats.org/officeDocument/2006/relationships/tags" Target="../tags/tag971.xml"/><Relationship Id="rId17" Type="http://schemas.openxmlformats.org/officeDocument/2006/relationships/notesSlide" Target="../notesSlides/notesSlide19.xml"/><Relationship Id="rId2" Type="http://schemas.openxmlformats.org/officeDocument/2006/relationships/tags" Target="../tags/tag961.xml"/><Relationship Id="rId16" Type="http://schemas.openxmlformats.org/officeDocument/2006/relationships/slideLayout" Target="../slideLayouts/slideLayout23.xml"/><Relationship Id="rId20" Type="http://schemas.openxmlformats.org/officeDocument/2006/relationships/image" Target="../media/image15.png"/><Relationship Id="rId1" Type="http://schemas.openxmlformats.org/officeDocument/2006/relationships/tags" Target="../tags/tag960.xml"/><Relationship Id="rId6" Type="http://schemas.openxmlformats.org/officeDocument/2006/relationships/tags" Target="../tags/tag965.xml"/><Relationship Id="rId11" Type="http://schemas.openxmlformats.org/officeDocument/2006/relationships/tags" Target="../tags/tag970.xml"/><Relationship Id="rId24" Type="http://schemas.openxmlformats.org/officeDocument/2006/relationships/image" Target="../media/image80.svg"/><Relationship Id="rId5" Type="http://schemas.openxmlformats.org/officeDocument/2006/relationships/tags" Target="../tags/tag964.xml"/><Relationship Id="rId15" Type="http://schemas.openxmlformats.org/officeDocument/2006/relationships/tags" Target="../tags/tag974.xml"/><Relationship Id="rId23" Type="http://schemas.openxmlformats.org/officeDocument/2006/relationships/image" Target="../media/image79.png"/><Relationship Id="rId10" Type="http://schemas.openxmlformats.org/officeDocument/2006/relationships/tags" Target="../tags/tag969.xml"/><Relationship Id="rId19" Type="http://schemas.openxmlformats.org/officeDocument/2006/relationships/image" Target="../media/image22.emf"/><Relationship Id="rId4" Type="http://schemas.openxmlformats.org/officeDocument/2006/relationships/tags" Target="../tags/tag963.xml"/><Relationship Id="rId9" Type="http://schemas.openxmlformats.org/officeDocument/2006/relationships/tags" Target="../tags/tag968.xml"/><Relationship Id="rId14" Type="http://schemas.openxmlformats.org/officeDocument/2006/relationships/tags" Target="../tags/tag973.xml"/><Relationship Id="rId22" Type="http://schemas.openxmlformats.org/officeDocument/2006/relationships/image" Target="../media/image19.png"/></Relationships>
</file>

<file path=ppt/slides/_rels/slide24.xml.rels><?xml version="1.0" encoding="UTF-8" standalone="yes"?>
<Relationships xmlns="http://schemas.openxmlformats.org/package/2006/relationships"><Relationship Id="rId117" Type="http://schemas.openxmlformats.org/officeDocument/2006/relationships/tags" Target="../tags/tag1094.xml"/><Relationship Id="rId21" Type="http://schemas.openxmlformats.org/officeDocument/2006/relationships/tags" Target="../tags/tag998.xml"/><Relationship Id="rId42" Type="http://schemas.openxmlformats.org/officeDocument/2006/relationships/tags" Target="../tags/tag1019.xml"/><Relationship Id="rId63" Type="http://schemas.openxmlformats.org/officeDocument/2006/relationships/tags" Target="../tags/tag1040.xml"/><Relationship Id="rId84" Type="http://schemas.openxmlformats.org/officeDocument/2006/relationships/tags" Target="../tags/tag1061.xml"/><Relationship Id="rId138" Type="http://schemas.openxmlformats.org/officeDocument/2006/relationships/image" Target="../media/image22.emf"/><Relationship Id="rId107" Type="http://schemas.openxmlformats.org/officeDocument/2006/relationships/tags" Target="../tags/tag1084.xml"/><Relationship Id="rId11" Type="http://schemas.openxmlformats.org/officeDocument/2006/relationships/tags" Target="../tags/tag988.xml"/><Relationship Id="rId32" Type="http://schemas.openxmlformats.org/officeDocument/2006/relationships/tags" Target="../tags/tag1009.xml"/><Relationship Id="rId37" Type="http://schemas.openxmlformats.org/officeDocument/2006/relationships/tags" Target="../tags/tag1014.xml"/><Relationship Id="rId53" Type="http://schemas.openxmlformats.org/officeDocument/2006/relationships/tags" Target="../tags/tag1030.xml"/><Relationship Id="rId58" Type="http://schemas.openxmlformats.org/officeDocument/2006/relationships/tags" Target="../tags/tag1035.xml"/><Relationship Id="rId74" Type="http://schemas.openxmlformats.org/officeDocument/2006/relationships/tags" Target="../tags/tag1051.xml"/><Relationship Id="rId79" Type="http://schemas.openxmlformats.org/officeDocument/2006/relationships/tags" Target="../tags/tag1056.xml"/><Relationship Id="rId102" Type="http://schemas.openxmlformats.org/officeDocument/2006/relationships/tags" Target="../tags/tag1079.xml"/><Relationship Id="rId123" Type="http://schemas.openxmlformats.org/officeDocument/2006/relationships/tags" Target="../tags/tag1100.xml"/><Relationship Id="rId128" Type="http://schemas.openxmlformats.org/officeDocument/2006/relationships/tags" Target="../tags/tag1105.xml"/><Relationship Id="rId5" Type="http://schemas.openxmlformats.org/officeDocument/2006/relationships/tags" Target="../tags/tag982.xml"/><Relationship Id="rId90" Type="http://schemas.openxmlformats.org/officeDocument/2006/relationships/tags" Target="../tags/tag1067.xml"/><Relationship Id="rId95" Type="http://schemas.openxmlformats.org/officeDocument/2006/relationships/tags" Target="../tags/tag1072.xml"/><Relationship Id="rId22" Type="http://schemas.openxmlformats.org/officeDocument/2006/relationships/tags" Target="../tags/tag999.xml"/><Relationship Id="rId27" Type="http://schemas.openxmlformats.org/officeDocument/2006/relationships/tags" Target="../tags/tag1004.xml"/><Relationship Id="rId43" Type="http://schemas.openxmlformats.org/officeDocument/2006/relationships/tags" Target="../tags/tag1020.xml"/><Relationship Id="rId48" Type="http://schemas.openxmlformats.org/officeDocument/2006/relationships/tags" Target="../tags/tag1025.xml"/><Relationship Id="rId64" Type="http://schemas.openxmlformats.org/officeDocument/2006/relationships/tags" Target="../tags/tag1041.xml"/><Relationship Id="rId69" Type="http://schemas.openxmlformats.org/officeDocument/2006/relationships/tags" Target="../tags/tag1046.xml"/><Relationship Id="rId113" Type="http://schemas.openxmlformats.org/officeDocument/2006/relationships/tags" Target="../tags/tag1090.xml"/><Relationship Id="rId118" Type="http://schemas.openxmlformats.org/officeDocument/2006/relationships/tags" Target="../tags/tag1095.xml"/><Relationship Id="rId134" Type="http://schemas.openxmlformats.org/officeDocument/2006/relationships/tags" Target="../tags/tag1111.xml"/><Relationship Id="rId139" Type="http://schemas.openxmlformats.org/officeDocument/2006/relationships/image" Target="../media/image15.png"/><Relationship Id="rId80" Type="http://schemas.openxmlformats.org/officeDocument/2006/relationships/tags" Target="../tags/tag1057.xml"/><Relationship Id="rId85" Type="http://schemas.openxmlformats.org/officeDocument/2006/relationships/tags" Target="../tags/tag1062.xml"/><Relationship Id="rId12" Type="http://schemas.openxmlformats.org/officeDocument/2006/relationships/tags" Target="../tags/tag989.xml"/><Relationship Id="rId17" Type="http://schemas.openxmlformats.org/officeDocument/2006/relationships/tags" Target="../tags/tag994.xml"/><Relationship Id="rId33" Type="http://schemas.openxmlformats.org/officeDocument/2006/relationships/tags" Target="../tags/tag1010.xml"/><Relationship Id="rId38" Type="http://schemas.openxmlformats.org/officeDocument/2006/relationships/tags" Target="../tags/tag1015.xml"/><Relationship Id="rId59" Type="http://schemas.openxmlformats.org/officeDocument/2006/relationships/tags" Target="../tags/tag1036.xml"/><Relationship Id="rId103" Type="http://schemas.openxmlformats.org/officeDocument/2006/relationships/tags" Target="../tags/tag1080.xml"/><Relationship Id="rId108" Type="http://schemas.openxmlformats.org/officeDocument/2006/relationships/tags" Target="../tags/tag1085.xml"/><Relationship Id="rId124" Type="http://schemas.openxmlformats.org/officeDocument/2006/relationships/tags" Target="../tags/tag1101.xml"/><Relationship Id="rId129" Type="http://schemas.openxmlformats.org/officeDocument/2006/relationships/tags" Target="../tags/tag1106.xml"/><Relationship Id="rId54" Type="http://schemas.openxmlformats.org/officeDocument/2006/relationships/tags" Target="../tags/tag1031.xml"/><Relationship Id="rId70" Type="http://schemas.openxmlformats.org/officeDocument/2006/relationships/tags" Target="../tags/tag1047.xml"/><Relationship Id="rId75" Type="http://schemas.openxmlformats.org/officeDocument/2006/relationships/tags" Target="../tags/tag1052.xml"/><Relationship Id="rId91" Type="http://schemas.openxmlformats.org/officeDocument/2006/relationships/tags" Target="../tags/tag1068.xml"/><Relationship Id="rId96" Type="http://schemas.openxmlformats.org/officeDocument/2006/relationships/tags" Target="../tags/tag1073.xml"/><Relationship Id="rId140" Type="http://schemas.openxmlformats.org/officeDocument/2006/relationships/image" Target="../media/image81.png"/><Relationship Id="rId1" Type="http://schemas.openxmlformats.org/officeDocument/2006/relationships/tags" Target="../tags/tag978.xml"/><Relationship Id="rId6" Type="http://schemas.openxmlformats.org/officeDocument/2006/relationships/tags" Target="../tags/tag983.xml"/><Relationship Id="rId23" Type="http://schemas.openxmlformats.org/officeDocument/2006/relationships/tags" Target="../tags/tag1000.xml"/><Relationship Id="rId28" Type="http://schemas.openxmlformats.org/officeDocument/2006/relationships/tags" Target="../tags/tag1005.xml"/><Relationship Id="rId49" Type="http://schemas.openxmlformats.org/officeDocument/2006/relationships/tags" Target="../tags/tag1026.xml"/><Relationship Id="rId114" Type="http://schemas.openxmlformats.org/officeDocument/2006/relationships/tags" Target="../tags/tag1091.xml"/><Relationship Id="rId119" Type="http://schemas.openxmlformats.org/officeDocument/2006/relationships/tags" Target="../tags/tag1096.xml"/><Relationship Id="rId44" Type="http://schemas.openxmlformats.org/officeDocument/2006/relationships/tags" Target="../tags/tag1021.xml"/><Relationship Id="rId60" Type="http://schemas.openxmlformats.org/officeDocument/2006/relationships/tags" Target="../tags/tag1037.xml"/><Relationship Id="rId65" Type="http://schemas.openxmlformats.org/officeDocument/2006/relationships/tags" Target="../tags/tag1042.xml"/><Relationship Id="rId81" Type="http://schemas.openxmlformats.org/officeDocument/2006/relationships/tags" Target="../tags/tag1058.xml"/><Relationship Id="rId86" Type="http://schemas.openxmlformats.org/officeDocument/2006/relationships/tags" Target="../tags/tag1063.xml"/><Relationship Id="rId130" Type="http://schemas.openxmlformats.org/officeDocument/2006/relationships/tags" Target="../tags/tag1107.xml"/><Relationship Id="rId135" Type="http://schemas.openxmlformats.org/officeDocument/2006/relationships/slideLayout" Target="../slideLayouts/slideLayout23.xml"/><Relationship Id="rId13" Type="http://schemas.openxmlformats.org/officeDocument/2006/relationships/tags" Target="../tags/tag990.xml"/><Relationship Id="rId18" Type="http://schemas.openxmlformats.org/officeDocument/2006/relationships/tags" Target="../tags/tag995.xml"/><Relationship Id="rId39" Type="http://schemas.openxmlformats.org/officeDocument/2006/relationships/tags" Target="../tags/tag1016.xml"/><Relationship Id="rId109" Type="http://schemas.openxmlformats.org/officeDocument/2006/relationships/tags" Target="../tags/tag1086.xml"/><Relationship Id="rId34" Type="http://schemas.openxmlformats.org/officeDocument/2006/relationships/tags" Target="../tags/tag1011.xml"/><Relationship Id="rId50" Type="http://schemas.openxmlformats.org/officeDocument/2006/relationships/tags" Target="../tags/tag1027.xml"/><Relationship Id="rId55" Type="http://schemas.openxmlformats.org/officeDocument/2006/relationships/tags" Target="../tags/tag1032.xml"/><Relationship Id="rId76" Type="http://schemas.openxmlformats.org/officeDocument/2006/relationships/tags" Target="../tags/tag1053.xml"/><Relationship Id="rId97" Type="http://schemas.openxmlformats.org/officeDocument/2006/relationships/tags" Target="../tags/tag1074.xml"/><Relationship Id="rId104" Type="http://schemas.openxmlformats.org/officeDocument/2006/relationships/tags" Target="../tags/tag1081.xml"/><Relationship Id="rId120" Type="http://schemas.openxmlformats.org/officeDocument/2006/relationships/tags" Target="../tags/tag1097.xml"/><Relationship Id="rId125" Type="http://schemas.openxmlformats.org/officeDocument/2006/relationships/tags" Target="../tags/tag1102.xml"/><Relationship Id="rId141" Type="http://schemas.openxmlformats.org/officeDocument/2006/relationships/image" Target="../media/image19.png"/><Relationship Id="rId7" Type="http://schemas.openxmlformats.org/officeDocument/2006/relationships/tags" Target="../tags/tag984.xml"/><Relationship Id="rId71" Type="http://schemas.openxmlformats.org/officeDocument/2006/relationships/tags" Target="../tags/tag1048.xml"/><Relationship Id="rId92" Type="http://schemas.openxmlformats.org/officeDocument/2006/relationships/tags" Target="../tags/tag1069.xml"/><Relationship Id="rId2" Type="http://schemas.openxmlformats.org/officeDocument/2006/relationships/tags" Target="../tags/tag979.xml"/><Relationship Id="rId29" Type="http://schemas.openxmlformats.org/officeDocument/2006/relationships/tags" Target="../tags/tag1006.xml"/><Relationship Id="rId24" Type="http://schemas.openxmlformats.org/officeDocument/2006/relationships/tags" Target="../tags/tag1001.xml"/><Relationship Id="rId40" Type="http://schemas.openxmlformats.org/officeDocument/2006/relationships/tags" Target="../tags/tag1017.xml"/><Relationship Id="rId45" Type="http://schemas.openxmlformats.org/officeDocument/2006/relationships/tags" Target="../tags/tag1022.xml"/><Relationship Id="rId66" Type="http://schemas.openxmlformats.org/officeDocument/2006/relationships/tags" Target="../tags/tag1043.xml"/><Relationship Id="rId87" Type="http://schemas.openxmlformats.org/officeDocument/2006/relationships/tags" Target="../tags/tag1064.xml"/><Relationship Id="rId110" Type="http://schemas.openxmlformats.org/officeDocument/2006/relationships/tags" Target="../tags/tag1087.xml"/><Relationship Id="rId115" Type="http://schemas.openxmlformats.org/officeDocument/2006/relationships/tags" Target="../tags/tag1092.xml"/><Relationship Id="rId131" Type="http://schemas.openxmlformats.org/officeDocument/2006/relationships/tags" Target="../tags/tag1108.xml"/><Relationship Id="rId136" Type="http://schemas.openxmlformats.org/officeDocument/2006/relationships/notesSlide" Target="../notesSlides/notesSlide20.xml"/><Relationship Id="rId61" Type="http://schemas.openxmlformats.org/officeDocument/2006/relationships/tags" Target="../tags/tag1038.xml"/><Relationship Id="rId82" Type="http://schemas.openxmlformats.org/officeDocument/2006/relationships/tags" Target="../tags/tag1059.xml"/><Relationship Id="rId19" Type="http://schemas.openxmlformats.org/officeDocument/2006/relationships/tags" Target="../tags/tag996.xml"/><Relationship Id="rId14" Type="http://schemas.openxmlformats.org/officeDocument/2006/relationships/tags" Target="../tags/tag991.xml"/><Relationship Id="rId30" Type="http://schemas.openxmlformats.org/officeDocument/2006/relationships/tags" Target="../tags/tag1007.xml"/><Relationship Id="rId35" Type="http://schemas.openxmlformats.org/officeDocument/2006/relationships/tags" Target="../tags/tag1012.xml"/><Relationship Id="rId56" Type="http://schemas.openxmlformats.org/officeDocument/2006/relationships/tags" Target="../tags/tag1033.xml"/><Relationship Id="rId77" Type="http://schemas.openxmlformats.org/officeDocument/2006/relationships/tags" Target="../tags/tag1054.xml"/><Relationship Id="rId100" Type="http://schemas.openxmlformats.org/officeDocument/2006/relationships/tags" Target="../tags/tag1077.xml"/><Relationship Id="rId105" Type="http://schemas.openxmlformats.org/officeDocument/2006/relationships/tags" Target="../tags/tag1082.xml"/><Relationship Id="rId126" Type="http://schemas.openxmlformats.org/officeDocument/2006/relationships/tags" Target="../tags/tag1103.xml"/><Relationship Id="rId8" Type="http://schemas.openxmlformats.org/officeDocument/2006/relationships/tags" Target="../tags/tag985.xml"/><Relationship Id="rId51" Type="http://schemas.openxmlformats.org/officeDocument/2006/relationships/tags" Target="../tags/tag1028.xml"/><Relationship Id="rId72" Type="http://schemas.openxmlformats.org/officeDocument/2006/relationships/tags" Target="../tags/tag1049.xml"/><Relationship Id="rId93" Type="http://schemas.openxmlformats.org/officeDocument/2006/relationships/tags" Target="../tags/tag1070.xml"/><Relationship Id="rId98" Type="http://schemas.openxmlformats.org/officeDocument/2006/relationships/tags" Target="../tags/tag1075.xml"/><Relationship Id="rId121" Type="http://schemas.openxmlformats.org/officeDocument/2006/relationships/tags" Target="../tags/tag1098.xml"/><Relationship Id="rId3" Type="http://schemas.openxmlformats.org/officeDocument/2006/relationships/tags" Target="../tags/tag980.xml"/><Relationship Id="rId25" Type="http://schemas.openxmlformats.org/officeDocument/2006/relationships/tags" Target="../tags/tag1002.xml"/><Relationship Id="rId46" Type="http://schemas.openxmlformats.org/officeDocument/2006/relationships/tags" Target="../tags/tag1023.xml"/><Relationship Id="rId67" Type="http://schemas.openxmlformats.org/officeDocument/2006/relationships/tags" Target="../tags/tag1044.xml"/><Relationship Id="rId116" Type="http://schemas.openxmlformats.org/officeDocument/2006/relationships/tags" Target="../tags/tag1093.xml"/><Relationship Id="rId137" Type="http://schemas.openxmlformats.org/officeDocument/2006/relationships/oleObject" Target="../embeddings/oleObject17.bin"/><Relationship Id="rId20" Type="http://schemas.openxmlformats.org/officeDocument/2006/relationships/tags" Target="../tags/tag997.xml"/><Relationship Id="rId41" Type="http://schemas.openxmlformats.org/officeDocument/2006/relationships/tags" Target="../tags/tag1018.xml"/><Relationship Id="rId62" Type="http://schemas.openxmlformats.org/officeDocument/2006/relationships/tags" Target="../tags/tag1039.xml"/><Relationship Id="rId83" Type="http://schemas.openxmlformats.org/officeDocument/2006/relationships/tags" Target="../tags/tag1060.xml"/><Relationship Id="rId88" Type="http://schemas.openxmlformats.org/officeDocument/2006/relationships/tags" Target="../tags/tag1065.xml"/><Relationship Id="rId111" Type="http://schemas.openxmlformats.org/officeDocument/2006/relationships/tags" Target="../tags/tag1088.xml"/><Relationship Id="rId132" Type="http://schemas.openxmlformats.org/officeDocument/2006/relationships/tags" Target="../tags/tag1109.xml"/><Relationship Id="rId15" Type="http://schemas.openxmlformats.org/officeDocument/2006/relationships/tags" Target="../tags/tag992.xml"/><Relationship Id="rId36" Type="http://schemas.openxmlformats.org/officeDocument/2006/relationships/tags" Target="../tags/tag1013.xml"/><Relationship Id="rId57" Type="http://schemas.openxmlformats.org/officeDocument/2006/relationships/tags" Target="../tags/tag1034.xml"/><Relationship Id="rId106" Type="http://schemas.openxmlformats.org/officeDocument/2006/relationships/tags" Target="../tags/tag1083.xml"/><Relationship Id="rId127" Type="http://schemas.openxmlformats.org/officeDocument/2006/relationships/tags" Target="../tags/tag1104.xml"/><Relationship Id="rId10" Type="http://schemas.openxmlformats.org/officeDocument/2006/relationships/tags" Target="../tags/tag987.xml"/><Relationship Id="rId31" Type="http://schemas.openxmlformats.org/officeDocument/2006/relationships/tags" Target="../tags/tag1008.xml"/><Relationship Id="rId52" Type="http://schemas.openxmlformats.org/officeDocument/2006/relationships/tags" Target="../tags/tag1029.xml"/><Relationship Id="rId73" Type="http://schemas.openxmlformats.org/officeDocument/2006/relationships/tags" Target="../tags/tag1050.xml"/><Relationship Id="rId78" Type="http://schemas.openxmlformats.org/officeDocument/2006/relationships/tags" Target="../tags/tag1055.xml"/><Relationship Id="rId94" Type="http://schemas.openxmlformats.org/officeDocument/2006/relationships/tags" Target="../tags/tag1071.xml"/><Relationship Id="rId99" Type="http://schemas.openxmlformats.org/officeDocument/2006/relationships/tags" Target="../tags/tag1076.xml"/><Relationship Id="rId101" Type="http://schemas.openxmlformats.org/officeDocument/2006/relationships/tags" Target="../tags/tag1078.xml"/><Relationship Id="rId122" Type="http://schemas.openxmlformats.org/officeDocument/2006/relationships/tags" Target="../tags/tag1099.xml"/><Relationship Id="rId4" Type="http://schemas.openxmlformats.org/officeDocument/2006/relationships/tags" Target="../tags/tag981.xml"/><Relationship Id="rId9" Type="http://schemas.openxmlformats.org/officeDocument/2006/relationships/tags" Target="../tags/tag986.xml"/><Relationship Id="rId26" Type="http://schemas.openxmlformats.org/officeDocument/2006/relationships/tags" Target="../tags/tag1003.xml"/><Relationship Id="rId47" Type="http://schemas.openxmlformats.org/officeDocument/2006/relationships/tags" Target="../tags/tag1024.xml"/><Relationship Id="rId68" Type="http://schemas.openxmlformats.org/officeDocument/2006/relationships/tags" Target="../tags/tag1045.xml"/><Relationship Id="rId89" Type="http://schemas.openxmlformats.org/officeDocument/2006/relationships/tags" Target="../tags/tag1066.xml"/><Relationship Id="rId112" Type="http://schemas.openxmlformats.org/officeDocument/2006/relationships/tags" Target="../tags/tag1089.xml"/><Relationship Id="rId133" Type="http://schemas.openxmlformats.org/officeDocument/2006/relationships/tags" Target="../tags/tag1110.xml"/><Relationship Id="rId16" Type="http://schemas.openxmlformats.org/officeDocument/2006/relationships/tags" Target="../tags/tag993.xml"/></Relationships>
</file>

<file path=ppt/slides/_rels/slide25.xml.rels><?xml version="1.0" encoding="UTF-8" standalone="yes"?>
<Relationships xmlns="http://schemas.openxmlformats.org/package/2006/relationships"><Relationship Id="rId8" Type="http://schemas.openxmlformats.org/officeDocument/2006/relationships/image" Target="../media/image83.emf"/><Relationship Id="rId3" Type="http://schemas.openxmlformats.org/officeDocument/2006/relationships/tags" Target="../tags/tag1117.xml"/><Relationship Id="rId7" Type="http://schemas.openxmlformats.org/officeDocument/2006/relationships/oleObject" Target="../embeddings/oleObject18.bin"/><Relationship Id="rId2" Type="http://schemas.openxmlformats.org/officeDocument/2006/relationships/tags" Target="../tags/tag1116.xml"/><Relationship Id="rId1" Type="http://schemas.openxmlformats.org/officeDocument/2006/relationships/tags" Target="../tags/tag1115.xml"/><Relationship Id="rId6" Type="http://schemas.openxmlformats.org/officeDocument/2006/relationships/image" Target="../media/image82.png"/><Relationship Id="rId11" Type="http://schemas.openxmlformats.org/officeDocument/2006/relationships/image" Target="../media/image85.png"/><Relationship Id="rId5" Type="http://schemas.openxmlformats.org/officeDocument/2006/relationships/notesSlide" Target="../notesSlides/notesSlide21.xml"/><Relationship Id="rId10" Type="http://schemas.openxmlformats.org/officeDocument/2006/relationships/image" Target="../media/image19.png"/><Relationship Id="rId4" Type="http://schemas.openxmlformats.org/officeDocument/2006/relationships/slideLayout" Target="../slideLayouts/slideLayout30.xml"/><Relationship Id="rId9" Type="http://schemas.openxmlformats.org/officeDocument/2006/relationships/image" Target="../media/image84.png"/></Relationships>
</file>

<file path=ppt/slides/_rels/slide26.xml.rels><?xml version="1.0" encoding="UTF-8" standalone="yes"?>
<Relationships xmlns="http://schemas.openxmlformats.org/package/2006/relationships"><Relationship Id="rId26" Type="http://schemas.openxmlformats.org/officeDocument/2006/relationships/tags" Target="../tags/tag1143.xml"/><Relationship Id="rId21" Type="http://schemas.openxmlformats.org/officeDocument/2006/relationships/tags" Target="../tags/tag1138.xml"/><Relationship Id="rId34" Type="http://schemas.openxmlformats.org/officeDocument/2006/relationships/tags" Target="../tags/tag1151.xml"/><Relationship Id="rId42" Type="http://schemas.openxmlformats.org/officeDocument/2006/relationships/tags" Target="../tags/tag1159.xml"/><Relationship Id="rId47" Type="http://schemas.openxmlformats.org/officeDocument/2006/relationships/tags" Target="../tags/tag1164.xml"/><Relationship Id="rId50" Type="http://schemas.openxmlformats.org/officeDocument/2006/relationships/tags" Target="../tags/tag1167.xml"/><Relationship Id="rId55" Type="http://schemas.openxmlformats.org/officeDocument/2006/relationships/tags" Target="../tags/tag1172.xml"/><Relationship Id="rId63" Type="http://schemas.openxmlformats.org/officeDocument/2006/relationships/oleObject" Target="../embeddings/oleObject19.bin"/><Relationship Id="rId7" Type="http://schemas.openxmlformats.org/officeDocument/2006/relationships/tags" Target="../tags/tag1124.xml"/><Relationship Id="rId2" Type="http://schemas.openxmlformats.org/officeDocument/2006/relationships/tags" Target="../tags/tag1119.xml"/><Relationship Id="rId16" Type="http://schemas.openxmlformats.org/officeDocument/2006/relationships/tags" Target="../tags/tag1133.xml"/><Relationship Id="rId29" Type="http://schemas.openxmlformats.org/officeDocument/2006/relationships/tags" Target="../tags/tag1146.xml"/><Relationship Id="rId11" Type="http://schemas.openxmlformats.org/officeDocument/2006/relationships/tags" Target="../tags/tag1128.xml"/><Relationship Id="rId24" Type="http://schemas.openxmlformats.org/officeDocument/2006/relationships/tags" Target="../tags/tag1141.xml"/><Relationship Id="rId32" Type="http://schemas.openxmlformats.org/officeDocument/2006/relationships/tags" Target="../tags/tag1149.xml"/><Relationship Id="rId37" Type="http://schemas.openxmlformats.org/officeDocument/2006/relationships/tags" Target="../tags/tag1154.xml"/><Relationship Id="rId40" Type="http://schemas.openxmlformats.org/officeDocument/2006/relationships/tags" Target="../tags/tag1157.xml"/><Relationship Id="rId45" Type="http://schemas.openxmlformats.org/officeDocument/2006/relationships/tags" Target="../tags/tag1162.xml"/><Relationship Id="rId53" Type="http://schemas.openxmlformats.org/officeDocument/2006/relationships/tags" Target="../tags/tag1170.xml"/><Relationship Id="rId58" Type="http://schemas.openxmlformats.org/officeDocument/2006/relationships/tags" Target="../tags/tag1175.xml"/><Relationship Id="rId66" Type="http://schemas.openxmlformats.org/officeDocument/2006/relationships/image" Target="../media/image19.png"/><Relationship Id="rId5" Type="http://schemas.openxmlformats.org/officeDocument/2006/relationships/tags" Target="../tags/tag1122.xml"/><Relationship Id="rId61" Type="http://schemas.openxmlformats.org/officeDocument/2006/relationships/image" Target="../media/image15.png"/><Relationship Id="rId19" Type="http://schemas.openxmlformats.org/officeDocument/2006/relationships/tags" Target="../tags/tag1136.xml"/><Relationship Id="rId14" Type="http://schemas.openxmlformats.org/officeDocument/2006/relationships/tags" Target="../tags/tag1131.xml"/><Relationship Id="rId22" Type="http://schemas.openxmlformats.org/officeDocument/2006/relationships/tags" Target="../tags/tag1139.xml"/><Relationship Id="rId27" Type="http://schemas.openxmlformats.org/officeDocument/2006/relationships/tags" Target="../tags/tag1144.xml"/><Relationship Id="rId30" Type="http://schemas.openxmlformats.org/officeDocument/2006/relationships/tags" Target="../tags/tag1147.xml"/><Relationship Id="rId35" Type="http://schemas.openxmlformats.org/officeDocument/2006/relationships/tags" Target="../tags/tag1152.xml"/><Relationship Id="rId43" Type="http://schemas.openxmlformats.org/officeDocument/2006/relationships/tags" Target="../tags/tag1160.xml"/><Relationship Id="rId48" Type="http://schemas.openxmlformats.org/officeDocument/2006/relationships/tags" Target="../tags/tag1165.xml"/><Relationship Id="rId56" Type="http://schemas.openxmlformats.org/officeDocument/2006/relationships/tags" Target="../tags/tag1173.xml"/><Relationship Id="rId64" Type="http://schemas.openxmlformats.org/officeDocument/2006/relationships/image" Target="../media/image1.emf"/><Relationship Id="rId8" Type="http://schemas.openxmlformats.org/officeDocument/2006/relationships/tags" Target="../tags/tag1125.xml"/><Relationship Id="rId51" Type="http://schemas.openxmlformats.org/officeDocument/2006/relationships/tags" Target="../tags/tag1168.xml"/><Relationship Id="rId3" Type="http://schemas.openxmlformats.org/officeDocument/2006/relationships/tags" Target="../tags/tag1120.xml"/><Relationship Id="rId12" Type="http://schemas.openxmlformats.org/officeDocument/2006/relationships/tags" Target="../tags/tag1129.xml"/><Relationship Id="rId17" Type="http://schemas.openxmlformats.org/officeDocument/2006/relationships/tags" Target="../tags/tag1134.xml"/><Relationship Id="rId25" Type="http://schemas.openxmlformats.org/officeDocument/2006/relationships/tags" Target="../tags/tag1142.xml"/><Relationship Id="rId33" Type="http://schemas.openxmlformats.org/officeDocument/2006/relationships/tags" Target="../tags/tag1150.xml"/><Relationship Id="rId38" Type="http://schemas.openxmlformats.org/officeDocument/2006/relationships/tags" Target="../tags/tag1155.xml"/><Relationship Id="rId46" Type="http://schemas.openxmlformats.org/officeDocument/2006/relationships/tags" Target="../tags/tag1163.xml"/><Relationship Id="rId59" Type="http://schemas.openxmlformats.org/officeDocument/2006/relationships/slideLayout" Target="../slideLayouts/slideLayout23.xml"/><Relationship Id="rId20" Type="http://schemas.openxmlformats.org/officeDocument/2006/relationships/tags" Target="../tags/tag1137.xml"/><Relationship Id="rId41" Type="http://schemas.openxmlformats.org/officeDocument/2006/relationships/tags" Target="../tags/tag1158.xml"/><Relationship Id="rId54" Type="http://schemas.openxmlformats.org/officeDocument/2006/relationships/tags" Target="../tags/tag1171.xml"/><Relationship Id="rId62" Type="http://schemas.openxmlformats.org/officeDocument/2006/relationships/image" Target="../media/image27.png"/><Relationship Id="rId1" Type="http://schemas.openxmlformats.org/officeDocument/2006/relationships/tags" Target="../tags/tag1118.xml"/><Relationship Id="rId6" Type="http://schemas.openxmlformats.org/officeDocument/2006/relationships/tags" Target="../tags/tag1123.xml"/><Relationship Id="rId15" Type="http://schemas.openxmlformats.org/officeDocument/2006/relationships/tags" Target="../tags/tag1132.xml"/><Relationship Id="rId23" Type="http://schemas.openxmlformats.org/officeDocument/2006/relationships/tags" Target="../tags/tag1140.xml"/><Relationship Id="rId28" Type="http://schemas.openxmlformats.org/officeDocument/2006/relationships/tags" Target="../tags/tag1145.xml"/><Relationship Id="rId36" Type="http://schemas.openxmlformats.org/officeDocument/2006/relationships/tags" Target="../tags/tag1153.xml"/><Relationship Id="rId49" Type="http://schemas.openxmlformats.org/officeDocument/2006/relationships/tags" Target="../tags/tag1166.xml"/><Relationship Id="rId57" Type="http://schemas.openxmlformats.org/officeDocument/2006/relationships/tags" Target="../tags/tag1174.xml"/><Relationship Id="rId10" Type="http://schemas.openxmlformats.org/officeDocument/2006/relationships/tags" Target="../tags/tag1127.xml"/><Relationship Id="rId31" Type="http://schemas.openxmlformats.org/officeDocument/2006/relationships/tags" Target="../tags/tag1148.xml"/><Relationship Id="rId44" Type="http://schemas.openxmlformats.org/officeDocument/2006/relationships/tags" Target="../tags/tag1161.xml"/><Relationship Id="rId52" Type="http://schemas.openxmlformats.org/officeDocument/2006/relationships/tags" Target="../tags/tag1169.xml"/><Relationship Id="rId60" Type="http://schemas.openxmlformats.org/officeDocument/2006/relationships/notesSlide" Target="../notesSlides/notesSlide22.xml"/><Relationship Id="rId65" Type="http://schemas.openxmlformats.org/officeDocument/2006/relationships/chart" Target="../charts/chart6.xml"/><Relationship Id="rId4" Type="http://schemas.openxmlformats.org/officeDocument/2006/relationships/tags" Target="../tags/tag1121.xml"/><Relationship Id="rId9" Type="http://schemas.openxmlformats.org/officeDocument/2006/relationships/tags" Target="../tags/tag1126.xml"/><Relationship Id="rId13" Type="http://schemas.openxmlformats.org/officeDocument/2006/relationships/tags" Target="../tags/tag1130.xml"/><Relationship Id="rId18" Type="http://schemas.openxmlformats.org/officeDocument/2006/relationships/tags" Target="../tags/tag1135.xml"/><Relationship Id="rId39" Type="http://schemas.openxmlformats.org/officeDocument/2006/relationships/tags" Target="../tags/tag1156.xml"/></Relationships>
</file>

<file path=ppt/slides/_rels/slide27.xml.rels><?xml version="1.0" encoding="UTF-8" standalone="yes"?>
<Relationships xmlns="http://schemas.openxmlformats.org/package/2006/relationships"><Relationship Id="rId26" Type="http://schemas.openxmlformats.org/officeDocument/2006/relationships/tags" Target="../tags/tag1204.xml"/><Relationship Id="rId21" Type="http://schemas.openxmlformats.org/officeDocument/2006/relationships/tags" Target="../tags/tag1199.xml"/><Relationship Id="rId42" Type="http://schemas.openxmlformats.org/officeDocument/2006/relationships/tags" Target="../tags/tag1220.xml"/><Relationship Id="rId47" Type="http://schemas.openxmlformats.org/officeDocument/2006/relationships/tags" Target="../tags/tag1225.xml"/><Relationship Id="rId63" Type="http://schemas.openxmlformats.org/officeDocument/2006/relationships/tags" Target="../tags/tag1241.xml"/><Relationship Id="rId68" Type="http://schemas.openxmlformats.org/officeDocument/2006/relationships/slideLayout" Target="../slideLayouts/slideLayout23.xml"/><Relationship Id="rId84" Type="http://schemas.openxmlformats.org/officeDocument/2006/relationships/image" Target="../media/image96.png"/><Relationship Id="rId16" Type="http://schemas.openxmlformats.org/officeDocument/2006/relationships/tags" Target="../tags/tag1194.xml"/><Relationship Id="rId11" Type="http://schemas.openxmlformats.org/officeDocument/2006/relationships/tags" Target="../tags/tag1189.xml"/><Relationship Id="rId32" Type="http://schemas.openxmlformats.org/officeDocument/2006/relationships/tags" Target="../tags/tag1210.xml"/><Relationship Id="rId37" Type="http://schemas.openxmlformats.org/officeDocument/2006/relationships/tags" Target="../tags/tag1215.xml"/><Relationship Id="rId53" Type="http://schemas.openxmlformats.org/officeDocument/2006/relationships/tags" Target="../tags/tag1231.xml"/><Relationship Id="rId58" Type="http://schemas.openxmlformats.org/officeDocument/2006/relationships/tags" Target="../tags/tag1236.xml"/><Relationship Id="rId74" Type="http://schemas.microsoft.com/office/2007/relationships/hdphoto" Target="../media/hdphoto1.wdp"/><Relationship Id="rId79" Type="http://schemas.openxmlformats.org/officeDocument/2006/relationships/image" Target="../media/image91.jpeg"/><Relationship Id="rId5" Type="http://schemas.openxmlformats.org/officeDocument/2006/relationships/tags" Target="../tags/tag1183.xml"/><Relationship Id="rId19" Type="http://schemas.openxmlformats.org/officeDocument/2006/relationships/tags" Target="../tags/tag1197.xml"/><Relationship Id="rId14" Type="http://schemas.openxmlformats.org/officeDocument/2006/relationships/tags" Target="../tags/tag1192.xml"/><Relationship Id="rId22" Type="http://schemas.openxmlformats.org/officeDocument/2006/relationships/tags" Target="../tags/tag1200.xml"/><Relationship Id="rId27" Type="http://schemas.openxmlformats.org/officeDocument/2006/relationships/tags" Target="../tags/tag1205.xml"/><Relationship Id="rId30" Type="http://schemas.openxmlformats.org/officeDocument/2006/relationships/tags" Target="../tags/tag1208.xml"/><Relationship Id="rId35" Type="http://schemas.openxmlformats.org/officeDocument/2006/relationships/tags" Target="../tags/tag1213.xml"/><Relationship Id="rId43" Type="http://schemas.openxmlformats.org/officeDocument/2006/relationships/tags" Target="../tags/tag1221.xml"/><Relationship Id="rId48" Type="http://schemas.openxmlformats.org/officeDocument/2006/relationships/tags" Target="../tags/tag1226.xml"/><Relationship Id="rId56" Type="http://schemas.openxmlformats.org/officeDocument/2006/relationships/tags" Target="../tags/tag1234.xml"/><Relationship Id="rId64" Type="http://schemas.openxmlformats.org/officeDocument/2006/relationships/tags" Target="../tags/tag1242.xml"/><Relationship Id="rId69" Type="http://schemas.openxmlformats.org/officeDocument/2006/relationships/oleObject" Target="../embeddings/oleObject20.bin"/><Relationship Id="rId77" Type="http://schemas.openxmlformats.org/officeDocument/2006/relationships/image" Target="../media/image89.png"/><Relationship Id="rId8" Type="http://schemas.openxmlformats.org/officeDocument/2006/relationships/tags" Target="../tags/tag1186.xml"/><Relationship Id="rId51" Type="http://schemas.openxmlformats.org/officeDocument/2006/relationships/tags" Target="../tags/tag1229.xml"/><Relationship Id="rId72" Type="http://schemas.openxmlformats.org/officeDocument/2006/relationships/image" Target="../media/image27.png"/><Relationship Id="rId80" Type="http://schemas.openxmlformats.org/officeDocument/2006/relationships/image" Target="../media/image92.jpeg"/><Relationship Id="rId85" Type="http://schemas.openxmlformats.org/officeDocument/2006/relationships/image" Target="../media/image97.png"/><Relationship Id="rId3" Type="http://schemas.openxmlformats.org/officeDocument/2006/relationships/tags" Target="../tags/tag1181.xml"/><Relationship Id="rId12" Type="http://schemas.openxmlformats.org/officeDocument/2006/relationships/tags" Target="../tags/tag1190.xml"/><Relationship Id="rId17" Type="http://schemas.openxmlformats.org/officeDocument/2006/relationships/tags" Target="../tags/tag1195.xml"/><Relationship Id="rId25" Type="http://schemas.openxmlformats.org/officeDocument/2006/relationships/tags" Target="../tags/tag1203.xml"/><Relationship Id="rId33" Type="http://schemas.openxmlformats.org/officeDocument/2006/relationships/tags" Target="../tags/tag1211.xml"/><Relationship Id="rId38" Type="http://schemas.openxmlformats.org/officeDocument/2006/relationships/tags" Target="../tags/tag1216.xml"/><Relationship Id="rId46" Type="http://schemas.openxmlformats.org/officeDocument/2006/relationships/tags" Target="../tags/tag1224.xml"/><Relationship Id="rId59" Type="http://schemas.openxmlformats.org/officeDocument/2006/relationships/tags" Target="../tags/tag1237.xml"/><Relationship Id="rId67" Type="http://schemas.openxmlformats.org/officeDocument/2006/relationships/tags" Target="../tags/tag1245.xml"/><Relationship Id="rId20" Type="http://schemas.openxmlformats.org/officeDocument/2006/relationships/tags" Target="../tags/tag1198.xml"/><Relationship Id="rId41" Type="http://schemas.openxmlformats.org/officeDocument/2006/relationships/tags" Target="../tags/tag1219.xml"/><Relationship Id="rId54" Type="http://schemas.openxmlformats.org/officeDocument/2006/relationships/tags" Target="../tags/tag1232.xml"/><Relationship Id="rId62" Type="http://schemas.openxmlformats.org/officeDocument/2006/relationships/tags" Target="../tags/tag1240.xml"/><Relationship Id="rId70" Type="http://schemas.openxmlformats.org/officeDocument/2006/relationships/image" Target="../media/image1.emf"/><Relationship Id="rId75" Type="http://schemas.openxmlformats.org/officeDocument/2006/relationships/image" Target="../media/image87.jpeg"/><Relationship Id="rId83" Type="http://schemas.openxmlformats.org/officeDocument/2006/relationships/image" Target="../media/image95.png"/><Relationship Id="rId1" Type="http://schemas.openxmlformats.org/officeDocument/2006/relationships/tags" Target="../tags/tag1179.xml"/><Relationship Id="rId6" Type="http://schemas.openxmlformats.org/officeDocument/2006/relationships/tags" Target="../tags/tag1184.xml"/><Relationship Id="rId15" Type="http://schemas.openxmlformats.org/officeDocument/2006/relationships/tags" Target="../tags/tag1193.xml"/><Relationship Id="rId23" Type="http://schemas.openxmlformats.org/officeDocument/2006/relationships/tags" Target="../tags/tag1201.xml"/><Relationship Id="rId28" Type="http://schemas.openxmlformats.org/officeDocument/2006/relationships/tags" Target="../tags/tag1206.xml"/><Relationship Id="rId36" Type="http://schemas.openxmlformats.org/officeDocument/2006/relationships/tags" Target="../tags/tag1214.xml"/><Relationship Id="rId49" Type="http://schemas.openxmlformats.org/officeDocument/2006/relationships/tags" Target="../tags/tag1227.xml"/><Relationship Id="rId57" Type="http://schemas.openxmlformats.org/officeDocument/2006/relationships/tags" Target="../tags/tag1235.xml"/><Relationship Id="rId10" Type="http://schemas.openxmlformats.org/officeDocument/2006/relationships/tags" Target="../tags/tag1188.xml"/><Relationship Id="rId31" Type="http://schemas.openxmlformats.org/officeDocument/2006/relationships/tags" Target="../tags/tag1209.xml"/><Relationship Id="rId44" Type="http://schemas.openxmlformats.org/officeDocument/2006/relationships/tags" Target="../tags/tag1222.xml"/><Relationship Id="rId52" Type="http://schemas.openxmlformats.org/officeDocument/2006/relationships/tags" Target="../tags/tag1230.xml"/><Relationship Id="rId60" Type="http://schemas.openxmlformats.org/officeDocument/2006/relationships/tags" Target="../tags/tag1238.xml"/><Relationship Id="rId65" Type="http://schemas.openxmlformats.org/officeDocument/2006/relationships/tags" Target="../tags/tag1243.xml"/><Relationship Id="rId73" Type="http://schemas.openxmlformats.org/officeDocument/2006/relationships/image" Target="../media/image86.png"/><Relationship Id="rId78" Type="http://schemas.openxmlformats.org/officeDocument/2006/relationships/image" Target="../media/image90.png"/><Relationship Id="rId81" Type="http://schemas.openxmlformats.org/officeDocument/2006/relationships/image" Target="../media/image93.jpeg"/><Relationship Id="rId86" Type="http://schemas.openxmlformats.org/officeDocument/2006/relationships/image" Target="../media/image19.png"/><Relationship Id="rId4" Type="http://schemas.openxmlformats.org/officeDocument/2006/relationships/tags" Target="../tags/tag1182.xml"/><Relationship Id="rId9" Type="http://schemas.openxmlformats.org/officeDocument/2006/relationships/tags" Target="../tags/tag1187.xml"/><Relationship Id="rId13" Type="http://schemas.openxmlformats.org/officeDocument/2006/relationships/tags" Target="../tags/tag1191.xml"/><Relationship Id="rId18" Type="http://schemas.openxmlformats.org/officeDocument/2006/relationships/tags" Target="../tags/tag1196.xml"/><Relationship Id="rId39" Type="http://schemas.openxmlformats.org/officeDocument/2006/relationships/tags" Target="../tags/tag1217.xml"/><Relationship Id="rId34" Type="http://schemas.openxmlformats.org/officeDocument/2006/relationships/tags" Target="../tags/tag1212.xml"/><Relationship Id="rId50" Type="http://schemas.openxmlformats.org/officeDocument/2006/relationships/tags" Target="../tags/tag1228.xml"/><Relationship Id="rId55" Type="http://schemas.openxmlformats.org/officeDocument/2006/relationships/tags" Target="../tags/tag1233.xml"/><Relationship Id="rId76" Type="http://schemas.openxmlformats.org/officeDocument/2006/relationships/image" Target="../media/image88.jpeg"/><Relationship Id="rId7" Type="http://schemas.openxmlformats.org/officeDocument/2006/relationships/tags" Target="../tags/tag1185.xml"/><Relationship Id="rId71" Type="http://schemas.openxmlformats.org/officeDocument/2006/relationships/image" Target="../media/image15.png"/><Relationship Id="rId2" Type="http://schemas.openxmlformats.org/officeDocument/2006/relationships/tags" Target="../tags/tag1180.xml"/><Relationship Id="rId29" Type="http://schemas.openxmlformats.org/officeDocument/2006/relationships/tags" Target="../tags/tag1207.xml"/><Relationship Id="rId24" Type="http://schemas.openxmlformats.org/officeDocument/2006/relationships/tags" Target="../tags/tag1202.xml"/><Relationship Id="rId40" Type="http://schemas.openxmlformats.org/officeDocument/2006/relationships/tags" Target="../tags/tag1218.xml"/><Relationship Id="rId45" Type="http://schemas.openxmlformats.org/officeDocument/2006/relationships/tags" Target="../tags/tag1223.xml"/><Relationship Id="rId66" Type="http://schemas.openxmlformats.org/officeDocument/2006/relationships/tags" Target="../tags/tag1244.xml"/><Relationship Id="rId61" Type="http://schemas.openxmlformats.org/officeDocument/2006/relationships/tags" Target="../tags/tag1239.xml"/><Relationship Id="rId82" Type="http://schemas.openxmlformats.org/officeDocument/2006/relationships/image" Target="../media/image94.jpeg"/></Relationships>
</file>

<file path=ppt/slides/_rels/slide2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3.xml"/><Relationship Id="rId7"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ags" Target="../tags/tag1246.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21.bin"/></Relationships>
</file>

<file path=ppt/slides/_rels/slide29.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4.xml"/><Relationship Id="rId7" Type="http://schemas.openxmlformats.org/officeDocument/2006/relationships/image" Target="../media/image98.png"/><Relationship Id="rId2" Type="http://schemas.openxmlformats.org/officeDocument/2006/relationships/slideLayout" Target="../slideLayouts/slideLayout23.xml"/><Relationship Id="rId1" Type="http://schemas.openxmlformats.org/officeDocument/2006/relationships/tags" Target="../tags/tag1247.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8" Type="http://schemas.openxmlformats.org/officeDocument/2006/relationships/tags" Target="../tags/tag303.xml"/><Relationship Id="rId13" Type="http://schemas.openxmlformats.org/officeDocument/2006/relationships/tags" Target="../tags/tag308.xml"/><Relationship Id="rId18" Type="http://schemas.openxmlformats.org/officeDocument/2006/relationships/image" Target="../media/image21.png"/><Relationship Id="rId3" Type="http://schemas.openxmlformats.org/officeDocument/2006/relationships/tags" Target="../tags/tag298.xml"/><Relationship Id="rId7" Type="http://schemas.openxmlformats.org/officeDocument/2006/relationships/tags" Target="../tags/tag302.xml"/><Relationship Id="rId12" Type="http://schemas.openxmlformats.org/officeDocument/2006/relationships/tags" Target="../tags/tag307.xml"/><Relationship Id="rId17" Type="http://schemas.openxmlformats.org/officeDocument/2006/relationships/image" Target="../media/image16.png"/><Relationship Id="rId2" Type="http://schemas.openxmlformats.org/officeDocument/2006/relationships/tags" Target="../tags/tag297.xml"/><Relationship Id="rId16" Type="http://schemas.openxmlformats.org/officeDocument/2006/relationships/image" Target="../media/image15.png"/><Relationship Id="rId20" Type="http://schemas.openxmlformats.org/officeDocument/2006/relationships/image" Target="../media/image19.png"/><Relationship Id="rId1" Type="http://schemas.openxmlformats.org/officeDocument/2006/relationships/tags" Target="../tags/tag296.xml"/><Relationship Id="rId6" Type="http://schemas.openxmlformats.org/officeDocument/2006/relationships/tags" Target="../tags/tag301.xml"/><Relationship Id="rId11" Type="http://schemas.openxmlformats.org/officeDocument/2006/relationships/tags" Target="../tags/tag306.xml"/><Relationship Id="rId5" Type="http://schemas.openxmlformats.org/officeDocument/2006/relationships/tags" Target="../tags/tag300.xml"/><Relationship Id="rId15" Type="http://schemas.openxmlformats.org/officeDocument/2006/relationships/slideLayout" Target="../slideLayouts/slideLayout1.xml"/><Relationship Id="rId10" Type="http://schemas.openxmlformats.org/officeDocument/2006/relationships/tags" Target="../tags/tag305.xml"/><Relationship Id="rId19" Type="http://schemas.openxmlformats.org/officeDocument/2006/relationships/image" Target="../media/image20.png"/><Relationship Id="rId4" Type="http://schemas.openxmlformats.org/officeDocument/2006/relationships/tags" Target="../tags/tag299.xml"/><Relationship Id="rId9" Type="http://schemas.openxmlformats.org/officeDocument/2006/relationships/tags" Target="../tags/tag304.xml"/><Relationship Id="rId14" Type="http://schemas.openxmlformats.org/officeDocument/2006/relationships/tags" Target="../tags/tag309.xml"/></Relationships>
</file>

<file path=ppt/slides/_rels/slide3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5.xml"/><Relationship Id="rId7" Type="http://schemas.openxmlformats.org/officeDocument/2006/relationships/chart" Target="../charts/chart7.xml"/><Relationship Id="rId2" Type="http://schemas.openxmlformats.org/officeDocument/2006/relationships/slideLayout" Target="../slideLayouts/slideLayout23.xml"/><Relationship Id="rId1" Type="http://schemas.openxmlformats.org/officeDocument/2006/relationships/tags" Target="../tags/tag124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9.png"/><Relationship Id="rId2" Type="http://schemas.openxmlformats.org/officeDocument/2006/relationships/slideLayout" Target="../slideLayouts/slideLayout23.xml"/><Relationship Id="rId1" Type="http://schemas.openxmlformats.org/officeDocument/2006/relationships/tags" Target="../tags/tag1249.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9.png"/><Relationship Id="rId2" Type="http://schemas.openxmlformats.org/officeDocument/2006/relationships/slideLayout" Target="../slideLayouts/slideLayout23.xml"/><Relationship Id="rId1" Type="http://schemas.openxmlformats.org/officeDocument/2006/relationships/tags" Target="../tags/tag1250.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5.bin"/></Relationships>
</file>

<file path=ppt/slides/_rels/slide33.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notesSlide" Target="../notesSlides/notesSlide28.xml"/><Relationship Id="rId7" Type="http://schemas.openxmlformats.org/officeDocument/2006/relationships/image" Target="../media/image19.png"/><Relationship Id="rId2" Type="http://schemas.openxmlformats.org/officeDocument/2006/relationships/slideLayout" Target="../slideLayouts/slideLayout23.xml"/><Relationship Id="rId1" Type="http://schemas.openxmlformats.org/officeDocument/2006/relationships/tags" Target="../tags/tag125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9.png"/><Relationship Id="rId2" Type="http://schemas.openxmlformats.org/officeDocument/2006/relationships/slideLayout" Target="../slideLayouts/slideLayout23.xml"/><Relationship Id="rId1" Type="http://schemas.openxmlformats.org/officeDocument/2006/relationships/tags" Target="../tags/tag1252.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3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0.xml"/><Relationship Id="rId7"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ags" Target="../tags/tag1253.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28.bin"/></Relationships>
</file>

<file path=ppt/slides/_rels/slide36.xml.rels><?xml version="1.0" encoding="UTF-8" standalone="yes"?>
<Relationships xmlns="http://schemas.openxmlformats.org/package/2006/relationships"><Relationship Id="rId8" Type="http://schemas.openxmlformats.org/officeDocument/2006/relationships/tags" Target="../tags/tag1261.xml"/><Relationship Id="rId13" Type="http://schemas.openxmlformats.org/officeDocument/2006/relationships/tags" Target="../tags/tag1266.xml"/><Relationship Id="rId18" Type="http://schemas.openxmlformats.org/officeDocument/2006/relationships/tags" Target="../tags/tag1271.xml"/><Relationship Id="rId26" Type="http://schemas.openxmlformats.org/officeDocument/2006/relationships/image" Target="../media/image22.emf"/><Relationship Id="rId3" Type="http://schemas.openxmlformats.org/officeDocument/2006/relationships/tags" Target="../tags/tag1256.xml"/><Relationship Id="rId21" Type="http://schemas.openxmlformats.org/officeDocument/2006/relationships/slideLayout" Target="../slideLayouts/slideLayout23.xml"/><Relationship Id="rId7" Type="http://schemas.openxmlformats.org/officeDocument/2006/relationships/tags" Target="../tags/tag1260.xml"/><Relationship Id="rId12" Type="http://schemas.openxmlformats.org/officeDocument/2006/relationships/tags" Target="../tags/tag1265.xml"/><Relationship Id="rId17" Type="http://schemas.openxmlformats.org/officeDocument/2006/relationships/tags" Target="../tags/tag1270.xml"/><Relationship Id="rId25" Type="http://schemas.openxmlformats.org/officeDocument/2006/relationships/oleObject" Target="../embeddings/oleObject29.bin"/><Relationship Id="rId2" Type="http://schemas.openxmlformats.org/officeDocument/2006/relationships/tags" Target="../tags/tag1255.xml"/><Relationship Id="rId16" Type="http://schemas.openxmlformats.org/officeDocument/2006/relationships/tags" Target="../tags/tag1269.xml"/><Relationship Id="rId20" Type="http://schemas.openxmlformats.org/officeDocument/2006/relationships/tags" Target="../tags/tag1273.xml"/><Relationship Id="rId29" Type="http://schemas.openxmlformats.org/officeDocument/2006/relationships/image" Target="../media/image102.png"/><Relationship Id="rId1" Type="http://schemas.openxmlformats.org/officeDocument/2006/relationships/tags" Target="../tags/tag1254.xml"/><Relationship Id="rId6" Type="http://schemas.openxmlformats.org/officeDocument/2006/relationships/tags" Target="../tags/tag1259.xml"/><Relationship Id="rId11" Type="http://schemas.openxmlformats.org/officeDocument/2006/relationships/tags" Target="../tags/tag1264.xml"/><Relationship Id="rId24" Type="http://schemas.openxmlformats.org/officeDocument/2006/relationships/image" Target="../media/image99.png"/><Relationship Id="rId5" Type="http://schemas.openxmlformats.org/officeDocument/2006/relationships/tags" Target="../tags/tag1258.xml"/><Relationship Id="rId15" Type="http://schemas.openxmlformats.org/officeDocument/2006/relationships/tags" Target="../tags/tag1268.xml"/><Relationship Id="rId23" Type="http://schemas.openxmlformats.org/officeDocument/2006/relationships/image" Target="../media/image15.png"/><Relationship Id="rId28" Type="http://schemas.openxmlformats.org/officeDocument/2006/relationships/image" Target="../media/image101.svg"/><Relationship Id="rId10" Type="http://schemas.openxmlformats.org/officeDocument/2006/relationships/tags" Target="../tags/tag1263.xml"/><Relationship Id="rId19" Type="http://schemas.openxmlformats.org/officeDocument/2006/relationships/tags" Target="../tags/tag1272.xml"/><Relationship Id="rId31" Type="http://schemas.openxmlformats.org/officeDocument/2006/relationships/image" Target="../media/image19.png"/><Relationship Id="rId4" Type="http://schemas.openxmlformats.org/officeDocument/2006/relationships/tags" Target="../tags/tag1257.xml"/><Relationship Id="rId9" Type="http://schemas.openxmlformats.org/officeDocument/2006/relationships/tags" Target="../tags/tag1262.xml"/><Relationship Id="rId14" Type="http://schemas.openxmlformats.org/officeDocument/2006/relationships/tags" Target="../tags/tag1267.xml"/><Relationship Id="rId22" Type="http://schemas.openxmlformats.org/officeDocument/2006/relationships/notesSlide" Target="../notesSlides/notesSlide31.xml"/><Relationship Id="rId27" Type="http://schemas.openxmlformats.org/officeDocument/2006/relationships/image" Target="../media/image100.png"/><Relationship Id="rId30" Type="http://schemas.openxmlformats.org/officeDocument/2006/relationships/image" Target="../media/image103.svg"/></Relationships>
</file>

<file path=ppt/slides/_rels/slide37.xml.rels><?xml version="1.0" encoding="UTF-8" standalone="yes"?>
<Relationships xmlns="http://schemas.openxmlformats.org/package/2006/relationships"><Relationship Id="rId13" Type="http://schemas.openxmlformats.org/officeDocument/2006/relationships/tags" Target="../tags/tag1289.xml"/><Relationship Id="rId18" Type="http://schemas.openxmlformats.org/officeDocument/2006/relationships/tags" Target="../tags/tag1294.xml"/><Relationship Id="rId26" Type="http://schemas.openxmlformats.org/officeDocument/2006/relationships/tags" Target="../tags/tag1302.xml"/><Relationship Id="rId39" Type="http://schemas.openxmlformats.org/officeDocument/2006/relationships/tags" Target="../tags/tag1315.xml"/><Relationship Id="rId21" Type="http://schemas.openxmlformats.org/officeDocument/2006/relationships/tags" Target="../tags/tag1297.xml"/><Relationship Id="rId34" Type="http://schemas.openxmlformats.org/officeDocument/2006/relationships/tags" Target="../tags/tag1310.xml"/><Relationship Id="rId42" Type="http://schemas.openxmlformats.org/officeDocument/2006/relationships/tags" Target="../tags/tag1318.xml"/><Relationship Id="rId47" Type="http://schemas.openxmlformats.org/officeDocument/2006/relationships/notesSlide" Target="../notesSlides/notesSlide32.xml"/><Relationship Id="rId50" Type="http://schemas.openxmlformats.org/officeDocument/2006/relationships/image" Target="../media/image15.png"/><Relationship Id="rId7" Type="http://schemas.openxmlformats.org/officeDocument/2006/relationships/tags" Target="../tags/tag1283.xml"/><Relationship Id="rId2" Type="http://schemas.openxmlformats.org/officeDocument/2006/relationships/tags" Target="../tags/tag1278.xml"/><Relationship Id="rId16" Type="http://schemas.openxmlformats.org/officeDocument/2006/relationships/tags" Target="../tags/tag1292.xml"/><Relationship Id="rId29" Type="http://schemas.openxmlformats.org/officeDocument/2006/relationships/tags" Target="../tags/tag1305.xml"/><Relationship Id="rId11" Type="http://schemas.openxmlformats.org/officeDocument/2006/relationships/tags" Target="../tags/tag1287.xml"/><Relationship Id="rId24" Type="http://schemas.openxmlformats.org/officeDocument/2006/relationships/tags" Target="../tags/tag1300.xml"/><Relationship Id="rId32" Type="http://schemas.openxmlformats.org/officeDocument/2006/relationships/tags" Target="../tags/tag1308.xml"/><Relationship Id="rId37" Type="http://schemas.openxmlformats.org/officeDocument/2006/relationships/tags" Target="../tags/tag1313.xml"/><Relationship Id="rId40" Type="http://schemas.openxmlformats.org/officeDocument/2006/relationships/tags" Target="../tags/tag1316.xml"/><Relationship Id="rId45" Type="http://schemas.openxmlformats.org/officeDocument/2006/relationships/tags" Target="../tags/tag1321.xml"/><Relationship Id="rId53" Type="http://schemas.openxmlformats.org/officeDocument/2006/relationships/chart" Target="../charts/chart9.xml"/><Relationship Id="rId5" Type="http://schemas.openxmlformats.org/officeDocument/2006/relationships/tags" Target="../tags/tag1281.xml"/><Relationship Id="rId10" Type="http://schemas.openxmlformats.org/officeDocument/2006/relationships/tags" Target="../tags/tag1286.xml"/><Relationship Id="rId19" Type="http://schemas.openxmlformats.org/officeDocument/2006/relationships/tags" Target="../tags/tag1295.xml"/><Relationship Id="rId31" Type="http://schemas.openxmlformats.org/officeDocument/2006/relationships/tags" Target="../tags/tag1307.xml"/><Relationship Id="rId44" Type="http://schemas.openxmlformats.org/officeDocument/2006/relationships/tags" Target="../tags/tag1320.xml"/><Relationship Id="rId52" Type="http://schemas.openxmlformats.org/officeDocument/2006/relationships/image" Target="../media/image27.png"/><Relationship Id="rId4" Type="http://schemas.openxmlformats.org/officeDocument/2006/relationships/tags" Target="../tags/tag1280.xml"/><Relationship Id="rId9" Type="http://schemas.openxmlformats.org/officeDocument/2006/relationships/tags" Target="../tags/tag1285.xml"/><Relationship Id="rId14" Type="http://schemas.openxmlformats.org/officeDocument/2006/relationships/tags" Target="../tags/tag1290.xml"/><Relationship Id="rId22" Type="http://schemas.openxmlformats.org/officeDocument/2006/relationships/tags" Target="../tags/tag1298.xml"/><Relationship Id="rId27" Type="http://schemas.openxmlformats.org/officeDocument/2006/relationships/tags" Target="../tags/tag1303.xml"/><Relationship Id="rId30" Type="http://schemas.openxmlformats.org/officeDocument/2006/relationships/tags" Target="../tags/tag1306.xml"/><Relationship Id="rId35" Type="http://schemas.openxmlformats.org/officeDocument/2006/relationships/tags" Target="../tags/tag1311.xml"/><Relationship Id="rId43" Type="http://schemas.openxmlformats.org/officeDocument/2006/relationships/tags" Target="../tags/tag1319.xml"/><Relationship Id="rId48" Type="http://schemas.openxmlformats.org/officeDocument/2006/relationships/oleObject" Target="../embeddings/oleObject30.bin"/><Relationship Id="rId8" Type="http://schemas.openxmlformats.org/officeDocument/2006/relationships/tags" Target="../tags/tag1284.xml"/><Relationship Id="rId51" Type="http://schemas.openxmlformats.org/officeDocument/2006/relationships/image" Target="../media/image104.png"/><Relationship Id="rId3" Type="http://schemas.openxmlformats.org/officeDocument/2006/relationships/tags" Target="../tags/tag1279.xml"/><Relationship Id="rId12" Type="http://schemas.openxmlformats.org/officeDocument/2006/relationships/tags" Target="../tags/tag1288.xml"/><Relationship Id="rId17" Type="http://schemas.openxmlformats.org/officeDocument/2006/relationships/tags" Target="../tags/tag1293.xml"/><Relationship Id="rId25" Type="http://schemas.openxmlformats.org/officeDocument/2006/relationships/tags" Target="../tags/tag1301.xml"/><Relationship Id="rId33" Type="http://schemas.openxmlformats.org/officeDocument/2006/relationships/tags" Target="../tags/tag1309.xml"/><Relationship Id="rId38" Type="http://schemas.openxmlformats.org/officeDocument/2006/relationships/tags" Target="../tags/tag1314.xml"/><Relationship Id="rId46" Type="http://schemas.openxmlformats.org/officeDocument/2006/relationships/slideLayout" Target="../slideLayouts/slideLayout23.xml"/><Relationship Id="rId20" Type="http://schemas.openxmlformats.org/officeDocument/2006/relationships/tags" Target="../tags/tag1296.xml"/><Relationship Id="rId41" Type="http://schemas.openxmlformats.org/officeDocument/2006/relationships/tags" Target="../tags/tag1317.xml"/><Relationship Id="rId54" Type="http://schemas.openxmlformats.org/officeDocument/2006/relationships/image" Target="../media/image19.png"/><Relationship Id="rId1" Type="http://schemas.openxmlformats.org/officeDocument/2006/relationships/tags" Target="../tags/tag1277.xml"/><Relationship Id="rId6" Type="http://schemas.openxmlformats.org/officeDocument/2006/relationships/tags" Target="../tags/tag1282.xml"/><Relationship Id="rId15" Type="http://schemas.openxmlformats.org/officeDocument/2006/relationships/tags" Target="../tags/tag1291.xml"/><Relationship Id="rId23" Type="http://schemas.openxmlformats.org/officeDocument/2006/relationships/tags" Target="../tags/tag1299.xml"/><Relationship Id="rId28" Type="http://schemas.openxmlformats.org/officeDocument/2006/relationships/tags" Target="../tags/tag1304.xml"/><Relationship Id="rId36" Type="http://schemas.openxmlformats.org/officeDocument/2006/relationships/tags" Target="../tags/tag1312.xml"/><Relationship Id="rId49" Type="http://schemas.openxmlformats.org/officeDocument/2006/relationships/image" Target="../media/image22.emf"/></Relationships>
</file>

<file path=ppt/slides/_rels/slide38.xml.rels><?xml version="1.0" encoding="UTF-8" standalone="yes"?>
<Relationships xmlns="http://schemas.openxmlformats.org/package/2006/relationships"><Relationship Id="rId13" Type="http://schemas.openxmlformats.org/officeDocument/2006/relationships/tags" Target="../tags/tag1337.xml"/><Relationship Id="rId18" Type="http://schemas.openxmlformats.org/officeDocument/2006/relationships/notesSlide" Target="../notesSlides/notesSlide33.xml"/><Relationship Id="rId26" Type="http://schemas.openxmlformats.org/officeDocument/2006/relationships/image" Target="../media/image108.png"/><Relationship Id="rId3" Type="http://schemas.openxmlformats.org/officeDocument/2006/relationships/tags" Target="../tags/tag1327.xml"/><Relationship Id="rId21" Type="http://schemas.openxmlformats.org/officeDocument/2006/relationships/image" Target="../media/image15.png"/><Relationship Id="rId34" Type="http://schemas.openxmlformats.org/officeDocument/2006/relationships/image" Target="../media/image19.png"/><Relationship Id="rId7" Type="http://schemas.openxmlformats.org/officeDocument/2006/relationships/tags" Target="../tags/tag1331.xml"/><Relationship Id="rId12" Type="http://schemas.openxmlformats.org/officeDocument/2006/relationships/tags" Target="../tags/tag1336.xml"/><Relationship Id="rId17" Type="http://schemas.openxmlformats.org/officeDocument/2006/relationships/slideLayout" Target="../slideLayouts/slideLayout29.xml"/><Relationship Id="rId25" Type="http://schemas.openxmlformats.org/officeDocument/2006/relationships/image" Target="../media/image107.png"/><Relationship Id="rId33" Type="http://schemas.openxmlformats.org/officeDocument/2006/relationships/image" Target="../media/image115.png"/><Relationship Id="rId2" Type="http://schemas.openxmlformats.org/officeDocument/2006/relationships/tags" Target="../tags/tag1326.xml"/><Relationship Id="rId16" Type="http://schemas.openxmlformats.org/officeDocument/2006/relationships/tags" Target="../tags/tag1340.xml"/><Relationship Id="rId20" Type="http://schemas.openxmlformats.org/officeDocument/2006/relationships/image" Target="../media/image1.emf"/><Relationship Id="rId29" Type="http://schemas.openxmlformats.org/officeDocument/2006/relationships/image" Target="../media/image111.png"/><Relationship Id="rId1" Type="http://schemas.openxmlformats.org/officeDocument/2006/relationships/tags" Target="../tags/tag1325.xml"/><Relationship Id="rId6" Type="http://schemas.openxmlformats.org/officeDocument/2006/relationships/tags" Target="../tags/tag1330.xml"/><Relationship Id="rId11" Type="http://schemas.openxmlformats.org/officeDocument/2006/relationships/tags" Target="../tags/tag1335.xml"/><Relationship Id="rId24" Type="http://schemas.openxmlformats.org/officeDocument/2006/relationships/image" Target="../media/image106.png"/><Relationship Id="rId32" Type="http://schemas.openxmlformats.org/officeDocument/2006/relationships/image" Target="../media/image114.png"/><Relationship Id="rId5" Type="http://schemas.openxmlformats.org/officeDocument/2006/relationships/tags" Target="../tags/tag1329.xml"/><Relationship Id="rId15" Type="http://schemas.openxmlformats.org/officeDocument/2006/relationships/tags" Target="../tags/tag1339.xml"/><Relationship Id="rId23" Type="http://schemas.openxmlformats.org/officeDocument/2006/relationships/chart" Target="../charts/chart10.xml"/><Relationship Id="rId28" Type="http://schemas.openxmlformats.org/officeDocument/2006/relationships/image" Target="../media/image110.png"/><Relationship Id="rId10" Type="http://schemas.openxmlformats.org/officeDocument/2006/relationships/tags" Target="../tags/tag1334.xml"/><Relationship Id="rId19" Type="http://schemas.openxmlformats.org/officeDocument/2006/relationships/oleObject" Target="../embeddings/oleObject31.bin"/><Relationship Id="rId31" Type="http://schemas.openxmlformats.org/officeDocument/2006/relationships/image" Target="../media/image113.png"/><Relationship Id="rId4" Type="http://schemas.openxmlformats.org/officeDocument/2006/relationships/tags" Target="../tags/tag1328.xml"/><Relationship Id="rId9" Type="http://schemas.openxmlformats.org/officeDocument/2006/relationships/tags" Target="../tags/tag1333.xml"/><Relationship Id="rId14" Type="http://schemas.openxmlformats.org/officeDocument/2006/relationships/tags" Target="../tags/tag1338.xml"/><Relationship Id="rId22" Type="http://schemas.openxmlformats.org/officeDocument/2006/relationships/image" Target="../media/image105.png"/><Relationship Id="rId27" Type="http://schemas.openxmlformats.org/officeDocument/2006/relationships/image" Target="../media/image109.png"/><Relationship Id="rId30" Type="http://schemas.openxmlformats.org/officeDocument/2006/relationships/image" Target="../media/image112.png"/><Relationship Id="rId8" Type="http://schemas.openxmlformats.org/officeDocument/2006/relationships/tags" Target="../tags/tag1332.xml"/></Relationships>
</file>

<file path=ppt/slides/_rels/slide39.xml.rels><?xml version="1.0" encoding="UTF-8" standalone="yes"?>
<Relationships xmlns="http://schemas.openxmlformats.org/package/2006/relationships"><Relationship Id="rId8" Type="http://schemas.openxmlformats.org/officeDocument/2006/relationships/image" Target="../media/image22.emf"/><Relationship Id="rId13" Type="http://schemas.openxmlformats.org/officeDocument/2006/relationships/image" Target="../media/image108.png"/><Relationship Id="rId18" Type="http://schemas.openxmlformats.org/officeDocument/2006/relationships/image" Target="../media/image113.png"/><Relationship Id="rId3" Type="http://schemas.openxmlformats.org/officeDocument/2006/relationships/notesSlide" Target="../notesSlides/notesSlide34.xml"/><Relationship Id="rId21" Type="http://schemas.openxmlformats.org/officeDocument/2006/relationships/image" Target="../media/image19.png"/><Relationship Id="rId7" Type="http://schemas.openxmlformats.org/officeDocument/2006/relationships/oleObject" Target="../embeddings/oleObject32.bin"/><Relationship Id="rId12" Type="http://schemas.openxmlformats.org/officeDocument/2006/relationships/image" Target="../media/image107.png"/><Relationship Id="rId17" Type="http://schemas.openxmlformats.org/officeDocument/2006/relationships/image" Target="../media/image112.png"/><Relationship Id="rId2" Type="http://schemas.openxmlformats.org/officeDocument/2006/relationships/slideLayout" Target="../slideLayouts/slideLayout23.xml"/><Relationship Id="rId16" Type="http://schemas.openxmlformats.org/officeDocument/2006/relationships/image" Target="../media/image111.png"/><Relationship Id="rId20" Type="http://schemas.openxmlformats.org/officeDocument/2006/relationships/image" Target="../media/image115.png"/><Relationship Id="rId1" Type="http://schemas.openxmlformats.org/officeDocument/2006/relationships/tags" Target="../tags/tag1344.xml"/><Relationship Id="rId6" Type="http://schemas.openxmlformats.org/officeDocument/2006/relationships/image" Target="../media/image27.png"/><Relationship Id="rId11" Type="http://schemas.openxmlformats.org/officeDocument/2006/relationships/image" Target="../media/image106.png"/><Relationship Id="rId5" Type="http://schemas.openxmlformats.org/officeDocument/2006/relationships/image" Target="../media/image116.png"/><Relationship Id="rId15" Type="http://schemas.openxmlformats.org/officeDocument/2006/relationships/image" Target="../media/image110.png"/><Relationship Id="rId10" Type="http://schemas.openxmlformats.org/officeDocument/2006/relationships/chart" Target="../charts/chart11.xml"/><Relationship Id="rId19" Type="http://schemas.openxmlformats.org/officeDocument/2006/relationships/image" Target="../media/image114.png"/><Relationship Id="rId4" Type="http://schemas.openxmlformats.org/officeDocument/2006/relationships/image" Target="../media/image26.png"/><Relationship Id="rId9" Type="http://schemas.openxmlformats.org/officeDocument/2006/relationships/image" Target="../media/image117.png"/><Relationship Id="rId14" Type="http://schemas.openxmlformats.org/officeDocument/2006/relationships/image" Target="../media/image109.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xml"/><Relationship Id="rId7" Type="http://schemas.openxmlformats.org/officeDocument/2006/relationships/image" Target="../media/image24.png"/><Relationship Id="rId2" Type="http://schemas.openxmlformats.org/officeDocument/2006/relationships/slideLayout" Target="../slideLayouts/slideLayout1.xml"/><Relationship Id="rId1" Type="http://schemas.openxmlformats.org/officeDocument/2006/relationships/tags" Target="../tags/tag310.xml"/><Relationship Id="rId6" Type="http://schemas.openxmlformats.org/officeDocument/2006/relationships/image" Target="../media/image23.png"/><Relationship Id="rId5" Type="http://schemas.openxmlformats.org/officeDocument/2006/relationships/image" Target="../media/image22.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5.xml"/><Relationship Id="rId7" Type="http://schemas.openxmlformats.org/officeDocument/2006/relationships/image" Target="../media/image23.png"/><Relationship Id="rId2" Type="http://schemas.openxmlformats.org/officeDocument/2006/relationships/slideLayout" Target="../slideLayouts/slideLayout18.xml"/><Relationship Id="rId1" Type="http://schemas.openxmlformats.org/officeDocument/2006/relationships/tags" Target="../tags/tag1345.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33.bin"/></Relationships>
</file>

<file path=ppt/slides/_rels/slide41.xml.rels><?xml version="1.0" encoding="UTF-8" standalone="yes"?>
<Relationships xmlns="http://schemas.openxmlformats.org/package/2006/relationships"><Relationship Id="rId8" Type="http://schemas.openxmlformats.org/officeDocument/2006/relationships/tags" Target="../tags/tag1353.xml"/><Relationship Id="rId13" Type="http://schemas.openxmlformats.org/officeDocument/2006/relationships/tags" Target="../tags/tag1358.xml"/><Relationship Id="rId18" Type="http://schemas.openxmlformats.org/officeDocument/2006/relationships/image" Target="../media/image118.png"/><Relationship Id="rId26" Type="http://schemas.openxmlformats.org/officeDocument/2006/relationships/hyperlink" Target="https://www.instagram.com/isacteepbr/?hl=el" TargetMode="External"/><Relationship Id="rId3" Type="http://schemas.openxmlformats.org/officeDocument/2006/relationships/tags" Target="../tags/tag1348.xml"/><Relationship Id="rId21" Type="http://schemas.openxmlformats.org/officeDocument/2006/relationships/image" Target="../media/image119.png"/><Relationship Id="rId7" Type="http://schemas.openxmlformats.org/officeDocument/2006/relationships/tags" Target="../tags/tag1352.xml"/><Relationship Id="rId12" Type="http://schemas.openxmlformats.org/officeDocument/2006/relationships/tags" Target="../tags/tag1357.xml"/><Relationship Id="rId17" Type="http://schemas.openxmlformats.org/officeDocument/2006/relationships/image" Target="../media/image15.png"/><Relationship Id="rId25" Type="http://schemas.openxmlformats.org/officeDocument/2006/relationships/hyperlink" Target="mailto:ri@isacteep.com.br" TargetMode="External"/><Relationship Id="rId2" Type="http://schemas.openxmlformats.org/officeDocument/2006/relationships/tags" Target="../tags/tag1347.xml"/><Relationship Id="rId16" Type="http://schemas.openxmlformats.org/officeDocument/2006/relationships/slideLayout" Target="../slideLayouts/slideLayout18.xml"/><Relationship Id="rId20" Type="http://schemas.openxmlformats.org/officeDocument/2006/relationships/image" Target="../media/image22.emf"/><Relationship Id="rId29" Type="http://schemas.openxmlformats.org/officeDocument/2006/relationships/image" Target="../media/image122.png"/><Relationship Id="rId1" Type="http://schemas.openxmlformats.org/officeDocument/2006/relationships/tags" Target="../tags/tag1346.xml"/><Relationship Id="rId6" Type="http://schemas.openxmlformats.org/officeDocument/2006/relationships/tags" Target="../tags/tag1351.xml"/><Relationship Id="rId11" Type="http://schemas.openxmlformats.org/officeDocument/2006/relationships/tags" Target="../tags/tag1356.xml"/><Relationship Id="rId24" Type="http://schemas.openxmlformats.org/officeDocument/2006/relationships/image" Target="../media/image120.png"/><Relationship Id="rId5" Type="http://schemas.openxmlformats.org/officeDocument/2006/relationships/tags" Target="../tags/tag1350.xml"/><Relationship Id="rId15" Type="http://schemas.openxmlformats.org/officeDocument/2006/relationships/tags" Target="../tags/tag1360.xml"/><Relationship Id="rId23" Type="http://schemas.openxmlformats.org/officeDocument/2006/relationships/hyperlink" Target="https://www.facebook.com/ISACTEEP/?locale=pt_BR" TargetMode="External"/><Relationship Id="rId28" Type="http://schemas.openxmlformats.org/officeDocument/2006/relationships/hyperlink" Target="https://www.youtube.com/user/canalCTEEP" TargetMode="External"/><Relationship Id="rId10" Type="http://schemas.openxmlformats.org/officeDocument/2006/relationships/tags" Target="../tags/tag1355.xml"/><Relationship Id="rId19" Type="http://schemas.openxmlformats.org/officeDocument/2006/relationships/oleObject" Target="../embeddings/oleObject34.bin"/><Relationship Id="rId31" Type="http://schemas.openxmlformats.org/officeDocument/2006/relationships/hyperlink" Target="https://www.isacteep.com.br/" TargetMode="External"/><Relationship Id="rId4" Type="http://schemas.openxmlformats.org/officeDocument/2006/relationships/tags" Target="../tags/tag1349.xml"/><Relationship Id="rId9" Type="http://schemas.openxmlformats.org/officeDocument/2006/relationships/tags" Target="../tags/tag1354.xml"/><Relationship Id="rId14" Type="http://schemas.openxmlformats.org/officeDocument/2006/relationships/tags" Target="../tags/tag1359.xml"/><Relationship Id="rId22" Type="http://schemas.microsoft.com/office/2007/relationships/hdphoto" Target="../media/hdphoto2.wdp"/><Relationship Id="rId27" Type="http://schemas.openxmlformats.org/officeDocument/2006/relationships/image" Target="../media/image121.png"/><Relationship Id="rId30" Type="http://schemas.openxmlformats.org/officeDocument/2006/relationships/hyperlink" Target="https://www.linkedin.com/company/isacteepbr/?originalSubdomain=br" TargetMode="External"/></Relationships>
</file>

<file path=ppt/slides/_rels/slide5.xml.rels><?xml version="1.0" encoding="UTF-8" standalone="yes"?>
<Relationships xmlns="http://schemas.openxmlformats.org/package/2006/relationships"><Relationship Id="rId13" Type="http://schemas.openxmlformats.org/officeDocument/2006/relationships/tags" Target="../tags/tag323.xml"/><Relationship Id="rId18" Type="http://schemas.openxmlformats.org/officeDocument/2006/relationships/tags" Target="../tags/tag328.xml"/><Relationship Id="rId26" Type="http://schemas.openxmlformats.org/officeDocument/2006/relationships/tags" Target="../tags/tag336.xml"/><Relationship Id="rId3" Type="http://schemas.openxmlformats.org/officeDocument/2006/relationships/tags" Target="../tags/tag313.xml"/><Relationship Id="rId21" Type="http://schemas.openxmlformats.org/officeDocument/2006/relationships/tags" Target="../tags/tag331.xml"/><Relationship Id="rId34" Type="http://schemas.openxmlformats.org/officeDocument/2006/relationships/image" Target="../media/image15.png"/><Relationship Id="rId7" Type="http://schemas.openxmlformats.org/officeDocument/2006/relationships/tags" Target="../tags/tag317.xml"/><Relationship Id="rId12" Type="http://schemas.openxmlformats.org/officeDocument/2006/relationships/tags" Target="../tags/tag322.xml"/><Relationship Id="rId17" Type="http://schemas.openxmlformats.org/officeDocument/2006/relationships/tags" Target="../tags/tag327.xml"/><Relationship Id="rId25" Type="http://schemas.openxmlformats.org/officeDocument/2006/relationships/tags" Target="../tags/tag335.xml"/><Relationship Id="rId33" Type="http://schemas.openxmlformats.org/officeDocument/2006/relationships/notesSlide" Target="../notesSlides/notesSlide3.xml"/><Relationship Id="rId2" Type="http://schemas.openxmlformats.org/officeDocument/2006/relationships/tags" Target="../tags/tag312.xml"/><Relationship Id="rId16" Type="http://schemas.openxmlformats.org/officeDocument/2006/relationships/tags" Target="../tags/tag326.xml"/><Relationship Id="rId20" Type="http://schemas.openxmlformats.org/officeDocument/2006/relationships/tags" Target="../tags/tag330.xml"/><Relationship Id="rId29" Type="http://schemas.openxmlformats.org/officeDocument/2006/relationships/tags" Target="../tags/tag339.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tags" Target="../tags/tag321.xml"/><Relationship Id="rId24" Type="http://schemas.openxmlformats.org/officeDocument/2006/relationships/tags" Target="../tags/tag334.xml"/><Relationship Id="rId32" Type="http://schemas.openxmlformats.org/officeDocument/2006/relationships/slideLayout" Target="../slideLayouts/slideLayout23.xml"/><Relationship Id="rId5" Type="http://schemas.openxmlformats.org/officeDocument/2006/relationships/tags" Target="../tags/tag315.xml"/><Relationship Id="rId15" Type="http://schemas.openxmlformats.org/officeDocument/2006/relationships/tags" Target="../tags/tag325.xml"/><Relationship Id="rId23" Type="http://schemas.openxmlformats.org/officeDocument/2006/relationships/tags" Target="../tags/tag333.xml"/><Relationship Id="rId28" Type="http://schemas.openxmlformats.org/officeDocument/2006/relationships/tags" Target="../tags/tag338.xml"/><Relationship Id="rId36" Type="http://schemas.openxmlformats.org/officeDocument/2006/relationships/image" Target="../media/image19.png"/><Relationship Id="rId10" Type="http://schemas.openxmlformats.org/officeDocument/2006/relationships/tags" Target="../tags/tag320.xml"/><Relationship Id="rId19" Type="http://schemas.openxmlformats.org/officeDocument/2006/relationships/tags" Target="../tags/tag329.xml"/><Relationship Id="rId31" Type="http://schemas.openxmlformats.org/officeDocument/2006/relationships/tags" Target="../tags/tag341.xml"/><Relationship Id="rId4" Type="http://schemas.openxmlformats.org/officeDocument/2006/relationships/tags" Target="../tags/tag314.xml"/><Relationship Id="rId9" Type="http://schemas.openxmlformats.org/officeDocument/2006/relationships/tags" Target="../tags/tag319.xml"/><Relationship Id="rId14" Type="http://schemas.openxmlformats.org/officeDocument/2006/relationships/tags" Target="../tags/tag324.xml"/><Relationship Id="rId22" Type="http://schemas.openxmlformats.org/officeDocument/2006/relationships/tags" Target="../tags/tag332.xml"/><Relationship Id="rId27" Type="http://schemas.openxmlformats.org/officeDocument/2006/relationships/tags" Target="../tags/tag337.xml"/><Relationship Id="rId30" Type="http://schemas.openxmlformats.org/officeDocument/2006/relationships/tags" Target="../tags/tag340.xml"/><Relationship Id="rId35" Type="http://schemas.openxmlformats.org/officeDocument/2006/relationships/image" Target="../media/image25.png"/><Relationship Id="rId8" Type="http://schemas.openxmlformats.org/officeDocument/2006/relationships/tags" Target="../tags/tag318.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4.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342.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343.xml"/><Relationship Id="rId6" Type="http://schemas.openxmlformats.org/officeDocument/2006/relationships/image" Target="../media/image26.png"/><Relationship Id="rId5" Type="http://schemas.openxmlformats.org/officeDocument/2006/relationships/image" Target="../media/image22.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26" Type="http://schemas.openxmlformats.org/officeDocument/2006/relationships/tags" Target="../tags/tag369.xml"/><Relationship Id="rId21" Type="http://schemas.openxmlformats.org/officeDocument/2006/relationships/tags" Target="../tags/tag364.xml"/><Relationship Id="rId42" Type="http://schemas.openxmlformats.org/officeDocument/2006/relationships/tags" Target="../tags/tag385.xml"/><Relationship Id="rId47" Type="http://schemas.openxmlformats.org/officeDocument/2006/relationships/tags" Target="../tags/tag390.xml"/><Relationship Id="rId63" Type="http://schemas.openxmlformats.org/officeDocument/2006/relationships/tags" Target="../tags/tag406.xml"/><Relationship Id="rId68" Type="http://schemas.openxmlformats.org/officeDocument/2006/relationships/image" Target="../media/image27.png"/><Relationship Id="rId7" Type="http://schemas.openxmlformats.org/officeDocument/2006/relationships/tags" Target="../tags/tag350.xml"/><Relationship Id="rId71" Type="http://schemas.openxmlformats.org/officeDocument/2006/relationships/chart" Target="../charts/chart1.xml"/><Relationship Id="rId2" Type="http://schemas.openxmlformats.org/officeDocument/2006/relationships/tags" Target="../tags/tag345.xml"/><Relationship Id="rId16" Type="http://schemas.openxmlformats.org/officeDocument/2006/relationships/tags" Target="../tags/tag359.xml"/><Relationship Id="rId29" Type="http://schemas.openxmlformats.org/officeDocument/2006/relationships/tags" Target="../tags/tag372.xml"/><Relationship Id="rId11" Type="http://schemas.openxmlformats.org/officeDocument/2006/relationships/tags" Target="../tags/tag354.xml"/><Relationship Id="rId24" Type="http://schemas.openxmlformats.org/officeDocument/2006/relationships/tags" Target="../tags/tag367.xml"/><Relationship Id="rId32" Type="http://schemas.openxmlformats.org/officeDocument/2006/relationships/tags" Target="../tags/tag375.xml"/><Relationship Id="rId37" Type="http://schemas.openxmlformats.org/officeDocument/2006/relationships/tags" Target="../tags/tag380.xml"/><Relationship Id="rId40" Type="http://schemas.openxmlformats.org/officeDocument/2006/relationships/tags" Target="../tags/tag383.xml"/><Relationship Id="rId45" Type="http://schemas.openxmlformats.org/officeDocument/2006/relationships/tags" Target="../tags/tag388.xml"/><Relationship Id="rId53" Type="http://schemas.openxmlformats.org/officeDocument/2006/relationships/tags" Target="../tags/tag396.xml"/><Relationship Id="rId58" Type="http://schemas.openxmlformats.org/officeDocument/2006/relationships/tags" Target="../tags/tag401.xml"/><Relationship Id="rId66" Type="http://schemas.openxmlformats.org/officeDocument/2006/relationships/notesSlide" Target="../notesSlides/notesSlide6.xml"/><Relationship Id="rId5" Type="http://schemas.openxmlformats.org/officeDocument/2006/relationships/tags" Target="../tags/tag348.xml"/><Relationship Id="rId61" Type="http://schemas.openxmlformats.org/officeDocument/2006/relationships/tags" Target="../tags/tag404.xml"/><Relationship Id="rId19" Type="http://schemas.openxmlformats.org/officeDocument/2006/relationships/tags" Target="../tags/tag362.xml"/><Relationship Id="rId14" Type="http://schemas.openxmlformats.org/officeDocument/2006/relationships/tags" Target="../tags/tag357.xml"/><Relationship Id="rId22" Type="http://schemas.openxmlformats.org/officeDocument/2006/relationships/tags" Target="../tags/tag365.xml"/><Relationship Id="rId27" Type="http://schemas.openxmlformats.org/officeDocument/2006/relationships/tags" Target="../tags/tag370.xml"/><Relationship Id="rId30" Type="http://schemas.openxmlformats.org/officeDocument/2006/relationships/tags" Target="../tags/tag373.xml"/><Relationship Id="rId35" Type="http://schemas.openxmlformats.org/officeDocument/2006/relationships/tags" Target="../tags/tag378.xml"/><Relationship Id="rId43" Type="http://schemas.openxmlformats.org/officeDocument/2006/relationships/tags" Target="../tags/tag386.xml"/><Relationship Id="rId48" Type="http://schemas.openxmlformats.org/officeDocument/2006/relationships/tags" Target="../tags/tag391.xml"/><Relationship Id="rId56" Type="http://schemas.openxmlformats.org/officeDocument/2006/relationships/tags" Target="../tags/tag399.xml"/><Relationship Id="rId64" Type="http://schemas.openxmlformats.org/officeDocument/2006/relationships/tags" Target="../tags/tag407.xml"/><Relationship Id="rId69" Type="http://schemas.openxmlformats.org/officeDocument/2006/relationships/oleObject" Target="../embeddings/oleObject7.bin"/><Relationship Id="rId8" Type="http://schemas.openxmlformats.org/officeDocument/2006/relationships/tags" Target="../tags/tag351.xml"/><Relationship Id="rId51" Type="http://schemas.openxmlformats.org/officeDocument/2006/relationships/tags" Target="../tags/tag394.xml"/><Relationship Id="rId72" Type="http://schemas.openxmlformats.org/officeDocument/2006/relationships/image" Target="../media/image19.png"/><Relationship Id="rId3" Type="http://schemas.openxmlformats.org/officeDocument/2006/relationships/tags" Target="../tags/tag346.xml"/><Relationship Id="rId12" Type="http://schemas.openxmlformats.org/officeDocument/2006/relationships/tags" Target="../tags/tag355.xml"/><Relationship Id="rId17" Type="http://schemas.openxmlformats.org/officeDocument/2006/relationships/tags" Target="../tags/tag360.xml"/><Relationship Id="rId25" Type="http://schemas.openxmlformats.org/officeDocument/2006/relationships/tags" Target="../tags/tag368.xml"/><Relationship Id="rId33" Type="http://schemas.openxmlformats.org/officeDocument/2006/relationships/tags" Target="../tags/tag376.xml"/><Relationship Id="rId38" Type="http://schemas.openxmlformats.org/officeDocument/2006/relationships/tags" Target="../tags/tag381.xml"/><Relationship Id="rId46" Type="http://schemas.openxmlformats.org/officeDocument/2006/relationships/tags" Target="../tags/tag389.xml"/><Relationship Id="rId59" Type="http://schemas.openxmlformats.org/officeDocument/2006/relationships/tags" Target="../tags/tag402.xml"/><Relationship Id="rId67" Type="http://schemas.openxmlformats.org/officeDocument/2006/relationships/image" Target="../media/image15.png"/><Relationship Id="rId20" Type="http://schemas.openxmlformats.org/officeDocument/2006/relationships/tags" Target="../tags/tag363.xml"/><Relationship Id="rId41" Type="http://schemas.openxmlformats.org/officeDocument/2006/relationships/tags" Target="../tags/tag384.xml"/><Relationship Id="rId54" Type="http://schemas.openxmlformats.org/officeDocument/2006/relationships/tags" Target="../tags/tag397.xml"/><Relationship Id="rId62" Type="http://schemas.openxmlformats.org/officeDocument/2006/relationships/tags" Target="../tags/tag405.xml"/><Relationship Id="rId70" Type="http://schemas.openxmlformats.org/officeDocument/2006/relationships/image" Target="../media/image1.emf"/><Relationship Id="rId1" Type="http://schemas.openxmlformats.org/officeDocument/2006/relationships/tags" Target="../tags/tag344.xml"/><Relationship Id="rId6" Type="http://schemas.openxmlformats.org/officeDocument/2006/relationships/tags" Target="../tags/tag349.xml"/><Relationship Id="rId15" Type="http://schemas.openxmlformats.org/officeDocument/2006/relationships/tags" Target="../tags/tag358.xml"/><Relationship Id="rId23" Type="http://schemas.openxmlformats.org/officeDocument/2006/relationships/tags" Target="../tags/tag366.xml"/><Relationship Id="rId28" Type="http://schemas.openxmlformats.org/officeDocument/2006/relationships/tags" Target="../tags/tag371.xml"/><Relationship Id="rId36" Type="http://schemas.openxmlformats.org/officeDocument/2006/relationships/tags" Target="../tags/tag379.xml"/><Relationship Id="rId49" Type="http://schemas.openxmlformats.org/officeDocument/2006/relationships/tags" Target="../tags/tag392.xml"/><Relationship Id="rId57" Type="http://schemas.openxmlformats.org/officeDocument/2006/relationships/tags" Target="../tags/tag400.xml"/><Relationship Id="rId10" Type="http://schemas.openxmlformats.org/officeDocument/2006/relationships/tags" Target="../tags/tag353.xml"/><Relationship Id="rId31" Type="http://schemas.openxmlformats.org/officeDocument/2006/relationships/tags" Target="../tags/tag374.xml"/><Relationship Id="rId44" Type="http://schemas.openxmlformats.org/officeDocument/2006/relationships/tags" Target="../tags/tag387.xml"/><Relationship Id="rId52" Type="http://schemas.openxmlformats.org/officeDocument/2006/relationships/tags" Target="../tags/tag395.xml"/><Relationship Id="rId60" Type="http://schemas.openxmlformats.org/officeDocument/2006/relationships/tags" Target="../tags/tag403.xml"/><Relationship Id="rId65" Type="http://schemas.openxmlformats.org/officeDocument/2006/relationships/slideLayout" Target="../slideLayouts/slideLayout7.xml"/><Relationship Id="rId4" Type="http://schemas.openxmlformats.org/officeDocument/2006/relationships/tags" Target="../tags/tag347.xml"/><Relationship Id="rId9" Type="http://schemas.openxmlformats.org/officeDocument/2006/relationships/tags" Target="../tags/tag352.xml"/><Relationship Id="rId13" Type="http://schemas.openxmlformats.org/officeDocument/2006/relationships/tags" Target="../tags/tag356.xml"/><Relationship Id="rId18" Type="http://schemas.openxmlformats.org/officeDocument/2006/relationships/tags" Target="../tags/tag361.xml"/><Relationship Id="rId39" Type="http://schemas.openxmlformats.org/officeDocument/2006/relationships/tags" Target="../tags/tag382.xml"/><Relationship Id="rId34" Type="http://schemas.openxmlformats.org/officeDocument/2006/relationships/tags" Target="../tags/tag377.xml"/><Relationship Id="rId50" Type="http://schemas.openxmlformats.org/officeDocument/2006/relationships/tags" Target="../tags/tag393.xml"/><Relationship Id="rId55" Type="http://schemas.openxmlformats.org/officeDocument/2006/relationships/tags" Target="../tags/tag398.xml"/></Relationships>
</file>

<file path=ppt/slides/_rels/slide9.xml.rels><?xml version="1.0" encoding="UTF-8" standalone="yes"?>
<Relationships xmlns="http://schemas.openxmlformats.org/package/2006/relationships"><Relationship Id="rId13" Type="http://schemas.openxmlformats.org/officeDocument/2006/relationships/tags" Target="../tags/tag423.xml"/><Relationship Id="rId18" Type="http://schemas.openxmlformats.org/officeDocument/2006/relationships/tags" Target="../tags/tag428.xml"/><Relationship Id="rId26" Type="http://schemas.openxmlformats.org/officeDocument/2006/relationships/tags" Target="../tags/tag436.xml"/><Relationship Id="rId39" Type="http://schemas.openxmlformats.org/officeDocument/2006/relationships/notesSlide" Target="../notesSlides/notesSlide7.xml"/><Relationship Id="rId21" Type="http://schemas.openxmlformats.org/officeDocument/2006/relationships/tags" Target="../tags/tag431.xml"/><Relationship Id="rId34" Type="http://schemas.openxmlformats.org/officeDocument/2006/relationships/tags" Target="../tags/tag444.xml"/><Relationship Id="rId42" Type="http://schemas.openxmlformats.org/officeDocument/2006/relationships/image" Target="../media/image15.png"/><Relationship Id="rId47" Type="http://schemas.openxmlformats.org/officeDocument/2006/relationships/image" Target="../media/image19.png"/><Relationship Id="rId7" Type="http://schemas.openxmlformats.org/officeDocument/2006/relationships/tags" Target="../tags/tag417.xml"/><Relationship Id="rId2" Type="http://schemas.openxmlformats.org/officeDocument/2006/relationships/tags" Target="../tags/tag412.xml"/><Relationship Id="rId16" Type="http://schemas.openxmlformats.org/officeDocument/2006/relationships/tags" Target="../tags/tag426.xml"/><Relationship Id="rId29" Type="http://schemas.openxmlformats.org/officeDocument/2006/relationships/tags" Target="../tags/tag439.xml"/><Relationship Id="rId1" Type="http://schemas.openxmlformats.org/officeDocument/2006/relationships/tags" Target="../tags/tag411.xml"/><Relationship Id="rId6" Type="http://schemas.openxmlformats.org/officeDocument/2006/relationships/tags" Target="../tags/tag416.xml"/><Relationship Id="rId11" Type="http://schemas.openxmlformats.org/officeDocument/2006/relationships/tags" Target="../tags/tag421.xml"/><Relationship Id="rId24" Type="http://schemas.openxmlformats.org/officeDocument/2006/relationships/tags" Target="../tags/tag434.xml"/><Relationship Id="rId32" Type="http://schemas.openxmlformats.org/officeDocument/2006/relationships/tags" Target="../tags/tag442.xml"/><Relationship Id="rId37" Type="http://schemas.openxmlformats.org/officeDocument/2006/relationships/tags" Target="../tags/tag447.xml"/><Relationship Id="rId40" Type="http://schemas.openxmlformats.org/officeDocument/2006/relationships/oleObject" Target="../embeddings/oleObject8.bin"/><Relationship Id="rId45" Type="http://schemas.openxmlformats.org/officeDocument/2006/relationships/chart" Target="../charts/chart3.xml"/><Relationship Id="rId5" Type="http://schemas.openxmlformats.org/officeDocument/2006/relationships/tags" Target="../tags/tag415.xml"/><Relationship Id="rId15" Type="http://schemas.openxmlformats.org/officeDocument/2006/relationships/tags" Target="../tags/tag425.xml"/><Relationship Id="rId23" Type="http://schemas.openxmlformats.org/officeDocument/2006/relationships/tags" Target="../tags/tag433.xml"/><Relationship Id="rId28" Type="http://schemas.openxmlformats.org/officeDocument/2006/relationships/tags" Target="../tags/tag438.xml"/><Relationship Id="rId36" Type="http://schemas.openxmlformats.org/officeDocument/2006/relationships/tags" Target="../tags/tag446.xml"/><Relationship Id="rId10" Type="http://schemas.openxmlformats.org/officeDocument/2006/relationships/tags" Target="../tags/tag420.xml"/><Relationship Id="rId19" Type="http://schemas.openxmlformats.org/officeDocument/2006/relationships/tags" Target="../tags/tag429.xml"/><Relationship Id="rId31" Type="http://schemas.openxmlformats.org/officeDocument/2006/relationships/tags" Target="../tags/tag441.xml"/><Relationship Id="rId44" Type="http://schemas.openxmlformats.org/officeDocument/2006/relationships/chart" Target="../charts/chart2.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tags" Target="../tags/tag432.xml"/><Relationship Id="rId27" Type="http://schemas.openxmlformats.org/officeDocument/2006/relationships/tags" Target="../tags/tag437.xml"/><Relationship Id="rId30" Type="http://schemas.openxmlformats.org/officeDocument/2006/relationships/tags" Target="../tags/tag440.xml"/><Relationship Id="rId35" Type="http://schemas.openxmlformats.org/officeDocument/2006/relationships/tags" Target="../tags/tag445.xml"/><Relationship Id="rId43" Type="http://schemas.openxmlformats.org/officeDocument/2006/relationships/image" Target="../media/image27.png"/><Relationship Id="rId48" Type="http://schemas.openxmlformats.org/officeDocument/2006/relationships/chart" Target="../charts/chart5.xml"/><Relationship Id="rId8" Type="http://schemas.openxmlformats.org/officeDocument/2006/relationships/tags" Target="../tags/tag418.xml"/><Relationship Id="rId3" Type="http://schemas.openxmlformats.org/officeDocument/2006/relationships/tags" Target="../tags/tag413.xml"/><Relationship Id="rId12" Type="http://schemas.openxmlformats.org/officeDocument/2006/relationships/tags" Target="../tags/tag422.xml"/><Relationship Id="rId17" Type="http://schemas.openxmlformats.org/officeDocument/2006/relationships/tags" Target="../tags/tag427.xml"/><Relationship Id="rId25" Type="http://schemas.openxmlformats.org/officeDocument/2006/relationships/tags" Target="../tags/tag435.xml"/><Relationship Id="rId33" Type="http://schemas.openxmlformats.org/officeDocument/2006/relationships/tags" Target="../tags/tag443.xml"/><Relationship Id="rId38" Type="http://schemas.openxmlformats.org/officeDocument/2006/relationships/slideLayout" Target="../slideLayouts/slideLayout37.xml"/><Relationship Id="rId46" Type="http://schemas.openxmlformats.org/officeDocument/2006/relationships/chart" Target="../charts/chart4.xml"/><Relationship Id="rId20" Type="http://schemas.openxmlformats.org/officeDocument/2006/relationships/tags" Target="../tags/tag430.xml"/><Relationship Id="rId41"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m 2">
            <a:extLst>
              <a:ext uri="{FF2B5EF4-FFF2-40B4-BE49-F238E27FC236}">
                <a16:creationId xmlns:a16="http://schemas.microsoft.com/office/drawing/2014/main" id="{7CC3AE63-A38F-68FC-20AF-CBDC27B45663}"/>
              </a:ext>
            </a:extLst>
          </p:cNvPr>
          <p:cNvPicPr>
            <a:picLocks noChangeAspect="1"/>
          </p:cNvPicPr>
          <p:nvPr>
            <p:custDataLst>
              <p:tags r:id="rId1"/>
            </p:custDataLst>
          </p:nvPr>
        </p:nvPicPr>
        <p:blipFill>
          <a:blip r:embed="rId1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7" name="Imagem 6">
            <a:extLst>
              <a:ext uri="{FF2B5EF4-FFF2-40B4-BE49-F238E27FC236}">
                <a16:creationId xmlns:a16="http://schemas.microsoft.com/office/drawing/2014/main" id="{D50EDF4A-739E-0855-D456-611A17A1BB73}"/>
              </a:ext>
            </a:extLst>
          </p:cNvPr>
          <p:cNvPicPr>
            <a:picLocks noChangeAspect="1"/>
          </p:cNvPicPr>
          <p:nvPr>
            <p:custDataLst>
              <p:tags r:id="rId2"/>
            </p:custDataLst>
          </p:nvPr>
        </p:nvPicPr>
        <p:blipFill>
          <a:blip r:embed="rId12">
            <a:extLst>
              <a:ext uri="{28A0092B-C50C-407E-A947-70E740481C1C}">
                <a14:useLocalDpi xmlns:a14="http://schemas.microsoft.com/office/drawing/2010/main"/>
              </a:ext>
            </a:extLst>
          </a:blip>
          <a:srcRect t="46597"/>
          <a:stretch>
            <a:fillRect/>
          </a:stretch>
        </p:blipFill>
        <p:spPr>
          <a:xfrm>
            <a:off x="0" y="2358975"/>
            <a:ext cx="8999538" cy="2703414"/>
          </a:xfrm>
          <a:prstGeom prst="rect">
            <a:avLst/>
          </a:prstGeom>
        </p:spPr>
      </p:pic>
      <p:pic>
        <p:nvPicPr>
          <p:cNvPr id="19" name="Imagem 18">
            <a:extLst>
              <a:ext uri="{FF2B5EF4-FFF2-40B4-BE49-F238E27FC236}">
                <a16:creationId xmlns:a16="http://schemas.microsoft.com/office/drawing/2014/main" id="{98FBD951-3BF2-A6AC-B9B8-7508E1AF5520}"/>
              </a:ext>
            </a:extLst>
          </p:cNvPr>
          <p:cNvPicPr>
            <a:picLocks noChangeAspect="1"/>
          </p:cNvPicPr>
          <p:nvPr>
            <p:custDataLst>
              <p:tags r:id="rId3"/>
            </p:custDataLst>
          </p:nvPr>
        </p:nvPicPr>
        <p:blipFill>
          <a:blip r:embed="rId13">
            <a:extLst>
              <a:ext uri="{28A0092B-C50C-407E-A947-70E740481C1C}">
                <a14:useLocalDpi xmlns:a14="http://schemas.microsoft.com/office/drawing/2010/main"/>
              </a:ext>
            </a:extLst>
          </a:blip>
          <a:srcRect l="32088" t="18734" r="31361" b="16963"/>
          <a:stretch>
            <a:fillRect/>
          </a:stretch>
        </p:blipFill>
        <p:spPr>
          <a:xfrm>
            <a:off x="2887826" y="948518"/>
            <a:ext cx="3289389" cy="3255212"/>
          </a:xfrm>
          <a:prstGeom prst="rect">
            <a:avLst/>
          </a:prstGeom>
        </p:spPr>
      </p:pic>
      <p:pic>
        <p:nvPicPr>
          <p:cNvPr id="9" name="Imagem 8">
            <a:extLst>
              <a:ext uri="{FF2B5EF4-FFF2-40B4-BE49-F238E27FC236}">
                <a16:creationId xmlns:a16="http://schemas.microsoft.com/office/drawing/2014/main" id="{1EDBAB12-F7CE-2598-8F49-099867CB9305}"/>
              </a:ext>
            </a:extLst>
          </p:cNvPr>
          <p:cNvPicPr>
            <a:picLocks noChangeAspect="1"/>
          </p:cNvPicPr>
          <p:nvPr>
            <p:custDataLst>
              <p:tags r:id="rId4"/>
            </p:custDataLst>
          </p:nvPr>
        </p:nvPicPr>
        <p:blipFill>
          <a:blip r:embed="rId14">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11" name="Imagem 10">
            <a:extLst>
              <a:ext uri="{FF2B5EF4-FFF2-40B4-BE49-F238E27FC236}">
                <a16:creationId xmlns:a16="http://schemas.microsoft.com/office/drawing/2014/main" id="{1A718F1D-DA5C-6BDE-905F-FA7918D225E3}"/>
              </a:ext>
            </a:extLst>
          </p:cNvPr>
          <p:cNvPicPr>
            <a:picLocks noChangeAspect="1"/>
          </p:cNvPicPr>
          <p:nvPr>
            <p:custDataLst>
              <p:tags r:id="rId5"/>
            </p:custDataLst>
          </p:nvPr>
        </p:nvPicPr>
        <p:blipFill>
          <a:blip r:embed="rId15">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13" name="Imagem 12">
            <a:extLst>
              <a:ext uri="{FF2B5EF4-FFF2-40B4-BE49-F238E27FC236}">
                <a16:creationId xmlns:a16="http://schemas.microsoft.com/office/drawing/2014/main" id="{C23EF151-4261-2CEC-8DDB-ED8B2DAE046F}"/>
              </a:ext>
            </a:extLst>
          </p:cNvPr>
          <p:cNvPicPr>
            <a:picLocks noChangeAspect="1"/>
          </p:cNvPicPr>
          <p:nvPr>
            <p:custDataLst>
              <p:tags r:id="rId6"/>
            </p:custDataLst>
          </p:nvPr>
        </p:nvPicPr>
        <p:blipFill>
          <a:blip r:embed="rId16">
            <a:extLst>
              <a:ext uri="{28A0092B-C50C-407E-A947-70E740481C1C}">
                <a14:useLocalDpi xmlns:a14="http://schemas.microsoft.com/office/drawing/2010/main"/>
              </a:ext>
            </a:extLst>
          </a:blip>
          <a:srcRect l="28478" r="28478"/>
          <a:stretch>
            <a:fillRect/>
          </a:stretch>
        </p:blipFill>
        <p:spPr>
          <a:xfrm>
            <a:off x="2562913" y="149"/>
            <a:ext cx="3873713" cy="5062240"/>
          </a:xfrm>
          <a:prstGeom prst="rect">
            <a:avLst/>
          </a:prstGeom>
        </p:spPr>
      </p:pic>
      <p:pic>
        <p:nvPicPr>
          <p:cNvPr id="15" name="Imagem 14">
            <a:extLst>
              <a:ext uri="{FF2B5EF4-FFF2-40B4-BE49-F238E27FC236}">
                <a16:creationId xmlns:a16="http://schemas.microsoft.com/office/drawing/2014/main" id="{6F5A39D8-9CCE-A2C7-8C78-33F70DFDF36C}"/>
              </a:ext>
            </a:extLst>
          </p:cNvPr>
          <p:cNvPicPr>
            <a:picLocks noChangeAspect="1"/>
          </p:cNvPicPr>
          <p:nvPr>
            <p:custDataLst>
              <p:tags r:id="rId7"/>
            </p:custDataLst>
          </p:nvPr>
        </p:nvPicPr>
        <p:blipFill>
          <a:blip r:embed="rId17">
            <a:extLst>
              <a:ext uri="{28A0092B-C50C-407E-A947-70E740481C1C}">
                <a14:useLocalDpi xmlns:a14="http://schemas.microsoft.com/office/drawing/2010/main"/>
              </a:ext>
            </a:extLst>
          </a:blip>
          <a:srcRect l="38917" t="35690" r="39620" b="50859"/>
          <a:stretch>
            <a:fillRect/>
          </a:stretch>
        </p:blipFill>
        <p:spPr>
          <a:xfrm>
            <a:off x="3502178" y="1806875"/>
            <a:ext cx="1931634" cy="680883"/>
          </a:xfrm>
          <a:prstGeom prst="rect">
            <a:avLst/>
          </a:prstGeom>
        </p:spPr>
      </p:pic>
      <p:pic>
        <p:nvPicPr>
          <p:cNvPr id="16" name="Imagem 15">
            <a:extLst>
              <a:ext uri="{FF2B5EF4-FFF2-40B4-BE49-F238E27FC236}">
                <a16:creationId xmlns:a16="http://schemas.microsoft.com/office/drawing/2014/main" id="{4F2EBFFF-AAC2-55C3-D530-A8CB527BA60A}"/>
              </a:ext>
            </a:extLst>
          </p:cNvPr>
          <p:cNvPicPr>
            <a:picLocks noChangeAspect="1"/>
          </p:cNvPicPr>
          <p:nvPr>
            <p:custDataLst>
              <p:tags r:id="rId8"/>
            </p:custDataLst>
          </p:nvPr>
        </p:nvPicPr>
        <p:blipFill>
          <a:blip r:embed="rId18">
            <a:extLst>
              <a:ext uri="{28A0092B-C50C-407E-A947-70E740481C1C}">
                <a14:useLocalDpi xmlns:a14="http://schemas.microsoft.com/office/drawing/2010/main"/>
              </a:ext>
            </a:extLst>
          </a:blip>
          <a:srcRect l="46204" t="49141" r="47570" b="47337"/>
          <a:stretch>
            <a:fillRect/>
          </a:stretch>
        </p:blipFill>
        <p:spPr>
          <a:xfrm>
            <a:off x="4158042" y="2487758"/>
            <a:ext cx="560349" cy="178292"/>
          </a:xfrm>
          <a:prstGeom prst="rect">
            <a:avLst/>
          </a:prstGeom>
        </p:spPr>
      </p:pic>
      <p:pic>
        <p:nvPicPr>
          <p:cNvPr id="17" name="Imagem 16">
            <a:extLst>
              <a:ext uri="{FF2B5EF4-FFF2-40B4-BE49-F238E27FC236}">
                <a16:creationId xmlns:a16="http://schemas.microsoft.com/office/drawing/2014/main" id="{AB64A227-14B7-D552-395F-CECEBF678512}"/>
              </a:ext>
            </a:extLst>
          </p:cNvPr>
          <p:cNvPicPr>
            <a:picLocks noChangeAspect="1"/>
          </p:cNvPicPr>
          <p:nvPr>
            <p:custDataLst>
              <p:tags r:id="rId9"/>
            </p:custDataLst>
          </p:nvPr>
        </p:nvPicPr>
        <p:blipFill>
          <a:blip r:embed="rId17">
            <a:extLst>
              <a:ext uri="{28A0092B-C50C-407E-A947-70E740481C1C}">
                <a14:useLocalDpi xmlns:a14="http://schemas.microsoft.com/office/drawing/2010/main"/>
              </a:ext>
            </a:extLst>
          </a:blip>
          <a:srcRect l="42973" t="54299" r="43632" b="31487"/>
          <a:stretch>
            <a:fillRect/>
          </a:stretch>
        </p:blipFill>
        <p:spPr>
          <a:xfrm>
            <a:off x="3867254" y="2748829"/>
            <a:ext cx="1205598" cy="719539"/>
          </a:xfrm>
          <a:prstGeom prst="rect">
            <a:avLst/>
          </a:prstGeom>
        </p:spPr>
      </p:pic>
    </p:spTree>
    <p:extLst>
      <p:ext uri="{BB962C8B-B14F-4D97-AF65-F5344CB8AC3E}">
        <p14:creationId xmlns:p14="http://schemas.microsoft.com/office/powerpoint/2010/main" val="208334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35" presetClass="path" presetSubtype="0" decel="100000" fill="hold" nodeType="withEffect">
                                  <p:stCondLst>
                                    <p:cond delay="0"/>
                                  </p:stCondLst>
                                  <p:childTnLst>
                                    <p:animMotion origin="layout" path="M 4.375E-06 0.10532 L 4.375E-06 3.7037E-06" pathEditMode="relative" rAng="0" ptsTypes="AA">
                                      <p:cBhvr>
                                        <p:cTn id="9" dur="1000" fill="hold"/>
                                        <p:tgtEl>
                                          <p:spTgt spid="19"/>
                                        </p:tgtEl>
                                        <p:attrNameLst>
                                          <p:attrName>ppt_x</p:attrName>
                                          <p:attrName>ppt_y</p:attrName>
                                        </p:attrNameLst>
                                      </p:cBhvr>
                                      <p:rCtr x="0" y="-5278"/>
                                    </p:animMotion>
                                  </p:childTnLst>
                                </p:cTn>
                              </p:par>
                              <p:par>
                                <p:cTn id="10" presetID="10" presetClass="entr" presetSubtype="0"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nodeType="withEffect">
                                  <p:stCondLst>
                                    <p:cond delay="5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750"/>
                                        <p:tgtEl>
                                          <p:spTgt spid="9"/>
                                        </p:tgtEl>
                                      </p:cBhvr>
                                    </p:animEffect>
                                  </p:childTnLst>
                                </p:cTn>
                              </p:par>
                              <p:par>
                                <p:cTn id="16" presetID="10" presetClass="entr" presetSubtype="0" fill="hold" nodeType="withEffect">
                                  <p:stCondLst>
                                    <p:cond delay="75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22" presetClass="entr" presetSubtype="8" fill="hold" nodeType="withEffect">
                                  <p:stCondLst>
                                    <p:cond delay="1000"/>
                                  </p:stCondLst>
                                  <p:childTnLst>
                                    <p:set>
                                      <p:cBhvr>
                                        <p:cTn id="20" dur="1" fill="hold">
                                          <p:stCondLst>
                                            <p:cond delay="0"/>
                                          </p:stCondLst>
                                        </p:cTn>
                                        <p:tgtEl>
                                          <p:spTgt spid="13"/>
                                        </p:tgtEl>
                                        <p:attrNameLst>
                                          <p:attrName>style.visibility</p:attrName>
                                        </p:attrNameLst>
                                      </p:cBhvr>
                                      <p:to>
                                        <p:strVal val="visible"/>
                                      </p:to>
                                    </p:set>
                                    <p:animEffect transition="in" filter="wipe(left)">
                                      <p:cBhvr>
                                        <p:cTn id="21" dur="1250"/>
                                        <p:tgtEl>
                                          <p:spTgt spid="13"/>
                                        </p:tgtEl>
                                      </p:cBhvr>
                                    </p:animEffect>
                                  </p:childTnLst>
                                </p:cTn>
                              </p:par>
                              <p:par>
                                <p:cTn id="22" presetID="22" presetClass="entr" presetSubtype="8" fill="hold" nodeType="withEffect">
                                  <p:stCondLst>
                                    <p:cond delay="250"/>
                                  </p:stCondLst>
                                  <p:childTnLst>
                                    <p:set>
                                      <p:cBhvr>
                                        <p:cTn id="23" dur="1" fill="hold">
                                          <p:stCondLst>
                                            <p:cond delay="0"/>
                                          </p:stCondLst>
                                        </p:cTn>
                                        <p:tgtEl>
                                          <p:spTgt spid="15"/>
                                        </p:tgtEl>
                                        <p:attrNameLst>
                                          <p:attrName>style.visibility</p:attrName>
                                        </p:attrNameLst>
                                      </p:cBhvr>
                                      <p:to>
                                        <p:strVal val="visible"/>
                                      </p:to>
                                    </p:set>
                                    <p:animEffect transition="in" filter="wipe(left)">
                                      <p:cBhvr>
                                        <p:cTn id="24" dur="750"/>
                                        <p:tgtEl>
                                          <p:spTgt spid="15"/>
                                        </p:tgtEl>
                                      </p:cBhvr>
                                    </p:animEffect>
                                  </p:childTnLst>
                                </p:cTn>
                              </p:par>
                              <p:par>
                                <p:cTn id="25" presetID="10" presetClass="entr" presetSubtype="0" fill="hold" nodeType="withEffect">
                                  <p:stCondLst>
                                    <p:cond delay="50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35" presetClass="path" presetSubtype="0" decel="100000" fill="hold" nodeType="withEffect">
                                  <p:stCondLst>
                                    <p:cond delay="500"/>
                                  </p:stCondLst>
                                  <p:childTnLst>
                                    <p:animMotion origin="layout" path="M 0 0.03611 L 0 1.85185E-06" pathEditMode="relative" rAng="0" ptsTypes="AA">
                                      <p:cBhvr>
                                        <p:cTn id="29" dur="750" fill="hold"/>
                                        <p:tgtEl>
                                          <p:spTgt spid="16"/>
                                        </p:tgtEl>
                                        <p:attrNameLst>
                                          <p:attrName>ppt_x</p:attrName>
                                          <p:attrName>ppt_y</p:attrName>
                                        </p:attrNameLst>
                                      </p:cBhvr>
                                      <p:rCtr x="0" y="-1806"/>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23" presetClass="entr" presetSubtype="288" fill="hold" nodeType="withEffect">
                                  <p:stCondLst>
                                    <p:cond delay="1250"/>
                                  </p:stCondLst>
                                  <p:childTnLst>
                                    <p:set>
                                      <p:cBhvr>
                                        <p:cTn id="34" dur="1" fill="hold">
                                          <p:stCondLst>
                                            <p:cond delay="0"/>
                                          </p:stCondLst>
                                        </p:cTn>
                                        <p:tgtEl>
                                          <p:spTgt spid="17"/>
                                        </p:tgtEl>
                                        <p:attrNameLst>
                                          <p:attrName>style.visibility</p:attrName>
                                        </p:attrNameLst>
                                      </p:cBhvr>
                                      <p:to>
                                        <p:strVal val="visible"/>
                                      </p:to>
                                    </p:set>
                                    <p:anim calcmode="lin" valueType="num">
                                      <p:cBhvr>
                                        <p:cTn id="35" dur="500" fill="hold"/>
                                        <p:tgtEl>
                                          <p:spTgt spid="17"/>
                                        </p:tgtEl>
                                        <p:attrNameLst>
                                          <p:attrName>ppt_w</p:attrName>
                                        </p:attrNameLst>
                                      </p:cBhvr>
                                      <p:tavLst>
                                        <p:tav tm="0">
                                          <p:val>
                                            <p:strVal val="4/3*#ppt_w"/>
                                          </p:val>
                                        </p:tav>
                                        <p:tav tm="100000">
                                          <p:val>
                                            <p:strVal val="#ppt_w"/>
                                          </p:val>
                                        </p:tav>
                                      </p:tavLst>
                                    </p:anim>
                                    <p:anim calcmode="lin" valueType="num">
                                      <p:cBhvr>
                                        <p:cTn id="36" dur="500" fill="hold"/>
                                        <p:tgtEl>
                                          <p:spTgt spid="17"/>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Imagem em branco e azul&#10;&#10;Descrição gerada automaticamente com confiança média">
            <a:extLst>
              <a:ext uri="{FF2B5EF4-FFF2-40B4-BE49-F238E27FC236}">
                <a16:creationId xmlns:a16="http://schemas.microsoft.com/office/drawing/2014/main" id="{60F41E0B-5A33-4ED2-8D14-A368F84E5308}"/>
              </a:ext>
            </a:extLst>
          </p:cNvPr>
          <p:cNvPicPr>
            <a:picLocks noChangeAspect="1"/>
          </p:cNvPicPr>
          <p:nvPr>
            <p:custDataLst>
              <p:tags r:id="rId1"/>
            </p:custDataLst>
          </p:nvPr>
        </p:nvPicPr>
        <p:blipFill>
          <a:blip r:embed="rId96">
            <a:extLst>
              <a:ext uri="{28A0092B-C50C-407E-A947-70E740481C1C}">
                <a14:useLocalDpi xmlns:a14="http://schemas.microsoft.com/office/drawing/2010/main"/>
              </a:ext>
            </a:extLst>
          </a:blip>
          <a:stretch>
            <a:fillRect/>
          </a:stretch>
        </p:blipFill>
        <p:spPr>
          <a:xfrm>
            <a:off x="0" y="149"/>
            <a:ext cx="8999538" cy="5062240"/>
          </a:xfrm>
          <a:prstGeom prst="rect">
            <a:avLst/>
          </a:prstGeom>
        </p:spPr>
      </p:pic>
      <p:sp>
        <p:nvSpPr>
          <p:cNvPr id="15" name="CaixaDeTexto 14">
            <a:extLst>
              <a:ext uri="{FF2B5EF4-FFF2-40B4-BE49-F238E27FC236}">
                <a16:creationId xmlns:a16="http://schemas.microsoft.com/office/drawing/2014/main" id="{9C879301-970C-4D72-B6B8-72AA83CFDCA0}"/>
              </a:ext>
            </a:extLst>
          </p:cNvPr>
          <p:cNvSpPr txBox="1"/>
          <p:nvPr>
            <p:custDataLst>
              <p:tags r:id="rId2"/>
            </p:custDataLst>
          </p:nvPr>
        </p:nvSpPr>
        <p:spPr>
          <a:xfrm>
            <a:off x="1199773" y="530156"/>
            <a:ext cx="6599992" cy="480540"/>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3000" b="1" i="0" u="none" strike="noStrike" cap="none" baseline="0" dirty="0">
                <a:solidFill>
                  <a:srgbClr val="002581"/>
                </a:solidFill>
                <a:effectLst/>
                <a:uFillTx/>
                <a:latin typeface="Segoe UI Black"/>
              </a:rPr>
              <a:t>CONSISTENT GROWTH</a:t>
            </a:r>
          </a:p>
        </p:txBody>
      </p:sp>
      <p:sp>
        <p:nvSpPr>
          <p:cNvPr id="18" name="CaixaDeTexto 17">
            <a:extLst>
              <a:ext uri="{FF2B5EF4-FFF2-40B4-BE49-F238E27FC236}">
                <a16:creationId xmlns:a16="http://schemas.microsoft.com/office/drawing/2014/main" id="{F5CD3C71-3F2D-48B0-8DCD-4F840481ED8D}"/>
              </a:ext>
            </a:extLst>
          </p:cNvPr>
          <p:cNvSpPr txBox="1"/>
          <p:nvPr>
            <p:custDataLst>
              <p:tags r:id="rId3"/>
            </p:custDataLst>
          </p:nvPr>
        </p:nvSpPr>
        <p:spPr>
          <a:xfrm>
            <a:off x="1615248" y="914232"/>
            <a:ext cx="5769044" cy="31393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800" b="0" i="0" u="none" strike="noStrike" cap="none" spc="0" baseline="0" dirty="0">
                <a:solidFill>
                  <a:srgbClr val="002581"/>
                </a:solidFill>
                <a:effectLst/>
                <a:uFillTx/>
                <a:latin typeface="Segoe UI Light"/>
              </a:rPr>
              <a:t>A DECADE OF EXPANSION AND DIVERSIFICATION</a:t>
            </a:r>
          </a:p>
        </p:txBody>
      </p:sp>
      <p:sp>
        <p:nvSpPr>
          <p:cNvPr id="21" name="CaixaDeTexto 20">
            <a:extLst>
              <a:ext uri="{FF2B5EF4-FFF2-40B4-BE49-F238E27FC236}">
                <a16:creationId xmlns:a16="http://schemas.microsoft.com/office/drawing/2014/main" id="{5843EE27-4481-462A-B6EA-E63663A16C79}"/>
              </a:ext>
            </a:extLst>
          </p:cNvPr>
          <p:cNvSpPr txBox="1"/>
          <p:nvPr>
            <p:custDataLst>
              <p:tags r:id="rId4"/>
            </p:custDataLst>
          </p:nvPr>
        </p:nvSpPr>
        <p:spPr>
          <a:xfrm>
            <a:off x="237620" y="4792328"/>
            <a:ext cx="7082382" cy="183063"/>
          </a:xfrm>
          <a:prstGeom prst="rect">
            <a:avLst/>
          </a:prstGeom>
          <a:noFill/>
        </p:spPr>
        <p:txBody>
          <a:bodyPr wrap="square" rtlCol="0">
            <a:spAutoFit/>
          </a:bodyPr>
          <a:lstStyle/>
          <a:p>
            <a:pPr lvl="0" defTabSz="675010">
              <a:spcBef>
                <a:spcPct val="0"/>
              </a:spcBef>
              <a:spcAft>
                <a:spcPct val="0"/>
              </a:spcAft>
              <a:defRPr/>
            </a:pPr>
            <a:r>
              <a:rPr lang="en-US" sz="600" b="0" i="0" u="none" strike="noStrike" cap="none" baseline="0">
                <a:solidFill>
                  <a:srgbClr val="203864"/>
                </a:solidFill>
                <a:effectLst/>
                <a:uFillTx/>
                <a:latin typeface="Segoe UI"/>
              </a:rPr>
              <a:t>¹ </a:t>
            </a:r>
            <a:r>
              <a:rPr lang="en-US" sz="600" b="0" i="0" u="none" strike="noStrike" cap="none" baseline="0" dirty="0">
                <a:solidFill>
                  <a:srgbClr val="203864"/>
                </a:solidFill>
                <a:effectLst/>
                <a:uFillTx/>
                <a:latin typeface="Segoe UI"/>
              </a:rPr>
              <a:t>List of ANEEL modules 2023/2024 + Auctions 02/2022 and 01/2023, baseline June/23 </a:t>
            </a:r>
            <a:r>
              <a:rPr lang="en-US" sz="600" b="0" i="0" u="none" strike="noStrike" cap="none" baseline="0">
                <a:solidFill>
                  <a:srgbClr val="203864"/>
                </a:solidFill>
                <a:effectLst/>
                <a:uFillTx/>
                <a:latin typeface="Segoe UI"/>
              </a:rPr>
              <a:t>| ² </a:t>
            </a:r>
            <a:r>
              <a:rPr lang="en-US" sz="600" b="0" i="0" u="none" strike="noStrike" cap="none" baseline="0" dirty="0">
                <a:solidFill>
                  <a:srgbClr val="203864"/>
                </a:solidFill>
                <a:effectLst/>
                <a:uFillTx/>
                <a:latin typeface="Segoe UI"/>
              </a:rPr>
              <a:t>Weighted by RAP, </a:t>
            </a:r>
            <a:r>
              <a:rPr lang="en-US" sz="600" b="0" i="0" u="none" strike="noStrike" cap="none" baseline="0">
                <a:solidFill>
                  <a:srgbClr val="203864"/>
                </a:solidFill>
                <a:effectLst/>
                <a:uFillTx/>
                <a:latin typeface="Segoe UI"/>
              </a:rPr>
              <a:t>excluding </a:t>
            </a:r>
            <a:r>
              <a:rPr lang="en-US" sz="600">
                <a:solidFill>
                  <a:srgbClr val="203864"/>
                </a:solidFill>
                <a:latin typeface="Segoe UI"/>
              </a:rPr>
              <a:t>RBSE | ³Assets in operation and under construction September 2023 </a:t>
            </a:r>
            <a:endParaRPr lang="en-US" sz="600" b="0" i="0" u="none" strike="noStrike" cap="none" baseline="0" dirty="0">
              <a:solidFill>
                <a:srgbClr val="203864"/>
              </a:solidFill>
              <a:effectLst/>
              <a:uFillTx/>
              <a:latin typeface="Segoe UI"/>
            </a:endParaRPr>
          </a:p>
        </p:txBody>
      </p:sp>
      <p:grpSp>
        <p:nvGrpSpPr>
          <p:cNvPr id="16" name="Agrupar 15">
            <a:extLst>
              <a:ext uri="{FF2B5EF4-FFF2-40B4-BE49-F238E27FC236}">
                <a16:creationId xmlns:a16="http://schemas.microsoft.com/office/drawing/2014/main" id="{0B867DDD-F4B0-7E77-5963-26FF0DC06A71}"/>
              </a:ext>
            </a:extLst>
          </p:cNvPr>
          <p:cNvGrpSpPr/>
          <p:nvPr>
            <p:custDataLst>
              <p:tags r:id="rId5"/>
            </p:custDataLst>
          </p:nvPr>
        </p:nvGrpSpPr>
        <p:grpSpPr>
          <a:xfrm>
            <a:off x="673599" y="1655141"/>
            <a:ext cx="2940169" cy="2856568"/>
            <a:chOff x="673599" y="1655141"/>
            <a:chExt cx="2940169" cy="2856568"/>
          </a:xfrm>
        </p:grpSpPr>
        <p:sp>
          <p:nvSpPr>
            <p:cNvPr id="22" name="CaixaDeTexto 21">
              <a:extLst>
                <a:ext uri="{FF2B5EF4-FFF2-40B4-BE49-F238E27FC236}">
                  <a16:creationId xmlns:a16="http://schemas.microsoft.com/office/drawing/2014/main" id="{00A5D271-064D-4985-97B7-FCFD0ECD79CC}"/>
                </a:ext>
              </a:extLst>
            </p:cNvPr>
            <p:cNvSpPr txBox="1"/>
            <p:nvPr>
              <p:custDataLst>
                <p:tags r:id="rId88"/>
              </p:custDataLst>
            </p:nvPr>
          </p:nvSpPr>
          <p:spPr>
            <a:xfrm>
              <a:off x="681890" y="4247021"/>
              <a:ext cx="2276889"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a:solidFill>
                    <a:srgbClr val="005FD7"/>
                  </a:solidFill>
                  <a:effectLst/>
                  <a:uFillTx/>
                  <a:latin typeface="Segoe UI"/>
                </a:rPr>
                <a:t>Transmission lines³</a:t>
              </a:r>
              <a:endParaRPr lang="en-US" sz="1400" b="1" i="0" u="none" strike="noStrike" cap="none" baseline="0" dirty="0">
                <a:solidFill>
                  <a:srgbClr val="005FD7"/>
                </a:solidFill>
                <a:effectLst/>
                <a:uFillTx/>
                <a:latin typeface="Segoe UI"/>
              </a:endParaRPr>
            </a:p>
          </p:txBody>
        </p:sp>
        <p:sp>
          <p:nvSpPr>
            <p:cNvPr id="23" name="CaixaDeTexto 22">
              <a:extLst>
                <a:ext uri="{FF2B5EF4-FFF2-40B4-BE49-F238E27FC236}">
                  <a16:creationId xmlns:a16="http://schemas.microsoft.com/office/drawing/2014/main" id="{B99C3F3B-CF4C-4534-AD16-9AC63D281A42}"/>
                </a:ext>
              </a:extLst>
            </p:cNvPr>
            <p:cNvSpPr txBox="1"/>
            <p:nvPr>
              <p:custDataLst>
                <p:tags r:id="rId89"/>
              </p:custDataLst>
            </p:nvPr>
          </p:nvSpPr>
          <p:spPr>
            <a:xfrm>
              <a:off x="693437" y="3228965"/>
              <a:ext cx="2464335"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a:solidFill>
                    <a:srgbClr val="005FD7"/>
                  </a:solidFill>
                  <a:effectLst/>
                  <a:uFillTx/>
                  <a:latin typeface="Segoe UI"/>
                </a:rPr>
                <a:t>Own substations³</a:t>
              </a:r>
              <a:endParaRPr lang="en-US" sz="1400" b="1" i="0" u="none" strike="noStrike" cap="none" baseline="0" dirty="0">
                <a:solidFill>
                  <a:srgbClr val="005FD7"/>
                </a:solidFill>
                <a:effectLst/>
                <a:uFillTx/>
                <a:latin typeface="Segoe UI"/>
              </a:endParaRPr>
            </a:p>
          </p:txBody>
        </p:sp>
        <p:sp>
          <p:nvSpPr>
            <p:cNvPr id="24" name="CaixaDeTexto 23">
              <a:extLst>
                <a:ext uri="{FF2B5EF4-FFF2-40B4-BE49-F238E27FC236}">
                  <a16:creationId xmlns:a16="http://schemas.microsoft.com/office/drawing/2014/main" id="{22A1F1E7-9DDE-45C8-9D6C-4E4A6950C561}"/>
                </a:ext>
              </a:extLst>
            </p:cNvPr>
            <p:cNvSpPr txBox="1"/>
            <p:nvPr>
              <p:custDataLst>
                <p:tags r:id="rId90"/>
              </p:custDataLst>
            </p:nvPr>
          </p:nvSpPr>
          <p:spPr>
            <a:xfrm>
              <a:off x="681890" y="3753573"/>
              <a:ext cx="2934810"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a:solidFill>
                    <a:srgbClr val="005FD7"/>
                  </a:solidFill>
                  <a:effectLst/>
                  <a:uFillTx/>
                  <a:latin typeface="Segoe UI"/>
                </a:rPr>
                <a:t>Transformation capacity³</a:t>
              </a:r>
              <a:endParaRPr lang="en-US" sz="1400" b="1" i="0" u="none" strike="noStrike" cap="none" baseline="0" dirty="0">
                <a:solidFill>
                  <a:srgbClr val="005FD7"/>
                </a:solidFill>
                <a:effectLst/>
                <a:uFillTx/>
                <a:latin typeface="Segoe UI"/>
              </a:endParaRPr>
            </a:p>
          </p:txBody>
        </p:sp>
        <p:sp>
          <p:nvSpPr>
            <p:cNvPr id="25" name="CaixaDeTexto 24">
              <a:extLst>
                <a:ext uri="{FF2B5EF4-FFF2-40B4-BE49-F238E27FC236}">
                  <a16:creationId xmlns:a16="http://schemas.microsoft.com/office/drawing/2014/main" id="{CB25E4BC-45E0-4589-BE8C-851C853B51C0}"/>
                </a:ext>
              </a:extLst>
            </p:cNvPr>
            <p:cNvSpPr txBox="1"/>
            <p:nvPr>
              <p:custDataLst>
                <p:tags r:id="rId91"/>
              </p:custDataLst>
            </p:nvPr>
          </p:nvSpPr>
          <p:spPr>
            <a:xfrm>
              <a:off x="673599" y="2179749"/>
              <a:ext cx="2916748"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dirty="0">
                  <a:solidFill>
                    <a:srgbClr val="005FD7"/>
                  </a:solidFill>
                  <a:effectLst/>
                  <a:uFillTx/>
                  <a:latin typeface="Segoe UI"/>
                </a:rPr>
                <a:t>Average </a:t>
              </a:r>
              <a:r>
                <a:rPr lang="en-US" sz="1400" b="1" i="0" u="none" strike="noStrike" cap="none" baseline="0">
                  <a:solidFill>
                    <a:srgbClr val="005FD7"/>
                  </a:solidFill>
                  <a:effectLst/>
                  <a:uFillTx/>
                  <a:latin typeface="Segoe UI"/>
                </a:rPr>
                <a:t>expiry Concessions²</a:t>
              </a:r>
              <a:endParaRPr lang="en-US" sz="1400" b="1" i="0" u="none" strike="noStrike" cap="none" baseline="0" dirty="0">
                <a:solidFill>
                  <a:srgbClr val="005FD7"/>
                </a:solidFill>
                <a:effectLst/>
                <a:uFillTx/>
                <a:latin typeface="Segoe UI"/>
              </a:endParaRPr>
            </a:p>
          </p:txBody>
        </p:sp>
        <p:sp>
          <p:nvSpPr>
            <p:cNvPr id="27" name="CaixaDeTexto 26">
              <a:extLst>
                <a:ext uri="{FF2B5EF4-FFF2-40B4-BE49-F238E27FC236}">
                  <a16:creationId xmlns:a16="http://schemas.microsoft.com/office/drawing/2014/main" id="{858FEAE9-019B-4D81-87A7-928A98F78E2A}"/>
                </a:ext>
              </a:extLst>
            </p:cNvPr>
            <p:cNvSpPr txBox="1"/>
            <p:nvPr>
              <p:custDataLst>
                <p:tags r:id="rId92"/>
              </p:custDataLst>
            </p:nvPr>
          </p:nvSpPr>
          <p:spPr>
            <a:xfrm>
              <a:off x="707849" y="2667328"/>
              <a:ext cx="1331875"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dirty="0">
                  <a:solidFill>
                    <a:srgbClr val="005FD7"/>
                  </a:solidFill>
                  <a:effectLst/>
                  <a:uFillTx/>
                  <a:latin typeface="Segoe UI"/>
                </a:rPr>
                <a:t>Concessions</a:t>
              </a:r>
            </a:p>
          </p:txBody>
        </p:sp>
        <p:sp>
          <p:nvSpPr>
            <p:cNvPr id="28" name="CaixaDeTexto 27">
              <a:extLst>
                <a:ext uri="{FF2B5EF4-FFF2-40B4-BE49-F238E27FC236}">
                  <a16:creationId xmlns:a16="http://schemas.microsoft.com/office/drawing/2014/main" id="{D0922C2F-F7F6-43B9-8C6F-0B44911902D0}"/>
                </a:ext>
              </a:extLst>
            </p:cNvPr>
            <p:cNvSpPr txBox="1"/>
            <p:nvPr>
              <p:custDataLst>
                <p:tags r:id="rId93"/>
              </p:custDataLst>
            </p:nvPr>
          </p:nvSpPr>
          <p:spPr>
            <a:xfrm>
              <a:off x="712538" y="1655141"/>
              <a:ext cx="2577801" cy="262390"/>
            </a:xfrm>
            <a:prstGeom prst="rect">
              <a:avLst/>
            </a:prstGeom>
            <a:noFill/>
          </p:spPr>
          <p:txBody>
            <a:bodyPr wrap="square" rtlCol="0">
              <a:spAutoFit/>
            </a:bodyPr>
            <a:lstStyle/>
            <a:p>
              <a:pPr marL="0" marR="0" lvl="0" indent="0" algn="l" defTabSz="675010" rtl="0" eaLnBrk="1" fontAlgn="auto" latinLnBrk="0" hangingPunct="1">
                <a:lnSpc>
                  <a:spcPct val="80000"/>
                </a:lnSpc>
                <a:spcBef>
                  <a:spcPct val="0"/>
                </a:spcBef>
                <a:spcAft>
                  <a:spcPct val="0"/>
                </a:spcAft>
                <a:buClrTx/>
                <a:buSzTx/>
                <a:buFontTx/>
                <a:buNone/>
                <a:defRPr/>
              </a:pPr>
              <a:r>
                <a:rPr lang="en-US" sz="1400" b="1" i="0" u="none" strike="noStrike" cap="none" baseline="0">
                  <a:solidFill>
                    <a:srgbClr val="005FD7"/>
                  </a:solidFill>
                  <a:effectLst/>
                  <a:uFillTx/>
                  <a:latin typeface="Segoe UI"/>
                </a:rPr>
                <a:t>Market Share¹ </a:t>
              </a:r>
              <a:r>
                <a:rPr lang="en-US" sz="1400" b="1" i="0" u="none" strike="noStrike" cap="none" baseline="0" dirty="0">
                  <a:solidFill>
                    <a:srgbClr val="005FD7"/>
                  </a:solidFill>
                  <a:effectLst/>
                  <a:uFillTx/>
                  <a:latin typeface="Segoe UI"/>
                </a:rPr>
                <a:t>total RAP</a:t>
              </a:r>
            </a:p>
          </p:txBody>
        </p:sp>
      </p:grpSp>
      <p:grpSp>
        <p:nvGrpSpPr>
          <p:cNvPr id="76" name="Agrupar 75">
            <a:extLst>
              <a:ext uri="{FF2B5EF4-FFF2-40B4-BE49-F238E27FC236}">
                <a16:creationId xmlns:a16="http://schemas.microsoft.com/office/drawing/2014/main" id="{956E802B-3394-4E2F-B735-F135F5154CF4}"/>
              </a:ext>
            </a:extLst>
          </p:cNvPr>
          <p:cNvGrpSpPr/>
          <p:nvPr>
            <p:custDataLst>
              <p:tags r:id="rId6"/>
            </p:custDataLst>
          </p:nvPr>
        </p:nvGrpSpPr>
        <p:grpSpPr>
          <a:xfrm>
            <a:off x="315408" y="1591360"/>
            <a:ext cx="366482" cy="366480"/>
            <a:chOff x="475212" y="1944659"/>
            <a:chExt cx="466686" cy="466686"/>
          </a:xfrm>
        </p:grpSpPr>
        <p:sp>
          <p:nvSpPr>
            <p:cNvPr id="77" name="Elipse 76">
              <a:extLst>
                <a:ext uri="{FF2B5EF4-FFF2-40B4-BE49-F238E27FC236}">
                  <a16:creationId xmlns:a16="http://schemas.microsoft.com/office/drawing/2014/main" id="{B8437E6F-D559-4142-8B72-7F2E8ED3D2DD}"/>
                </a:ext>
              </a:extLst>
            </p:cNvPr>
            <p:cNvSpPr/>
            <p:nvPr>
              <p:custDataLst>
                <p:tags r:id="rId83"/>
              </p:custDataLst>
            </p:nvPr>
          </p:nvSpPr>
          <p:spPr>
            <a:xfrm>
              <a:off x="475212" y="1944659"/>
              <a:ext cx="466686" cy="466686"/>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8" name="Gráfico 50">
              <a:extLst>
                <a:ext uri="{FF2B5EF4-FFF2-40B4-BE49-F238E27FC236}">
                  <a16:creationId xmlns:a16="http://schemas.microsoft.com/office/drawing/2014/main" id="{116C6A78-E222-4A17-B0E4-F3CBBA73B4C1}"/>
                </a:ext>
              </a:extLst>
            </p:cNvPr>
            <p:cNvGrpSpPr/>
            <p:nvPr>
              <p:custDataLst>
                <p:tags r:id="rId84"/>
              </p:custDataLst>
            </p:nvPr>
          </p:nvGrpSpPr>
          <p:grpSpPr>
            <a:xfrm>
              <a:off x="553681" y="2042162"/>
              <a:ext cx="273559" cy="261678"/>
              <a:chOff x="-347153" y="2077358"/>
              <a:chExt cx="904636" cy="865346"/>
            </a:xfrm>
            <a:solidFill>
              <a:schemeClr val="bg1"/>
            </a:solidFill>
          </p:grpSpPr>
          <p:sp>
            <p:nvSpPr>
              <p:cNvPr id="79" name="Forma Livre: Forma 78">
                <a:extLst>
                  <a:ext uri="{FF2B5EF4-FFF2-40B4-BE49-F238E27FC236}">
                    <a16:creationId xmlns:a16="http://schemas.microsoft.com/office/drawing/2014/main" id="{FAF8CA87-E2A1-462F-BFD6-469758F50C97}"/>
                  </a:ext>
                </a:extLst>
              </p:cNvPr>
              <p:cNvSpPr/>
              <p:nvPr>
                <p:custDataLst>
                  <p:tags r:id="rId85"/>
                </p:custDataLst>
              </p:nvPr>
            </p:nvSpPr>
            <p:spPr>
              <a:xfrm>
                <a:off x="-191896" y="2433593"/>
                <a:ext cx="749379" cy="509111"/>
              </a:xfrm>
              <a:custGeom>
                <a:avLst/>
                <a:gdLst>
                  <a:gd name="connsiteX0" fmla="*/ 731520 w 749379"/>
                  <a:gd name="connsiteY0" fmla="*/ 401003 h 509111"/>
                  <a:gd name="connsiteX1" fmla="*/ 526733 w 749379"/>
                  <a:gd name="connsiteY1" fmla="*/ 197167 h 509111"/>
                  <a:gd name="connsiteX2" fmla="*/ 588645 w 749379"/>
                  <a:gd name="connsiteY2" fmla="*/ 20002 h 509111"/>
                  <a:gd name="connsiteX3" fmla="*/ 541020 w 749379"/>
                  <a:gd name="connsiteY3" fmla="*/ 0 h 509111"/>
                  <a:gd name="connsiteX4" fmla="*/ 474345 w 749379"/>
                  <a:gd name="connsiteY4" fmla="*/ 66675 h 509111"/>
                  <a:gd name="connsiteX5" fmla="*/ 237173 w 749379"/>
                  <a:gd name="connsiteY5" fmla="*/ 243840 h 509111"/>
                  <a:gd name="connsiteX6" fmla="*/ 74295 w 749379"/>
                  <a:gd name="connsiteY6" fmla="*/ 181927 h 509111"/>
                  <a:gd name="connsiteX7" fmla="*/ 0 w 749379"/>
                  <a:gd name="connsiteY7" fmla="*/ 256223 h 509111"/>
                  <a:gd name="connsiteX8" fmla="*/ 237173 w 749379"/>
                  <a:gd name="connsiteY8" fmla="*/ 348615 h 509111"/>
                  <a:gd name="connsiteX9" fmla="*/ 437197 w 749379"/>
                  <a:gd name="connsiteY9" fmla="*/ 285750 h 509111"/>
                  <a:gd name="connsiteX10" fmla="*/ 641985 w 749379"/>
                  <a:gd name="connsiteY10" fmla="*/ 490538 h 509111"/>
                  <a:gd name="connsiteX11" fmla="*/ 731520 w 749379"/>
                  <a:gd name="connsiteY11" fmla="*/ 490538 h 509111"/>
                  <a:gd name="connsiteX12" fmla="*/ 731520 w 749379"/>
                  <a:gd name="connsiteY12" fmla="*/ 401003 h 50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379" h="509111">
                    <a:moveTo>
                      <a:pt x="731520" y="401003"/>
                    </a:moveTo>
                    <a:lnTo>
                      <a:pt x="526733" y="197167"/>
                    </a:lnTo>
                    <a:cubicBezTo>
                      <a:pt x="561975" y="146685"/>
                      <a:pt x="584835" y="85725"/>
                      <a:pt x="588645" y="20002"/>
                    </a:cubicBezTo>
                    <a:cubicBezTo>
                      <a:pt x="571500" y="18097"/>
                      <a:pt x="555308" y="11430"/>
                      <a:pt x="541020" y="0"/>
                    </a:cubicBezTo>
                    <a:lnTo>
                      <a:pt x="474345" y="66675"/>
                    </a:lnTo>
                    <a:cubicBezTo>
                      <a:pt x="443865" y="169545"/>
                      <a:pt x="349568" y="243840"/>
                      <a:pt x="237173" y="243840"/>
                    </a:cubicBezTo>
                    <a:cubicBezTo>
                      <a:pt x="175260" y="243840"/>
                      <a:pt x="118110" y="220980"/>
                      <a:pt x="74295" y="181927"/>
                    </a:cubicBezTo>
                    <a:lnTo>
                      <a:pt x="0" y="256223"/>
                    </a:lnTo>
                    <a:cubicBezTo>
                      <a:pt x="62865" y="313373"/>
                      <a:pt x="145733" y="348615"/>
                      <a:pt x="237173" y="348615"/>
                    </a:cubicBezTo>
                    <a:cubicBezTo>
                      <a:pt x="311468" y="348615"/>
                      <a:pt x="380048" y="325755"/>
                      <a:pt x="437197" y="285750"/>
                    </a:cubicBezTo>
                    <a:lnTo>
                      <a:pt x="641985" y="490538"/>
                    </a:lnTo>
                    <a:cubicBezTo>
                      <a:pt x="666750" y="515303"/>
                      <a:pt x="706755" y="515303"/>
                      <a:pt x="731520" y="490538"/>
                    </a:cubicBezTo>
                    <a:cubicBezTo>
                      <a:pt x="755333" y="465773"/>
                      <a:pt x="755333" y="425767"/>
                      <a:pt x="731520" y="40100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orma Livre: Forma 79">
                <a:extLst>
                  <a:ext uri="{FF2B5EF4-FFF2-40B4-BE49-F238E27FC236}">
                    <a16:creationId xmlns:a16="http://schemas.microsoft.com/office/drawing/2014/main" id="{A42262C0-BC33-469A-BFE1-734363E7DF76}"/>
                  </a:ext>
                </a:extLst>
              </p:cNvPr>
              <p:cNvSpPr/>
              <p:nvPr>
                <p:custDataLst>
                  <p:tags r:id="rId86"/>
                </p:custDataLst>
              </p:nvPr>
            </p:nvSpPr>
            <p:spPr>
              <a:xfrm>
                <a:off x="-307148" y="2077358"/>
                <a:ext cx="524827" cy="394335"/>
              </a:xfrm>
              <a:custGeom>
                <a:avLst/>
                <a:gdLst>
                  <a:gd name="connsiteX0" fmla="*/ 115252 w 524827"/>
                  <a:gd name="connsiteY0" fmla="*/ 282893 h 394335"/>
                  <a:gd name="connsiteX1" fmla="*/ 352425 w 524827"/>
                  <a:gd name="connsiteY1" fmla="*/ 105728 h 394335"/>
                  <a:gd name="connsiteX2" fmla="*/ 470535 w 524827"/>
                  <a:gd name="connsiteY2" fmla="*/ 135255 h 394335"/>
                  <a:gd name="connsiteX3" fmla="*/ 475298 w 524827"/>
                  <a:gd name="connsiteY3" fmla="*/ 102870 h 394335"/>
                  <a:gd name="connsiteX4" fmla="*/ 524828 w 524827"/>
                  <a:gd name="connsiteY4" fmla="*/ 44768 h 394335"/>
                  <a:gd name="connsiteX5" fmla="*/ 352425 w 524827"/>
                  <a:gd name="connsiteY5" fmla="*/ 0 h 394335"/>
                  <a:gd name="connsiteX6" fmla="*/ 0 w 524827"/>
                  <a:gd name="connsiteY6" fmla="*/ 352425 h 394335"/>
                  <a:gd name="connsiteX7" fmla="*/ 2858 w 524827"/>
                  <a:gd name="connsiteY7" fmla="*/ 394335 h 394335"/>
                  <a:gd name="connsiteX8" fmla="*/ 115252 w 524827"/>
                  <a:gd name="connsiteY8" fmla="*/ 282893 h 39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827" h="394335">
                    <a:moveTo>
                      <a:pt x="115252" y="282893"/>
                    </a:moveTo>
                    <a:cubicBezTo>
                      <a:pt x="145733" y="180975"/>
                      <a:pt x="240030" y="105728"/>
                      <a:pt x="352425" y="105728"/>
                    </a:cubicBezTo>
                    <a:cubicBezTo>
                      <a:pt x="395288" y="105728"/>
                      <a:pt x="435293" y="116205"/>
                      <a:pt x="470535" y="135255"/>
                    </a:cubicBezTo>
                    <a:cubicBezTo>
                      <a:pt x="470535" y="124778"/>
                      <a:pt x="471488" y="114300"/>
                      <a:pt x="475298" y="102870"/>
                    </a:cubicBezTo>
                    <a:cubicBezTo>
                      <a:pt x="482918" y="77153"/>
                      <a:pt x="501968" y="56197"/>
                      <a:pt x="524828" y="44768"/>
                    </a:cubicBezTo>
                    <a:cubicBezTo>
                      <a:pt x="473393" y="16192"/>
                      <a:pt x="415290" y="0"/>
                      <a:pt x="352425" y="0"/>
                    </a:cubicBezTo>
                    <a:cubicBezTo>
                      <a:pt x="158115" y="0"/>
                      <a:pt x="0" y="157163"/>
                      <a:pt x="0" y="352425"/>
                    </a:cubicBezTo>
                    <a:cubicBezTo>
                      <a:pt x="0" y="366713"/>
                      <a:pt x="953" y="381000"/>
                      <a:pt x="2858" y="394335"/>
                    </a:cubicBezTo>
                    <a:lnTo>
                      <a:pt x="115252" y="282893"/>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orma Livre: Forma 80">
                <a:extLst>
                  <a:ext uri="{FF2B5EF4-FFF2-40B4-BE49-F238E27FC236}">
                    <a16:creationId xmlns:a16="http://schemas.microsoft.com/office/drawing/2014/main" id="{1A4A6F05-C094-47EE-A225-9D514A5E356D}"/>
                  </a:ext>
                </a:extLst>
              </p:cNvPr>
              <p:cNvSpPr/>
              <p:nvPr>
                <p:custDataLst>
                  <p:tags r:id="rId87"/>
                </p:custDataLst>
              </p:nvPr>
            </p:nvSpPr>
            <p:spPr>
              <a:xfrm>
                <a:off x="-347153" y="2146356"/>
                <a:ext cx="818732" cy="533934"/>
              </a:xfrm>
              <a:custGeom>
                <a:avLst/>
                <a:gdLst>
                  <a:gd name="connsiteX0" fmla="*/ 427673 w 818732"/>
                  <a:gd name="connsiteY0" fmla="*/ 392012 h 533934"/>
                  <a:gd name="connsiteX1" fmla="*/ 498158 w 818732"/>
                  <a:gd name="connsiteY1" fmla="*/ 392012 h 533934"/>
                  <a:gd name="connsiteX2" fmla="*/ 696278 w 818732"/>
                  <a:gd name="connsiteY2" fmla="*/ 192940 h 533934"/>
                  <a:gd name="connsiteX3" fmla="*/ 736283 w 818732"/>
                  <a:gd name="connsiteY3" fmla="*/ 232945 h 533934"/>
                  <a:gd name="connsiteX4" fmla="*/ 783908 w 818732"/>
                  <a:gd name="connsiteY4" fmla="*/ 218657 h 533934"/>
                  <a:gd name="connsiteX5" fmla="*/ 818198 w 818732"/>
                  <a:gd name="connsiteY5" fmla="*/ 32920 h 533934"/>
                  <a:gd name="connsiteX6" fmla="*/ 785813 w 818732"/>
                  <a:gd name="connsiteY6" fmla="*/ 535 h 533934"/>
                  <a:gd name="connsiteX7" fmla="*/ 600075 w 818732"/>
                  <a:gd name="connsiteY7" fmla="*/ 34825 h 533934"/>
                  <a:gd name="connsiteX8" fmla="*/ 585788 w 818732"/>
                  <a:gd name="connsiteY8" fmla="*/ 82450 h 533934"/>
                  <a:gd name="connsiteX9" fmla="*/ 625793 w 818732"/>
                  <a:gd name="connsiteY9" fmla="*/ 122455 h 533934"/>
                  <a:gd name="connsiteX10" fmla="*/ 462915 w 818732"/>
                  <a:gd name="connsiteY10" fmla="*/ 285332 h 533934"/>
                  <a:gd name="connsiteX11" fmla="*/ 355283 w 818732"/>
                  <a:gd name="connsiteY11" fmla="*/ 178652 h 533934"/>
                  <a:gd name="connsiteX12" fmla="*/ 284798 w 818732"/>
                  <a:gd name="connsiteY12" fmla="*/ 178652 h 533934"/>
                  <a:gd name="connsiteX13" fmla="*/ 14288 w 818732"/>
                  <a:gd name="connsiteY13" fmla="*/ 449162 h 533934"/>
                  <a:gd name="connsiteX14" fmla="*/ 14288 w 818732"/>
                  <a:gd name="connsiteY14" fmla="*/ 519647 h 533934"/>
                  <a:gd name="connsiteX15" fmla="*/ 84773 w 818732"/>
                  <a:gd name="connsiteY15" fmla="*/ 519647 h 533934"/>
                  <a:gd name="connsiteX16" fmla="*/ 320040 w 818732"/>
                  <a:gd name="connsiteY16" fmla="*/ 284380 h 533934"/>
                  <a:gd name="connsiteX17" fmla="*/ 427673 w 818732"/>
                  <a:gd name="connsiteY17" fmla="*/ 392012 h 53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8732" h="533934">
                    <a:moveTo>
                      <a:pt x="427673" y="392012"/>
                    </a:moveTo>
                    <a:cubicBezTo>
                      <a:pt x="446723" y="411062"/>
                      <a:pt x="479108" y="411062"/>
                      <a:pt x="498158" y="392012"/>
                    </a:cubicBezTo>
                    <a:lnTo>
                      <a:pt x="696278" y="192940"/>
                    </a:lnTo>
                    <a:lnTo>
                      <a:pt x="736283" y="232945"/>
                    </a:lnTo>
                    <a:cubicBezTo>
                      <a:pt x="752475" y="249137"/>
                      <a:pt x="779145" y="240565"/>
                      <a:pt x="783908" y="218657"/>
                    </a:cubicBezTo>
                    <a:lnTo>
                      <a:pt x="818198" y="32920"/>
                    </a:lnTo>
                    <a:cubicBezTo>
                      <a:pt x="822008" y="13870"/>
                      <a:pt x="804863" y="-3275"/>
                      <a:pt x="785813" y="535"/>
                    </a:cubicBezTo>
                    <a:lnTo>
                      <a:pt x="600075" y="34825"/>
                    </a:lnTo>
                    <a:cubicBezTo>
                      <a:pt x="578168" y="38635"/>
                      <a:pt x="569595" y="66257"/>
                      <a:pt x="585788" y="82450"/>
                    </a:cubicBezTo>
                    <a:lnTo>
                      <a:pt x="625793" y="122455"/>
                    </a:lnTo>
                    <a:lnTo>
                      <a:pt x="462915" y="285332"/>
                    </a:lnTo>
                    <a:lnTo>
                      <a:pt x="355283" y="178652"/>
                    </a:lnTo>
                    <a:cubicBezTo>
                      <a:pt x="336233" y="159602"/>
                      <a:pt x="303848" y="159602"/>
                      <a:pt x="284798" y="178652"/>
                    </a:cubicBezTo>
                    <a:lnTo>
                      <a:pt x="14288" y="449162"/>
                    </a:lnTo>
                    <a:cubicBezTo>
                      <a:pt x="-4763" y="468212"/>
                      <a:pt x="-4763" y="500597"/>
                      <a:pt x="14288" y="519647"/>
                    </a:cubicBezTo>
                    <a:cubicBezTo>
                      <a:pt x="33338" y="538697"/>
                      <a:pt x="65723" y="538697"/>
                      <a:pt x="84773" y="519647"/>
                    </a:cubicBezTo>
                    <a:lnTo>
                      <a:pt x="320040" y="284380"/>
                    </a:lnTo>
                    <a:lnTo>
                      <a:pt x="427673" y="392012"/>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17" name="Agrupar 16">
            <a:extLst>
              <a:ext uri="{FF2B5EF4-FFF2-40B4-BE49-F238E27FC236}">
                <a16:creationId xmlns:a16="http://schemas.microsoft.com/office/drawing/2014/main" id="{0AC4B66F-732E-BC1A-751C-2512E513E643}"/>
              </a:ext>
            </a:extLst>
          </p:cNvPr>
          <p:cNvGrpSpPr/>
          <p:nvPr>
            <p:custDataLst>
              <p:tags r:id="rId7"/>
            </p:custDataLst>
          </p:nvPr>
        </p:nvGrpSpPr>
        <p:grpSpPr>
          <a:xfrm>
            <a:off x="3819585" y="1319216"/>
            <a:ext cx="1220471" cy="3219780"/>
            <a:chOff x="3819585" y="1319216"/>
            <a:chExt cx="1220471" cy="3219780"/>
          </a:xfrm>
        </p:grpSpPr>
        <p:grpSp>
          <p:nvGrpSpPr>
            <p:cNvPr id="115" name="Agrupar 114">
              <a:extLst>
                <a:ext uri="{FF2B5EF4-FFF2-40B4-BE49-F238E27FC236}">
                  <a16:creationId xmlns:a16="http://schemas.microsoft.com/office/drawing/2014/main" id="{D4F8DA29-A7D5-43ED-AB23-4131F81410EC}"/>
                </a:ext>
              </a:extLst>
            </p:cNvPr>
            <p:cNvGrpSpPr/>
            <p:nvPr>
              <p:custDataLst>
                <p:tags r:id="rId64"/>
              </p:custDataLst>
            </p:nvPr>
          </p:nvGrpSpPr>
          <p:grpSpPr>
            <a:xfrm>
              <a:off x="3831830" y="1611481"/>
              <a:ext cx="1199058" cy="291982"/>
              <a:chOff x="3572142" y="1997513"/>
              <a:chExt cx="4973004" cy="360978"/>
            </a:xfrm>
          </p:grpSpPr>
          <p:sp>
            <p:nvSpPr>
              <p:cNvPr id="116" name="Retângulo: Cantos Arredondados 115">
                <a:extLst>
                  <a:ext uri="{FF2B5EF4-FFF2-40B4-BE49-F238E27FC236}">
                    <a16:creationId xmlns:a16="http://schemas.microsoft.com/office/drawing/2014/main" id="{E8480FE6-3680-469F-B3ED-539E7EA220F5}"/>
                  </a:ext>
                </a:extLst>
              </p:cNvPr>
              <p:cNvSpPr/>
              <p:nvPr>
                <p:custDataLst>
                  <p:tags r:id="rId81"/>
                </p:custDataLst>
              </p:nvPr>
            </p:nvSpPr>
            <p:spPr>
              <a:xfrm>
                <a:off x="3572142" y="1997513"/>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17" name="CaixaDeTexto 116">
                <a:extLst>
                  <a:ext uri="{FF2B5EF4-FFF2-40B4-BE49-F238E27FC236}">
                    <a16:creationId xmlns:a16="http://schemas.microsoft.com/office/drawing/2014/main" id="{FDF2D5E1-FB52-408C-8394-593E81DC48C1}"/>
                  </a:ext>
                </a:extLst>
              </p:cNvPr>
              <p:cNvSpPr txBox="1"/>
              <p:nvPr>
                <p:custDataLst>
                  <p:tags r:id="rId82"/>
                </p:custDataLst>
              </p:nvPr>
            </p:nvSpPr>
            <p:spPr>
              <a:xfrm>
                <a:off x="3674285" y="2040000"/>
                <a:ext cx="4824895" cy="29421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9.0%</a:t>
                </a:r>
              </a:p>
            </p:txBody>
          </p:sp>
        </p:grpSp>
        <p:sp>
          <p:nvSpPr>
            <p:cNvPr id="118" name="CaixaDeTexto 117">
              <a:extLst>
                <a:ext uri="{FF2B5EF4-FFF2-40B4-BE49-F238E27FC236}">
                  <a16:creationId xmlns:a16="http://schemas.microsoft.com/office/drawing/2014/main" id="{C4542A92-E236-453A-928A-EFF886B3A656}"/>
                </a:ext>
              </a:extLst>
            </p:cNvPr>
            <p:cNvSpPr txBox="1"/>
            <p:nvPr>
              <p:custDataLst>
                <p:tags r:id="rId65"/>
              </p:custDataLst>
            </p:nvPr>
          </p:nvSpPr>
          <p:spPr>
            <a:xfrm>
              <a:off x="3849665" y="1319216"/>
              <a:ext cx="1187394" cy="264688"/>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400" b="1" i="0" u="none" strike="noStrike" kern="1200" cap="none" normalizeH="0" baseline="0" noProof="0" dirty="0">
                  <a:ln>
                    <a:noFill/>
                  </a:ln>
                  <a:solidFill>
                    <a:srgbClr val="F8681E"/>
                  </a:solidFill>
                  <a:effectLst/>
                  <a:uLnTx/>
                  <a:uFillTx/>
                  <a:latin typeface="Segoe UI" panose="020B0502040204020203" pitchFamily="34" charset="0"/>
                  <a:ea typeface="+mn-ea"/>
                  <a:cs typeface="Segoe UI" panose="020B0502040204020203" pitchFamily="34" charset="0"/>
                </a:rPr>
                <a:t>2013</a:t>
              </a:r>
              <a:endParaRPr kumimoji="0" lang="en-US" sz="1400" b="0" i="0" u="none" strike="noStrike" kern="1200" cap="none" normalizeH="0" baseline="0" noProof="0" dirty="0">
                <a:ln>
                  <a:noFill/>
                </a:ln>
                <a:solidFill>
                  <a:srgbClr val="F8681E"/>
                </a:solidFill>
                <a:effectLst/>
                <a:uLnTx/>
                <a:uFillTx/>
                <a:latin typeface="Segoe UI" panose="020B0502040204020203" pitchFamily="34" charset="0"/>
                <a:ea typeface="+mn-ea"/>
                <a:cs typeface="Segoe UI" panose="020B0502040204020203" pitchFamily="34" charset="0"/>
              </a:endParaRPr>
            </a:p>
          </p:txBody>
        </p:sp>
        <p:grpSp>
          <p:nvGrpSpPr>
            <p:cNvPr id="126" name="Agrupar 125">
              <a:extLst>
                <a:ext uri="{FF2B5EF4-FFF2-40B4-BE49-F238E27FC236}">
                  <a16:creationId xmlns:a16="http://schemas.microsoft.com/office/drawing/2014/main" id="{09D50E64-A483-4E4A-AF7F-CFC7BC6EDA3B}"/>
                </a:ext>
              </a:extLst>
            </p:cNvPr>
            <p:cNvGrpSpPr/>
            <p:nvPr>
              <p:custDataLst>
                <p:tags r:id="rId66"/>
              </p:custDataLst>
            </p:nvPr>
          </p:nvGrpSpPr>
          <p:grpSpPr>
            <a:xfrm>
              <a:off x="3819585" y="4247015"/>
              <a:ext cx="1199639" cy="291981"/>
              <a:chOff x="3521356" y="4709549"/>
              <a:chExt cx="4975414" cy="360978"/>
            </a:xfrm>
          </p:grpSpPr>
          <p:sp>
            <p:nvSpPr>
              <p:cNvPr id="127" name="Retângulo: Cantos Arredondados 126">
                <a:extLst>
                  <a:ext uri="{FF2B5EF4-FFF2-40B4-BE49-F238E27FC236}">
                    <a16:creationId xmlns:a16="http://schemas.microsoft.com/office/drawing/2014/main" id="{214A2EDC-20A8-42ED-BFB0-6AE491575B82}"/>
                  </a:ext>
                </a:extLst>
              </p:cNvPr>
              <p:cNvSpPr/>
              <p:nvPr>
                <p:custDataLst>
                  <p:tags r:id="rId79"/>
                </p:custDataLst>
              </p:nvPr>
            </p:nvSpPr>
            <p:spPr>
              <a:xfrm>
                <a:off x="3523766" y="4709549"/>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8" name="CaixaDeTexto 127">
                <a:extLst>
                  <a:ext uri="{FF2B5EF4-FFF2-40B4-BE49-F238E27FC236}">
                    <a16:creationId xmlns:a16="http://schemas.microsoft.com/office/drawing/2014/main" id="{5A7DA727-FD23-423C-9904-50F80AF16FA3}"/>
                  </a:ext>
                </a:extLst>
              </p:cNvPr>
              <p:cNvSpPr txBox="1"/>
              <p:nvPr>
                <p:custDataLst>
                  <p:tags r:id="rId80"/>
                </p:custDataLst>
              </p:nvPr>
            </p:nvSpPr>
            <p:spPr>
              <a:xfrm>
                <a:off x="3521356" y="4770540"/>
                <a:ext cx="4824895" cy="29679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675010">
                  <a:spcBef>
                    <a:spcPct val="0"/>
                  </a:spcBef>
                  <a:spcAft>
                    <a:spcPct val="0"/>
                  </a:spcAft>
                  <a:defRPr/>
                </a:pPr>
                <a:r>
                  <a:rPr lang="en-US" sz="1200" b="0" i="0" u="none" strike="noStrike" cap="none" spc="0" baseline="0" dirty="0">
                    <a:solidFill>
                      <a:srgbClr val="FFFFFF"/>
                    </a:solidFill>
                    <a:effectLst/>
                    <a:uFillTx/>
                    <a:latin typeface="Segoe UI"/>
                  </a:rPr>
                  <a:t>14,000 km</a:t>
                </a:r>
              </a:p>
            </p:txBody>
          </p:sp>
        </p:grpSp>
        <p:grpSp>
          <p:nvGrpSpPr>
            <p:cNvPr id="129" name="Agrupar 128">
              <a:extLst>
                <a:ext uri="{FF2B5EF4-FFF2-40B4-BE49-F238E27FC236}">
                  <a16:creationId xmlns:a16="http://schemas.microsoft.com/office/drawing/2014/main" id="{2EE8F6E6-C08A-4E35-987A-52FCA6CE85C7}"/>
                </a:ext>
              </a:extLst>
            </p:cNvPr>
            <p:cNvGrpSpPr/>
            <p:nvPr>
              <p:custDataLst>
                <p:tags r:id="rId67"/>
              </p:custDataLst>
            </p:nvPr>
          </p:nvGrpSpPr>
          <p:grpSpPr>
            <a:xfrm>
              <a:off x="3820166" y="2122023"/>
              <a:ext cx="1199058" cy="291982"/>
              <a:chOff x="3523766" y="443544"/>
              <a:chExt cx="4973004" cy="360978"/>
            </a:xfrm>
          </p:grpSpPr>
          <p:sp>
            <p:nvSpPr>
              <p:cNvPr id="130" name="Retângulo: Cantos Arredondados 129">
                <a:extLst>
                  <a:ext uri="{FF2B5EF4-FFF2-40B4-BE49-F238E27FC236}">
                    <a16:creationId xmlns:a16="http://schemas.microsoft.com/office/drawing/2014/main" id="{99CC5F82-2B84-46E0-BBC8-B5F4CC85EE8E}"/>
                  </a:ext>
                </a:extLst>
              </p:cNvPr>
              <p:cNvSpPr/>
              <p:nvPr>
                <p:custDataLst>
                  <p:tags r:id="rId77"/>
                </p:custDataLst>
              </p:nvPr>
            </p:nvSpPr>
            <p:spPr>
              <a:xfrm>
                <a:off x="3523766" y="443544"/>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1" name="CaixaDeTexto 130">
                <a:extLst>
                  <a:ext uri="{FF2B5EF4-FFF2-40B4-BE49-F238E27FC236}">
                    <a16:creationId xmlns:a16="http://schemas.microsoft.com/office/drawing/2014/main" id="{A454B776-54F0-4CC9-9C71-6CC5752AF43A}"/>
                  </a:ext>
                </a:extLst>
              </p:cNvPr>
              <p:cNvSpPr txBox="1"/>
              <p:nvPr>
                <p:custDataLst>
                  <p:tags r:id="rId78"/>
                </p:custDataLst>
              </p:nvPr>
            </p:nvSpPr>
            <p:spPr>
              <a:xfrm>
                <a:off x="3625908" y="480797"/>
                <a:ext cx="4824895" cy="29421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Jun/41</a:t>
                </a:r>
              </a:p>
            </p:txBody>
          </p:sp>
        </p:grpSp>
        <p:grpSp>
          <p:nvGrpSpPr>
            <p:cNvPr id="132" name="Agrupar 131">
              <a:extLst>
                <a:ext uri="{FF2B5EF4-FFF2-40B4-BE49-F238E27FC236}">
                  <a16:creationId xmlns:a16="http://schemas.microsoft.com/office/drawing/2014/main" id="{B2C90B0A-7D85-40FE-A8D5-3D876CCDD725}"/>
                </a:ext>
              </a:extLst>
            </p:cNvPr>
            <p:cNvGrpSpPr/>
            <p:nvPr>
              <p:custDataLst>
                <p:tags r:id="rId68"/>
              </p:custDataLst>
            </p:nvPr>
          </p:nvGrpSpPr>
          <p:grpSpPr>
            <a:xfrm>
              <a:off x="3831830" y="3680913"/>
              <a:ext cx="1199058" cy="291982"/>
              <a:chOff x="3572142" y="2917093"/>
              <a:chExt cx="4973004" cy="360978"/>
            </a:xfrm>
          </p:grpSpPr>
          <p:sp>
            <p:nvSpPr>
              <p:cNvPr id="133" name="Retângulo: Cantos Arredondados 132">
                <a:extLst>
                  <a:ext uri="{FF2B5EF4-FFF2-40B4-BE49-F238E27FC236}">
                    <a16:creationId xmlns:a16="http://schemas.microsoft.com/office/drawing/2014/main" id="{0AF0A3B0-7A98-4904-8DBB-FDABE064DB81}"/>
                  </a:ext>
                </a:extLst>
              </p:cNvPr>
              <p:cNvSpPr/>
              <p:nvPr>
                <p:custDataLst>
                  <p:tags r:id="rId75"/>
                </p:custDataLst>
              </p:nvPr>
            </p:nvSpPr>
            <p:spPr>
              <a:xfrm>
                <a:off x="3572142" y="2917093"/>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4" name="CaixaDeTexto 133">
                <a:extLst>
                  <a:ext uri="{FF2B5EF4-FFF2-40B4-BE49-F238E27FC236}">
                    <a16:creationId xmlns:a16="http://schemas.microsoft.com/office/drawing/2014/main" id="{CE89F733-87B8-4167-9718-EBE10ADD40C9}"/>
                  </a:ext>
                </a:extLst>
              </p:cNvPr>
              <p:cNvSpPr txBox="1"/>
              <p:nvPr>
                <p:custDataLst>
                  <p:tags r:id="rId76"/>
                </p:custDataLst>
              </p:nvPr>
            </p:nvSpPr>
            <p:spPr>
              <a:xfrm>
                <a:off x="3674285" y="2967831"/>
                <a:ext cx="4824895" cy="29679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46,000 MVA</a:t>
                </a:r>
              </a:p>
            </p:txBody>
          </p:sp>
        </p:grpSp>
        <p:grpSp>
          <p:nvGrpSpPr>
            <p:cNvPr id="135" name="Agrupar 134">
              <a:extLst>
                <a:ext uri="{FF2B5EF4-FFF2-40B4-BE49-F238E27FC236}">
                  <a16:creationId xmlns:a16="http://schemas.microsoft.com/office/drawing/2014/main" id="{3CE8BA02-A721-406D-A660-2DD45120D6E4}"/>
                </a:ext>
              </a:extLst>
            </p:cNvPr>
            <p:cNvGrpSpPr/>
            <p:nvPr>
              <p:custDataLst>
                <p:tags r:id="rId69"/>
              </p:custDataLst>
            </p:nvPr>
          </p:nvGrpSpPr>
          <p:grpSpPr>
            <a:xfrm>
              <a:off x="3831830" y="3177608"/>
              <a:ext cx="1199058" cy="291982"/>
              <a:chOff x="3572142" y="2841137"/>
              <a:chExt cx="4973004" cy="360978"/>
            </a:xfrm>
          </p:grpSpPr>
          <p:sp>
            <p:nvSpPr>
              <p:cNvPr id="136" name="Retângulo: Cantos Arredondados 135">
                <a:extLst>
                  <a:ext uri="{FF2B5EF4-FFF2-40B4-BE49-F238E27FC236}">
                    <a16:creationId xmlns:a16="http://schemas.microsoft.com/office/drawing/2014/main" id="{2015125D-DB7E-42F5-ACF2-A0B4418CA9B8}"/>
                  </a:ext>
                </a:extLst>
              </p:cNvPr>
              <p:cNvSpPr/>
              <p:nvPr>
                <p:custDataLst>
                  <p:tags r:id="rId73"/>
                </p:custDataLst>
              </p:nvPr>
            </p:nvSpPr>
            <p:spPr>
              <a:xfrm>
                <a:off x="3572142" y="2841137"/>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37" name="CaixaDeTexto 136">
                <a:extLst>
                  <a:ext uri="{FF2B5EF4-FFF2-40B4-BE49-F238E27FC236}">
                    <a16:creationId xmlns:a16="http://schemas.microsoft.com/office/drawing/2014/main" id="{87EB1C49-EE43-4451-94BC-B0CFC0B2A465}"/>
                  </a:ext>
                </a:extLst>
              </p:cNvPr>
              <p:cNvSpPr txBox="1"/>
              <p:nvPr>
                <p:custDataLst>
                  <p:tags r:id="rId74"/>
                </p:custDataLst>
              </p:nvPr>
            </p:nvSpPr>
            <p:spPr>
              <a:xfrm>
                <a:off x="3676694" y="2888167"/>
                <a:ext cx="4820076" cy="29679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107</a:t>
                </a:r>
              </a:p>
            </p:txBody>
          </p:sp>
        </p:grpSp>
        <p:grpSp>
          <p:nvGrpSpPr>
            <p:cNvPr id="141" name="Agrupar 140">
              <a:extLst>
                <a:ext uri="{FF2B5EF4-FFF2-40B4-BE49-F238E27FC236}">
                  <a16:creationId xmlns:a16="http://schemas.microsoft.com/office/drawing/2014/main" id="{A0FC0F53-277A-48AF-B0AE-71AD4EC3FD78}"/>
                </a:ext>
              </a:extLst>
            </p:cNvPr>
            <p:cNvGrpSpPr/>
            <p:nvPr>
              <p:custDataLst>
                <p:tags r:id="rId70"/>
              </p:custDataLst>
            </p:nvPr>
          </p:nvGrpSpPr>
          <p:grpSpPr>
            <a:xfrm>
              <a:off x="3840998" y="2595461"/>
              <a:ext cx="1199058" cy="329354"/>
              <a:chOff x="3610166" y="-49358"/>
              <a:chExt cx="4973004" cy="407181"/>
            </a:xfrm>
          </p:grpSpPr>
          <p:sp>
            <p:nvSpPr>
              <p:cNvPr id="142" name="Retângulo: Cantos Arredondados 141">
                <a:extLst>
                  <a:ext uri="{FF2B5EF4-FFF2-40B4-BE49-F238E27FC236}">
                    <a16:creationId xmlns:a16="http://schemas.microsoft.com/office/drawing/2014/main" id="{287AA265-5B8B-4419-AF38-7D66CC1BBEDA}"/>
                  </a:ext>
                </a:extLst>
              </p:cNvPr>
              <p:cNvSpPr/>
              <p:nvPr>
                <p:custDataLst>
                  <p:tags r:id="rId71"/>
                </p:custDataLst>
              </p:nvPr>
            </p:nvSpPr>
            <p:spPr>
              <a:xfrm>
                <a:off x="3610166" y="-3155"/>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43" name="CaixaDeTexto 142">
                <a:extLst>
                  <a:ext uri="{FF2B5EF4-FFF2-40B4-BE49-F238E27FC236}">
                    <a16:creationId xmlns:a16="http://schemas.microsoft.com/office/drawing/2014/main" id="{DED8655B-8302-406C-BCE6-94527D3FE8DA}"/>
                  </a:ext>
                </a:extLst>
              </p:cNvPr>
              <p:cNvSpPr txBox="1"/>
              <p:nvPr>
                <p:custDataLst>
                  <p:tags r:id="rId72"/>
                </p:custDataLst>
              </p:nvPr>
            </p:nvSpPr>
            <p:spPr>
              <a:xfrm>
                <a:off x="3689237" y="-49358"/>
                <a:ext cx="4820075" cy="374542"/>
              </a:xfrm>
              <a:prstGeom prst="rect">
                <a:avLst/>
              </a:prstGeom>
              <a:noFill/>
            </p:spPr>
            <p:txBody>
              <a:bodyPr wrap="square" tIns="108000" rtlCol="0" anchor="b" anchorCtr="1">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15</a:t>
                </a:r>
              </a:p>
            </p:txBody>
          </p:sp>
        </p:grpSp>
      </p:grpSp>
      <p:grpSp>
        <p:nvGrpSpPr>
          <p:cNvPr id="19" name="Agrupar 18">
            <a:extLst>
              <a:ext uri="{FF2B5EF4-FFF2-40B4-BE49-F238E27FC236}">
                <a16:creationId xmlns:a16="http://schemas.microsoft.com/office/drawing/2014/main" id="{498C8909-F3C5-5B38-4B4D-A6F128A3B8C2}"/>
              </a:ext>
            </a:extLst>
          </p:cNvPr>
          <p:cNvGrpSpPr/>
          <p:nvPr>
            <p:custDataLst>
              <p:tags r:id="rId8"/>
            </p:custDataLst>
          </p:nvPr>
        </p:nvGrpSpPr>
        <p:grpSpPr>
          <a:xfrm>
            <a:off x="7360713" y="1319449"/>
            <a:ext cx="1222124" cy="3208921"/>
            <a:chOff x="7360713" y="1319449"/>
            <a:chExt cx="1222124" cy="3208921"/>
          </a:xfrm>
        </p:grpSpPr>
        <p:grpSp>
          <p:nvGrpSpPr>
            <p:cNvPr id="215" name="Agrupar 214">
              <a:extLst>
                <a:ext uri="{FF2B5EF4-FFF2-40B4-BE49-F238E27FC236}">
                  <a16:creationId xmlns:a16="http://schemas.microsoft.com/office/drawing/2014/main" id="{CC1F60F1-BDB5-4C17-B81D-7D16219D2400}"/>
                </a:ext>
              </a:extLst>
            </p:cNvPr>
            <p:cNvGrpSpPr/>
            <p:nvPr>
              <p:custDataLst>
                <p:tags r:id="rId45"/>
              </p:custDataLst>
            </p:nvPr>
          </p:nvGrpSpPr>
          <p:grpSpPr>
            <a:xfrm>
              <a:off x="7384037" y="1599315"/>
              <a:ext cx="1198800" cy="291600"/>
              <a:chOff x="391319" y="1212810"/>
              <a:chExt cx="2829238" cy="286497"/>
            </a:xfrm>
          </p:grpSpPr>
          <p:sp>
            <p:nvSpPr>
              <p:cNvPr id="216" name="Retângulo: Cantos Arredondados 215">
                <a:extLst>
                  <a:ext uri="{FF2B5EF4-FFF2-40B4-BE49-F238E27FC236}">
                    <a16:creationId xmlns:a16="http://schemas.microsoft.com/office/drawing/2014/main" id="{78B7E4C9-017A-4F3A-8E9A-D767F06A7077}"/>
                  </a:ext>
                </a:extLst>
              </p:cNvPr>
              <p:cNvSpPr/>
              <p:nvPr>
                <p:custDataLst>
                  <p:tags r:id="rId62"/>
                </p:custDataLst>
              </p:nvPr>
            </p:nvSpPr>
            <p:spPr>
              <a:xfrm>
                <a:off x="391319" y="1212810"/>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17" name="CaixaDeTexto 216">
                <a:extLst>
                  <a:ext uri="{FF2B5EF4-FFF2-40B4-BE49-F238E27FC236}">
                    <a16:creationId xmlns:a16="http://schemas.microsoft.com/office/drawing/2014/main" id="{ABCFF160-A163-4F4B-89C5-874D3A1CB0F3}"/>
                  </a:ext>
                </a:extLst>
              </p:cNvPr>
              <p:cNvSpPr txBox="1"/>
              <p:nvPr>
                <p:custDataLst>
                  <p:tags r:id="rId63"/>
                </p:custDataLst>
              </p:nvPr>
            </p:nvSpPr>
            <p:spPr>
              <a:xfrm>
                <a:off x="421907" y="1254532"/>
                <a:ext cx="2744975" cy="23381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12.1%</a:t>
                </a:r>
              </a:p>
            </p:txBody>
          </p:sp>
        </p:grpSp>
        <p:grpSp>
          <p:nvGrpSpPr>
            <p:cNvPr id="218" name="Agrupar 217">
              <a:extLst>
                <a:ext uri="{FF2B5EF4-FFF2-40B4-BE49-F238E27FC236}">
                  <a16:creationId xmlns:a16="http://schemas.microsoft.com/office/drawing/2014/main" id="{D81F8436-461D-419E-ABB4-40F277AEA25B}"/>
                </a:ext>
              </a:extLst>
            </p:cNvPr>
            <p:cNvGrpSpPr/>
            <p:nvPr>
              <p:custDataLst>
                <p:tags r:id="rId46"/>
              </p:custDataLst>
            </p:nvPr>
          </p:nvGrpSpPr>
          <p:grpSpPr>
            <a:xfrm>
              <a:off x="7368095" y="3180854"/>
              <a:ext cx="1198800" cy="291600"/>
              <a:chOff x="353695" y="1892324"/>
              <a:chExt cx="2829238" cy="286497"/>
            </a:xfrm>
          </p:grpSpPr>
          <p:sp>
            <p:nvSpPr>
              <p:cNvPr id="219" name="Retângulo: Cantos Arredondados 218">
                <a:extLst>
                  <a:ext uri="{FF2B5EF4-FFF2-40B4-BE49-F238E27FC236}">
                    <a16:creationId xmlns:a16="http://schemas.microsoft.com/office/drawing/2014/main" id="{91FDAEFA-86F4-4422-ACEF-760A69FA060C}"/>
                  </a:ext>
                </a:extLst>
              </p:cNvPr>
              <p:cNvSpPr/>
              <p:nvPr>
                <p:custDataLst>
                  <p:tags r:id="rId60"/>
                </p:custDataLst>
              </p:nvPr>
            </p:nvSpPr>
            <p:spPr>
              <a:xfrm>
                <a:off x="353695" y="1892324"/>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20" name="CaixaDeTexto 219">
                <a:extLst>
                  <a:ext uri="{FF2B5EF4-FFF2-40B4-BE49-F238E27FC236}">
                    <a16:creationId xmlns:a16="http://schemas.microsoft.com/office/drawing/2014/main" id="{03285D7F-DF02-4C4B-936E-87A6087460A0}"/>
                  </a:ext>
                </a:extLst>
              </p:cNvPr>
              <p:cNvSpPr txBox="1"/>
              <p:nvPr>
                <p:custDataLst>
                  <p:tags r:id="rId61"/>
                </p:custDataLst>
              </p:nvPr>
            </p:nvSpPr>
            <p:spPr>
              <a:xfrm>
                <a:off x="385655" y="1930928"/>
                <a:ext cx="2742232"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137</a:t>
                </a:r>
              </a:p>
            </p:txBody>
          </p:sp>
        </p:grpSp>
        <p:grpSp>
          <p:nvGrpSpPr>
            <p:cNvPr id="221" name="Agrupar 220">
              <a:extLst>
                <a:ext uri="{FF2B5EF4-FFF2-40B4-BE49-F238E27FC236}">
                  <a16:creationId xmlns:a16="http://schemas.microsoft.com/office/drawing/2014/main" id="{ED8ED91C-9B5C-469B-937B-5061F00B0A0E}"/>
                </a:ext>
              </a:extLst>
            </p:cNvPr>
            <p:cNvGrpSpPr/>
            <p:nvPr>
              <p:custDataLst>
                <p:tags r:id="rId47"/>
              </p:custDataLst>
            </p:nvPr>
          </p:nvGrpSpPr>
          <p:grpSpPr>
            <a:xfrm>
              <a:off x="7367868" y="2593548"/>
              <a:ext cx="1198800" cy="291600"/>
              <a:chOff x="353159" y="-404699"/>
              <a:chExt cx="2829238" cy="286497"/>
            </a:xfrm>
          </p:grpSpPr>
          <p:sp>
            <p:nvSpPr>
              <p:cNvPr id="222" name="Retângulo: Cantos Arredondados 221">
                <a:extLst>
                  <a:ext uri="{FF2B5EF4-FFF2-40B4-BE49-F238E27FC236}">
                    <a16:creationId xmlns:a16="http://schemas.microsoft.com/office/drawing/2014/main" id="{0FDAE462-7280-4812-BB77-5AA9509977E5}"/>
                  </a:ext>
                </a:extLst>
              </p:cNvPr>
              <p:cNvSpPr/>
              <p:nvPr>
                <p:custDataLst>
                  <p:tags r:id="rId58"/>
                </p:custDataLst>
              </p:nvPr>
            </p:nvSpPr>
            <p:spPr>
              <a:xfrm>
                <a:off x="353159" y="-404699"/>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23" name="CaixaDeTexto 222">
                <a:extLst>
                  <a:ext uri="{FF2B5EF4-FFF2-40B4-BE49-F238E27FC236}">
                    <a16:creationId xmlns:a16="http://schemas.microsoft.com/office/drawing/2014/main" id="{ABB1504B-1EB1-4E21-AEF2-C71EB841AA8C}"/>
                  </a:ext>
                </a:extLst>
              </p:cNvPr>
              <p:cNvSpPr txBox="1"/>
              <p:nvPr>
                <p:custDataLst>
                  <p:tags r:id="rId59"/>
                </p:custDataLst>
              </p:nvPr>
            </p:nvSpPr>
            <p:spPr>
              <a:xfrm>
                <a:off x="385119" y="-366101"/>
                <a:ext cx="2742232"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200" b="0"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35</a:t>
                </a:r>
              </a:p>
            </p:txBody>
          </p:sp>
        </p:grpSp>
        <p:grpSp>
          <p:nvGrpSpPr>
            <p:cNvPr id="224" name="Agrupar 223">
              <a:extLst>
                <a:ext uri="{FF2B5EF4-FFF2-40B4-BE49-F238E27FC236}">
                  <a16:creationId xmlns:a16="http://schemas.microsoft.com/office/drawing/2014/main" id="{CA02B278-071E-4D18-A844-20252AC68A13}"/>
                </a:ext>
              </a:extLst>
            </p:cNvPr>
            <p:cNvGrpSpPr/>
            <p:nvPr>
              <p:custDataLst>
                <p:tags r:id="rId48"/>
              </p:custDataLst>
            </p:nvPr>
          </p:nvGrpSpPr>
          <p:grpSpPr>
            <a:xfrm>
              <a:off x="7360713" y="4236770"/>
              <a:ext cx="1198800" cy="291600"/>
              <a:chOff x="336273" y="3366945"/>
              <a:chExt cx="2829238" cy="286497"/>
            </a:xfrm>
          </p:grpSpPr>
          <p:sp>
            <p:nvSpPr>
              <p:cNvPr id="225" name="Retângulo: Cantos Arredondados 224">
                <a:extLst>
                  <a:ext uri="{FF2B5EF4-FFF2-40B4-BE49-F238E27FC236}">
                    <a16:creationId xmlns:a16="http://schemas.microsoft.com/office/drawing/2014/main" id="{A335E145-46D3-49EA-A830-4D12191B4C3A}"/>
                  </a:ext>
                </a:extLst>
              </p:cNvPr>
              <p:cNvSpPr/>
              <p:nvPr>
                <p:custDataLst>
                  <p:tags r:id="rId56"/>
                </p:custDataLst>
              </p:nvPr>
            </p:nvSpPr>
            <p:spPr>
              <a:xfrm>
                <a:off x="336273" y="3366945"/>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26" name="CaixaDeTexto 225">
                <a:extLst>
                  <a:ext uri="{FF2B5EF4-FFF2-40B4-BE49-F238E27FC236}">
                    <a16:creationId xmlns:a16="http://schemas.microsoft.com/office/drawing/2014/main" id="{034C40F3-DA93-4CA1-88D0-4250E76889FA}"/>
                  </a:ext>
                </a:extLst>
              </p:cNvPr>
              <p:cNvSpPr txBox="1"/>
              <p:nvPr>
                <p:custDataLst>
                  <p:tags r:id="rId57"/>
                </p:custDataLst>
              </p:nvPr>
            </p:nvSpPr>
            <p:spPr>
              <a:xfrm>
                <a:off x="366864" y="3407651"/>
                <a:ext cx="2744974" cy="2358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675010">
                  <a:spcBef>
                    <a:spcPct val="0"/>
                  </a:spcBef>
                  <a:spcAft>
                    <a:spcPct val="0"/>
                  </a:spcAft>
                  <a:defRPr/>
                </a:pPr>
                <a:r>
                  <a:rPr lang="en-US" sz="1200" b="0" i="0" u="none" strike="noStrike" cap="none" spc="0" baseline="0" dirty="0">
                    <a:solidFill>
                      <a:srgbClr val="FFFFFF"/>
                    </a:solidFill>
                    <a:effectLst/>
                    <a:uFillTx/>
                    <a:latin typeface="Segoe UI"/>
                  </a:rPr>
                  <a:t>23,000 km</a:t>
                </a:r>
              </a:p>
            </p:txBody>
          </p:sp>
        </p:grpSp>
        <p:grpSp>
          <p:nvGrpSpPr>
            <p:cNvPr id="227" name="Agrupar 226">
              <a:extLst>
                <a:ext uri="{FF2B5EF4-FFF2-40B4-BE49-F238E27FC236}">
                  <a16:creationId xmlns:a16="http://schemas.microsoft.com/office/drawing/2014/main" id="{3535D68E-1A59-4CAA-8190-25C5E4EA9BF6}"/>
                </a:ext>
              </a:extLst>
            </p:cNvPr>
            <p:cNvGrpSpPr/>
            <p:nvPr>
              <p:custDataLst>
                <p:tags r:id="rId49"/>
              </p:custDataLst>
            </p:nvPr>
          </p:nvGrpSpPr>
          <p:grpSpPr>
            <a:xfrm>
              <a:off x="7372630" y="3702755"/>
              <a:ext cx="1198800" cy="291600"/>
              <a:chOff x="364398" y="1967915"/>
              <a:chExt cx="2829238" cy="286497"/>
            </a:xfrm>
          </p:grpSpPr>
          <p:sp>
            <p:nvSpPr>
              <p:cNvPr id="228" name="Retângulo: Cantos Arredondados 227">
                <a:extLst>
                  <a:ext uri="{FF2B5EF4-FFF2-40B4-BE49-F238E27FC236}">
                    <a16:creationId xmlns:a16="http://schemas.microsoft.com/office/drawing/2014/main" id="{766A90B9-7B9C-4B1B-AC24-581849C9ECDA}"/>
                  </a:ext>
                </a:extLst>
              </p:cNvPr>
              <p:cNvSpPr/>
              <p:nvPr>
                <p:custDataLst>
                  <p:tags r:id="rId54"/>
                </p:custDataLst>
              </p:nvPr>
            </p:nvSpPr>
            <p:spPr>
              <a:xfrm>
                <a:off x="364398" y="1967915"/>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29" name="CaixaDeTexto 228">
                <a:extLst>
                  <a:ext uri="{FF2B5EF4-FFF2-40B4-BE49-F238E27FC236}">
                    <a16:creationId xmlns:a16="http://schemas.microsoft.com/office/drawing/2014/main" id="{784742C2-9D30-4F44-8B3D-2D1900824932}"/>
                  </a:ext>
                </a:extLst>
              </p:cNvPr>
              <p:cNvSpPr txBox="1"/>
              <p:nvPr>
                <p:custDataLst>
                  <p:tags r:id="rId55"/>
                </p:custDataLst>
              </p:nvPr>
            </p:nvSpPr>
            <p:spPr>
              <a:xfrm>
                <a:off x="394982" y="2008619"/>
                <a:ext cx="2744974" cy="2358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85,000 MVA</a:t>
                </a:r>
              </a:p>
            </p:txBody>
          </p:sp>
        </p:grpSp>
        <p:grpSp>
          <p:nvGrpSpPr>
            <p:cNvPr id="230" name="Agrupar 229">
              <a:extLst>
                <a:ext uri="{FF2B5EF4-FFF2-40B4-BE49-F238E27FC236}">
                  <a16:creationId xmlns:a16="http://schemas.microsoft.com/office/drawing/2014/main" id="{2984F63B-2223-496D-8DD4-0CC9F2B45DB7}"/>
                </a:ext>
              </a:extLst>
            </p:cNvPr>
            <p:cNvGrpSpPr/>
            <p:nvPr>
              <p:custDataLst>
                <p:tags r:id="rId50"/>
              </p:custDataLst>
            </p:nvPr>
          </p:nvGrpSpPr>
          <p:grpSpPr>
            <a:xfrm>
              <a:off x="7384036" y="2072334"/>
              <a:ext cx="1198800" cy="291600"/>
              <a:chOff x="391316" y="-71147"/>
              <a:chExt cx="2829238" cy="286497"/>
            </a:xfrm>
          </p:grpSpPr>
          <p:sp>
            <p:nvSpPr>
              <p:cNvPr id="231" name="Retângulo: Cantos Arredondados 230">
                <a:extLst>
                  <a:ext uri="{FF2B5EF4-FFF2-40B4-BE49-F238E27FC236}">
                    <a16:creationId xmlns:a16="http://schemas.microsoft.com/office/drawing/2014/main" id="{7E30410B-F90C-4260-AC2A-15BECE9E2D83}"/>
                  </a:ext>
                </a:extLst>
              </p:cNvPr>
              <p:cNvSpPr/>
              <p:nvPr>
                <p:custDataLst>
                  <p:tags r:id="rId52"/>
                </p:custDataLst>
              </p:nvPr>
            </p:nvSpPr>
            <p:spPr>
              <a:xfrm>
                <a:off x="391316" y="-71147"/>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32" name="CaixaDeTexto 231">
                <a:extLst>
                  <a:ext uri="{FF2B5EF4-FFF2-40B4-BE49-F238E27FC236}">
                    <a16:creationId xmlns:a16="http://schemas.microsoft.com/office/drawing/2014/main" id="{3BC3C4A8-3CF8-44F9-ABD1-B9D88358F10B}"/>
                  </a:ext>
                </a:extLst>
              </p:cNvPr>
              <p:cNvSpPr txBox="1"/>
              <p:nvPr>
                <p:custDataLst>
                  <p:tags r:id="rId53"/>
                </p:custDataLst>
              </p:nvPr>
            </p:nvSpPr>
            <p:spPr>
              <a:xfrm>
                <a:off x="421908" y="-29425"/>
                <a:ext cx="2744977" cy="23381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675010"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Oct/45</a:t>
                </a:r>
              </a:p>
            </p:txBody>
          </p:sp>
        </p:grpSp>
        <p:sp>
          <p:nvSpPr>
            <p:cNvPr id="269" name="CaixaDeTexto 268">
              <a:extLst>
                <a:ext uri="{FF2B5EF4-FFF2-40B4-BE49-F238E27FC236}">
                  <a16:creationId xmlns:a16="http://schemas.microsoft.com/office/drawing/2014/main" id="{E712808F-3345-4E85-8FB9-77FFFEE4E922}"/>
                </a:ext>
              </a:extLst>
            </p:cNvPr>
            <p:cNvSpPr txBox="1"/>
            <p:nvPr>
              <p:custDataLst>
                <p:tags r:id="rId51"/>
              </p:custDataLst>
            </p:nvPr>
          </p:nvSpPr>
          <p:spPr>
            <a:xfrm>
              <a:off x="7384036" y="1319449"/>
              <a:ext cx="1187394" cy="264688"/>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kumimoji="0" lang="en-US" sz="1400" b="1" i="0" u="none" strike="noStrike" kern="1200" cap="none" normalizeH="0" baseline="0" noProof="0" dirty="0">
                  <a:ln>
                    <a:noFill/>
                  </a:ln>
                  <a:solidFill>
                    <a:srgbClr val="378AF2"/>
                  </a:solidFill>
                  <a:effectLst/>
                  <a:uLnTx/>
                  <a:uFillTx/>
                  <a:latin typeface="Segoe UI" panose="020B0502040204020203" pitchFamily="34" charset="0"/>
                  <a:ea typeface="+mn-ea"/>
                  <a:cs typeface="Segoe UI" panose="020B0502040204020203" pitchFamily="34" charset="0"/>
                </a:rPr>
                <a:t>2023</a:t>
              </a:r>
              <a:endParaRPr kumimoji="0" lang="en-US" sz="1400" b="0" i="0" u="none" strike="noStrike" kern="1200" cap="none" normalizeH="0" baseline="0" noProof="0" dirty="0">
                <a:ln>
                  <a:noFill/>
                </a:ln>
                <a:solidFill>
                  <a:srgbClr val="378AF2"/>
                </a:solidFill>
                <a:effectLst/>
                <a:uLnTx/>
                <a:uFillTx/>
                <a:latin typeface="Segoe UI" panose="020B0502040204020203" pitchFamily="34" charset="0"/>
                <a:ea typeface="+mn-ea"/>
                <a:cs typeface="Segoe UI" panose="020B0502040204020203" pitchFamily="34" charset="0"/>
              </a:endParaRPr>
            </a:p>
          </p:txBody>
        </p:sp>
      </p:grpSp>
      <p:grpSp>
        <p:nvGrpSpPr>
          <p:cNvPr id="279" name="Agrupar 278">
            <a:extLst>
              <a:ext uri="{FF2B5EF4-FFF2-40B4-BE49-F238E27FC236}">
                <a16:creationId xmlns:a16="http://schemas.microsoft.com/office/drawing/2014/main" id="{55B3BC9D-B04A-4732-94E7-103DD014AF87}"/>
              </a:ext>
            </a:extLst>
          </p:cNvPr>
          <p:cNvGrpSpPr/>
          <p:nvPr>
            <p:custDataLst>
              <p:tags r:id="rId9"/>
            </p:custDataLst>
          </p:nvPr>
        </p:nvGrpSpPr>
        <p:grpSpPr>
          <a:xfrm>
            <a:off x="315409" y="3140760"/>
            <a:ext cx="366482" cy="366480"/>
            <a:chOff x="326063" y="1665391"/>
            <a:chExt cx="330767" cy="330767"/>
          </a:xfrm>
        </p:grpSpPr>
        <p:sp>
          <p:nvSpPr>
            <p:cNvPr id="83" name="Elipse 82">
              <a:extLst>
                <a:ext uri="{FF2B5EF4-FFF2-40B4-BE49-F238E27FC236}">
                  <a16:creationId xmlns:a16="http://schemas.microsoft.com/office/drawing/2014/main" id="{FD402BB6-69DB-45B9-BD3A-EFD64B72370A}"/>
                </a:ext>
              </a:extLst>
            </p:cNvPr>
            <p:cNvSpPr/>
            <p:nvPr>
              <p:custDataLst>
                <p:tags r:id="rId43"/>
              </p:custDataLst>
            </p:nvPr>
          </p:nvSpPr>
          <p:spPr>
            <a:xfrm>
              <a:off x="326063" y="1665391"/>
              <a:ext cx="330767" cy="33076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2" name="Forma Livre: Forma 271">
              <a:extLst>
                <a:ext uri="{FF2B5EF4-FFF2-40B4-BE49-F238E27FC236}">
                  <a16:creationId xmlns:a16="http://schemas.microsoft.com/office/drawing/2014/main" id="{ECE009B8-B909-44DD-856F-6608561CCB7D}"/>
                </a:ext>
              </a:extLst>
            </p:cNvPr>
            <p:cNvSpPr/>
            <p:nvPr>
              <p:custDataLst>
                <p:tags r:id="rId44"/>
              </p:custDataLst>
            </p:nvPr>
          </p:nvSpPr>
          <p:spPr>
            <a:xfrm>
              <a:off x="417484" y="1725971"/>
              <a:ext cx="147925" cy="209606"/>
            </a:xfrm>
            <a:custGeom>
              <a:avLst/>
              <a:gdLst>
                <a:gd name="connsiteX0" fmla="*/ 1473232 w 2581275"/>
                <a:gd name="connsiteY0" fmla="*/ 7144 h 3657600"/>
                <a:gd name="connsiteX1" fmla="*/ 1495235 w 2581275"/>
                <a:gd name="connsiteY1" fmla="*/ 58865 h 3657600"/>
                <a:gd name="connsiteX2" fmla="*/ 1665160 w 2581275"/>
                <a:gd name="connsiteY2" fmla="*/ 399288 h 3657600"/>
                <a:gd name="connsiteX3" fmla="*/ 1723644 w 2581275"/>
                <a:gd name="connsiteY3" fmla="*/ 436340 h 3657600"/>
                <a:gd name="connsiteX4" fmla="*/ 2432971 w 2581275"/>
                <a:gd name="connsiteY4" fmla="*/ 435483 h 3657600"/>
                <a:gd name="connsiteX5" fmla="*/ 2474690 w 2581275"/>
                <a:gd name="connsiteY5" fmla="*/ 435483 h 3657600"/>
                <a:gd name="connsiteX6" fmla="*/ 2474690 w 2581275"/>
                <a:gd name="connsiteY6" fmla="*/ 756666 h 3657600"/>
                <a:gd name="connsiteX7" fmla="*/ 2261711 w 2581275"/>
                <a:gd name="connsiteY7" fmla="*/ 756666 h 3657600"/>
                <a:gd name="connsiteX8" fmla="*/ 2261711 w 2581275"/>
                <a:gd name="connsiteY8" fmla="*/ 657892 h 3657600"/>
                <a:gd name="connsiteX9" fmla="*/ 2208181 w 2581275"/>
                <a:gd name="connsiteY9" fmla="*/ 675418 h 3657600"/>
                <a:gd name="connsiteX10" fmla="*/ 2021777 w 2581275"/>
                <a:gd name="connsiteY10" fmla="*/ 1051370 h 3657600"/>
                <a:gd name="connsiteX11" fmla="*/ 1970246 w 2581275"/>
                <a:gd name="connsiteY11" fmla="*/ 1082993 h 3657600"/>
                <a:gd name="connsiteX12" fmla="*/ 1778318 w 2581275"/>
                <a:gd name="connsiteY12" fmla="*/ 1082326 h 3657600"/>
                <a:gd name="connsiteX13" fmla="*/ 1797368 w 2581275"/>
                <a:gd name="connsiteY13" fmla="*/ 1276731 h 3657600"/>
                <a:gd name="connsiteX14" fmla="*/ 1831562 w 2581275"/>
                <a:gd name="connsiteY14" fmla="*/ 1294448 h 3657600"/>
                <a:gd name="connsiteX15" fmla="*/ 2180844 w 2581275"/>
                <a:gd name="connsiteY15" fmla="*/ 1295210 h 3657600"/>
                <a:gd name="connsiteX16" fmla="*/ 2582418 w 2581275"/>
                <a:gd name="connsiteY16" fmla="*/ 1295210 h 3657600"/>
                <a:gd name="connsiteX17" fmla="*/ 2582418 w 2581275"/>
                <a:gd name="connsiteY17" fmla="*/ 1615726 h 3657600"/>
                <a:gd name="connsiteX18" fmla="*/ 2370011 w 2581275"/>
                <a:gd name="connsiteY18" fmla="*/ 1615726 h 3657600"/>
                <a:gd name="connsiteX19" fmla="*/ 2370011 w 2581275"/>
                <a:gd name="connsiteY19" fmla="*/ 1516190 h 3657600"/>
                <a:gd name="connsiteX20" fmla="*/ 2315432 w 2581275"/>
                <a:gd name="connsiteY20" fmla="*/ 1536764 h 3657600"/>
                <a:gd name="connsiteX21" fmla="*/ 2130552 w 2581275"/>
                <a:gd name="connsiteY21" fmla="*/ 1909477 h 3657600"/>
                <a:gd name="connsiteX22" fmla="*/ 2082927 w 2581275"/>
                <a:gd name="connsiteY22" fmla="*/ 1939957 h 3657600"/>
                <a:gd name="connsiteX23" fmla="*/ 1860137 w 2581275"/>
                <a:gd name="connsiteY23" fmla="*/ 1939290 h 3657600"/>
                <a:gd name="connsiteX24" fmla="*/ 2003584 w 2581275"/>
                <a:gd name="connsiteY24" fmla="*/ 3443002 h 3657600"/>
                <a:gd name="connsiteX25" fmla="*/ 2583370 w 2581275"/>
                <a:gd name="connsiteY25" fmla="*/ 3443002 h 3657600"/>
                <a:gd name="connsiteX26" fmla="*/ 2583370 w 2581275"/>
                <a:gd name="connsiteY26" fmla="*/ 3654552 h 3657600"/>
                <a:gd name="connsiteX27" fmla="*/ 7144 w 2581275"/>
                <a:gd name="connsiteY27" fmla="*/ 3654552 h 3657600"/>
                <a:gd name="connsiteX28" fmla="*/ 7144 w 2581275"/>
                <a:gd name="connsiteY28" fmla="*/ 3445002 h 3657600"/>
                <a:gd name="connsiteX29" fmla="*/ 586835 w 2581275"/>
                <a:gd name="connsiteY29" fmla="*/ 3445002 h 3657600"/>
                <a:gd name="connsiteX30" fmla="*/ 730472 w 2581275"/>
                <a:gd name="connsiteY30" fmla="*/ 1939290 h 3657600"/>
                <a:gd name="connsiteX31" fmla="*/ 490823 w 2581275"/>
                <a:gd name="connsiteY31" fmla="*/ 1939957 h 3657600"/>
                <a:gd name="connsiteX32" fmla="*/ 437769 w 2581275"/>
                <a:gd name="connsiteY32" fmla="*/ 1906810 h 3657600"/>
                <a:gd name="connsiteX33" fmla="*/ 272225 w 2581275"/>
                <a:gd name="connsiteY33" fmla="*/ 1537049 h 3657600"/>
                <a:gd name="connsiteX34" fmla="*/ 221933 w 2581275"/>
                <a:gd name="connsiteY34" fmla="*/ 1515047 h 3657600"/>
                <a:gd name="connsiteX35" fmla="*/ 221933 w 2581275"/>
                <a:gd name="connsiteY35" fmla="*/ 1616297 h 3657600"/>
                <a:gd name="connsiteX36" fmla="*/ 7144 w 2581275"/>
                <a:gd name="connsiteY36" fmla="*/ 1616297 h 3657600"/>
                <a:gd name="connsiteX37" fmla="*/ 7144 w 2581275"/>
                <a:gd name="connsiteY37" fmla="*/ 1295210 h 3657600"/>
                <a:gd name="connsiteX38" fmla="*/ 50959 w 2581275"/>
                <a:gd name="connsiteY38" fmla="*/ 1295210 h 3657600"/>
                <a:gd name="connsiteX39" fmla="*/ 753142 w 2581275"/>
                <a:gd name="connsiteY39" fmla="*/ 1296067 h 3657600"/>
                <a:gd name="connsiteX40" fmla="*/ 796862 w 2581275"/>
                <a:gd name="connsiteY40" fmla="*/ 1254062 h 3657600"/>
                <a:gd name="connsiteX41" fmla="*/ 812006 w 2581275"/>
                <a:gd name="connsiteY41" fmla="*/ 1082612 h 3657600"/>
                <a:gd name="connsiteX42" fmla="*/ 650081 w 2581275"/>
                <a:gd name="connsiteY42" fmla="*/ 1083850 h 3657600"/>
                <a:gd name="connsiteX43" fmla="*/ 522732 w 2581275"/>
                <a:gd name="connsiteY43" fmla="*/ 1003554 h 3657600"/>
                <a:gd name="connsiteX44" fmla="*/ 376904 w 2581275"/>
                <a:gd name="connsiteY44" fmla="*/ 675608 h 3657600"/>
                <a:gd name="connsiteX45" fmla="*/ 330137 w 2581275"/>
                <a:gd name="connsiteY45" fmla="*/ 656558 h 3657600"/>
                <a:gd name="connsiteX46" fmla="*/ 330137 w 2581275"/>
                <a:gd name="connsiteY46" fmla="*/ 756857 h 3657600"/>
                <a:gd name="connsiteX47" fmla="*/ 114300 w 2581275"/>
                <a:gd name="connsiteY47" fmla="*/ 756857 h 3657600"/>
                <a:gd name="connsiteX48" fmla="*/ 114300 w 2581275"/>
                <a:gd name="connsiteY48" fmla="*/ 435483 h 3657600"/>
                <a:gd name="connsiteX49" fmla="*/ 157258 w 2581275"/>
                <a:gd name="connsiteY49" fmla="*/ 435483 h 3657600"/>
                <a:gd name="connsiteX50" fmla="*/ 870109 w 2581275"/>
                <a:gd name="connsiteY50" fmla="*/ 436055 h 3657600"/>
                <a:gd name="connsiteX51" fmla="*/ 921639 w 2581275"/>
                <a:gd name="connsiteY51" fmla="*/ 405479 h 3657600"/>
                <a:gd name="connsiteX52" fmla="*/ 1103948 w 2581275"/>
                <a:gd name="connsiteY52" fmla="*/ 39624 h 3657600"/>
                <a:gd name="connsiteX53" fmla="*/ 1116711 w 2581275"/>
                <a:gd name="connsiteY53" fmla="*/ 7144 h 3657600"/>
                <a:gd name="connsiteX54" fmla="*/ 967073 w 2581275"/>
                <a:gd name="connsiteY54" fmla="*/ 2633377 h 3657600"/>
                <a:gd name="connsiteX55" fmla="*/ 974312 w 2581275"/>
                <a:gd name="connsiteY55" fmla="*/ 2642902 h 3657600"/>
                <a:gd name="connsiteX56" fmla="*/ 1280065 w 2581275"/>
                <a:gd name="connsiteY56" fmla="*/ 2857214 h 3657600"/>
                <a:gd name="connsiteX57" fmla="*/ 1316069 w 2581275"/>
                <a:gd name="connsiteY57" fmla="*/ 2853404 h 3657600"/>
                <a:gd name="connsiteX58" fmla="*/ 1535144 w 2581275"/>
                <a:gd name="connsiteY58" fmla="*/ 2701004 h 3657600"/>
                <a:gd name="connsiteX59" fmla="*/ 1626679 w 2581275"/>
                <a:gd name="connsiteY59" fmla="*/ 2635663 h 3657600"/>
                <a:gd name="connsiteX60" fmla="*/ 1309211 w 2581275"/>
                <a:gd name="connsiteY60" fmla="*/ 2424684 h 3657600"/>
                <a:gd name="connsiteX61" fmla="*/ 1281493 w 2581275"/>
                <a:gd name="connsiteY61" fmla="*/ 2424684 h 3657600"/>
                <a:gd name="connsiteX62" fmla="*/ 967073 w 2581275"/>
                <a:gd name="connsiteY62" fmla="*/ 2633377 h 3657600"/>
                <a:gd name="connsiteX63" fmla="*/ 856869 w 2581275"/>
                <a:gd name="connsiteY63" fmla="*/ 3440811 h 3657600"/>
                <a:gd name="connsiteX64" fmla="*/ 1733169 w 2581275"/>
                <a:gd name="connsiteY64" fmla="*/ 3440811 h 3657600"/>
                <a:gd name="connsiteX65" fmla="*/ 1310354 w 2581275"/>
                <a:gd name="connsiteY65" fmla="*/ 3144298 h 3657600"/>
                <a:gd name="connsiteX66" fmla="*/ 1279493 w 2581275"/>
                <a:gd name="connsiteY66" fmla="*/ 3144298 h 3657600"/>
                <a:gd name="connsiteX67" fmla="*/ 856869 w 2581275"/>
                <a:gd name="connsiteY67" fmla="*/ 3440811 h 3657600"/>
                <a:gd name="connsiteX68" fmla="*/ 967740 w 2581275"/>
                <a:gd name="connsiteY68" fmla="*/ 1723549 h 3657600"/>
                <a:gd name="connsiteX69" fmla="*/ 1622203 w 2581275"/>
                <a:gd name="connsiteY69" fmla="*/ 1723549 h 3657600"/>
                <a:gd name="connsiteX70" fmla="*/ 1601534 w 2581275"/>
                <a:gd name="connsiteY70" fmla="*/ 1513999 h 3657600"/>
                <a:gd name="connsiteX71" fmla="*/ 988219 w 2581275"/>
                <a:gd name="connsiteY71" fmla="*/ 1513999 h 3657600"/>
                <a:gd name="connsiteX72" fmla="*/ 967740 w 2581275"/>
                <a:gd name="connsiteY72" fmla="*/ 1723549 h 3657600"/>
                <a:gd name="connsiteX73" fmla="*/ 1560671 w 2581275"/>
                <a:gd name="connsiteY73" fmla="*/ 1084612 h 3657600"/>
                <a:gd name="connsiteX74" fmla="*/ 1028986 w 2581275"/>
                <a:gd name="connsiteY74" fmla="*/ 1084612 h 3657600"/>
                <a:gd name="connsiteX75" fmla="*/ 1008888 w 2581275"/>
                <a:gd name="connsiteY75" fmla="*/ 1293209 h 3657600"/>
                <a:gd name="connsiteX76" fmla="*/ 1581055 w 2581275"/>
                <a:gd name="connsiteY76" fmla="*/ 1293209 h 3657600"/>
                <a:gd name="connsiteX77" fmla="*/ 1560671 w 2581275"/>
                <a:gd name="connsiteY77" fmla="*/ 1084612 h 3657600"/>
                <a:gd name="connsiteX78" fmla="*/ 1050798 w 2581275"/>
                <a:gd name="connsiteY78" fmla="*/ 862584 h 3657600"/>
                <a:gd name="connsiteX79" fmla="*/ 1539050 w 2581275"/>
                <a:gd name="connsiteY79" fmla="*/ 862584 h 3657600"/>
                <a:gd name="connsiteX80" fmla="*/ 1521333 w 2581275"/>
                <a:gd name="connsiteY80" fmla="*/ 669989 h 3657600"/>
                <a:gd name="connsiteX81" fmla="*/ 1497616 w 2581275"/>
                <a:gd name="connsiteY81" fmla="*/ 652272 h 3657600"/>
                <a:gd name="connsiteX82" fmla="*/ 1092327 w 2581275"/>
                <a:gd name="connsiteY82" fmla="*/ 652272 h 3657600"/>
                <a:gd name="connsiteX83" fmla="*/ 1068515 w 2581275"/>
                <a:gd name="connsiteY83" fmla="*/ 669989 h 3657600"/>
                <a:gd name="connsiteX84" fmla="*/ 1050798 w 2581275"/>
                <a:gd name="connsiteY84" fmla="*/ 862584 h 3657600"/>
                <a:gd name="connsiteX85" fmla="*/ 973645 w 2581275"/>
                <a:gd name="connsiteY85" fmla="*/ 1940623 h 3657600"/>
                <a:gd name="connsiteX86" fmla="*/ 1281398 w 2581275"/>
                <a:gd name="connsiteY86" fmla="*/ 2144840 h 3657600"/>
                <a:gd name="connsiteX87" fmla="*/ 1317689 w 2581275"/>
                <a:gd name="connsiteY87" fmla="*/ 2139601 h 3657600"/>
                <a:gd name="connsiteX88" fmla="*/ 1539907 w 2581275"/>
                <a:gd name="connsiteY88" fmla="*/ 1991773 h 3657600"/>
                <a:gd name="connsiteX89" fmla="*/ 1615440 w 2581275"/>
                <a:gd name="connsiteY89" fmla="*/ 1940623 h 3657600"/>
                <a:gd name="connsiteX90" fmla="*/ 827532 w 2581275"/>
                <a:gd name="connsiteY90" fmla="*/ 3197924 h 3657600"/>
                <a:gd name="connsiteX91" fmla="*/ 1107662 w 2581275"/>
                <a:gd name="connsiteY91" fmla="*/ 3000566 h 3657600"/>
                <a:gd name="connsiteX92" fmla="*/ 862298 w 2581275"/>
                <a:gd name="connsiteY92" fmla="*/ 2828544 h 3657600"/>
                <a:gd name="connsiteX93" fmla="*/ 827532 w 2581275"/>
                <a:gd name="connsiteY93" fmla="*/ 3197829 h 3657600"/>
                <a:gd name="connsiteX94" fmla="*/ 1727644 w 2581275"/>
                <a:gd name="connsiteY94" fmla="*/ 2828639 h 3657600"/>
                <a:gd name="connsiteX95" fmla="*/ 1482566 w 2581275"/>
                <a:gd name="connsiteY95" fmla="*/ 3000661 h 3657600"/>
                <a:gd name="connsiteX96" fmla="*/ 1762220 w 2581275"/>
                <a:gd name="connsiteY96" fmla="*/ 3197162 h 3657600"/>
                <a:gd name="connsiteX97" fmla="*/ 1727644 w 2581275"/>
                <a:gd name="connsiteY97" fmla="*/ 2828544 h 3657600"/>
                <a:gd name="connsiteX98" fmla="*/ 770668 w 2581275"/>
                <a:gd name="connsiteY98" fmla="*/ 1512475 h 3657600"/>
                <a:gd name="connsiteX99" fmla="*/ 497396 w 2581275"/>
                <a:gd name="connsiteY99" fmla="*/ 1512475 h 3657600"/>
                <a:gd name="connsiteX100" fmla="*/ 589312 w 2581275"/>
                <a:gd name="connsiteY100" fmla="*/ 1715167 h 3657600"/>
                <a:gd name="connsiteX101" fmla="*/ 605695 w 2581275"/>
                <a:gd name="connsiteY101" fmla="*/ 1724692 h 3657600"/>
                <a:gd name="connsiteX102" fmla="*/ 751142 w 2581275"/>
                <a:gd name="connsiteY102" fmla="*/ 1724692 h 3657600"/>
                <a:gd name="connsiteX103" fmla="*/ 770668 w 2581275"/>
                <a:gd name="connsiteY103" fmla="*/ 1512475 h 3657600"/>
                <a:gd name="connsiteX104" fmla="*/ 1818989 w 2581275"/>
                <a:gd name="connsiteY104" fmla="*/ 1512475 h 3657600"/>
                <a:gd name="connsiteX105" fmla="*/ 1839087 w 2581275"/>
                <a:gd name="connsiteY105" fmla="*/ 1725168 h 3657600"/>
                <a:gd name="connsiteX106" fmla="*/ 1962912 w 2581275"/>
                <a:gd name="connsiteY106" fmla="*/ 1724597 h 3657600"/>
                <a:gd name="connsiteX107" fmla="*/ 1985582 w 2581275"/>
                <a:gd name="connsiteY107" fmla="*/ 1712976 h 3657600"/>
                <a:gd name="connsiteX108" fmla="*/ 2086356 w 2581275"/>
                <a:gd name="connsiteY108" fmla="*/ 1512475 h 3657600"/>
                <a:gd name="connsiteX109" fmla="*/ 603504 w 2581275"/>
                <a:gd name="connsiteY109" fmla="*/ 653034 h 3657600"/>
                <a:gd name="connsiteX110" fmla="*/ 693325 w 2581275"/>
                <a:gd name="connsiteY110" fmla="*/ 850678 h 3657600"/>
                <a:gd name="connsiteX111" fmla="*/ 710851 w 2581275"/>
                <a:gd name="connsiteY111" fmla="*/ 864203 h 3657600"/>
                <a:gd name="connsiteX112" fmla="*/ 832961 w 2581275"/>
                <a:gd name="connsiteY112" fmla="*/ 864870 h 3657600"/>
                <a:gd name="connsiteX113" fmla="*/ 853059 w 2581275"/>
                <a:gd name="connsiteY113" fmla="*/ 653034 h 3657600"/>
                <a:gd name="connsiteX114" fmla="*/ 1756886 w 2581275"/>
                <a:gd name="connsiteY114" fmla="*/ 864680 h 3657600"/>
                <a:gd name="connsiteX115" fmla="*/ 1847469 w 2581275"/>
                <a:gd name="connsiteY115" fmla="*/ 863632 h 3657600"/>
                <a:gd name="connsiteX116" fmla="*/ 1884045 w 2581275"/>
                <a:gd name="connsiteY116" fmla="*/ 839915 h 3657600"/>
                <a:gd name="connsiteX117" fmla="*/ 1964055 w 2581275"/>
                <a:gd name="connsiteY117" fmla="*/ 681990 h 3657600"/>
                <a:gd name="connsiteX118" fmla="*/ 1974628 w 2581275"/>
                <a:gd name="connsiteY118" fmla="*/ 654272 h 3657600"/>
                <a:gd name="connsiteX119" fmla="*/ 1736503 w 2581275"/>
                <a:gd name="connsiteY119" fmla="*/ 654272 h 3657600"/>
                <a:gd name="connsiteX120" fmla="*/ 1756886 w 2581275"/>
                <a:gd name="connsiteY120" fmla="*/ 864680 h 3657600"/>
                <a:gd name="connsiteX121" fmla="*/ 901160 w 2581275"/>
                <a:gd name="connsiteY121" fmla="*/ 2417255 h 3657600"/>
                <a:gd name="connsiteX122" fmla="*/ 1100518 w 2581275"/>
                <a:gd name="connsiteY122" fmla="*/ 2283905 h 3657600"/>
                <a:gd name="connsiteX123" fmla="*/ 925735 w 2581275"/>
                <a:gd name="connsiteY123" fmla="*/ 2167509 h 3657600"/>
                <a:gd name="connsiteX124" fmla="*/ 901541 w 2581275"/>
                <a:gd name="connsiteY124" fmla="*/ 2417540 h 3657600"/>
                <a:gd name="connsiteX125" fmla="*/ 1488948 w 2581275"/>
                <a:gd name="connsiteY125" fmla="*/ 2284381 h 3657600"/>
                <a:gd name="connsiteX126" fmla="*/ 1687830 w 2581275"/>
                <a:gd name="connsiteY126" fmla="*/ 2416874 h 3657600"/>
                <a:gd name="connsiteX127" fmla="*/ 1663732 w 2581275"/>
                <a:gd name="connsiteY127" fmla="*/ 2167985 h 365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581275" h="3657600">
                  <a:moveTo>
                    <a:pt x="1473232" y="7144"/>
                  </a:moveTo>
                  <a:cubicBezTo>
                    <a:pt x="1480471" y="24384"/>
                    <a:pt x="1486852" y="42196"/>
                    <a:pt x="1495235" y="58865"/>
                  </a:cubicBezTo>
                  <a:cubicBezTo>
                    <a:pt x="1551813" y="172403"/>
                    <a:pt x="1609535" y="285179"/>
                    <a:pt x="1665160" y="399288"/>
                  </a:cubicBezTo>
                  <a:cubicBezTo>
                    <a:pt x="1678305" y="426339"/>
                    <a:pt x="1692593" y="436531"/>
                    <a:pt x="1723644" y="436340"/>
                  </a:cubicBezTo>
                  <a:cubicBezTo>
                    <a:pt x="1960054" y="434816"/>
                    <a:pt x="2196465" y="435483"/>
                    <a:pt x="2432971" y="435483"/>
                  </a:cubicBezTo>
                  <a:lnTo>
                    <a:pt x="2474690" y="435483"/>
                  </a:lnTo>
                  <a:lnTo>
                    <a:pt x="2474690" y="756666"/>
                  </a:lnTo>
                  <a:lnTo>
                    <a:pt x="2261711" y="756666"/>
                  </a:lnTo>
                  <a:lnTo>
                    <a:pt x="2261711" y="657892"/>
                  </a:lnTo>
                  <a:cubicBezTo>
                    <a:pt x="2234851" y="644938"/>
                    <a:pt x="2219992" y="651320"/>
                    <a:pt x="2208181" y="675418"/>
                  </a:cubicBezTo>
                  <a:cubicBezTo>
                    <a:pt x="2146459" y="800957"/>
                    <a:pt x="2083118" y="925640"/>
                    <a:pt x="2021777" y="1051370"/>
                  </a:cubicBezTo>
                  <a:cubicBezTo>
                    <a:pt x="2010346" y="1074801"/>
                    <a:pt x="1996821" y="1083945"/>
                    <a:pt x="1970246" y="1082993"/>
                  </a:cubicBezTo>
                  <a:cubicBezTo>
                    <a:pt x="1907667" y="1080802"/>
                    <a:pt x="1844993" y="1082326"/>
                    <a:pt x="1778318" y="1082326"/>
                  </a:cubicBezTo>
                  <a:cubicBezTo>
                    <a:pt x="1784318" y="1150048"/>
                    <a:pt x="1788795" y="1213580"/>
                    <a:pt x="1797368" y="1276731"/>
                  </a:cubicBezTo>
                  <a:cubicBezTo>
                    <a:pt x="1798320" y="1284256"/>
                    <a:pt x="1819656" y="1294257"/>
                    <a:pt x="1831562" y="1294448"/>
                  </a:cubicBezTo>
                  <a:cubicBezTo>
                    <a:pt x="1947958" y="1295781"/>
                    <a:pt x="2064449" y="1295210"/>
                    <a:pt x="2180844" y="1295210"/>
                  </a:cubicBezTo>
                  <a:lnTo>
                    <a:pt x="2582418" y="1295210"/>
                  </a:lnTo>
                  <a:lnTo>
                    <a:pt x="2582418" y="1615726"/>
                  </a:lnTo>
                  <a:lnTo>
                    <a:pt x="2370011" y="1615726"/>
                  </a:lnTo>
                  <a:lnTo>
                    <a:pt x="2370011" y="1516190"/>
                  </a:lnTo>
                  <a:cubicBezTo>
                    <a:pt x="2341436" y="1504664"/>
                    <a:pt x="2327053" y="1513046"/>
                    <a:pt x="2315432" y="1536764"/>
                  </a:cubicBezTo>
                  <a:cubicBezTo>
                    <a:pt x="2254377" y="1661351"/>
                    <a:pt x="2191607" y="1784414"/>
                    <a:pt x="2130552" y="1909477"/>
                  </a:cubicBezTo>
                  <a:cubicBezTo>
                    <a:pt x="2119694" y="1931861"/>
                    <a:pt x="2107692" y="1940528"/>
                    <a:pt x="2082927" y="1939957"/>
                  </a:cubicBezTo>
                  <a:cubicBezTo>
                    <a:pt x="2009489" y="1938147"/>
                    <a:pt x="1935956" y="1939290"/>
                    <a:pt x="1860137" y="1939290"/>
                  </a:cubicBezTo>
                  <a:cubicBezTo>
                    <a:pt x="1907762" y="2441734"/>
                    <a:pt x="1955387" y="2940844"/>
                    <a:pt x="2003584" y="3443002"/>
                  </a:cubicBezTo>
                  <a:lnTo>
                    <a:pt x="2583370" y="3443002"/>
                  </a:lnTo>
                  <a:lnTo>
                    <a:pt x="2583370" y="3654552"/>
                  </a:lnTo>
                  <a:lnTo>
                    <a:pt x="7144" y="3654552"/>
                  </a:lnTo>
                  <a:lnTo>
                    <a:pt x="7144" y="3445002"/>
                  </a:lnTo>
                  <a:lnTo>
                    <a:pt x="586835" y="3445002"/>
                  </a:lnTo>
                  <a:cubicBezTo>
                    <a:pt x="634937" y="2941415"/>
                    <a:pt x="682562" y="2442305"/>
                    <a:pt x="730472" y="1939290"/>
                  </a:cubicBezTo>
                  <a:cubicBezTo>
                    <a:pt x="649605" y="1939290"/>
                    <a:pt x="570167" y="1938147"/>
                    <a:pt x="490823" y="1939957"/>
                  </a:cubicBezTo>
                  <a:cubicBezTo>
                    <a:pt x="463582" y="1940528"/>
                    <a:pt x="449389" y="1933480"/>
                    <a:pt x="437769" y="1906810"/>
                  </a:cubicBezTo>
                  <a:cubicBezTo>
                    <a:pt x="384048" y="1782985"/>
                    <a:pt x="326803" y="1660589"/>
                    <a:pt x="272225" y="1537049"/>
                  </a:cubicBezTo>
                  <a:cubicBezTo>
                    <a:pt x="262700" y="1514380"/>
                    <a:pt x="250126" y="1505141"/>
                    <a:pt x="221933" y="1515047"/>
                  </a:cubicBezTo>
                  <a:lnTo>
                    <a:pt x="221933" y="1616297"/>
                  </a:lnTo>
                  <a:lnTo>
                    <a:pt x="7144" y="1616297"/>
                  </a:lnTo>
                  <a:lnTo>
                    <a:pt x="7144" y="1295210"/>
                  </a:lnTo>
                  <a:lnTo>
                    <a:pt x="50959" y="1295210"/>
                  </a:lnTo>
                  <a:cubicBezTo>
                    <a:pt x="284988" y="1295210"/>
                    <a:pt x="519113" y="1294543"/>
                    <a:pt x="753142" y="1296067"/>
                  </a:cubicBezTo>
                  <a:cubicBezTo>
                    <a:pt x="786384" y="1296067"/>
                    <a:pt x="795528" y="1285589"/>
                    <a:pt x="796862" y="1254062"/>
                  </a:cubicBezTo>
                  <a:cubicBezTo>
                    <a:pt x="799243" y="1198531"/>
                    <a:pt x="806387" y="1143191"/>
                    <a:pt x="812006" y="1082612"/>
                  </a:cubicBezTo>
                  <a:cubicBezTo>
                    <a:pt x="756094" y="1082612"/>
                    <a:pt x="702564" y="1077563"/>
                    <a:pt x="650081" y="1083850"/>
                  </a:cubicBezTo>
                  <a:cubicBezTo>
                    <a:pt x="582263" y="1092041"/>
                    <a:pt x="547592" y="1069086"/>
                    <a:pt x="522732" y="1003554"/>
                  </a:cubicBezTo>
                  <a:cubicBezTo>
                    <a:pt x="480250" y="891826"/>
                    <a:pt x="425387" y="784479"/>
                    <a:pt x="376904" y="675608"/>
                  </a:cubicBezTo>
                  <a:cubicBezTo>
                    <a:pt x="367379" y="653987"/>
                    <a:pt x="355663" y="646081"/>
                    <a:pt x="330137" y="656558"/>
                  </a:cubicBezTo>
                  <a:lnTo>
                    <a:pt x="330137" y="756857"/>
                  </a:lnTo>
                  <a:lnTo>
                    <a:pt x="114300" y="756857"/>
                  </a:lnTo>
                  <a:lnTo>
                    <a:pt x="114300" y="435483"/>
                  </a:lnTo>
                  <a:lnTo>
                    <a:pt x="157258" y="435483"/>
                  </a:lnTo>
                  <a:cubicBezTo>
                    <a:pt x="394811" y="435483"/>
                    <a:pt x="632460" y="435483"/>
                    <a:pt x="870109" y="436055"/>
                  </a:cubicBezTo>
                  <a:cubicBezTo>
                    <a:pt x="895731" y="436055"/>
                    <a:pt x="909828" y="429863"/>
                    <a:pt x="921639" y="405479"/>
                  </a:cubicBezTo>
                  <a:cubicBezTo>
                    <a:pt x="981170" y="282988"/>
                    <a:pt x="1043083" y="161544"/>
                    <a:pt x="1103948" y="39624"/>
                  </a:cubicBezTo>
                  <a:cubicBezTo>
                    <a:pt x="1109091" y="29242"/>
                    <a:pt x="1112520" y="18002"/>
                    <a:pt x="1116711" y="7144"/>
                  </a:cubicBezTo>
                  <a:close/>
                  <a:moveTo>
                    <a:pt x="967073" y="2633377"/>
                  </a:moveTo>
                  <a:cubicBezTo>
                    <a:pt x="969076" y="2636844"/>
                    <a:pt x="971508" y="2640044"/>
                    <a:pt x="974312" y="2642902"/>
                  </a:cubicBezTo>
                  <a:cubicBezTo>
                    <a:pt x="1075944" y="2714720"/>
                    <a:pt x="1177481" y="2786825"/>
                    <a:pt x="1280065" y="2857214"/>
                  </a:cubicBezTo>
                  <a:cubicBezTo>
                    <a:pt x="1287875" y="2862548"/>
                    <a:pt x="1307020" y="2859596"/>
                    <a:pt x="1316069" y="2853404"/>
                  </a:cubicBezTo>
                  <a:cubicBezTo>
                    <a:pt x="1389602" y="2803493"/>
                    <a:pt x="1462087" y="2751868"/>
                    <a:pt x="1535144" y="2701004"/>
                  </a:cubicBezTo>
                  <a:cubicBezTo>
                    <a:pt x="1564862" y="2680049"/>
                    <a:pt x="1594390" y="2658713"/>
                    <a:pt x="1626679" y="2635663"/>
                  </a:cubicBezTo>
                  <a:cubicBezTo>
                    <a:pt x="1518190" y="2563178"/>
                    <a:pt x="1413986" y="2493359"/>
                    <a:pt x="1309211" y="2424684"/>
                  </a:cubicBezTo>
                  <a:cubicBezTo>
                    <a:pt x="1300492" y="2420302"/>
                    <a:pt x="1290213" y="2420302"/>
                    <a:pt x="1281493" y="2424684"/>
                  </a:cubicBezTo>
                  <a:cubicBezTo>
                    <a:pt x="1175861" y="2493455"/>
                    <a:pt x="1071848" y="2563368"/>
                    <a:pt x="967073" y="2633377"/>
                  </a:cubicBezTo>
                  <a:close/>
                  <a:moveTo>
                    <a:pt x="856869" y="3440811"/>
                  </a:moveTo>
                  <a:lnTo>
                    <a:pt x="1733169" y="3440811"/>
                  </a:lnTo>
                  <a:cubicBezTo>
                    <a:pt x="1588199" y="3338798"/>
                    <a:pt x="1449705" y="3240786"/>
                    <a:pt x="1310354" y="3144298"/>
                  </a:cubicBezTo>
                  <a:cubicBezTo>
                    <a:pt x="1300663" y="3139345"/>
                    <a:pt x="1289184" y="3139345"/>
                    <a:pt x="1279493" y="3144298"/>
                  </a:cubicBezTo>
                  <a:cubicBezTo>
                    <a:pt x="1140524" y="3240881"/>
                    <a:pt x="1001935" y="3339084"/>
                    <a:pt x="856869" y="3440811"/>
                  </a:cubicBezTo>
                  <a:close/>
                  <a:moveTo>
                    <a:pt x="967740" y="1723549"/>
                  </a:moveTo>
                  <a:lnTo>
                    <a:pt x="1622203" y="1723549"/>
                  </a:lnTo>
                  <a:cubicBezTo>
                    <a:pt x="1615154" y="1652302"/>
                    <a:pt x="1608392" y="1583055"/>
                    <a:pt x="1601534" y="1513999"/>
                  </a:cubicBezTo>
                  <a:lnTo>
                    <a:pt x="988219" y="1513999"/>
                  </a:lnTo>
                  <a:cubicBezTo>
                    <a:pt x="981266" y="1584484"/>
                    <a:pt x="974598" y="1653159"/>
                    <a:pt x="967740" y="1723549"/>
                  </a:cubicBezTo>
                  <a:close/>
                  <a:moveTo>
                    <a:pt x="1560671" y="1084612"/>
                  </a:moveTo>
                  <a:lnTo>
                    <a:pt x="1028986" y="1084612"/>
                  </a:lnTo>
                  <a:cubicBezTo>
                    <a:pt x="1022223" y="1154811"/>
                    <a:pt x="1015651" y="1222820"/>
                    <a:pt x="1008888" y="1293209"/>
                  </a:cubicBezTo>
                  <a:lnTo>
                    <a:pt x="1581055" y="1293209"/>
                  </a:lnTo>
                  <a:cubicBezTo>
                    <a:pt x="1574102" y="1222534"/>
                    <a:pt x="1567434" y="1153763"/>
                    <a:pt x="1560671" y="1084612"/>
                  </a:cubicBezTo>
                  <a:close/>
                  <a:moveTo>
                    <a:pt x="1050798" y="862584"/>
                  </a:moveTo>
                  <a:lnTo>
                    <a:pt x="1539050" y="862584"/>
                  </a:lnTo>
                  <a:cubicBezTo>
                    <a:pt x="1533335" y="796671"/>
                    <a:pt x="1528572" y="733235"/>
                    <a:pt x="1521333" y="669989"/>
                  </a:cubicBezTo>
                  <a:cubicBezTo>
                    <a:pt x="1520571" y="663035"/>
                    <a:pt x="1505902" y="652367"/>
                    <a:pt x="1497616" y="652272"/>
                  </a:cubicBezTo>
                  <a:cubicBezTo>
                    <a:pt x="1362551" y="651256"/>
                    <a:pt x="1227455" y="651256"/>
                    <a:pt x="1092327" y="652272"/>
                  </a:cubicBezTo>
                  <a:cubicBezTo>
                    <a:pt x="1081919" y="653806"/>
                    <a:pt x="1072975" y="660460"/>
                    <a:pt x="1068515" y="669989"/>
                  </a:cubicBezTo>
                  <a:cubicBezTo>
                    <a:pt x="1061561" y="732949"/>
                    <a:pt x="1056513" y="796385"/>
                    <a:pt x="1050798" y="862584"/>
                  </a:cubicBezTo>
                  <a:close/>
                  <a:moveTo>
                    <a:pt x="973645" y="1940623"/>
                  </a:moveTo>
                  <a:cubicBezTo>
                    <a:pt x="1081754" y="2012823"/>
                    <a:pt x="1180910" y="2079784"/>
                    <a:pt x="1281398" y="2144840"/>
                  </a:cubicBezTo>
                  <a:cubicBezTo>
                    <a:pt x="1289304" y="2149983"/>
                    <a:pt x="1308068" y="2145887"/>
                    <a:pt x="1317689" y="2139601"/>
                  </a:cubicBezTo>
                  <a:cubicBezTo>
                    <a:pt x="1392365" y="2091214"/>
                    <a:pt x="1465993" y="2041303"/>
                    <a:pt x="1539907" y="1991773"/>
                  </a:cubicBezTo>
                  <a:cubicBezTo>
                    <a:pt x="1562957" y="1976342"/>
                    <a:pt x="1585722" y="1960721"/>
                    <a:pt x="1615440" y="1940623"/>
                  </a:cubicBezTo>
                  <a:close/>
                  <a:moveTo>
                    <a:pt x="827532" y="3197924"/>
                  </a:moveTo>
                  <a:lnTo>
                    <a:pt x="1107662" y="3000566"/>
                  </a:lnTo>
                  <a:lnTo>
                    <a:pt x="862298" y="2828544"/>
                  </a:lnTo>
                  <a:cubicBezTo>
                    <a:pt x="850583" y="2952941"/>
                    <a:pt x="839534" y="3070479"/>
                    <a:pt x="827532" y="3197829"/>
                  </a:cubicBezTo>
                  <a:close/>
                  <a:moveTo>
                    <a:pt x="1727644" y="2828639"/>
                  </a:moveTo>
                  <a:lnTo>
                    <a:pt x="1482566" y="3000661"/>
                  </a:lnTo>
                  <a:lnTo>
                    <a:pt x="1762220" y="3197162"/>
                  </a:lnTo>
                  <a:cubicBezTo>
                    <a:pt x="1750314" y="3070479"/>
                    <a:pt x="1739360" y="2953703"/>
                    <a:pt x="1727644" y="2828544"/>
                  </a:cubicBezTo>
                  <a:close/>
                  <a:moveTo>
                    <a:pt x="770668" y="1512475"/>
                  </a:moveTo>
                  <a:lnTo>
                    <a:pt x="497396" y="1512475"/>
                  </a:lnTo>
                  <a:cubicBezTo>
                    <a:pt x="528733" y="1582103"/>
                    <a:pt x="558641" y="1648873"/>
                    <a:pt x="589312" y="1715167"/>
                  </a:cubicBezTo>
                  <a:cubicBezTo>
                    <a:pt x="593046" y="1720662"/>
                    <a:pt x="599072" y="1724165"/>
                    <a:pt x="605695" y="1724692"/>
                  </a:cubicBezTo>
                  <a:cubicBezTo>
                    <a:pt x="653891" y="1725454"/>
                    <a:pt x="702183" y="1724692"/>
                    <a:pt x="751142" y="1724692"/>
                  </a:cubicBezTo>
                  <a:cubicBezTo>
                    <a:pt x="757809" y="1652397"/>
                    <a:pt x="764096" y="1584198"/>
                    <a:pt x="770668" y="1512475"/>
                  </a:cubicBezTo>
                  <a:close/>
                  <a:moveTo>
                    <a:pt x="1818989" y="1512475"/>
                  </a:moveTo>
                  <a:cubicBezTo>
                    <a:pt x="1825943" y="1585722"/>
                    <a:pt x="1832419" y="1654683"/>
                    <a:pt x="1839087" y="1725168"/>
                  </a:cubicBezTo>
                  <a:cubicBezTo>
                    <a:pt x="1882902" y="1725168"/>
                    <a:pt x="1923098" y="1725835"/>
                    <a:pt x="1962912" y="1724597"/>
                  </a:cubicBezTo>
                  <a:cubicBezTo>
                    <a:pt x="1971813" y="1724256"/>
                    <a:pt x="1980109" y="1720004"/>
                    <a:pt x="1985582" y="1712976"/>
                  </a:cubicBezTo>
                  <a:cubicBezTo>
                    <a:pt x="2019491" y="1647349"/>
                    <a:pt x="2052257" y="1581055"/>
                    <a:pt x="2086356" y="1512475"/>
                  </a:cubicBezTo>
                  <a:close/>
                  <a:moveTo>
                    <a:pt x="603504" y="653034"/>
                  </a:moveTo>
                  <a:cubicBezTo>
                    <a:pt x="634841" y="722376"/>
                    <a:pt x="663607" y="786384"/>
                    <a:pt x="693325" y="850678"/>
                  </a:cubicBezTo>
                  <a:cubicBezTo>
                    <a:pt x="696806" y="857617"/>
                    <a:pt x="703256" y="862594"/>
                    <a:pt x="710851" y="864203"/>
                  </a:cubicBezTo>
                  <a:cubicBezTo>
                    <a:pt x="750760" y="865442"/>
                    <a:pt x="790766" y="864870"/>
                    <a:pt x="832961" y="864870"/>
                  </a:cubicBezTo>
                  <a:cubicBezTo>
                    <a:pt x="839819" y="792099"/>
                    <a:pt x="846392" y="723424"/>
                    <a:pt x="853059" y="653034"/>
                  </a:cubicBezTo>
                  <a:close/>
                  <a:moveTo>
                    <a:pt x="1756886" y="864680"/>
                  </a:moveTo>
                  <a:cubicBezTo>
                    <a:pt x="1787075" y="866134"/>
                    <a:pt x="1817323" y="865785"/>
                    <a:pt x="1847469" y="863632"/>
                  </a:cubicBezTo>
                  <a:cubicBezTo>
                    <a:pt x="1862409" y="861106"/>
                    <a:pt x="1875644" y="852524"/>
                    <a:pt x="1884045" y="839915"/>
                  </a:cubicBezTo>
                  <a:cubicBezTo>
                    <a:pt x="1912620" y="788289"/>
                    <a:pt x="1937861" y="735140"/>
                    <a:pt x="1964055" y="681990"/>
                  </a:cubicBezTo>
                  <a:cubicBezTo>
                    <a:pt x="1968052" y="672938"/>
                    <a:pt x="1971581" y="663687"/>
                    <a:pt x="1974628" y="654272"/>
                  </a:cubicBezTo>
                  <a:lnTo>
                    <a:pt x="1736503" y="654272"/>
                  </a:lnTo>
                  <a:cubicBezTo>
                    <a:pt x="1743551" y="725329"/>
                    <a:pt x="1750219" y="793242"/>
                    <a:pt x="1756886" y="864680"/>
                  </a:cubicBezTo>
                  <a:close/>
                  <a:moveTo>
                    <a:pt x="901160" y="2417255"/>
                  </a:moveTo>
                  <a:lnTo>
                    <a:pt x="1100518" y="2283905"/>
                  </a:lnTo>
                  <a:lnTo>
                    <a:pt x="925735" y="2167509"/>
                  </a:lnTo>
                  <a:cubicBezTo>
                    <a:pt x="917543" y="2252472"/>
                    <a:pt x="909923" y="2331149"/>
                    <a:pt x="901541" y="2417540"/>
                  </a:cubicBezTo>
                  <a:close/>
                  <a:moveTo>
                    <a:pt x="1488948" y="2284381"/>
                  </a:moveTo>
                  <a:lnTo>
                    <a:pt x="1687830" y="2416874"/>
                  </a:lnTo>
                  <a:cubicBezTo>
                    <a:pt x="1679543" y="2331149"/>
                    <a:pt x="1671828" y="2251901"/>
                    <a:pt x="1663732" y="2167985"/>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82" name="Agrupar 281">
            <a:extLst>
              <a:ext uri="{FF2B5EF4-FFF2-40B4-BE49-F238E27FC236}">
                <a16:creationId xmlns:a16="http://schemas.microsoft.com/office/drawing/2014/main" id="{F8C1DA50-83D0-4A07-A1D7-C9C2620806FB}"/>
              </a:ext>
            </a:extLst>
          </p:cNvPr>
          <p:cNvGrpSpPr/>
          <p:nvPr>
            <p:custDataLst>
              <p:tags r:id="rId10"/>
            </p:custDataLst>
          </p:nvPr>
        </p:nvGrpSpPr>
        <p:grpSpPr>
          <a:xfrm>
            <a:off x="315408" y="2113574"/>
            <a:ext cx="366482" cy="366480"/>
            <a:chOff x="332466" y="3414339"/>
            <a:chExt cx="330767" cy="330767"/>
          </a:xfrm>
        </p:grpSpPr>
        <p:sp>
          <p:nvSpPr>
            <p:cNvPr id="101" name="Elipse 100">
              <a:extLst>
                <a:ext uri="{FF2B5EF4-FFF2-40B4-BE49-F238E27FC236}">
                  <a16:creationId xmlns:a16="http://schemas.microsoft.com/office/drawing/2014/main" id="{EC9230D3-7350-4BF7-BA03-1362560B69D8}"/>
                </a:ext>
              </a:extLst>
            </p:cNvPr>
            <p:cNvSpPr/>
            <p:nvPr>
              <p:custDataLst>
                <p:tags r:id="rId39"/>
              </p:custDataLst>
            </p:nvPr>
          </p:nvSpPr>
          <p:spPr>
            <a:xfrm>
              <a:off x="332466" y="3414339"/>
              <a:ext cx="330767" cy="33076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274" name="Gráfico 102">
              <a:extLst>
                <a:ext uri="{FF2B5EF4-FFF2-40B4-BE49-F238E27FC236}">
                  <a16:creationId xmlns:a16="http://schemas.microsoft.com/office/drawing/2014/main" id="{58514B7F-0A8E-45E5-A965-B667CAA1EA04}"/>
                </a:ext>
              </a:extLst>
            </p:cNvPr>
            <p:cNvGrpSpPr/>
            <p:nvPr>
              <p:custDataLst>
                <p:tags r:id="rId40"/>
              </p:custDataLst>
            </p:nvPr>
          </p:nvGrpSpPr>
          <p:grpSpPr>
            <a:xfrm>
              <a:off x="390280" y="3464202"/>
              <a:ext cx="215139" cy="215139"/>
              <a:chOff x="3344622" y="1404780"/>
              <a:chExt cx="2257425" cy="2257425"/>
            </a:xfrm>
            <a:solidFill>
              <a:schemeClr val="bg1"/>
            </a:solidFill>
          </p:grpSpPr>
          <p:sp>
            <p:nvSpPr>
              <p:cNvPr id="275" name="Forma Livre: Forma 274">
                <a:extLst>
                  <a:ext uri="{FF2B5EF4-FFF2-40B4-BE49-F238E27FC236}">
                    <a16:creationId xmlns:a16="http://schemas.microsoft.com/office/drawing/2014/main" id="{3769AF86-219B-4CF1-ACCF-758F3BF9110A}"/>
                  </a:ext>
                </a:extLst>
              </p:cNvPr>
              <p:cNvSpPr/>
              <p:nvPr>
                <p:custDataLst>
                  <p:tags r:id="rId41"/>
                </p:custDataLst>
              </p:nvPr>
            </p:nvSpPr>
            <p:spPr>
              <a:xfrm>
                <a:off x="3344622" y="1404780"/>
                <a:ext cx="2257425" cy="2257425"/>
              </a:xfrm>
              <a:custGeom>
                <a:avLst/>
                <a:gdLst>
                  <a:gd name="connsiteX0" fmla="*/ 176929 w 2257425"/>
                  <a:gd name="connsiteY0" fmla="*/ 1102582 h 2257425"/>
                  <a:gd name="connsiteX1" fmla="*/ 117969 w 2257425"/>
                  <a:gd name="connsiteY1" fmla="*/ 943228 h 2257425"/>
                  <a:gd name="connsiteX2" fmla="*/ 52532 w 2257425"/>
                  <a:gd name="connsiteY2" fmla="*/ 884649 h 2257425"/>
                  <a:gd name="connsiteX3" fmla="*/ 15861 w 2257425"/>
                  <a:gd name="connsiteY3" fmla="*/ 797877 h 2257425"/>
                  <a:gd name="connsiteX4" fmla="*/ 111778 w 2257425"/>
                  <a:gd name="connsiteY4" fmla="*/ 570610 h 2257425"/>
                  <a:gd name="connsiteX5" fmla="*/ 176833 w 2257425"/>
                  <a:gd name="connsiteY5" fmla="*/ 540797 h 2257425"/>
                  <a:gd name="connsiteX6" fmla="*/ 368667 w 2257425"/>
                  <a:gd name="connsiteY6" fmla="*/ 518699 h 2257425"/>
                  <a:gd name="connsiteX7" fmla="*/ 536783 w 2257425"/>
                  <a:gd name="connsiteY7" fmla="*/ 325913 h 2257425"/>
                  <a:gd name="connsiteX8" fmla="*/ 540022 w 2257425"/>
                  <a:gd name="connsiteY8" fmla="*/ 182371 h 2257425"/>
                  <a:gd name="connsiteX9" fmla="*/ 565549 w 2257425"/>
                  <a:gd name="connsiteY9" fmla="*/ 114553 h 2257425"/>
                  <a:gd name="connsiteX10" fmla="*/ 815770 w 2257425"/>
                  <a:gd name="connsiteY10" fmla="*/ 12064 h 2257425"/>
                  <a:gd name="connsiteX11" fmla="*/ 871492 w 2257425"/>
                  <a:gd name="connsiteY11" fmla="*/ 32543 h 2257425"/>
                  <a:gd name="connsiteX12" fmla="*/ 1239443 w 2257425"/>
                  <a:gd name="connsiteY12" fmla="*/ 158368 h 2257425"/>
                  <a:gd name="connsiteX13" fmla="*/ 1389652 w 2257425"/>
                  <a:gd name="connsiteY13" fmla="*/ 37782 h 2257425"/>
                  <a:gd name="connsiteX14" fmla="*/ 1452326 w 2257425"/>
                  <a:gd name="connsiteY14" fmla="*/ 11778 h 2257425"/>
                  <a:gd name="connsiteX15" fmla="*/ 1692737 w 2257425"/>
                  <a:gd name="connsiteY15" fmla="*/ 112839 h 2257425"/>
                  <a:gd name="connsiteX16" fmla="*/ 1723979 w 2257425"/>
                  <a:gd name="connsiteY16" fmla="*/ 170846 h 2257425"/>
                  <a:gd name="connsiteX17" fmla="*/ 1851614 w 2257425"/>
                  <a:gd name="connsiteY17" fmla="*/ 488505 h 2257425"/>
                  <a:gd name="connsiteX18" fmla="*/ 2091644 w 2257425"/>
                  <a:gd name="connsiteY18" fmla="*/ 541654 h 2257425"/>
                  <a:gd name="connsiteX19" fmla="*/ 2148794 w 2257425"/>
                  <a:gd name="connsiteY19" fmla="*/ 565753 h 2257425"/>
                  <a:gd name="connsiteX20" fmla="*/ 2252998 w 2257425"/>
                  <a:gd name="connsiteY20" fmla="*/ 815117 h 2257425"/>
                  <a:gd name="connsiteX21" fmla="*/ 2233376 w 2257425"/>
                  <a:gd name="connsiteY21" fmla="*/ 870648 h 2257425"/>
                  <a:gd name="connsiteX22" fmla="*/ 2098693 w 2257425"/>
                  <a:gd name="connsiteY22" fmla="*/ 1201546 h 2257425"/>
                  <a:gd name="connsiteX23" fmla="*/ 2226518 w 2257425"/>
                  <a:gd name="connsiteY23" fmla="*/ 1389284 h 2257425"/>
                  <a:gd name="connsiteX24" fmla="*/ 2253855 w 2257425"/>
                  <a:gd name="connsiteY24" fmla="*/ 1451292 h 2257425"/>
                  <a:gd name="connsiteX25" fmla="*/ 2150509 w 2257425"/>
                  <a:gd name="connsiteY25" fmla="*/ 1696084 h 2257425"/>
                  <a:gd name="connsiteX26" fmla="*/ 2095169 w 2257425"/>
                  <a:gd name="connsiteY26" fmla="*/ 1724183 h 2257425"/>
                  <a:gd name="connsiteX27" fmla="*/ 1749697 w 2257425"/>
                  <a:gd name="connsiteY27" fmla="*/ 1889918 h 2257425"/>
                  <a:gd name="connsiteX28" fmla="*/ 1723122 w 2257425"/>
                  <a:gd name="connsiteY28" fmla="*/ 2090991 h 2257425"/>
                  <a:gd name="connsiteX29" fmla="*/ 1700071 w 2257425"/>
                  <a:gd name="connsiteY29" fmla="*/ 2148141 h 2257425"/>
                  <a:gd name="connsiteX30" fmla="*/ 1446040 w 2257425"/>
                  <a:gd name="connsiteY30" fmla="*/ 2252916 h 2257425"/>
                  <a:gd name="connsiteX31" fmla="*/ 1391938 w 2257425"/>
                  <a:gd name="connsiteY31" fmla="*/ 2229294 h 2257425"/>
                  <a:gd name="connsiteX32" fmla="*/ 1050086 w 2257425"/>
                  <a:gd name="connsiteY32" fmla="*/ 2099563 h 2257425"/>
                  <a:gd name="connsiteX33" fmla="*/ 872444 w 2257425"/>
                  <a:gd name="connsiteY33" fmla="*/ 2228532 h 2257425"/>
                  <a:gd name="connsiteX34" fmla="*/ 814818 w 2257425"/>
                  <a:gd name="connsiteY34" fmla="*/ 2251773 h 2257425"/>
                  <a:gd name="connsiteX35" fmla="*/ 565358 w 2257425"/>
                  <a:gd name="connsiteY35" fmla="*/ 2147855 h 2257425"/>
                  <a:gd name="connsiteX36" fmla="*/ 542594 w 2257425"/>
                  <a:gd name="connsiteY36" fmla="*/ 2086419 h 2257425"/>
                  <a:gd name="connsiteX37" fmla="*/ 522210 w 2257425"/>
                  <a:gd name="connsiteY37" fmla="*/ 1902586 h 2257425"/>
                  <a:gd name="connsiteX38" fmla="*/ 328757 w 2257425"/>
                  <a:gd name="connsiteY38" fmla="*/ 1728564 h 2257425"/>
                  <a:gd name="connsiteX39" fmla="*/ 185311 w 2257425"/>
                  <a:gd name="connsiteY39" fmla="*/ 1723040 h 2257425"/>
                  <a:gd name="connsiteX40" fmla="*/ 109111 w 2257425"/>
                  <a:gd name="connsiteY40" fmla="*/ 1688560 h 2257425"/>
                  <a:gd name="connsiteX41" fmla="*/ 12813 w 2257425"/>
                  <a:gd name="connsiteY41" fmla="*/ 1456340 h 2257425"/>
                  <a:gd name="connsiteX42" fmla="*/ 33482 w 2257425"/>
                  <a:gd name="connsiteY42" fmla="*/ 1391094 h 2257425"/>
                  <a:gd name="connsiteX43" fmla="*/ 176929 w 2257425"/>
                  <a:gd name="connsiteY43" fmla="*/ 1102582 h 2257425"/>
                  <a:gd name="connsiteX44" fmla="*/ 452392 w 2257425"/>
                  <a:gd name="connsiteY44" fmla="*/ 1134967 h 2257425"/>
                  <a:gd name="connsiteX45" fmla="*/ 1133999 w 2257425"/>
                  <a:gd name="connsiteY45" fmla="*/ 1812953 h 2257425"/>
                  <a:gd name="connsiteX46" fmla="*/ 1811986 w 2257425"/>
                  <a:gd name="connsiteY46" fmla="*/ 1131346 h 2257425"/>
                  <a:gd name="connsiteX47" fmla="*/ 1131334 w 2257425"/>
                  <a:gd name="connsiteY47" fmla="*/ 453358 h 2257425"/>
                  <a:gd name="connsiteX48" fmla="*/ 452379 w 2257425"/>
                  <a:gd name="connsiteY48" fmla="*/ 1128280 h 2257425"/>
                  <a:gd name="connsiteX49" fmla="*/ 452392 w 2257425"/>
                  <a:gd name="connsiteY49" fmla="*/ 1134967 h 2257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257425" h="2257425">
                    <a:moveTo>
                      <a:pt x="176929" y="1102582"/>
                    </a:moveTo>
                    <a:cubicBezTo>
                      <a:pt x="163784" y="1065625"/>
                      <a:pt x="145496" y="1002283"/>
                      <a:pt x="117969" y="943228"/>
                    </a:cubicBezTo>
                    <a:cubicBezTo>
                      <a:pt x="106539" y="918558"/>
                      <a:pt x="78154" y="897603"/>
                      <a:pt x="52532" y="884649"/>
                    </a:cubicBezTo>
                    <a:cubicBezTo>
                      <a:pt x="12432" y="864457"/>
                      <a:pt x="-2713" y="840739"/>
                      <a:pt x="15861" y="797877"/>
                    </a:cubicBezTo>
                    <a:cubicBezTo>
                      <a:pt x="48436" y="722344"/>
                      <a:pt x="79393" y="646144"/>
                      <a:pt x="111778" y="570610"/>
                    </a:cubicBezTo>
                    <a:cubicBezTo>
                      <a:pt x="124065" y="542035"/>
                      <a:pt x="145401" y="529176"/>
                      <a:pt x="176833" y="540797"/>
                    </a:cubicBezTo>
                    <a:cubicBezTo>
                      <a:pt x="244556" y="565848"/>
                      <a:pt x="308088" y="552703"/>
                      <a:pt x="368667" y="518699"/>
                    </a:cubicBezTo>
                    <a:cubicBezTo>
                      <a:pt x="447629" y="474503"/>
                      <a:pt x="509637" y="411733"/>
                      <a:pt x="536783" y="325913"/>
                    </a:cubicBezTo>
                    <a:cubicBezTo>
                      <a:pt x="550690" y="281907"/>
                      <a:pt x="545546" y="229806"/>
                      <a:pt x="540022" y="182371"/>
                    </a:cubicBezTo>
                    <a:cubicBezTo>
                      <a:pt x="536498" y="151510"/>
                      <a:pt x="536212" y="127317"/>
                      <a:pt x="565549" y="114553"/>
                    </a:cubicBezTo>
                    <a:cubicBezTo>
                      <a:pt x="648226" y="78739"/>
                      <a:pt x="731284" y="43116"/>
                      <a:pt x="815770" y="12064"/>
                    </a:cubicBezTo>
                    <a:cubicBezTo>
                      <a:pt x="830439" y="6730"/>
                      <a:pt x="861681" y="18732"/>
                      <a:pt x="871492" y="32543"/>
                    </a:cubicBezTo>
                    <a:cubicBezTo>
                      <a:pt x="959979" y="157987"/>
                      <a:pt x="1092472" y="205136"/>
                      <a:pt x="1239443" y="158368"/>
                    </a:cubicBezTo>
                    <a:cubicBezTo>
                      <a:pt x="1304689" y="137699"/>
                      <a:pt x="1362220" y="106838"/>
                      <a:pt x="1389652" y="37782"/>
                    </a:cubicBezTo>
                    <a:cubicBezTo>
                      <a:pt x="1400987" y="9207"/>
                      <a:pt x="1424989" y="825"/>
                      <a:pt x="1452326" y="11778"/>
                    </a:cubicBezTo>
                    <a:cubicBezTo>
                      <a:pt x="1533098" y="43973"/>
                      <a:pt x="1614251" y="75691"/>
                      <a:pt x="1692737" y="112839"/>
                    </a:cubicBezTo>
                    <a:cubicBezTo>
                      <a:pt x="1709406" y="120744"/>
                      <a:pt x="1728551" y="155225"/>
                      <a:pt x="1723979" y="170846"/>
                    </a:cubicBezTo>
                    <a:cubicBezTo>
                      <a:pt x="1682736" y="311816"/>
                      <a:pt x="1752554" y="407161"/>
                      <a:pt x="1851614" y="488505"/>
                    </a:cubicBezTo>
                    <a:cubicBezTo>
                      <a:pt x="1920861" y="545655"/>
                      <a:pt x="1999919" y="571087"/>
                      <a:pt x="2091644" y="541654"/>
                    </a:cubicBezTo>
                    <a:cubicBezTo>
                      <a:pt x="2107265" y="536701"/>
                      <a:pt x="2141841" y="551179"/>
                      <a:pt x="2148794" y="565753"/>
                    </a:cubicBezTo>
                    <a:cubicBezTo>
                      <a:pt x="2186894" y="647191"/>
                      <a:pt x="2221851" y="730630"/>
                      <a:pt x="2252998" y="815117"/>
                    </a:cubicBezTo>
                    <a:cubicBezTo>
                      <a:pt x="2258427" y="829881"/>
                      <a:pt x="2246616" y="863790"/>
                      <a:pt x="2233376" y="870648"/>
                    </a:cubicBezTo>
                    <a:cubicBezTo>
                      <a:pt x="2092502" y="942942"/>
                      <a:pt x="2081643" y="1069244"/>
                      <a:pt x="2098693" y="1201546"/>
                    </a:cubicBezTo>
                    <a:cubicBezTo>
                      <a:pt x="2108885" y="1281175"/>
                      <a:pt x="2142508" y="1354708"/>
                      <a:pt x="2226518" y="1389284"/>
                    </a:cubicBezTo>
                    <a:cubicBezTo>
                      <a:pt x="2254617" y="1400809"/>
                      <a:pt x="2264618" y="1423860"/>
                      <a:pt x="2253855" y="1451292"/>
                    </a:cubicBezTo>
                    <a:cubicBezTo>
                      <a:pt x="2220994" y="1533683"/>
                      <a:pt x="2188609" y="1616074"/>
                      <a:pt x="2150509" y="1696084"/>
                    </a:cubicBezTo>
                    <a:cubicBezTo>
                      <a:pt x="2143270" y="1711515"/>
                      <a:pt x="2108313" y="1729517"/>
                      <a:pt x="2095169" y="1724183"/>
                    </a:cubicBezTo>
                    <a:cubicBezTo>
                      <a:pt x="1959628" y="1668652"/>
                      <a:pt x="1806180" y="1788953"/>
                      <a:pt x="1749697" y="1889918"/>
                    </a:cubicBezTo>
                    <a:cubicBezTo>
                      <a:pt x="1713978" y="1953736"/>
                      <a:pt x="1700834" y="2018505"/>
                      <a:pt x="1723122" y="2090991"/>
                    </a:cubicBezTo>
                    <a:cubicBezTo>
                      <a:pt x="1728075" y="2106993"/>
                      <a:pt x="1714359" y="2141854"/>
                      <a:pt x="1700071" y="2148141"/>
                    </a:cubicBezTo>
                    <a:cubicBezTo>
                      <a:pt x="1617109" y="2187003"/>
                      <a:pt x="1532146" y="2221960"/>
                      <a:pt x="1446040" y="2252916"/>
                    </a:cubicBezTo>
                    <a:cubicBezTo>
                      <a:pt x="1432229" y="2257964"/>
                      <a:pt x="1401368" y="2243391"/>
                      <a:pt x="1391938" y="2229294"/>
                    </a:cubicBezTo>
                    <a:cubicBezTo>
                      <a:pt x="1317071" y="2114994"/>
                      <a:pt x="1190294" y="2064511"/>
                      <a:pt x="1050086" y="2099563"/>
                    </a:cubicBezTo>
                    <a:cubicBezTo>
                      <a:pt x="973886" y="2118613"/>
                      <a:pt x="907211" y="2149379"/>
                      <a:pt x="872444" y="2228532"/>
                    </a:cubicBezTo>
                    <a:cubicBezTo>
                      <a:pt x="866158" y="2242724"/>
                      <a:pt x="830058" y="2257107"/>
                      <a:pt x="814818" y="2251773"/>
                    </a:cubicBezTo>
                    <a:cubicBezTo>
                      <a:pt x="730141" y="2221198"/>
                      <a:pt x="646607" y="2186717"/>
                      <a:pt x="565358" y="2147855"/>
                    </a:cubicBezTo>
                    <a:cubicBezTo>
                      <a:pt x="550595" y="2140806"/>
                      <a:pt x="537545" y="2104135"/>
                      <a:pt x="542594" y="2086419"/>
                    </a:cubicBezTo>
                    <a:cubicBezTo>
                      <a:pt x="560913" y="2024904"/>
                      <a:pt x="553560" y="1958594"/>
                      <a:pt x="522210" y="1902586"/>
                    </a:cubicBezTo>
                    <a:cubicBezTo>
                      <a:pt x="478966" y="1820862"/>
                      <a:pt x="415435" y="1757902"/>
                      <a:pt x="328757" y="1728564"/>
                    </a:cubicBezTo>
                    <a:cubicBezTo>
                      <a:pt x="284942" y="1713801"/>
                      <a:pt x="232364" y="1716658"/>
                      <a:pt x="185311" y="1723040"/>
                    </a:cubicBezTo>
                    <a:cubicBezTo>
                      <a:pt x="147211" y="1728184"/>
                      <a:pt x="123494" y="1724278"/>
                      <a:pt x="109111" y="1688560"/>
                    </a:cubicBezTo>
                    <a:cubicBezTo>
                      <a:pt x="76916" y="1611217"/>
                      <a:pt x="44531" y="1533874"/>
                      <a:pt x="12813" y="1456340"/>
                    </a:cubicBezTo>
                    <a:cubicBezTo>
                      <a:pt x="1859" y="1429575"/>
                      <a:pt x="5765" y="1403476"/>
                      <a:pt x="33482" y="1391094"/>
                    </a:cubicBezTo>
                    <a:cubicBezTo>
                      <a:pt x="147401" y="1340897"/>
                      <a:pt x="165023" y="1239456"/>
                      <a:pt x="176929" y="1102582"/>
                    </a:cubicBezTo>
                    <a:close/>
                    <a:moveTo>
                      <a:pt x="452392" y="1134967"/>
                    </a:moveTo>
                    <a:cubicBezTo>
                      <a:pt x="453392" y="1510408"/>
                      <a:pt x="758558" y="1813953"/>
                      <a:pt x="1133999" y="1812953"/>
                    </a:cubicBezTo>
                    <a:cubicBezTo>
                      <a:pt x="1509440" y="1811953"/>
                      <a:pt x="1812986" y="1506787"/>
                      <a:pt x="1811986" y="1131346"/>
                    </a:cubicBezTo>
                    <a:cubicBezTo>
                      <a:pt x="1810987" y="756278"/>
                      <a:pt x="1506403" y="452886"/>
                      <a:pt x="1131334" y="453358"/>
                    </a:cubicBezTo>
                    <a:cubicBezTo>
                      <a:pt x="757471" y="452244"/>
                      <a:pt x="453492" y="754417"/>
                      <a:pt x="452379" y="1128280"/>
                    </a:cubicBezTo>
                    <a:cubicBezTo>
                      <a:pt x="452372" y="1130509"/>
                      <a:pt x="452376" y="1132738"/>
                      <a:pt x="452392" y="1134967"/>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6" name="Forma Livre: Forma 275">
                <a:extLst>
                  <a:ext uri="{FF2B5EF4-FFF2-40B4-BE49-F238E27FC236}">
                    <a16:creationId xmlns:a16="http://schemas.microsoft.com/office/drawing/2014/main" id="{D05043E4-FE8E-42D9-A3B0-CEC0BC2807A3}"/>
                  </a:ext>
                </a:extLst>
              </p:cNvPr>
              <p:cNvSpPr/>
              <p:nvPr>
                <p:custDataLst>
                  <p:tags r:id="rId42"/>
                </p:custDataLst>
              </p:nvPr>
            </p:nvSpPr>
            <p:spPr>
              <a:xfrm>
                <a:off x="4223799" y="2067878"/>
                <a:ext cx="495300" cy="933450"/>
              </a:xfrm>
              <a:custGeom>
                <a:avLst/>
                <a:gdLst>
                  <a:gd name="connsiteX0" fmla="*/ 133285 w 495300"/>
                  <a:gd name="connsiteY0" fmla="*/ 557784 h 933450"/>
                  <a:gd name="connsiteX1" fmla="*/ 62419 w 495300"/>
                  <a:gd name="connsiteY1" fmla="*/ 557784 h 933450"/>
                  <a:gd name="connsiteX2" fmla="*/ 20986 w 495300"/>
                  <a:gd name="connsiteY2" fmla="*/ 477964 h 933450"/>
                  <a:gd name="connsiteX3" fmla="*/ 224249 w 495300"/>
                  <a:gd name="connsiteY3" fmla="*/ 161734 h 933450"/>
                  <a:gd name="connsiteX4" fmla="*/ 308069 w 495300"/>
                  <a:gd name="connsiteY4" fmla="*/ 34671 h 933450"/>
                  <a:gd name="connsiteX5" fmla="*/ 365981 w 495300"/>
                  <a:gd name="connsiteY5" fmla="*/ 7144 h 933450"/>
                  <a:gd name="connsiteX6" fmla="*/ 391127 w 495300"/>
                  <a:gd name="connsiteY6" fmla="*/ 71152 h 933450"/>
                  <a:gd name="connsiteX7" fmla="*/ 346645 w 495300"/>
                  <a:gd name="connsiteY7" fmla="*/ 344043 h 933450"/>
                  <a:gd name="connsiteX8" fmla="*/ 441324 w 495300"/>
                  <a:gd name="connsiteY8" fmla="*/ 345091 h 933450"/>
                  <a:gd name="connsiteX9" fmla="*/ 491616 w 495300"/>
                  <a:gd name="connsiteY9" fmla="*/ 369951 h 933450"/>
                  <a:gd name="connsiteX10" fmla="*/ 483043 w 495300"/>
                  <a:gd name="connsiteY10" fmla="*/ 425101 h 933450"/>
                  <a:gd name="connsiteX11" fmla="*/ 119474 w 495300"/>
                  <a:gd name="connsiteY11" fmla="*/ 907923 h 933450"/>
                  <a:gd name="connsiteX12" fmla="*/ 60229 w 495300"/>
                  <a:gd name="connsiteY12" fmla="*/ 926973 h 933450"/>
                  <a:gd name="connsiteX13" fmla="*/ 38702 w 495300"/>
                  <a:gd name="connsiteY13" fmla="*/ 863727 h 933450"/>
                  <a:gd name="connsiteX14" fmla="*/ 112997 w 495300"/>
                  <a:gd name="connsiteY14" fmla="*/ 628078 h 933450"/>
                  <a:gd name="connsiteX15" fmla="*/ 133285 w 495300"/>
                  <a:gd name="connsiteY15" fmla="*/ 557784 h 93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5300" h="933450">
                    <a:moveTo>
                      <a:pt x="133285" y="557784"/>
                    </a:moveTo>
                    <a:cubicBezTo>
                      <a:pt x="103377" y="557784"/>
                      <a:pt x="82898" y="558736"/>
                      <a:pt x="62419" y="557784"/>
                    </a:cubicBezTo>
                    <a:cubicBezTo>
                      <a:pt x="9365" y="555022"/>
                      <a:pt x="-7780" y="523208"/>
                      <a:pt x="20986" y="477964"/>
                    </a:cubicBezTo>
                    <a:cubicBezTo>
                      <a:pt x="87661" y="372142"/>
                      <a:pt x="156431" y="267081"/>
                      <a:pt x="224249" y="161734"/>
                    </a:cubicBezTo>
                    <a:cubicBezTo>
                      <a:pt x="251776" y="119063"/>
                      <a:pt x="276732" y="74390"/>
                      <a:pt x="308069" y="34671"/>
                    </a:cubicBezTo>
                    <a:cubicBezTo>
                      <a:pt x="319880" y="19621"/>
                      <a:pt x="346169" y="15621"/>
                      <a:pt x="365981" y="7144"/>
                    </a:cubicBezTo>
                    <a:cubicBezTo>
                      <a:pt x="374935" y="28575"/>
                      <a:pt x="393604" y="51149"/>
                      <a:pt x="391127" y="71152"/>
                    </a:cubicBezTo>
                    <a:cubicBezTo>
                      <a:pt x="379888" y="160401"/>
                      <a:pt x="362552" y="248888"/>
                      <a:pt x="346645" y="344043"/>
                    </a:cubicBezTo>
                    <a:cubicBezTo>
                      <a:pt x="381983" y="344043"/>
                      <a:pt x="412082" y="341185"/>
                      <a:pt x="441324" y="345091"/>
                    </a:cubicBezTo>
                    <a:cubicBezTo>
                      <a:pt x="459612" y="347663"/>
                      <a:pt x="484472" y="356330"/>
                      <a:pt x="491616" y="369951"/>
                    </a:cubicBezTo>
                    <a:cubicBezTo>
                      <a:pt x="498760" y="383572"/>
                      <a:pt x="493330" y="411194"/>
                      <a:pt x="483043" y="425101"/>
                    </a:cubicBezTo>
                    <a:cubicBezTo>
                      <a:pt x="363409" y="587216"/>
                      <a:pt x="242220" y="748157"/>
                      <a:pt x="119474" y="907923"/>
                    </a:cubicBezTo>
                    <a:cubicBezTo>
                      <a:pt x="103836" y="923263"/>
                      <a:pt x="81876" y="930324"/>
                      <a:pt x="60229" y="926973"/>
                    </a:cubicBezTo>
                    <a:cubicBezTo>
                      <a:pt x="30511" y="919448"/>
                      <a:pt x="30034" y="890778"/>
                      <a:pt x="38702" y="863727"/>
                    </a:cubicBezTo>
                    <a:cubicBezTo>
                      <a:pt x="63594" y="785241"/>
                      <a:pt x="88359" y="706691"/>
                      <a:pt x="112997" y="628078"/>
                    </a:cubicBezTo>
                    <a:cubicBezTo>
                      <a:pt x="119569" y="607600"/>
                      <a:pt x="125094" y="586645"/>
                      <a:pt x="133285" y="557784"/>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36" name="Agrupar 35">
            <a:extLst>
              <a:ext uri="{FF2B5EF4-FFF2-40B4-BE49-F238E27FC236}">
                <a16:creationId xmlns:a16="http://schemas.microsoft.com/office/drawing/2014/main" id="{34591534-85EA-35B0-3E69-99C7DA1EB599}"/>
              </a:ext>
            </a:extLst>
          </p:cNvPr>
          <p:cNvGrpSpPr/>
          <p:nvPr>
            <p:custDataLst>
              <p:tags r:id="rId11"/>
            </p:custDataLst>
          </p:nvPr>
        </p:nvGrpSpPr>
        <p:grpSpPr>
          <a:xfrm>
            <a:off x="208791" y="177269"/>
            <a:ext cx="2351530" cy="376891"/>
            <a:chOff x="6363775" y="1438430"/>
            <a:chExt cx="3423540" cy="548707"/>
          </a:xfrm>
        </p:grpSpPr>
        <p:sp>
          <p:nvSpPr>
            <p:cNvPr id="39" name="Elipse 38">
              <a:extLst>
                <a:ext uri="{FF2B5EF4-FFF2-40B4-BE49-F238E27FC236}">
                  <a16:creationId xmlns:a16="http://schemas.microsoft.com/office/drawing/2014/main" id="{E7BBC4FA-C41A-0DEE-CDCD-1245679DBA8D}"/>
                </a:ext>
              </a:extLst>
            </p:cNvPr>
            <p:cNvSpPr/>
            <p:nvPr>
              <p:custDataLst>
                <p:tags r:id="rId37"/>
              </p:custDataLst>
            </p:nvPr>
          </p:nvSpPr>
          <p:spPr>
            <a:xfrm>
              <a:off x="6363775" y="1438430"/>
              <a:ext cx="201848" cy="201848"/>
            </a:xfrm>
            <a:prstGeom prst="ellipse">
              <a:avLst/>
            </a:prstGeom>
            <a:gradFill>
              <a:gsLst>
                <a:gs pos="0">
                  <a:srgbClr val="00FFFF">
                    <a:alpha val="0"/>
                  </a:srgbClr>
                </a:gs>
                <a:gs pos="100000">
                  <a:srgbClr val="00FFFF"/>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050" b="0" i="0" u="none" strike="noStrike" kern="1200" cap="none" spc="0" normalizeH="0" baseline="0" noProof="0" dirty="0">
                <a:ln>
                  <a:noFill/>
                </a:ln>
                <a:solidFill>
                  <a:srgbClr val="011F57"/>
                </a:solidFill>
                <a:effectLst/>
                <a:uLnTx/>
                <a:uFillTx/>
                <a:latin typeface="Calibri" panose="020F0502020204030204"/>
                <a:ea typeface="+mn-ea"/>
                <a:cs typeface="+mn-cs"/>
              </a:endParaRPr>
            </a:p>
          </p:txBody>
        </p:sp>
        <p:sp>
          <p:nvSpPr>
            <p:cNvPr id="41" name="CaixaDeTexto 40">
              <a:extLst>
                <a:ext uri="{FF2B5EF4-FFF2-40B4-BE49-F238E27FC236}">
                  <a16:creationId xmlns:a16="http://schemas.microsoft.com/office/drawing/2014/main" id="{4EE26226-C3FE-7C2A-753A-309017E10485}"/>
                </a:ext>
              </a:extLst>
            </p:cNvPr>
            <p:cNvSpPr txBox="1"/>
            <p:nvPr>
              <p:custDataLst>
                <p:tags r:id="rId38"/>
              </p:custDataLst>
            </p:nvPr>
          </p:nvSpPr>
          <p:spPr>
            <a:xfrm>
              <a:off x="7001625" y="1494243"/>
              <a:ext cx="2785690" cy="49289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a:rPr>
                <a:t>GROWTH</a:t>
              </a:r>
            </a:p>
            <a:p>
              <a:pPr lvl="0" defTabSz="234364"/>
              <a:r>
                <a:rPr lang="en-US" sz="1000" b="0" i="0" u="none" strike="noStrike" cap="none" spc="0" baseline="0" dirty="0">
                  <a:solidFill>
                    <a:srgbClr val="011F57"/>
                  </a:solidFill>
                  <a:effectLst/>
                  <a:uFillTx/>
                  <a:latin typeface="Segoe UI"/>
                </a:rPr>
                <a:t>Consistent and profitable </a:t>
              </a:r>
            </a:p>
          </p:txBody>
        </p:sp>
      </p:grpSp>
      <p:grpSp>
        <p:nvGrpSpPr>
          <p:cNvPr id="30" name="Agrupar 29">
            <a:extLst>
              <a:ext uri="{FF2B5EF4-FFF2-40B4-BE49-F238E27FC236}">
                <a16:creationId xmlns:a16="http://schemas.microsoft.com/office/drawing/2014/main" id="{42891E1F-C241-6AEA-F841-2FBE78673A98}"/>
              </a:ext>
            </a:extLst>
          </p:cNvPr>
          <p:cNvGrpSpPr/>
          <p:nvPr>
            <p:custDataLst>
              <p:tags r:id="rId12"/>
            </p:custDataLst>
          </p:nvPr>
        </p:nvGrpSpPr>
        <p:grpSpPr>
          <a:xfrm>
            <a:off x="5243997" y="1620177"/>
            <a:ext cx="1975692" cy="2910971"/>
            <a:chOff x="5250770" y="1620177"/>
            <a:chExt cx="1975692" cy="2910971"/>
          </a:xfrm>
        </p:grpSpPr>
        <p:sp>
          <p:nvSpPr>
            <p:cNvPr id="31" name="CaixaDeTexto 30">
              <a:extLst>
                <a:ext uri="{FF2B5EF4-FFF2-40B4-BE49-F238E27FC236}">
                  <a16:creationId xmlns:a16="http://schemas.microsoft.com/office/drawing/2014/main" id="{ED2BCFDF-C010-E0FB-B58C-8F94EC358DC0}"/>
                </a:ext>
              </a:extLst>
            </p:cNvPr>
            <p:cNvSpPr txBox="1"/>
            <p:nvPr>
              <p:custDataLst>
                <p:tags r:id="rId13"/>
              </p:custDataLst>
            </p:nvPr>
          </p:nvSpPr>
          <p:spPr>
            <a:xfrm>
              <a:off x="5684909" y="1620177"/>
              <a:ext cx="1036554" cy="262390"/>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306 bps</a:t>
              </a:r>
            </a:p>
          </p:txBody>
        </p:sp>
        <p:sp>
          <p:nvSpPr>
            <p:cNvPr id="32" name="CaixaDeTexto 31">
              <a:extLst>
                <a:ext uri="{FF2B5EF4-FFF2-40B4-BE49-F238E27FC236}">
                  <a16:creationId xmlns:a16="http://schemas.microsoft.com/office/drawing/2014/main" id="{6DCCA955-4D0F-B241-498F-6A206F85FB97}"/>
                </a:ext>
              </a:extLst>
            </p:cNvPr>
            <p:cNvSpPr txBox="1"/>
            <p:nvPr>
              <p:custDataLst>
                <p:tags r:id="rId14"/>
              </p:custDataLst>
            </p:nvPr>
          </p:nvSpPr>
          <p:spPr>
            <a:xfrm>
              <a:off x="5555897" y="2116889"/>
              <a:ext cx="1217066" cy="267608"/>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52 months</a:t>
              </a:r>
            </a:p>
          </p:txBody>
        </p:sp>
        <p:sp>
          <p:nvSpPr>
            <p:cNvPr id="33" name="CaixaDeTexto 32">
              <a:extLst>
                <a:ext uri="{FF2B5EF4-FFF2-40B4-BE49-F238E27FC236}">
                  <a16:creationId xmlns:a16="http://schemas.microsoft.com/office/drawing/2014/main" id="{050515E6-D4DC-A145-8105-D0811AD72656}"/>
                </a:ext>
              </a:extLst>
            </p:cNvPr>
            <p:cNvSpPr txBox="1"/>
            <p:nvPr>
              <p:custDataLst>
                <p:tags r:id="rId15"/>
              </p:custDataLst>
            </p:nvPr>
          </p:nvSpPr>
          <p:spPr>
            <a:xfrm>
              <a:off x="5770994" y="2645677"/>
              <a:ext cx="898309" cy="262390"/>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133%</a:t>
              </a:r>
            </a:p>
          </p:txBody>
        </p:sp>
        <p:sp>
          <p:nvSpPr>
            <p:cNvPr id="34" name="CaixaDeTexto 33">
              <a:extLst>
                <a:ext uri="{FF2B5EF4-FFF2-40B4-BE49-F238E27FC236}">
                  <a16:creationId xmlns:a16="http://schemas.microsoft.com/office/drawing/2014/main" id="{7F6D4E0D-22D8-39BD-EEEE-745C2A57E5C0}"/>
                </a:ext>
              </a:extLst>
            </p:cNvPr>
            <p:cNvSpPr txBox="1"/>
            <p:nvPr>
              <p:custDataLst>
                <p:tags r:id="rId16"/>
              </p:custDataLst>
            </p:nvPr>
          </p:nvSpPr>
          <p:spPr>
            <a:xfrm>
              <a:off x="5770992" y="3188026"/>
              <a:ext cx="905000" cy="262390"/>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28%</a:t>
              </a:r>
            </a:p>
          </p:txBody>
        </p:sp>
        <p:sp>
          <p:nvSpPr>
            <p:cNvPr id="42" name="CaixaDeTexto 41">
              <a:extLst>
                <a:ext uri="{FF2B5EF4-FFF2-40B4-BE49-F238E27FC236}">
                  <a16:creationId xmlns:a16="http://schemas.microsoft.com/office/drawing/2014/main" id="{0F8BE1C6-22BE-D7EC-107A-C5DC13CD8CD5}"/>
                </a:ext>
              </a:extLst>
            </p:cNvPr>
            <p:cNvSpPr txBox="1"/>
            <p:nvPr>
              <p:custDataLst>
                <p:tags r:id="rId17"/>
              </p:custDataLst>
            </p:nvPr>
          </p:nvSpPr>
          <p:spPr>
            <a:xfrm>
              <a:off x="5555696" y="3716225"/>
              <a:ext cx="1328906" cy="262390"/>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 86%</a:t>
              </a:r>
            </a:p>
          </p:txBody>
        </p:sp>
        <p:sp>
          <p:nvSpPr>
            <p:cNvPr id="44" name="CaixaDeTexto 43">
              <a:extLst>
                <a:ext uri="{FF2B5EF4-FFF2-40B4-BE49-F238E27FC236}">
                  <a16:creationId xmlns:a16="http://schemas.microsoft.com/office/drawing/2014/main" id="{03BBEEA4-8687-FEDA-0341-E7094DA38A2F}"/>
                </a:ext>
              </a:extLst>
            </p:cNvPr>
            <p:cNvSpPr txBox="1"/>
            <p:nvPr>
              <p:custDataLst>
                <p:tags r:id="rId18"/>
              </p:custDataLst>
            </p:nvPr>
          </p:nvSpPr>
          <p:spPr>
            <a:xfrm>
              <a:off x="5770992" y="4268758"/>
              <a:ext cx="905000" cy="262390"/>
            </a:xfrm>
            <a:prstGeom prst="rect">
              <a:avLst/>
            </a:prstGeom>
            <a:noFill/>
          </p:spPr>
          <p:txBody>
            <a:bodyPr wrap="square" rtlCol="0">
              <a:spAutoFit/>
            </a:bodyPr>
            <a:lstStyle/>
            <a:p>
              <a:pPr marL="0" marR="0" lvl="0" indent="0" algn="ctr" defTabSz="675010"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011F57"/>
                  </a:solidFill>
                  <a:effectLst/>
                  <a:uFillTx/>
                  <a:latin typeface="Arial"/>
                </a:rPr>
                <a:t>+ 113%</a:t>
              </a:r>
            </a:p>
          </p:txBody>
        </p:sp>
        <p:grpSp>
          <p:nvGrpSpPr>
            <p:cNvPr id="45" name="Agrupar 44">
              <a:extLst>
                <a:ext uri="{FF2B5EF4-FFF2-40B4-BE49-F238E27FC236}">
                  <a16:creationId xmlns:a16="http://schemas.microsoft.com/office/drawing/2014/main" id="{8D28B93E-D68F-EB3B-82C9-F745EBF3ABC6}"/>
                </a:ext>
              </a:extLst>
            </p:cNvPr>
            <p:cNvGrpSpPr/>
            <p:nvPr>
              <p:custDataLst>
                <p:tags r:id="rId19"/>
              </p:custDataLst>
            </p:nvPr>
          </p:nvGrpSpPr>
          <p:grpSpPr>
            <a:xfrm>
              <a:off x="5250771" y="1749510"/>
              <a:ext cx="1933772" cy="0"/>
              <a:chOff x="5274941" y="1818564"/>
              <a:chExt cx="1933772" cy="0"/>
            </a:xfrm>
          </p:grpSpPr>
          <p:cxnSp>
            <p:nvCxnSpPr>
              <p:cNvPr id="64" name="Conector de Seta Reta 63">
                <a:extLst>
                  <a:ext uri="{FF2B5EF4-FFF2-40B4-BE49-F238E27FC236}">
                    <a16:creationId xmlns:a16="http://schemas.microsoft.com/office/drawing/2014/main" id="{1DE985E9-07B7-B843-7C15-2C7EDE70231B}"/>
                  </a:ext>
                </a:extLst>
              </p:cNvPr>
              <p:cNvCxnSpPr/>
              <p:nvPr>
                <p:custDataLst>
                  <p:tags r:id="rId35"/>
                </p:custDataLst>
              </p:nvPr>
            </p:nvCxnSpPr>
            <p:spPr>
              <a:xfrm>
                <a:off x="5274941" y="1818564"/>
                <a:ext cx="509003"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65" name="Conector de Seta Reta 64">
                <a:extLst>
                  <a:ext uri="{FF2B5EF4-FFF2-40B4-BE49-F238E27FC236}">
                    <a16:creationId xmlns:a16="http://schemas.microsoft.com/office/drawing/2014/main" id="{93B6273F-0572-1050-97FB-6ABEAE227B87}"/>
                  </a:ext>
                </a:extLst>
              </p:cNvPr>
              <p:cNvCxnSpPr/>
              <p:nvPr>
                <p:custDataLst>
                  <p:tags r:id="rId36"/>
                </p:custDataLst>
              </p:nvPr>
            </p:nvCxnSpPr>
            <p:spPr>
              <a:xfrm flipH="1">
                <a:off x="6699710" y="1818564"/>
                <a:ext cx="509003"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nvGrpSpPr>
            <p:cNvPr id="46" name="Agrupar 45">
              <a:extLst>
                <a:ext uri="{FF2B5EF4-FFF2-40B4-BE49-F238E27FC236}">
                  <a16:creationId xmlns:a16="http://schemas.microsoft.com/office/drawing/2014/main" id="{5F7BCFB7-27AE-014F-A7A5-30C9A3A73F4D}"/>
                </a:ext>
              </a:extLst>
            </p:cNvPr>
            <p:cNvGrpSpPr/>
            <p:nvPr>
              <p:custDataLst>
                <p:tags r:id="rId20"/>
              </p:custDataLst>
            </p:nvPr>
          </p:nvGrpSpPr>
          <p:grpSpPr>
            <a:xfrm>
              <a:off x="5250771" y="2242133"/>
              <a:ext cx="1924499" cy="0"/>
              <a:chOff x="5274941" y="2303813"/>
              <a:chExt cx="1924499" cy="0"/>
            </a:xfrm>
          </p:grpSpPr>
          <p:cxnSp>
            <p:nvCxnSpPr>
              <p:cNvPr id="62" name="Conector de Seta Reta 61">
                <a:extLst>
                  <a:ext uri="{FF2B5EF4-FFF2-40B4-BE49-F238E27FC236}">
                    <a16:creationId xmlns:a16="http://schemas.microsoft.com/office/drawing/2014/main" id="{6D43CF3C-2F82-727E-B7CD-CD991FB66AF0}"/>
                  </a:ext>
                </a:extLst>
              </p:cNvPr>
              <p:cNvCxnSpPr/>
              <p:nvPr>
                <p:custDataLst>
                  <p:tags r:id="rId33"/>
                </p:custDataLst>
              </p:nvPr>
            </p:nvCxnSpPr>
            <p:spPr>
              <a:xfrm>
                <a:off x="5274941" y="2303813"/>
                <a:ext cx="432000"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63" name="Conector de Seta Reta 62">
                <a:extLst>
                  <a:ext uri="{FF2B5EF4-FFF2-40B4-BE49-F238E27FC236}">
                    <a16:creationId xmlns:a16="http://schemas.microsoft.com/office/drawing/2014/main" id="{B3F3997A-E8FD-E066-198A-FE4BBEDDE342}"/>
                  </a:ext>
                </a:extLst>
              </p:cNvPr>
              <p:cNvCxnSpPr/>
              <p:nvPr>
                <p:custDataLst>
                  <p:tags r:id="rId34"/>
                </p:custDataLst>
              </p:nvPr>
            </p:nvCxnSpPr>
            <p:spPr>
              <a:xfrm flipH="1">
                <a:off x="6767440" y="2303813"/>
                <a:ext cx="432000"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nvGrpSpPr>
            <p:cNvPr id="47" name="Agrupar 46">
              <a:extLst>
                <a:ext uri="{FF2B5EF4-FFF2-40B4-BE49-F238E27FC236}">
                  <a16:creationId xmlns:a16="http://schemas.microsoft.com/office/drawing/2014/main" id="{CA5EFD35-9BE0-36FC-40BD-72153FFBEEA9}"/>
                </a:ext>
              </a:extLst>
            </p:cNvPr>
            <p:cNvGrpSpPr/>
            <p:nvPr>
              <p:custDataLst>
                <p:tags r:id="rId21"/>
              </p:custDataLst>
            </p:nvPr>
          </p:nvGrpSpPr>
          <p:grpSpPr>
            <a:xfrm>
              <a:off x="5250770" y="3320714"/>
              <a:ext cx="1926265" cy="0"/>
              <a:chOff x="5274940" y="3397142"/>
              <a:chExt cx="1926265" cy="0"/>
            </a:xfrm>
          </p:grpSpPr>
          <p:cxnSp>
            <p:nvCxnSpPr>
              <p:cNvPr id="60" name="Conector de Seta Reta 59">
                <a:extLst>
                  <a:ext uri="{FF2B5EF4-FFF2-40B4-BE49-F238E27FC236}">
                    <a16:creationId xmlns:a16="http://schemas.microsoft.com/office/drawing/2014/main" id="{59AB8E73-996C-B1DF-FE66-FA042F971143}"/>
                  </a:ext>
                </a:extLst>
              </p:cNvPr>
              <p:cNvCxnSpPr/>
              <p:nvPr>
                <p:custDataLst>
                  <p:tags r:id="rId31"/>
                </p:custDataLst>
              </p:nvPr>
            </p:nvCxnSpPr>
            <p:spPr>
              <a:xfrm>
                <a:off x="5274940" y="3397142"/>
                <a:ext cx="576000"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61" name="Conector de Seta Reta 60">
                <a:extLst>
                  <a:ext uri="{FF2B5EF4-FFF2-40B4-BE49-F238E27FC236}">
                    <a16:creationId xmlns:a16="http://schemas.microsoft.com/office/drawing/2014/main" id="{95DCB729-4EDF-FAE8-0787-EEEF8929E269}"/>
                  </a:ext>
                </a:extLst>
              </p:cNvPr>
              <p:cNvCxnSpPr/>
              <p:nvPr>
                <p:custDataLst>
                  <p:tags r:id="rId32"/>
                </p:custDataLst>
              </p:nvPr>
            </p:nvCxnSpPr>
            <p:spPr>
              <a:xfrm flipH="1">
                <a:off x="6625205" y="3397142"/>
                <a:ext cx="576000"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nvGrpSpPr>
            <p:cNvPr id="49" name="Agrupar 48">
              <a:extLst>
                <a:ext uri="{FF2B5EF4-FFF2-40B4-BE49-F238E27FC236}">
                  <a16:creationId xmlns:a16="http://schemas.microsoft.com/office/drawing/2014/main" id="{0F213CA9-A98C-03FC-9B23-17AFEBA4BD2D}"/>
                </a:ext>
              </a:extLst>
            </p:cNvPr>
            <p:cNvGrpSpPr/>
            <p:nvPr>
              <p:custDataLst>
                <p:tags r:id="rId22"/>
              </p:custDataLst>
            </p:nvPr>
          </p:nvGrpSpPr>
          <p:grpSpPr>
            <a:xfrm>
              <a:off x="5250771" y="4385842"/>
              <a:ext cx="1933772" cy="0"/>
              <a:chOff x="5274941" y="4484392"/>
              <a:chExt cx="1933772" cy="0"/>
            </a:xfrm>
          </p:grpSpPr>
          <p:cxnSp>
            <p:nvCxnSpPr>
              <p:cNvPr id="56" name="Conector de Seta Reta 55">
                <a:extLst>
                  <a:ext uri="{FF2B5EF4-FFF2-40B4-BE49-F238E27FC236}">
                    <a16:creationId xmlns:a16="http://schemas.microsoft.com/office/drawing/2014/main" id="{1579971D-F592-CFAA-3A8E-F9BE964073A7}"/>
                  </a:ext>
                </a:extLst>
              </p:cNvPr>
              <p:cNvCxnSpPr/>
              <p:nvPr>
                <p:custDataLst>
                  <p:tags r:id="rId29"/>
                </p:custDataLst>
              </p:nvPr>
            </p:nvCxnSpPr>
            <p:spPr>
              <a:xfrm>
                <a:off x="5274941" y="4484392"/>
                <a:ext cx="509003"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57" name="Conector de Seta Reta 56">
                <a:extLst>
                  <a:ext uri="{FF2B5EF4-FFF2-40B4-BE49-F238E27FC236}">
                    <a16:creationId xmlns:a16="http://schemas.microsoft.com/office/drawing/2014/main" id="{EEB146BB-7A10-2F6C-31C2-DC304E319AEE}"/>
                  </a:ext>
                </a:extLst>
              </p:cNvPr>
              <p:cNvCxnSpPr/>
              <p:nvPr>
                <p:custDataLst>
                  <p:tags r:id="rId30"/>
                </p:custDataLst>
              </p:nvPr>
            </p:nvCxnSpPr>
            <p:spPr>
              <a:xfrm flipH="1">
                <a:off x="6699710" y="4484392"/>
                <a:ext cx="509003"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nvGrpSpPr>
            <p:cNvPr id="50" name="Agrupar 49">
              <a:extLst>
                <a:ext uri="{FF2B5EF4-FFF2-40B4-BE49-F238E27FC236}">
                  <a16:creationId xmlns:a16="http://schemas.microsoft.com/office/drawing/2014/main" id="{336D4042-FEC7-EAD3-A7F6-209A672E0D8F}"/>
                </a:ext>
              </a:extLst>
            </p:cNvPr>
            <p:cNvGrpSpPr/>
            <p:nvPr>
              <p:custDataLst>
                <p:tags r:id="rId23"/>
              </p:custDataLst>
            </p:nvPr>
          </p:nvGrpSpPr>
          <p:grpSpPr>
            <a:xfrm>
              <a:off x="5250771" y="2759852"/>
              <a:ext cx="1933772" cy="0"/>
              <a:chOff x="5274941" y="2843654"/>
              <a:chExt cx="1933772" cy="0"/>
            </a:xfrm>
          </p:grpSpPr>
          <p:cxnSp>
            <p:nvCxnSpPr>
              <p:cNvPr id="54" name="Conector de Seta Reta 53">
                <a:extLst>
                  <a:ext uri="{FF2B5EF4-FFF2-40B4-BE49-F238E27FC236}">
                    <a16:creationId xmlns:a16="http://schemas.microsoft.com/office/drawing/2014/main" id="{0178BB54-447C-A606-56FC-E4453B39C10B}"/>
                  </a:ext>
                </a:extLst>
              </p:cNvPr>
              <p:cNvCxnSpPr/>
              <p:nvPr>
                <p:custDataLst>
                  <p:tags r:id="rId27"/>
                </p:custDataLst>
              </p:nvPr>
            </p:nvCxnSpPr>
            <p:spPr>
              <a:xfrm>
                <a:off x="5274941" y="2843654"/>
                <a:ext cx="509003"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55" name="Conector de Seta Reta 54">
                <a:extLst>
                  <a:ext uri="{FF2B5EF4-FFF2-40B4-BE49-F238E27FC236}">
                    <a16:creationId xmlns:a16="http://schemas.microsoft.com/office/drawing/2014/main" id="{9E1F9DC4-3365-EBD4-688D-B01DFE0566BD}"/>
                  </a:ext>
                </a:extLst>
              </p:cNvPr>
              <p:cNvCxnSpPr/>
              <p:nvPr>
                <p:custDataLst>
                  <p:tags r:id="rId28"/>
                </p:custDataLst>
              </p:nvPr>
            </p:nvCxnSpPr>
            <p:spPr>
              <a:xfrm flipH="1">
                <a:off x="6699710" y="2843654"/>
                <a:ext cx="509003"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nvGrpSpPr>
            <p:cNvPr id="51" name="Agrupar 50">
              <a:extLst>
                <a:ext uri="{FF2B5EF4-FFF2-40B4-BE49-F238E27FC236}">
                  <a16:creationId xmlns:a16="http://schemas.microsoft.com/office/drawing/2014/main" id="{FAAA3392-E742-C755-3AA8-9807F3613A06}"/>
                </a:ext>
              </a:extLst>
            </p:cNvPr>
            <p:cNvGrpSpPr/>
            <p:nvPr>
              <p:custDataLst>
                <p:tags r:id="rId24"/>
              </p:custDataLst>
            </p:nvPr>
          </p:nvGrpSpPr>
          <p:grpSpPr>
            <a:xfrm>
              <a:off x="5250771" y="3826433"/>
              <a:ext cx="1975691" cy="13993"/>
              <a:chOff x="5274941" y="3902861"/>
              <a:chExt cx="1975691" cy="13993"/>
            </a:xfrm>
          </p:grpSpPr>
          <p:cxnSp>
            <p:nvCxnSpPr>
              <p:cNvPr id="52" name="Conector de Seta Reta 51">
                <a:extLst>
                  <a:ext uri="{FF2B5EF4-FFF2-40B4-BE49-F238E27FC236}">
                    <a16:creationId xmlns:a16="http://schemas.microsoft.com/office/drawing/2014/main" id="{C2F35ACB-2FDA-B191-4409-EA0FA02D194D}"/>
                  </a:ext>
                </a:extLst>
              </p:cNvPr>
              <p:cNvCxnSpPr/>
              <p:nvPr>
                <p:custDataLst>
                  <p:tags r:id="rId25"/>
                </p:custDataLst>
              </p:nvPr>
            </p:nvCxnSpPr>
            <p:spPr>
              <a:xfrm>
                <a:off x="5274941" y="3902861"/>
                <a:ext cx="648000" cy="0"/>
              </a:xfrm>
              <a:prstGeom prst="straightConnector1">
                <a:avLst/>
              </a:prstGeom>
              <a:ln w="19050" cap="rnd">
                <a:solidFill>
                  <a:srgbClr val="011F57"/>
                </a:solidFill>
                <a:round/>
                <a:headEnd type="none" w="sm" len="sm"/>
                <a:tailEnd type="none" w="sm" len="sm"/>
              </a:ln>
              <a:effectLst/>
            </p:spPr>
            <p:style>
              <a:lnRef idx="1">
                <a:schemeClr val="accent1"/>
              </a:lnRef>
              <a:fillRef idx="0">
                <a:schemeClr val="accent1"/>
              </a:fillRef>
              <a:effectRef idx="0">
                <a:schemeClr val="accent1"/>
              </a:effectRef>
              <a:fontRef idx="minor">
                <a:schemeClr val="tx1"/>
              </a:fontRef>
            </p:style>
          </p:cxnSp>
          <p:cxnSp>
            <p:nvCxnSpPr>
              <p:cNvPr id="53" name="Conector de Seta Reta 52">
                <a:extLst>
                  <a:ext uri="{FF2B5EF4-FFF2-40B4-BE49-F238E27FC236}">
                    <a16:creationId xmlns:a16="http://schemas.microsoft.com/office/drawing/2014/main" id="{05387125-21B3-6DDC-F683-24BBA6AE123B}"/>
                  </a:ext>
                </a:extLst>
              </p:cNvPr>
              <p:cNvCxnSpPr/>
              <p:nvPr>
                <p:custDataLst>
                  <p:tags r:id="rId26"/>
                </p:custDataLst>
              </p:nvPr>
            </p:nvCxnSpPr>
            <p:spPr>
              <a:xfrm flipH="1">
                <a:off x="6602632" y="3916854"/>
                <a:ext cx="648000" cy="0"/>
              </a:xfrm>
              <a:prstGeom prst="straightConnector1">
                <a:avLst/>
              </a:prstGeom>
              <a:ln w="19050" cap="rnd">
                <a:solidFill>
                  <a:srgbClr val="011F57"/>
                </a:solidFill>
                <a:round/>
                <a:headEnd type="arrow" w="sm" len="sm"/>
                <a:tailEnd type="none" w="sm" len="sm"/>
              </a:ln>
              <a:effectLst/>
            </p:spPr>
            <p:style>
              <a:lnRef idx="1">
                <a:schemeClr val="accent1"/>
              </a:lnRef>
              <a:fillRef idx="0">
                <a:schemeClr val="accent1"/>
              </a:fillRef>
              <a:effectRef idx="0">
                <a:schemeClr val="accent1"/>
              </a:effectRef>
              <a:fontRef idx="minor">
                <a:schemeClr val="tx1"/>
              </a:fontRef>
            </p:style>
          </p:cxnSp>
        </p:grpSp>
      </p:grpSp>
      <p:grpSp>
        <p:nvGrpSpPr>
          <p:cNvPr id="3" name="Agrupar 2">
            <a:extLst>
              <a:ext uri="{FF2B5EF4-FFF2-40B4-BE49-F238E27FC236}">
                <a16:creationId xmlns:a16="http://schemas.microsoft.com/office/drawing/2014/main" id="{081EAD18-6F16-FA67-E847-E463BA7E771A}"/>
              </a:ext>
            </a:extLst>
          </p:cNvPr>
          <p:cNvGrpSpPr/>
          <p:nvPr/>
        </p:nvGrpSpPr>
        <p:grpSpPr>
          <a:xfrm>
            <a:off x="161028" y="155986"/>
            <a:ext cx="417958" cy="292656"/>
            <a:chOff x="161028" y="155986"/>
            <a:chExt cx="417958" cy="292656"/>
          </a:xfrm>
        </p:grpSpPr>
        <p:sp>
          <p:nvSpPr>
            <p:cNvPr id="4" name="Forma Livre: Forma 3">
              <a:extLst>
                <a:ext uri="{FF2B5EF4-FFF2-40B4-BE49-F238E27FC236}">
                  <a16:creationId xmlns:a16="http://schemas.microsoft.com/office/drawing/2014/main" id="{5512185C-73FE-175E-14BC-50A1F91623AC}"/>
                </a:ext>
              </a:extLst>
            </p:cNvPr>
            <p:cNvSpPr/>
            <p:nvPr/>
          </p:nvSpPr>
          <p:spPr>
            <a:xfrm>
              <a:off x="161028" y="155986"/>
              <a:ext cx="417958" cy="292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A6A6A6"/>
            </a:solidFill>
            <a:ln w="0" cap="flat">
              <a:noFill/>
              <a:prstDash val="solid"/>
              <a:miter/>
            </a:ln>
          </p:spPr>
          <p:txBody>
            <a:bodyPr rtlCol="0" anchor="ctr"/>
            <a:lstStyle/>
            <a:p>
              <a:endParaRPr lang="pt-BR" sz="1000"/>
            </a:p>
          </p:txBody>
        </p:sp>
        <p:sp>
          <p:nvSpPr>
            <p:cNvPr id="5" name="CaixaDeTexto 4">
              <a:extLst>
                <a:ext uri="{FF2B5EF4-FFF2-40B4-BE49-F238E27FC236}">
                  <a16:creationId xmlns:a16="http://schemas.microsoft.com/office/drawing/2014/main" id="{A67968E4-F836-8212-9F3D-584F20DC1175}"/>
                </a:ext>
              </a:extLst>
            </p:cNvPr>
            <p:cNvSpPr txBox="1"/>
            <p:nvPr/>
          </p:nvSpPr>
          <p:spPr>
            <a:xfrm>
              <a:off x="323691" y="171902"/>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1</a:t>
              </a:r>
            </a:p>
          </p:txBody>
        </p:sp>
      </p:grpSp>
      <p:pic>
        <p:nvPicPr>
          <p:cNvPr id="6" name="Imagem 5" descr="Uma imagem contendo Interface gráfica do usuário&#10;&#10;Descrição gerada automaticamente">
            <a:extLst>
              <a:ext uri="{FF2B5EF4-FFF2-40B4-BE49-F238E27FC236}">
                <a16:creationId xmlns:a16="http://schemas.microsoft.com/office/drawing/2014/main" id="{4138CB4A-0188-3057-6EDD-E7E0732D0495}"/>
              </a:ext>
            </a:extLst>
          </p:cNvPr>
          <p:cNvPicPr>
            <a:picLocks noChangeAspect="1"/>
          </p:cNvPicPr>
          <p:nvPr/>
        </p:nvPicPr>
        <p:blipFill>
          <a:blip r:embed="rId97"/>
          <a:stretch>
            <a:fillRect/>
          </a:stretch>
        </p:blipFill>
        <p:spPr>
          <a:xfrm>
            <a:off x="8039840" y="60434"/>
            <a:ext cx="920231" cy="509571"/>
          </a:xfrm>
          <a:prstGeom prst="rect">
            <a:avLst/>
          </a:prstGeom>
        </p:spPr>
      </p:pic>
      <p:grpSp>
        <p:nvGrpSpPr>
          <p:cNvPr id="7" name="Agrupar 6">
            <a:extLst>
              <a:ext uri="{FF2B5EF4-FFF2-40B4-BE49-F238E27FC236}">
                <a16:creationId xmlns:a16="http://schemas.microsoft.com/office/drawing/2014/main" id="{8C59FA2D-980C-4A55-EA98-ADF7EB5F4A17}"/>
              </a:ext>
            </a:extLst>
          </p:cNvPr>
          <p:cNvGrpSpPr/>
          <p:nvPr/>
        </p:nvGrpSpPr>
        <p:grpSpPr>
          <a:xfrm>
            <a:off x="315408" y="3662974"/>
            <a:ext cx="366482" cy="366480"/>
            <a:chOff x="326064" y="2539865"/>
            <a:chExt cx="330767" cy="330767"/>
          </a:xfrm>
        </p:grpSpPr>
        <p:sp>
          <p:nvSpPr>
            <p:cNvPr id="8" name="Elipse 7">
              <a:extLst>
                <a:ext uri="{FF2B5EF4-FFF2-40B4-BE49-F238E27FC236}">
                  <a16:creationId xmlns:a16="http://schemas.microsoft.com/office/drawing/2014/main" id="{B0687B76-DEF5-3EA9-C02A-A49F3E10E193}"/>
                </a:ext>
              </a:extLst>
            </p:cNvPr>
            <p:cNvSpPr/>
            <p:nvPr/>
          </p:nvSpPr>
          <p:spPr>
            <a:xfrm>
              <a:off x="326064" y="2539865"/>
              <a:ext cx="330767" cy="33076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Gráfico 8">
              <a:extLst>
                <a:ext uri="{FF2B5EF4-FFF2-40B4-BE49-F238E27FC236}">
                  <a16:creationId xmlns:a16="http://schemas.microsoft.com/office/drawing/2014/main" id="{BC4B1979-ECA1-4816-2D79-7DD18B35B99E}"/>
                </a:ext>
              </a:extLst>
            </p:cNvPr>
            <p:cNvPicPr>
              <a:picLocks noChangeAspect="1"/>
            </p:cNvPicPr>
            <p:nvPr/>
          </p:nvPicPr>
          <p:blipFill>
            <a:blip r:embed="rId98">
              <a:extLst>
                <a:ext uri="{28A0092B-C50C-407E-A947-70E740481C1C}">
                  <a14:useLocalDpi xmlns:a14="http://schemas.microsoft.com/office/drawing/2010/main" val="0"/>
                </a:ext>
                <a:ext uri="{96DAC541-7B7A-43D3-8B79-37D633B846F1}">
                  <asvg:svgBlip xmlns:asvg="http://schemas.microsoft.com/office/drawing/2016/SVG/main" r:embed="rId99"/>
                </a:ext>
              </a:extLst>
            </a:blip>
            <a:stretch>
              <a:fillRect/>
            </a:stretch>
          </p:blipFill>
          <p:spPr>
            <a:xfrm>
              <a:off x="374560" y="2603109"/>
              <a:ext cx="234258" cy="234258"/>
            </a:xfrm>
            <a:prstGeom prst="rect">
              <a:avLst/>
            </a:prstGeom>
          </p:spPr>
        </p:pic>
      </p:grpSp>
      <p:grpSp>
        <p:nvGrpSpPr>
          <p:cNvPr id="10" name="Agrupar 9">
            <a:extLst>
              <a:ext uri="{FF2B5EF4-FFF2-40B4-BE49-F238E27FC236}">
                <a16:creationId xmlns:a16="http://schemas.microsoft.com/office/drawing/2014/main" id="{5738F634-E8AC-036C-F469-C7F72C015D4E}"/>
              </a:ext>
            </a:extLst>
          </p:cNvPr>
          <p:cNvGrpSpPr/>
          <p:nvPr/>
        </p:nvGrpSpPr>
        <p:grpSpPr>
          <a:xfrm>
            <a:off x="315408" y="4185188"/>
            <a:ext cx="366482" cy="366480"/>
            <a:chOff x="326545" y="2977102"/>
            <a:chExt cx="330767" cy="330767"/>
          </a:xfrm>
        </p:grpSpPr>
        <p:sp>
          <p:nvSpPr>
            <p:cNvPr id="11" name="Elipse 10">
              <a:extLst>
                <a:ext uri="{FF2B5EF4-FFF2-40B4-BE49-F238E27FC236}">
                  <a16:creationId xmlns:a16="http://schemas.microsoft.com/office/drawing/2014/main" id="{8CCF206B-DC14-5E23-A351-A08678A06A1E}"/>
                </a:ext>
              </a:extLst>
            </p:cNvPr>
            <p:cNvSpPr/>
            <p:nvPr/>
          </p:nvSpPr>
          <p:spPr>
            <a:xfrm>
              <a:off x="326545" y="2977102"/>
              <a:ext cx="330767" cy="33076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áfico 11">
              <a:extLst>
                <a:ext uri="{FF2B5EF4-FFF2-40B4-BE49-F238E27FC236}">
                  <a16:creationId xmlns:a16="http://schemas.microsoft.com/office/drawing/2014/main" id="{7017DC21-6F35-84C4-BECF-F6E86F68474D}"/>
                </a:ext>
              </a:extLst>
            </p:cNvPr>
            <p:cNvPicPr>
              <a:picLocks noChangeAspect="1"/>
            </p:cNvPicPr>
            <p:nvPr/>
          </p:nvPicPr>
          <p:blipFill rotWithShape="1">
            <a:blip r:embed="rId100">
              <a:extLst>
                <a:ext uri="{28A0092B-C50C-407E-A947-70E740481C1C}">
                  <a14:useLocalDpi xmlns:a14="http://schemas.microsoft.com/office/drawing/2010/main" val="0"/>
                </a:ext>
                <a:ext uri="{96DAC541-7B7A-43D3-8B79-37D633B846F1}">
                  <asvg:svgBlip xmlns:asvg="http://schemas.microsoft.com/office/drawing/2016/SVG/main" r:embed="rId101"/>
                </a:ext>
              </a:extLst>
            </a:blip>
            <a:srcRect l="28916" t="21892" r="26916" b="18016"/>
            <a:stretch/>
          </p:blipFill>
          <p:spPr>
            <a:xfrm>
              <a:off x="395814" y="3046371"/>
              <a:ext cx="209193" cy="194205"/>
            </a:xfrm>
            <a:prstGeom prst="rect">
              <a:avLst/>
            </a:prstGeom>
          </p:spPr>
        </p:pic>
      </p:grpSp>
      <p:grpSp>
        <p:nvGrpSpPr>
          <p:cNvPr id="13" name="Agrupar 12">
            <a:extLst>
              <a:ext uri="{FF2B5EF4-FFF2-40B4-BE49-F238E27FC236}">
                <a16:creationId xmlns:a16="http://schemas.microsoft.com/office/drawing/2014/main" id="{8645F62F-8B9D-4AB2-340F-450BAEDE3D24}"/>
              </a:ext>
            </a:extLst>
          </p:cNvPr>
          <p:cNvGrpSpPr/>
          <p:nvPr/>
        </p:nvGrpSpPr>
        <p:grpSpPr>
          <a:xfrm>
            <a:off x="320400" y="2620404"/>
            <a:ext cx="366482" cy="366480"/>
            <a:chOff x="340469" y="4288810"/>
            <a:chExt cx="330767" cy="330767"/>
          </a:xfrm>
        </p:grpSpPr>
        <p:sp>
          <p:nvSpPr>
            <p:cNvPr id="14" name="Elipse 13">
              <a:extLst>
                <a:ext uri="{FF2B5EF4-FFF2-40B4-BE49-F238E27FC236}">
                  <a16:creationId xmlns:a16="http://schemas.microsoft.com/office/drawing/2014/main" id="{9368B23F-1222-6D8D-D888-5285FA0DE48E}"/>
                </a:ext>
              </a:extLst>
            </p:cNvPr>
            <p:cNvSpPr/>
            <p:nvPr/>
          </p:nvSpPr>
          <p:spPr>
            <a:xfrm>
              <a:off x="340469" y="4288810"/>
              <a:ext cx="330767" cy="33076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áfico 19">
              <a:extLst>
                <a:ext uri="{FF2B5EF4-FFF2-40B4-BE49-F238E27FC236}">
                  <a16:creationId xmlns:a16="http://schemas.microsoft.com/office/drawing/2014/main" id="{B3EADF01-0E7C-1A63-0597-49B2E0E8E003}"/>
                </a:ext>
              </a:extLst>
            </p:cNvPr>
            <p:cNvPicPr>
              <a:picLocks noChangeAspect="1"/>
            </p:cNvPicPr>
            <p:nvPr/>
          </p:nvPicPr>
          <p:blipFill>
            <a:blip r:embed="rId102">
              <a:extLst>
                <a:ext uri="{28A0092B-C50C-407E-A947-70E740481C1C}">
                  <a14:useLocalDpi xmlns:a14="http://schemas.microsoft.com/office/drawing/2010/main" val="0"/>
                </a:ext>
                <a:ext uri="{96DAC541-7B7A-43D3-8B79-37D633B846F1}">
                  <asvg:svgBlip xmlns:asvg="http://schemas.microsoft.com/office/drawing/2016/SVG/main" r:embed="rId103"/>
                </a:ext>
              </a:extLst>
            </a:blip>
            <a:stretch>
              <a:fillRect/>
            </a:stretch>
          </p:blipFill>
          <p:spPr>
            <a:xfrm>
              <a:off x="395788" y="4339299"/>
              <a:ext cx="220129" cy="220129"/>
            </a:xfrm>
            <a:prstGeom prst="rect">
              <a:avLst/>
            </a:prstGeom>
          </p:spPr>
        </p:pic>
      </p:grpSp>
    </p:spTree>
    <p:extLst>
      <p:ext uri="{BB962C8B-B14F-4D97-AF65-F5344CB8AC3E}">
        <p14:creationId xmlns:p14="http://schemas.microsoft.com/office/powerpoint/2010/main" val="2484038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35" presetClass="path" presetSubtype="0" accel="17000" decel="83000" fill="hold" grpId="1" nodeType="withEffect">
                                  <p:stCondLst>
                                    <p:cond delay="0"/>
                                  </p:stCondLst>
                                  <p:childTnLst>
                                    <p:animMotion origin="layout" path="M -0.0321 1.12888E-06 L -1.80102E-06 1.12888E-06" pathEditMode="relative" rAng="0" ptsTypes="AA">
                                      <p:cBhvr>
                                        <p:cTn id="9" dur="1100" fill="hold"/>
                                        <p:tgtEl>
                                          <p:spTgt spid="15"/>
                                        </p:tgtEl>
                                        <p:attrNameLst>
                                          <p:attrName>ppt_x</p:attrName>
                                          <p:attrName>ppt_y</p:attrName>
                                        </p:attrNameLst>
                                      </p:cBhvr>
                                      <p:rCtr x="1605" y="0"/>
                                    </p:animMotion>
                                  </p:childTnLst>
                                </p:cTn>
                              </p:par>
                              <p:par>
                                <p:cTn id="10" presetID="53" presetClass="entr" presetSubtype="0" fill="hold" nodeType="withEffect">
                                  <p:stCondLst>
                                    <p:cond delay="750"/>
                                  </p:stCondLst>
                                  <p:childTnLst>
                                    <p:set>
                                      <p:cBhvr>
                                        <p:cTn id="11" dur="1" fill="hold">
                                          <p:stCondLst>
                                            <p:cond delay="0"/>
                                          </p:stCondLst>
                                        </p:cTn>
                                        <p:tgtEl>
                                          <p:spTgt spid="76"/>
                                        </p:tgtEl>
                                        <p:attrNameLst>
                                          <p:attrName>style.visibility</p:attrName>
                                        </p:attrNameLst>
                                      </p:cBhvr>
                                      <p:to>
                                        <p:strVal val="visible"/>
                                      </p:to>
                                    </p:set>
                                    <p:anim calcmode="lin" valueType="num">
                                      <p:cBhvr>
                                        <p:cTn id="12" dur="500" fill="hold"/>
                                        <p:tgtEl>
                                          <p:spTgt spid="76"/>
                                        </p:tgtEl>
                                        <p:attrNameLst>
                                          <p:attrName>ppt_w</p:attrName>
                                        </p:attrNameLst>
                                      </p:cBhvr>
                                      <p:tavLst>
                                        <p:tav tm="0">
                                          <p:val>
                                            <p:fltVal val="0"/>
                                          </p:val>
                                        </p:tav>
                                        <p:tav tm="100000">
                                          <p:val>
                                            <p:strVal val="#ppt_w"/>
                                          </p:val>
                                        </p:tav>
                                      </p:tavLst>
                                    </p:anim>
                                    <p:anim calcmode="lin" valueType="num">
                                      <p:cBhvr>
                                        <p:cTn id="13" dur="500" fill="hold"/>
                                        <p:tgtEl>
                                          <p:spTgt spid="76"/>
                                        </p:tgtEl>
                                        <p:attrNameLst>
                                          <p:attrName>ppt_h</p:attrName>
                                        </p:attrNameLst>
                                      </p:cBhvr>
                                      <p:tavLst>
                                        <p:tav tm="0">
                                          <p:val>
                                            <p:fltVal val="0"/>
                                          </p:val>
                                        </p:tav>
                                        <p:tav tm="100000">
                                          <p:val>
                                            <p:strVal val="#ppt_h"/>
                                          </p:val>
                                        </p:tav>
                                      </p:tavLst>
                                    </p:anim>
                                    <p:animEffect transition="in" filter="fade">
                                      <p:cBhvr>
                                        <p:cTn id="14" dur="500"/>
                                        <p:tgtEl>
                                          <p:spTgt spid="76"/>
                                        </p:tgtEl>
                                      </p:cBhvr>
                                    </p:animEffect>
                                  </p:childTnLst>
                                </p:cTn>
                              </p:par>
                              <p:par>
                                <p:cTn id="15" presetID="53" presetClass="entr" presetSubtype="0" fill="hold" nodeType="withEffect">
                                  <p:stCondLst>
                                    <p:cond delay="750"/>
                                  </p:stCondLst>
                                  <p:childTnLst>
                                    <p:set>
                                      <p:cBhvr>
                                        <p:cTn id="16" dur="1" fill="hold">
                                          <p:stCondLst>
                                            <p:cond delay="0"/>
                                          </p:stCondLst>
                                        </p:cTn>
                                        <p:tgtEl>
                                          <p:spTgt spid="279"/>
                                        </p:tgtEl>
                                        <p:attrNameLst>
                                          <p:attrName>style.visibility</p:attrName>
                                        </p:attrNameLst>
                                      </p:cBhvr>
                                      <p:to>
                                        <p:strVal val="visible"/>
                                      </p:to>
                                    </p:set>
                                    <p:anim calcmode="lin" valueType="num">
                                      <p:cBhvr>
                                        <p:cTn id="17" dur="500" fill="hold"/>
                                        <p:tgtEl>
                                          <p:spTgt spid="279"/>
                                        </p:tgtEl>
                                        <p:attrNameLst>
                                          <p:attrName>ppt_w</p:attrName>
                                        </p:attrNameLst>
                                      </p:cBhvr>
                                      <p:tavLst>
                                        <p:tav tm="0">
                                          <p:val>
                                            <p:fltVal val="0"/>
                                          </p:val>
                                        </p:tav>
                                        <p:tav tm="100000">
                                          <p:val>
                                            <p:strVal val="#ppt_w"/>
                                          </p:val>
                                        </p:tav>
                                      </p:tavLst>
                                    </p:anim>
                                    <p:anim calcmode="lin" valueType="num">
                                      <p:cBhvr>
                                        <p:cTn id="18" dur="500" fill="hold"/>
                                        <p:tgtEl>
                                          <p:spTgt spid="279"/>
                                        </p:tgtEl>
                                        <p:attrNameLst>
                                          <p:attrName>ppt_h</p:attrName>
                                        </p:attrNameLst>
                                      </p:cBhvr>
                                      <p:tavLst>
                                        <p:tav tm="0">
                                          <p:val>
                                            <p:fltVal val="0"/>
                                          </p:val>
                                        </p:tav>
                                        <p:tav tm="100000">
                                          <p:val>
                                            <p:strVal val="#ppt_h"/>
                                          </p:val>
                                        </p:tav>
                                      </p:tavLst>
                                    </p:anim>
                                    <p:animEffect transition="in" filter="fade">
                                      <p:cBhvr>
                                        <p:cTn id="19" dur="500"/>
                                        <p:tgtEl>
                                          <p:spTgt spid="279"/>
                                        </p:tgtEl>
                                      </p:cBhvr>
                                    </p:animEffect>
                                  </p:childTnLst>
                                </p:cTn>
                              </p:par>
                              <p:par>
                                <p:cTn id="20" presetID="53" presetClass="entr" presetSubtype="0" fill="hold" nodeType="withEffect">
                                  <p:stCondLst>
                                    <p:cond delay="750"/>
                                  </p:stCondLst>
                                  <p:childTnLst>
                                    <p:set>
                                      <p:cBhvr>
                                        <p:cTn id="21" dur="1" fill="hold">
                                          <p:stCondLst>
                                            <p:cond delay="0"/>
                                          </p:stCondLst>
                                        </p:cTn>
                                        <p:tgtEl>
                                          <p:spTgt spid="282"/>
                                        </p:tgtEl>
                                        <p:attrNameLst>
                                          <p:attrName>style.visibility</p:attrName>
                                        </p:attrNameLst>
                                      </p:cBhvr>
                                      <p:to>
                                        <p:strVal val="visible"/>
                                      </p:to>
                                    </p:set>
                                    <p:anim calcmode="lin" valueType="num">
                                      <p:cBhvr>
                                        <p:cTn id="22" dur="500" fill="hold"/>
                                        <p:tgtEl>
                                          <p:spTgt spid="282"/>
                                        </p:tgtEl>
                                        <p:attrNameLst>
                                          <p:attrName>ppt_w</p:attrName>
                                        </p:attrNameLst>
                                      </p:cBhvr>
                                      <p:tavLst>
                                        <p:tav tm="0">
                                          <p:val>
                                            <p:fltVal val="0"/>
                                          </p:val>
                                        </p:tav>
                                        <p:tav tm="100000">
                                          <p:val>
                                            <p:strVal val="#ppt_w"/>
                                          </p:val>
                                        </p:tav>
                                      </p:tavLst>
                                    </p:anim>
                                    <p:anim calcmode="lin" valueType="num">
                                      <p:cBhvr>
                                        <p:cTn id="23" dur="500" fill="hold"/>
                                        <p:tgtEl>
                                          <p:spTgt spid="282"/>
                                        </p:tgtEl>
                                        <p:attrNameLst>
                                          <p:attrName>ppt_h</p:attrName>
                                        </p:attrNameLst>
                                      </p:cBhvr>
                                      <p:tavLst>
                                        <p:tav tm="0">
                                          <p:val>
                                            <p:fltVal val="0"/>
                                          </p:val>
                                        </p:tav>
                                        <p:tav tm="100000">
                                          <p:val>
                                            <p:strVal val="#ppt_h"/>
                                          </p:val>
                                        </p:tav>
                                      </p:tavLst>
                                    </p:anim>
                                    <p:animEffect transition="in" filter="fade">
                                      <p:cBhvr>
                                        <p:cTn id="24" dur="500"/>
                                        <p:tgtEl>
                                          <p:spTgt spid="282"/>
                                        </p:tgtEl>
                                      </p:cBhvr>
                                    </p:animEffect>
                                  </p:childTnLst>
                                </p:cTn>
                              </p:par>
                              <p:par>
                                <p:cTn id="25" presetID="10" presetClass="entr" presetSubtype="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35" presetClass="path" presetSubtype="0" accel="17000" decel="83000" fill="hold" nodeType="withEffect">
                                  <p:stCondLst>
                                    <p:cond delay="1250"/>
                                  </p:stCondLst>
                                  <p:childTnLst>
                                    <p:animMotion origin="layout" path="M -0.0321 -5.36218E-07 L -5.23902E-07 -5.36218E-07" pathEditMode="relative" rAng="0" ptsTypes="AA">
                                      <p:cBhvr>
                                        <p:cTn id="29" dur="1100" fill="hold"/>
                                        <p:tgtEl>
                                          <p:spTgt spid="19"/>
                                        </p:tgtEl>
                                        <p:attrNameLst>
                                          <p:attrName>ppt_x</p:attrName>
                                          <p:attrName>ppt_y</p:attrName>
                                        </p:attrNameLst>
                                      </p:cBhvr>
                                      <p:rCtr x="1605" y="0"/>
                                    </p:animMotion>
                                  </p:childTnLst>
                                </p:cTn>
                              </p:par>
                              <p:par>
                                <p:cTn id="30" presetID="10" presetClass="entr" presetSubtype="0" fill="hold" nodeType="withEffect">
                                  <p:stCondLst>
                                    <p:cond delay="125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500"/>
                                        <p:tgtEl>
                                          <p:spTgt spid="17"/>
                                        </p:tgtEl>
                                      </p:cBhvr>
                                    </p:animEffect>
                                  </p:childTnLst>
                                </p:cTn>
                              </p:par>
                              <p:par>
                                <p:cTn id="33" presetID="35" presetClass="path" presetSubtype="0" accel="17000" decel="83000" fill="hold" nodeType="withEffect">
                                  <p:stCondLst>
                                    <p:cond delay="1250"/>
                                  </p:stCondLst>
                                  <p:childTnLst>
                                    <p:animMotion origin="layout" path="M 0.03422 -1.26999E-06 L -2.91057E-07 -1.26999E-06" pathEditMode="relative" rAng="0" ptsTypes="AA">
                                      <p:cBhvr>
                                        <p:cTn id="34" dur="1100" fill="hold"/>
                                        <p:tgtEl>
                                          <p:spTgt spid="17"/>
                                        </p:tgtEl>
                                        <p:attrNameLst>
                                          <p:attrName>ppt_x</p:attrName>
                                          <p:attrName>ppt_y</p:attrName>
                                        </p:attrNameLst>
                                      </p:cBhvr>
                                      <p:rCtr x="-1711" y="0"/>
                                    </p:animMotion>
                                  </p:childTnLst>
                                </p:cTn>
                              </p:par>
                              <p:par>
                                <p:cTn id="35" presetID="10" presetClass="entr" presetSubtype="0" fill="hold" grpId="0" nodeType="withEffect">
                                  <p:stCondLst>
                                    <p:cond delay="175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500"/>
                                        <p:tgtEl>
                                          <p:spTgt spid="21"/>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35" presetClass="path" presetSubtype="0" accel="17000" decel="83000" fill="hold" grpId="1" nodeType="withEffect">
                                  <p:stCondLst>
                                    <p:cond delay="0"/>
                                  </p:stCondLst>
                                  <p:childTnLst>
                                    <p:animMotion origin="layout" path="M 0.03422 4.90122E-06 L -1.80102E-06 4.90122E-06" pathEditMode="relative" rAng="0" ptsTypes="AA">
                                      <p:cBhvr>
                                        <p:cTn id="42" dur="1100" fill="hold"/>
                                        <p:tgtEl>
                                          <p:spTgt spid="18"/>
                                        </p:tgtEl>
                                        <p:attrNameLst>
                                          <p:attrName>ppt_x</p:attrName>
                                          <p:attrName>ppt_y</p:attrName>
                                        </p:attrNameLst>
                                      </p:cBhvr>
                                      <p:rCtr x="-1711" y="0"/>
                                    </p:animMotion>
                                  </p:childTnLst>
                                </p:cTn>
                              </p:par>
                              <p:par>
                                <p:cTn id="43" presetID="10" presetClass="entr" presetSubtype="0" fill="hold" nodeType="withEffect">
                                  <p:stCondLst>
                                    <p:cond delay="75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35" presetClass="path" presetSubtype="0" accel="17000" decel="83000" fill="hold" nodeType="withEffect">
                                  <p:stCondLst>
                                    <p:cond delay="750"/>
                                  </p:stCondLst>
                                  <p:childTnLst>
                                    <p:animMotion origin="layout" path="M 0.03422 1.67137E-06 L 2.76239E-06 1.67137E-06" pathEditMode="relative" rAng="0" ptsTypes="AA">
                                      <p:cBhvr>
                                        <p:cTn id="47" dur="1100" fill="hold"/>
                                        <p:tgtEl>
                                          <p:spTgt spid="16"/>
                                        </p:tgtEl>
                                        <p:attrNameLst>
                                          <p:attrName>ppt_x</p:attrName>
                                          <p:attrName>ppt_y</p:attrName>
                                        </p:attrNameLst>
                                      </p:cBhvr>
                                      <p:rCtr x="-1711" y="0"/>
                                    </p:animMotion>
                                  </p:childTnLst>
                                </p:cTn>
                              </p:par>
                              <p:par>
                                <p:cTn id="48" presetID="16" presetClass="entr" presetSubtype="37" fill="hold" nodeType="withEffect">
                                  <p:stCondLst>
                                    <p:cond delay="1500"/>
                                  </p:stCondLst>
                                  <p:childTnLst>
                                    <p:set>
                                      <p:cBhvr>
                                        <p:cTn id="49" dur="1" fill="hold">
                                          <p:stCondLst>
                                            <p:cond delay="0"/>
                                          </p:stCondLst>
                                        </p:cTn>
                                        <p:tgtEl>
                                          <p:spTgt spid="30"/>
                                        </p:tgtEl>
                                        <p:attrNameLst>
                                          <p:attrName>style.visibility</p:attrName>
                                        </p:attrNameLst>
                                      </p:cBhvr>
                                      <p:to>
                                        <p:strVal val="visible"/>
                                      </p:to>
                                    </p:set>
                                    <p:animEffect transition="in" filter="barn(outVertical)">
                                      <p:cBhvr>
                                        <p:cTn id="50" dur="500"/>
                                        <p:tgtEl>
                                          <p:spTgt spid="30"/>
                                        </p:tgtEl>
                                      </p:cBhvr>
                                    </p:animEffect>
                                  </p:childTnLst>
                                </p:cTn>
                              </p:par>
                              <p:par>
                                <p:cTn id="51" presetID="53" presetClass="entr" presetSubtype="16" fill="hold" nodeType="withEffect">
                                  <p:stCondLst>
                                    <p:cond delay="750"/>
                                  </p:stCondLst>
                                  <p:childTnLst>
                                    <p:set>
                                      <p:cBhvr>
                                        <p:cTn id="52" dur="1" fill="hold">
                                          <p:stCondLst>
                                            <p:cond delay="0"/>
                                          </p:stCondLst>
                                        </p:cTn>
                                        <p:tgtEl>
                                          <p:spTgt spid="7"/>
                                        </p:tgtEl>
                                        <p:attrNameLst>
                                          <p:attrName>style.visibility</p:attrName>
                                        </p:attrNameLst>
                                      </p:cBhvr>
                                      <p:to>
                                        <p:strVal val="visible"/>
                                      </p:to>
                                    </p:set>
                                    <p:anim calcmode="lin" valueType="num">
                                      <p:cBhvr>
                                        <p:cTn id="53" dur="500" fill="hold"/>
                                        <p:tgtEl>
                                          <p:spTgt spid="7"/>
                                        </p:tgtEl>
                                        <p:attrNameLst>
                                          <p:attrName>ppt_w</p:attrName>
                                        </p:attrNameLst>
                                      </p:cBhvr>
                                      <p:tavLst>
                                        <p:tav tm="0">
                                          <p:val>
                                            <p:fltVal val="0"/>
                                          </p:val>
                                        </p:tav>
                                        <p:tav tm="100000">
                                          <p:val>
                                            <p:strVal val="#ppt_w"/>
                                          </p:val>
                                        </p:tav>
                                      </p:tavLst>
                                    </p:anim>
                                    <p:anim calcmode="lin" valueType="num">
                                      <p:cBhvr>
                                        <p:cTn id="54" dur="500" fill="hold"/>
                                        <p:tgtEl>
                                          <p:spTgt spid="7"/>
                                        </p:tgtEl>
                                        <p:attrNameLst>
                                          <p:attrName>ppt_h</p:attrName>
                                        </p:attrNameLst>
                                      </p:cBhvr>
                                      <p:tavLst>
                                        <p:tav tm="0">
                                          <p:val>
                                            <p:fltVal val="0"/>
                                          </p:val>
                                        </p:tav>
                                        <p:tav tm="100000">
                                          <p:val>
                                            <p:strVal val="#ppt_h"/>
                                          </p:val>
                                        </p:tav>
                                      </p:tavLst>
                                    </p:anim>
                                    <p:animEffect transition="in" filter="fade">
                                      <p:cBhvr>
                                        <p:cTn id="55" dur="500"/>
                                        <p:tgtEl>
                                          <p:spTgt spid="7"/>
                                        </p:tgtEl>
                                      </p:cBhvr>
                                    </p:animEffect>
                                  </p:childTnLst>
                                </p:cTn>
                              </p:par>
                              <p:par>
                                <p:cTn id="56" presetID="53" presetClass="entr" presetSubtype="16" fill="hold" nodeType="withEffect">
                                  <p:stCondLst>
                                    <p:cond delay="750"/>
                                  </p:stCondLst>
                                  <p:childTnLst>
                                    <p:set>
                                      <p:cBhvr>
                                        <p:cTn id="57" dur="1" fill="hold">
                                          <p:stCondLst>
                                            <p:cond delay="0"/>
                                          </p:stCondLst>
                                        </p:cTn>
                                        <p:tgtEl>
                                          <p:spTgt spid="10"/>
                                        </p:tgtEl>
                                        <p:attrNameLst>
                                          <p:attrName>style.visibility</p:attrName>
                                        </p:attrNameLst>
                                      </p:cBhvr>
                                      <p:to>
                                        <p:strVal val="visible"/>
                                      </p:to>
                                    </p:set>
                                    <p:anim calcmode="lin" valueType="num">
                                      <p:cBhvr>
                                        <p:cTn id="58" dur="500" fill="hold"/>
                                        <p:tgtEl>
                                          <p:spTgt spid="10"/>
                                        </p:tgtEl>
                                        <p:attrNameLst>
                                          <p:attrName>ppt_w</p:attrName>
                                        </p:attrNameLst>
                                      </p:cBhvr>
                                      <p:tavLst>
                                        <p:tav tm="0">
                                          <p:val>
                                            <p:fltVal val="0"/>
                                          </p:val>
                                        </p:tav>
                                        <p:tav tm="100000">
                                          <p:val>
                                            <p:strVal val="#ppt_w"/>
                                          </p:val>
                                        </p:tav>
                                      </p:tavLst>
                                    </p:anim>
                                    <p:anim calcmode="lin" valueType="num">
                                      <p:cBhvr>
                                        <p:cTn id="59" dur="500" fill="hold"/>
                                        <p:tgtEl>
                                          <p:spTgt spid="10"/>
                                        </p:tgtEl>
                                        <p:attrNameLst>
                                          <p:attrName>ppt_h</p:attrName>
                                        </p:attrNameLst>
                                      </p:cBhvr>
                                      <p:tavLst>
                                        <p:tav tm="0">
                                          <p:val>
                                            <p:fltVal val="0"/>
                                          </p:val>
                                        </p:tav>
                                        <p:tav tm="100000">
                                          <p:val>
                                            <p:strVal val="#ppt_h"/>
                                          </p:val>
                                        </p:tav>
                                      </p:tavLst>
                                    </p:anim>
                                    <p:animEffect transition="in" filter="fade">
                                      <p:cBhvr>
                                        <p:cTn id="60" dur="500"/>
                                        <p:tgtEl>
                                          <p:spTgt spid="10"/>
                                        </p:tgtEl>
                                      </p:cBhvr>
                                    </p:animEffect>
                                  </p:childTnLst>
                                </p:cTn>
                              </p:par>
                              <p:par>
                                <p:cTn id="61" presetID="53" presetClass="entr" presetSubtype="16" fill="hold" nodeType="withEffect">
                                  <p:stCondLst>
                                    <p:cond delay="750"/>
                                  </p:stCondLst>
                                  <p:childTnLst>
                                    <p:set>
                                      <p:cBhvr>
                                        <p:cTn id="62" dur="1" fill="hold">
                                          <p:stCondLst>
                                            <p:cond delay="0"/>
                                          </p:stCondLst>
                                        </p:cTn>
                                        <p:tgtEl>
                                          <p:spTgt spid="13"/>
                                        </p:tgtEl>
                                        <p:attrNameLst>
                                          <p:attrName>style.visibility</p:attrName>
                                        </p:attrNameLst>
                                      </p:cBhvr>
                                      <p:to>
                                        <p:strVal val="visible"/>
                                      </p:to>
                                    </p:set>
                                    <p:anim calcmode="lin" valueType="num">
                                      <p:cBhvr>
                                        <p:cTn id="63" dur="500" fill="hold"/>
                                        <p:tgtEl>
                                          <p:spTgt spid="13"/>
                                        </p:tgtEl>
                                        <p:attrNameLst>
                                          <p:attrName>ppt_w</p:attrName>
                                        </p:attrNameLst>
                                      </p:cBhvr>
                                      <p:tavLst>
                                        <p:tav tm="0">
                                          <p:val>
                                            <p:fltVal val="0"/>
                                          </p:val>
                                        </p:tav>
                                        <p:tav tm="100000">
                                          <p:val>
                                            <p:strVal val="#ppt_w"/>
                                          </p:val>
                                        </p:tav>
                                      </p:tavLst>
                                    </p:anim>
                                    <p:anim calcmode="lin" valueType="num">
                                      <p:cBhvr>
                                        <p:cTn id="64" dur="500" fill="hold"/>
                                        <p:tgtEl>
                                          <p:spTgt spid="13"/>
                                        </p:tgtEl>
                                        <p:attrNameLst>
                                          <p:attrName>ppt_h</p:attrName>
                                        </p:attrNameLst>
                                      </p:cBhvr>
                                      <p:tavLst>
                                        <p:tav tm="0">
                                          <p:val>
                                            <p:fltVal val="0"/>
                                          </p:val>
                                        </p:tav>
                                        <p:tav tm="100000">
                                          <p:val>
                                            <p:strVal val="#ppt_h"/>
                                          </p:val>
                                        </p:tav>
                                      </p:tavLst>
                                    </p:anim>
                                    <p:animEffect transition="in" filter="fade">
                                      <p:cBhvr>
                                        <p:cTn id="6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8" grpId="0"/>
      <p:bldP spid="18" grpId="1"/>
      <p:bldP spid="2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181044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9439" y="-2138"/>
            <a:ext cx="8999538" cy="5062240"/>
          </a:xfrm>
          <a:prstGeom prst="rect">
            <a:avLst/>
          </a:prstGeom>
        </p:spPr>
      </p:pic>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F8681E"/>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spTree>
    <p:extLst>
      <p:ext uri="{BB962C8B-B14F-4D97-AF65-F5344CB8AC3E}">
        <p14:creationId xmlns:p14="http://schemas.microsoft.com/office/powerpoint/2010/main" val="3366074255"/>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6" grpId="0"/>
      <p:bldP spid="6" grpId="1"/>
      <p:bldP spid="14" grpId="0"/>
      <p:bldP spid="14" grpId="1"/>
      <p:bldP spid="15" grpId="0"/>
      <p:bldP spid="15" grpId="1"/>
      <p:bldP spid="17" grpId="0"/>
      <p:bldP spid="17" grpId="1"/>
      <p:bldP spid="28" grpId="0"/>
      <p:bldP spid="28" grpId="1"/>
      <p:bldP spid="2" grpId="0"/>
      <p:bldP spid="2" grpId="1"/>
      <p:bldP spid="7" grpId="0"/>
      <p:bldP spid="7" grpId="1"/>
      <p:bldP spid="5" grpId="0"/>
      <p:bldP spid="5"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m 18" descr="Imagem em branco e azul&#10;&#10;Descrição gerada automaticamente com confiança média">
            <a:extLst>
              <a:ext uri="{FF2B5EF4-FFF2-40B4-BE49-F238E27FC236}">
                <a16:creationId xmlns:a16="http://schemas.microsoft.com/office/drawing/2014/main" id="{EB9F1CDB-7871-53F3-107A-D0BD68BD6839}"/>
              </a:ext>
            </a:extLst>
          </p:cNvPr>
          <p:cNvPicPr>
            <a:picLocks noChangeAspect="1"/>
          </p:cNvPicPr>
          <p:nvPr>
            <p:custDataLst>
              <p:tags r:id="rId1"/>
            </p:custDataLst>
          </p:nvPr>
        </p:nvPicPr>
        <p:blipFill>
          <a:blip r:embed="rId96">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18" name="Imagem 17">
            <a:extLst>
              <a:ext uri="{FF2B5EF4-FFF2-40B4-BE49-F238E27FC236}">
                <a16:creationId xmlns:a16="http://schemas.microsoft.com/office/drawing/2014/main" id="{C363C170-C618-B348-1B36-661B16343C7F}"/>
              </a:ext>
            </a:extLst>
          </p:cNvPr>
          <p:cNvPicPr>
            <a:picLocks noChangeAspect="1"/>
          </p:cNvPicPr>
          <p:nvPr>
            <p:custDataLst>
              <p:tags r:id="rId2"/>
            </p:custDataLst>
          </p:nvPr>
        </p:nvPicPr>
        <p:blipFill>
          <a:blip r:embed="rId97">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25" name="Imagem 24" descr="Pessoas sentadas ao redor de mesa com frutas e verduras&#10;&#10;Descrição gerada automaticamente">
            <a:extLst>
              <a:ext uri="{FF2B5EF4-FFF2-40B4-BE49-F238E27FC236}">
                <a16:creationId xmlns:a16="http://schemas.microsoft.com/office/drawing/2014/main" id="{4D0A5C82-C091-0AE6-68E1-8C79295FC43A}"/>
              </a:ext>
            </a:extLst>
          </p:cNvPr>
          <p:cNvPicPr>
            <a:picLocks noChangeAspect="1"/>
          </p:cNvPicPr>
          <p:nvPr>
            <p:custDataLst>
              <p:tags r:id="rId3"/>
            </p:custDataLst>
          </p:nvPr>
        </p:nvPicPr>
        <p:blipFill>
          <a:blip r:embed="rId98">
            <a:extLst>
              <a:ext uri="{28A0092B-C50C-407E-A947-70E740481C1C}">
                <a14:useLocalDpi xmlns:a14="http://schemas.microsoft.com/office/drawing/2010/main"/>
              </a:ext>
            </a:extLst>
          </a:blip>
          <a:srcRect r="14189"/>
          <a:stretch>
            <a:fillRect/>
          </a:stretch>
        </p:blipFill>
        <p:spPr>
          <a:xfrm>
            <a:off x="2854296" y="699774"/>
            <a:ext cx="6145242" cy="3297117"/>
          </a:xfrm>
          <a:prstGeom prst="rect">
            <a:avLst/>
          </a:prstGeom>
        </p:spPr>
      </p:pic>
      <p:sp>
        <p:nvSpPr>
          <p:cNvPr id="26" name="CaixaDeTexto 25">
            <a:extLst>
              <a:ext uri="{FF2B5EF4-FFF2-40B4-BE49-F238E27FC236}">
                <a16:creationId xmlns:a16="http://schemas.microsoft.com/office/drawing/2014/main" id="{A05B0A5A-F945-29E0-89D4-17B9FB751DD1}"/>
              </a:ext>
            </a:extLst>
          </p:cNvPr>
          <p:cNvSpPr txBox="1"/>
          <p:nvPr>
            <p:custDataLst>
              <p:tags r:id="rId4"/>
            </p:custDataLst>
          </p:nvPr>
        </p:nvSpPr>
        <p:spPr>
          <a:xfrm>
            <a:off x="156707" y="736920"/>
            <a:ext cx="3655151" cy="772519"/>
          </a:xfrm>
          <a:prstGeom prst="rect">
            <a:avLst/>
          </a:prstGeom>
          <a:noFill/>
        </p:spPr>
        <p:txBody>
          <a:bodyPr wrap="square" rtlCol="0">
            <a:spAutoFit/>
          </a:bodyPr>
          <a:lstStyle/>
          <a:p>
            <a:pPr lvl="0" defTabSz="675010">
              <a:lnSpc>
                <a:spcPct val="85000"/>
              </a:lnSpc>
              <a:spcBef>
                <a:spcPts val="148"/>
              </a:spcBef>
              <a:spcAft>
                <a:spcPts val="148"/>
              </a:spcAft>
              <a:defRPr/>
            </a:pPr>
            <a:r>
              <a:rPr lang="en-US" sz="2600" b="0" i="0" u="none" strike="noStrike" cap="none" spc="600" baseline="0" dirty="0">
                <a:solidFill>
                  <a:srgbClr val="002581"/>
                </a:solidFill>
                <a:effectLst/>
                <a:uFillTx/>
                <a:latin typeface="Segoe UI Black" panose="020B0A02040204020203"/>
              </a:rPr>
              <a:t>CONNECTIONS</a:t>
            </a:r>
            <a:r>
              <a:rPr lang="en-US" b="0" i="0" u="none" strike="noStrike" cap="none" baseline="0" dirty="0">
                <a:effectLst/>
                <a:uFillTx/>
              </a:rPr>
              <a:t> </a:t>
            </a:r>
            <a:r>
              <a:rPr lang="en-US" sz="2600" b="0" i="0" u="none" strike="noStrike" cap="none" spc="600" baseline="0" dirty="0">
                <a:solidFill>
                  <a:srgbClr val="002581"/>
                </a:solidFill>
                <a:effectLst/>
                <a:uFillTx/>
                <a:latin typeface="Segoe UI Light" panose="020B0502040204020203" pitchFamily="34" charset="0"/>
              </a:rPr>
              <a:t>THAT INSPIRE</a:t>
            </a:r>
          </a:p>
        </p:txBody>
      </p:sp>
      <p:sp>
        <p:nvSpPr>
          <p:cNvPr id="131" name="Retângulo: Cantos Arredondados 130">
            <a:extLst>
              <a:ext uri="{FF2B5EF4-FFF2-40B4-BE49-F238E27FC236}">
                <a16:creationId xmlns:a16="http://schemas.microsoft.com/office/drawing/2014/main" id="{81335E72-4857-11E2-0C87-355FBC27DF3C}"/>
              </a:ext>
            </a:extLst>
          </p:cNvPr>
          <p:cNvSpPr/>
          <p:nvPr>
            <p:custDataLst>
              <p:tags r:id="rId5"/>
            </p:custDataLst>
          </p:nvPr>
        </p:nvSpPr>
        <p:spPr>
          <a:xfrm rot="16200000">
            <a:off x="823214" y="1829391"/>
            <a:ext cx="1554677" cy="2684066"/>
          </a:xfrm>
          <a:prstGeom prst="roundRect">
            <a:avLst>
              <a:gd name="adj" fmla="val 7656"/>
            </a:avLst>
          </a:prstGeom>
          <a:gradFill>
            <a:gsLst>
              <a:gs pos="0">
                <a:schemeClr val="bg1">
                  <a:alpha val="0"/>
                </a:schemeClr>
              </a:gs>
              <a:gs pos="22000">
                <a:schemeClr val="bg1">
                  <a:alpha val="90000"/>
                </a:schemeClr>
              </a:gs>
            </a:gsLst>
            <a:lin ang="0" scaled="0"/>
          </a:gradFill>
          <a:ln w="19050">
            <a:gradFill flip="none" rotWithShape="1">
              <a:gsLst>
                <a:gs pos="0">
                  <a:srgbClr val="649C3E"/>
                </a:gs>
                <a:gs pos="100000">
                  <a:srgbClr val="649C3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132" name="Retângulo: Cantos Arredondados 131">
            <a:extLst>
              <a:ext uri="{FF2B5EF4-FFF2-40B4-BE49-F238E27FC236}">
                <a16:creationId xmlns:a16="http://schemas.microsoft.com/office/drawing/2014/main" id="{D1D85B44-8A08-A306-21DF-9A6B78D98C31}"/>
              </a:ext>
            </a:extLst>
          </p:cNvPr>
          <p:cNvSpPr/>
          <p:nvPr>
            <p:custDataLst>
              <p:tags r:id="rId6"/>
            </p:custDataLst>
          </p:nvPr>
        </p:nvSpPr>
        <p:spPr>
          <a:xfrm rot="16200000">
            <a:off x="3713340" y="1829391"/>
            <a:ext cx="1554677" cy="2684066"/>
          </a:xfrm>
          <a:prstGeom prst="roundRect">
            <a:avLst>
              <a:gd name="adj" fmla="val 7656"/>
            </a:avLst>
          </a:prstGeom>
          <a:gradFill>
            <a:gsLst>
              <a:gs pos="0">
                <a:schemeClr val="bg1">
                  <a:alpha val="0"/>
                </a:schemeClr>
              </a:gs>
              <a:gs pos="22000">
                <a:schemeClr val="bg1">
                  <a:alpha val="90000"/>
                </a:schemeClr>
              </a:gs>
            </a:gsLst>
            <a:lin ang="0" scaled="0"/>
          </a:gradFill>
          <a:ln w="19050">
            <a:gradFill flip="none" rotWithShape="1">
              <a:gsLst>
                <a:gs pos="0">
                  <a:srgbClr val="FB9F71"/>
                </a:gs>
                <a:gs pos="100000">
                  <a:srgbClr val="FB9F71">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133" name="Retângulo: Cantos Arredondados 132">
            <a:extLst>
              <a:ext uri="{FF2B5EF4-FFF2-40B4-BE49-F238E27FC236}">
                <a16:creationId xmlns:a16="http://schemas.microsoft.com/office/drawing/2014/main" id="{FC49E76A-C046-6728-05D1-EF4B91475D89}"/>
              </a:ext>
            </a:extLst>
          </p:cNvPr>
          <p:cNvSpPr/>
          <p:nvPr>
            <p:custDataLst>
              <p:tags r:id="rId7"/>
            </p:custDataLst>
          </p:nvPr>
        </p:nvSpPr>
        <p:spPr>
          <a:xfrm rot="16200000">
            <a:off x="6603466" y="1829391"/>
            <a:ext cx="1554677" cy="2684066"/>
          </a:xfrm>
          <a:prstGeom prst="roundRect">
            <a:avLst>
              <a:gd name="adj" fmla="val 7656"/>
            </a:avLst>
          </a:prstGeom>
          <a:gradFill>
            <a:gsLst>
              <a:gs pos="0">
                <a:schemeClr val="bg1">
                  <a:alpha val="0"/>
                </a:schemeClr>
              </a:gs>
              <a:gs pos="22000">
                <a:schemeClr val="bg1">
                  <a:alpha val="9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grpSp>
        <p:nvGrpSpPr>
          <p:cNvPr id="107" name="Agrupar 106">
            <a:extLst>
              <a:ext uri="{FF2B5EF4-FFF2-40B4-BE49-F238E27FC236}">
                <a16:creationId xmlns:a16="http://schemas.microsoft.com/office/drawing/2014/main" id="{0B283B86-04C4-C3B4-B1CC-189001EE3405}"/>
              </a:ext>
            </a:extLst>
          </p:cNvPr>
          <p:cNvGrpSpPr/>
          <p:nvPr>
            <p:custDataLst>
              <p:tags r:id="rId8"/>
            </p:custDataLst>
          </p:nvPr>
        </p:nvGrpSpPr>
        <p:grpSpPr>
          <a:xfrm>
            <a:off x="1245829" y="1916226"/>
            <a:ext cx="709448" cy="709448"/>
            <a:chOff x="1756699" y="2724150"/>
            <a:chExt cx="709448" cy="709448"/>
          </a:xfrm>
        </p:grpSpPr>
        <p:sp>
          <p:nvSpPr>
            <p:cNvPr id="35" name="Elipse 34">
              <a:extLst>
                <a:ext uri="{FF2B5EF4-FFF2-40B4-BE49-F238E27FC236}">
                  <a16:creationId xmlns:a16="http://schemas.microsoft.com/office/drawing/2014/main" id="{ED9972F8-12CD-D297-C79B-AAA43CC9262F}"/>
                </a:ext>
              </a:extLst>
            </p:cNvPr>
            <p:cNvSpPr/>
            <p:nvPr>
              <p:custDataLst>
                <p:tags r:id="rId83"/>
              </p:custDataLst>
            </p:nvPr>
          </p:nvSpPr>
          <p:spPr>
            <a:xfrm>
              <a:off x="1756699" y="2724150"/>
              <a:ext cx="709448" cy="709448"/>
            </a:xfrm>
            <a:prstGeom prst="ellipse">
              <a:avLst/>
            </a:prstGeom>
            <a:gradFill>
              <a:gsLst>
                <a:gs pos="0">
                  <a:srgbClr val="385723">
                    <a:alpha val="45000"/>
                  </a:srgbClr>
                </a:gs>
                <a:gs pos="100000">
                  <a:srgbClr val="385723"/>
                </a:gs>
              </a:gsLst>
              <a:lin ang="2700000" scaled="0"/>
            </a:gra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grpSp>
          <p:nvGrpSpPr>
            <p:cNvPr id="106" name="Agrupar 105">
              <a:extLst>
                <a:ext uri="{FF2B5EF4-FFF2-40B4-BE49-F238E27FC236}">
                  <a16:creationId xmlns:a16="http://schemas.microsoft.com/office/drawing/2014/main" id="{B9F68BFF-F285-A04F-3280-360CF7FE2262}"/>
                </a:ext>
              </a:extLst>
            </p:cNvPr>
            <p:cNvGrpSpPr/>
            <p:nvPr>
              <p:custDataLst>
                <p:tags r:id="rId84"/>
              </p:custDataLst>
            </p:nvPr>
          </p:nvGrpSpPr>
          <p:grpSpPr>
            <a:xfrm>
              <a:off x="1899559" y="2886031"/>
              <a:ext cx="416351" cy="390517"/>
              <a:chOff x="-81378" y="2236368"/>
              <a:chExt cx="476172" cy="446626"/>
            </a:xfrm>
            <a:solidFill>
              <a:schemeClr val="bg1"/>
            </a:solidFill>
          </p:grpSpPr>
          <p:sp>
            <p:nvSpPr>
              <p:cNvPr id="94" name="Forma Livre: Forma 93">
                <a:extLst>
                  <a:ext uri="{FF2B5EF4-FFF2-40B4-BE49-F238E27FC236}">
                    <a16:creationId xmlns:a16="http://schemas.microsoft.com/office/drawing/2014/main" id="{669E17DF-9982-244F-B781-B865245E0D4A}"/>
                  </a:ext>
                </a:extLst>
              </p:cNvPr>
              <p:cNvSpPr/>
              <p:nvPr>
                <p:custDataLst>
                  <p:tags r:id="rId85"/>
                </p:custDataLst>
              </p:nvPr>
            </p:nvSpPr>
            <p:spPr>
              <a:xfrm>
                <a:off x="-81378" y="2486875"/>
                <a:ext cx="70961" cy="163734"/>
              </a:xfrm>
              <a:custGeom>
                <a:avLst/>
                <a:gdLst>
                  <a:gd name="connsiteX0" fmla="*/ 0 w 70961"/>
                  <a:gd name="connsiteY0" fmla="*/ 154210 h 163734"/>
                  <a:gd name="connsiteX1" fmla="*/ 9525 w 70961"/>
                  <a:gd name="connsiteY1" fmla="*/ 163735 h 163734"/>
                  <a:gd name="connsiteX2" fmla="*/ 40862 w 70961"/>
                  <a:gd name="connsiteY2" fmla="*/ 163735 h 163734"/>
                  <a:gd name="connsiteX3" fmla="*/ 70961 w 70961"/>
                  <a:gd name="connsiteY3" fmla="*/ 133636 h 163734"/>
                  <a:gd name="connsiteX4" fmla="*/ 70961 w 70961"/>
                  <a:gd name="connsiteY4" fmla="*/ 30099 h 163734"/>
                  <a:gd name="connsiteX5" fmla="*/ 40862 w 70961"/>
                  <a:gd name="connsiteY5" fmla="*/ 0 h 163734"/>
                  <a:gd name="connsiteX6" fmla="*/ 9525 w 70961"/>
                  <a:gd name="connsiteY6" fmla="*/ 0 h 163734"/>
                  <a:gd name="connsiteX7" fmla="*/ 0 w 70961"/>
                  <a:gd name="connsiteY7" fmla="*/ 9525 h 163734"/>
                  <a:gd name="connsiteX8" fmla="*/ 0 w 70961"/>
                  <a:gd name="connsiteY8" fmla="*/ 154210 h 16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961" h="163734">
                    <a:moveTo>
                      <a:pt x="0" y="154210"/>
                    </a:moveTo>
                    <a:cubicBezTo>
                      <a:pt x="0" y="159449"/>
                      <a:pt x="4191" y="163735"/>
                      <a:pt x="9525" y="163735"/>
                    </a:cubicBezTo>
                    <a:lnTo>
                      <a:pt x="40862" y="163735"/>
                    </a:lnTo>
                    <a:cubicBezTo>
                      <a:pt x="57436" y="163735"/>
                      <a:pt x="70961" y="150209"/>
                      <a:pt x="70961" y="133636"/>
                    </a:cubicBezTo>
                    <a:lnTo>
                      <a:pt x="70961" y="30099"/>
                    </a:lnTo>
                    <a:cubicBezTo>
                      <a:pt x="70961" y="13526"/>
                      <a:pt x="57436" y="0"/>
                      <a:pt x="40862" y="0"/>
                    </a:cubicBezTo>
                    <a:lnTo>
                      <a:pt x="9525" y="0"/>
                    </a:lnTo>
                    <a:cubicBezTo>
                      <a:pt x="4191" y="0"/>
                      <a:pt x="0" y="4286"/>
                      <a:pt x="0" y="9525"/>
                    </a:cubicBezTo>
                    <a:lnTo>
                      <a:pt x="0" y="154210"/>
                    </a:lnTo>
                    <a:close/>
                  </a:path>
                </a:pathLst>
              </a:custGeom>
              <a:grpFill/>
              <a:ln w="9525" cap="flat">
                <a:noFill/>
                <a:prstDash val="solid"/>
                <a:miter/>
              </a:ln>
            </p:spPr>
            <p:txBody>
              <a:bodyPr rtlCol="0" anchor="ctr"/>
              <a:lstStyle/>
              <a:p>
                <a:endParaRPr lang="pt-BR" dirty="0"/>
              </a:p>
            </p:txBody>
          </p:sp>
          <p:sp>
            <p:nvSpPr>
              <p:cNvPr id="95" name="Forma Livre: Forma 94">
                <a:extLst>
                  <a:ext uri="{FF2B5EF4-FFF2-40B4-BE49-F238E27FC236}">
                    <a16:creationId xmlns:a16="http://schemas.microsoft.com/office/drawing/2014/main" id="{3B98D692-8A13-C3AE-42BD-76EAFD1AA45F}"/>
                  </a:ext>
                </a:extLst>
              </p:cNvPr>
              <p:cNvSpPr/>
              <p:nvPr>
                <p:custDataLst>
                  <p:tags r:id="rId86"/>
                </p:custDataLst>
              </p:nvPr>
            </p:nvSpPr>
            <p:spPr>
              <a:xfrm>
                <a:off x="7204" y="2505449"/>
                <a:ext cx="387590" cy="177545"/>
              </a:xfrm>
              <a:custGeom>
                <a:avLst/>
                <a:gdLst>
                  <a:gd name="connsiteX0" fmla="*/ 156019 w 387590"/>
                  <a:gd name="connsiteY0" fmla="*/ 34480 h 177545"/>
                  <a:gd name="connsiteX1" fmla="*/ 74962 w 387590"/>
                  <a:gd name="connsiteY1" fmla="*/ 0 h 177545"/>
                  <a:gd name="connsiteX2" fmla="*/ 1429 w 387590"/>
                  <a:gd name="connsiteY2" fmla="*/ 0 h 177545"/>
                  <a:gd name="connsiteX3" fmla="*/ 0 w 387590"/>
                  <a:gd name="connsiteY3" fmla="*/ 95 h 177545"/>
                  <a:gd name="connsiteX4" fmla="*/ 1429 w 387590"/>
                  <a:gd name="connsiteY4" fmla="*/ 11525 h 177545"/>
                  <a:gd name="connsiteX5" fmla="*/ 1429 w 387590"/>
                  <a:gd name="connsiteY5" fmla="*/ 115062 h 177545"/>
                  <a:gd name="connsiteX6" fmla="*/ 476 w 387590"/>
                  <a:gd name="connsiteY6" fmla="*/ 124492 h 177545"/>
                  <a:gd name="connsiteX7" fmla="*/ 109633 w 387590"/>
                  <a:gd name="connsiteY7" fmla="*/ 168021 h 177545"/>
                  <a:gd name="connsiteX8" fmla="*/ 159258 w 387590"/>
                  <a:gd name="connsiteY8" fmla="*/ 177546 h 177545"/>
                  <a:gd name="connsiteX9" fmla="*/ 218980 w 387590"/>
                  <a:gd name="connsiteY9" fmla="*/ 163544 h 177545"/>
                  <a:gd name="connsiteX10" fmla="*/ 382334 w 387590"/>
                  <a:gd name="connsiteY10" fmla="*/ 82201 h 177545"/>
                  <a:gd name="connsiteX11" fmla="*/ 387477 w 387590"/>
                  <a:gd name="connsiteY11" fmla="*/ 75152 h 177545"/>
                  <a:gd name="connsiteX12" fmla="*/ 384715 w 387590"/>
                  <a:gd name="connsiteY12" fmla="*/ 66866 h 177545"/>
                  <a:gd name="connsiteX13" fmla="*/ 293561 w 387590"/>
                  <a:gd name="connsiteY13" fmla="*/ 46958 h 177545"/>
                  <a:gd name="connsiteX14" fmla="*/ 257461 w 387590"/>
                  <a:gd name="connsiteY14" fmla="*/ 59817 h 177545"/>
                  <a:gd name="connsiteX15" fmla="*/ 222599 w 387590"/>
                  <a:gd name="connsiteY15" fmla="*/ 86106 h 177545"/>
                  <a:gd name="connsiteX16" fmla="*/ 137731 w 387590"/>
                  <a:gd name="connsiteY16" fmla="*/ 86106 h 177545"/>
                  <a:gd name="connsiteX17" fmla="*/ 128206 w 387590"/>
                  <a:gd name="connsiteY17" fmla="*/ 76581 h 177545"/>
                  <a:gd name="connsiteX18" fmla="*/ 137731 w 387590"/>
                  <a:gd name="connsiteY18" fmla="*/ 67056 h 177545"/>
                  <a:gd name="connsiteX19" fmla="*/ 222599 w 387590"/>
                  <a:gd name="connsiteY19" fmla="*/ 67056 h 177545"/>
                  <a:gd name="connsiteX20" fmla="*/ 225647 w 387590"/>
                  <a:gd name="connsiteY20" fmla="*/ 66866 h 177545"/>
                  <a:gd name="connsiteX21" fmla="*/ 228219 w 387590"/>
                  <a:gd name="connsiteY21" fmla="*/ 37814 h 177545"/>
                  <a:gd name="connsiteX22" fmla="*/ 214027 w 387590"/>
                  <a:gd name="connsiteY22" fmla="*/ 34480 h 177545"/>
                  <a:gd name="connsiteX23" fmla="*/ 156019 w 387590"/>
                  <a:gd name="connsiteY23" fmla="*/ 34480 h 17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7590" h="177545">
                    <a:moveTo>
                      <a:pt x="156019" y="34480"/>
                    </a:moveTo>
                    <a:cubicBezTo>
                      <a:pt x="134874" y="12478"/>
                      <a:pt x="105632" y="0"/>
                      <a:pt x="74962" y="0"/>
                    </a:cubicBezTo>
                    <a:lnTo>
                      <a:pt x="1429" y="0"/>
                    </a:lnTo>
                    <a:cubicBezTo>
                      <a:pt x="953" y="0"/>
                      <a:pt x="476" y="0"/>
                      <a:pt x="0" y="95"/>
                    </a:cubicBezTo>
                    <a:cubicBezTo>
                      <a:pt x="953" y="3715"/>
                      <a:pt x="1429" y="7620"/>
                      <a:pt x="1429" y="11525"/>
                    </a:cubicBezTo>
                    <a:lnTo>
                      <a:pt x="1429" y="115062"/>
                    </a:lnTo>
                    <a:cubicBezTo>
                      <a:pt x="1429" y="118300"/>
                      <a:pt x="1143" y="121444"/>
                      <a:pt x="476" y="124492"/>
                    </a:cubicBezTo>
                    <a:lnTo>
                      <a:pt x="109633" y="168021"/>
                    </a:lnTo>
                    <a:cubicBezTo>
                      <a:pt x="125540" y="174403"/>
                      <a:pt x="142399" y="177546"/>
                      <a:pt x="159258" y="177546"/>
                    </a:cubicBezTo>
                    <a:cubicBezTo>
                      <a:pt x="179737" y="177546"/>
                      <a:pt x="200216" y="172879"/>
                      <a:pt x="218980" y="163544"/>
                    </a:cubicBezTo>
                    <a:lnTo>
                      <a:pt x="382334" y="82201"/>
                    </a:lnTo>
                    <a:cubicBezTo>
                      <a:pt x="385096" y="80867"/>
                      <a:pt x="387001" y="78200"/>
                      <a:pt x="387477" y="75152"/>
                    </a:cubicBezTo>
                    <a:cubicBezTo>
                      <a:pt x="387953" y="72104"/>
                      <a:pt x="386906" y="69056"/>
                      <a:pt x="384715" y="66866"/>
                    </a:cubicBezTo>
                    <a:cubicBezTo>
                      <a:pt x="360426" y="43244"/>
                      <a:pt x="325469" y="35623"/>
                      <a:pt x="293561" y="46958"/>
                    </a:cubicBezTo>
                    <a:lnTo>
                      <a:pt x="257461" y="59817"/>
                    </a:lnTo>
                    <a:cubicBezTo>
                      <a:pt x="253079" y="74962"/>
                      <a:pt x="239173" y="86106"/>
                      <a:pt x="222599" y="86106"/>
                    </a:cubicBezTo>
                    <a:lnTo>
                      <a:pt x="137731" y="86106"/>
                    </a:lnTo>
                    <a:cubicBezTo>
                      <a:pt x="132493" y="86106"/>
                      <a:pt x="128206" y="81915"/>
                      <a:pt x="128206" y="76581"/>
                    </a:cubicBezTo>
                    <a:cubicBezTo>
                      <a:pt x="128206" y="71342"/>
                      <a:pt x="132493" y="67056"/>
                      <a:pt x="137731" y="67056"/>
                    </a:cubicBezTo>
                    <a:lnTo>
                      <a:pt x="222599" y="67056"/>
                    </a:lnTo>
                    <a:cubicBezTo>
                      <a:pt x="223647" y="67056"/>
                      <a:pt x="224695" y="66961"/>
                      <a:pt x="225647" y="66866"/>
                    </a:cubicBezTo>
                    <a:cubicBezTo>
                      <a:pt x="239935" y="64294"/>
                      <a:pt x="241173" y="44387"/>
                      <a:pt x="228219" y="37814"/>
                    </a:cubicBezTo>
                    <a:cubicBezTo>
                      <a:pt x="223933" y="35719"/>
                      <a:pt x="219170" y="34480"/>
                      <a:pt x="214027" y="34480"/>
                    </a:cubicBezTo>
                    <a:lnTo>
                      <a:pt x="156019" y="34480"/>
                    </a:lnTo>
                    <a:close/>
                  </a:path>
                </a:pathLst>
              </a:custGeom>
              <a:grpFill/>
              <a:ln w="9525" cap="flat">
                <a:noFill/>
                <a:prstDash val="solid"/>
                <a:miter/>
              </a:ln>
            </p:spPr>
            <p:txBody>
              <a:bodyPr rtlCol="0" anchor="ctr"/>
              <a:lstStyle/>
              <a:p>
                <a:endParaRPr lang="pt-BR" dirty="0"/>
              </a:p>
            </p:txBody>
          </p:sp>
          <p:sp>
            <p:nvSpPr>
              <p:cNvPr id="96" name="Forma Livre: Forma 95">
                <a:extLst>
                  <a:ext uri="{FF2B5EF4-FFF2-40B4-BE49-F238E27FC236}">
                    <a16:creationId xmlns:a16="http://schemas.microsoft.com/office/drawing/2014/main" id="{D9108D62-420D-36D7-532D-7951A22166F2}"/>
                  </a:ext>
                </a:extLst>
              </p:cNvPr>
              <p:cNvSpPr/>
              <p:nvPr>
                <p:custDataLst>
                  <p:tags r:id="rId87"/>
                </p:custDataLst>
              </p:nvPr>
            </p:nvSpPr>
            <p:spPr>
              <a:xfrm>
                <a:off x="103883" y="2361812"/>
                <a:ext cx="80295" cy="103060"/>
              </a:xfrm>
              <a:custGeom>
                <a:avLst/>
                <a:gdLst>
                  <a:gd name="connsiteX0" fmla="*/ 0 w 80295"/>
                  <a:gd name="connsiteY0" fmla="*/ 0 h 103060"/>
                  <a:gd name="connsiteX1" fmla="*/ 80296 w 80295"/>
                  <a:gd name="connsiteY1" fmla="*/ 103061 h 103060"/>
                  <a:gd name="connsiteX2" fmla="*/ 54102 w 80295"/>
                  <a:gd name="connsiteY2" fmla="*/ 0 h 103060"/>
                  <a:gd name="connsiteX3" fmla="*/ 0 w 80295"/>
                  <a:gd name="connsiteY3" fmla="*/ 0 h 103060"/>
                </a:gdLst>
                <a:ahLst/>
                <a:cxnLst>
                  <a:cxn ang="0">
                    <a:pos x="connsiteX0" y="connsiteY0"/>
                  </a:cxn>
                  <a:cxn ang="0">
                    <a:pos x="connsiteX1" y="connsiteY1"/>
                  </a:cxn>
                  <a:cxn ang="0">
                    <a:pos x="connsiteX2" y="connsiteY2"/>
                  </a:cxn>
                  <a:cxn ang="0">
                    <a:pos x="connsiteX3" y="connsiteY3"/>
                  </a:cxn>
                </a:cxnLst>
                <a:rect l="l" t="t" r="r" b="b"/>
                <a:pathLst>
                  <a:path w="80295" h="103060">
                    <a:moveTo>
                      <a:pt x="0" y="0"/>
                    </a:moveTo>
                    <a:cubicBezTo>
                      <a:pt x="3810" y="48006"/>
                      <a:pt x="36290" y="88106"/>
                      <a:pt x="80296" y="103061"/>
                    </a:cubicBezTo>
                    <a:cubicBezTo>
                      <a:pt x="65151" y="80201"/>
                      <a:pt x="55340" y="43434"/>
                      <a:pt x="54102" y="0"/>
                    </a:cubicBezTo>
                    <a:lnTo>
                      <a:pt x="0" y="0"/>
                    </a:lnTo>
                    <a:close/>
                  </a:path>
                </a:pathLst>
              </a:custGeom>
              <a:grpFill/>
              <a:ln w="9525" cap="flat">
                <a:noFill/>
                <a:prstDash val="solid"/>
                <a:miter/>
              </a:ln>
            </p:spPr>
            <p:txBody>
              <a:bodyPr rtlCol="0" anchor="ctr"/>
              <a:lstStyle/>
              <a:p>
                <a:endParaRPr lang="pt-BR" dirty="0"/>
              </a:p>
            </p:txBody>
          </p:sp>
          <p:sp>
            <p:nvSpPr>
              <p:cNvPr id="97" name="Forma Livre: Forma 96">
                <a:extLst>
                  <a:ext uri="{FF2B5EF4-FFF2-40B4-BE49-F238E27FC236}">
                    <a16:creationId xmlns:a16="http://schemas.microsoft.com/office/drawing/2014/main" id="{D7FD4FCC-2A2B-C786-92A0-24C3C9EFB7BE}"/>
                  </a:ext>
                </a:extLst>
              </p:cNvPr>
              <p:cNvSpPr/>
              <p:nvPr>
                <p:custDataLst>
                  <p:tags r:id="rId88"/>
                </p:custDataLst>
              </p:nvPr>
            </p:nvSpPr>
            <p:spPr>
              <a:xfrm>
                <a:off x="103883" y="2239701"/>
                <a:ext cx="80295" cy="103060"/>
              </a:xfrm>
              <a:custGeom>
                <a:avLst/>
                <a:gdLst>
                  <a:gd name="connsiteX0" fmla="*/ 0 w 80295"/>
                  <a:gd name="connsiteY0" fmla="*/ 103061 h 103060"/>
                  <a:gd name="connsiteX1" fmla="*/ 54102 w 80295"/>
                  <a:gd name="connsiteY1" fmla="*/ 103061 h 103060"/>
                  <a:gd name="connsiteX2" fmla="*/ 80296 w 80295"/>
                  <a:gd name="connsiteY2" fmla="*/ 0 h 103060"/>
                  <a:gd name="connsiteX3" fmla="*/ 0 w 80295"/>
                  <a:gd name="connsiteY3" fmla="*/ 103061 h 103060"/>
                </a:gdLst>
                <a:ahLst/>
                <a:cxnLst>
                  <a:cxn ang="0">
                    <a:pos x="connsiteX0" y="connsiteY0"/>
                  </a:cxn>
                  <a:cxn ang="0">
                    <a:pos x="connsiteX1" y="connsiteY1"/>
                  </a:cxn>
                  <a:cxn ang="0">
                    <a:pos x="connsiteX2" y="connsiteY2"/>
                  </a:cxn>
                  <a:cxn ang="0">
                    <a:pos x="connsiteX3" y="connsiteY3"/>
                  </a:cxn>
                </a:cxnLst>
                <a:rect l="l" t="t" r="r" b="b"/>
                <a:pathLst>
                  <a:path w="80295" h="103060">
                    <a:moveTo>
                      <a:pt x="0" y="103061"/>
                    </a:moveTo>
                    <a:lnTo>
                      <a:pt x="54102" y="103061"/>
                    </a:lnTo>
                    <a:cubicBezTo>
                      <a:pt x="55340" y="59627"/>
                      <a:pt x="65151" y="22956"/>
                      <a:pt x="80296" y="0"/>
                    </a:cubicBezTo>
                    <a:cubicBezTo>
                      <a:pt x="36290" y="14954"/>
                      <a:pt x="3810" y="55055"/>
                      <a:pt x="0" y="103061"/>
                    </a:cubicBezTo>
                    <a:close/>
                  </a:path>
                </a:pathLst>
              </a:custGeom>
              <a:grpFill/>
              <a:ln w="9525" cap="flat">
                <a:noFill/>
                <a:prstDash val="solid"/>
                <a:miter/>
              </a:ln>
            </p:spPr>
            <p:txBody>
              <a:bodyPr rtlCol="0" anchor="ctr"/>
              <a:lstStyle/>
              <a:p>
                <a:endParaRPr lang="pt-BR" dirty="0"/>
              </a:p>
            </p:txBody>
          </p:sp>
          <p:sp>
            <p:nvSpPr>
              <p:cNvPr id="98" name="Forma Livre: Forma 97">
                <a:extLst>
                  <a:ext uri="{FF2B5EF4-FFF2-40B4-BE49-F238E27FC236}">
                    <a16:creationId xmlns:a16="http://schemas.microsoft.com/office/drawing/2014/main" id="{306BEB71-EC8A-DD92-22A6-F91C8A063E62}"/>
                  </a:ext>
                </a:extLst>
              </p:cNvPr>
              <p:cNvSpPr/>
              <p:nvPr>
                <p:custDataLst>
                  <p:tags r:id="rId89"/>
                </p:custDataLst>
              </p:nvPr>
            </p:nvSpPr>
            <p:spPr>
              <a:xfrm>
                <a:off x="177035" y="2236368"/>
                <a:ext cx="35909" cy="106394"/>
              </a:xfrm>
              <a:custGeom>
                <a:avLst/>
                <a:gdLst>
                  <a:gd name="connsiteX0" fmla="*/ 0 w 35909"/>
                  <a:gd name="connsiteY0" fmla="*/ 106394 h 106394"/>
                  <a:gd name="connsiteX1" fmla="*/ 35909 w 35909"/>
                  <a:gd name="connsiteY1" fmla="*/ 106394 h 106394"/>
                  <a:gd name="connsiteX2" fmla="*/ 35909 w 35909"/>
                  <a:gd name="connsiteY2" fmla="*/ 0 h 106394"/>
                  <a:gd name="connsiteX3" fmla="*/ 0 w 35909"/>
                  <a:gd name="connsiteY3" fmla="*/ 106394 h 106394"/>
                </a:gdLst>
                <a:ahLst/>
                <a:cxnLst>
                  <a:cxn ang="0">
                    <a:pos x="connsiteX0" y="connsiteY0"/>
                  </a:cxn>
                  <a:cxn ang="0">
                    <a:pos x="connsiteX1" y="connsiteY1"/>
                  </a:cxn>
                  <a:cxn ang="0">
                    <a:pos x="connsiteX2" y="connsiteY2"/>
                  </a:cxn>
                  <a:cxn ang="0">
                    <a:pos x="connsiteX3" y="connsiteY3"/>
                  </a:cxn>
                </a:cxnLst>
                <a:rect l="l" t="t" r="r" b="b"/>
                <a:pathLst>
                  <a:path w="35909" h="106394">
                    <a:moveTo>
                      <a:pt x="0" y="106394"/>
                    </a:moveTo>
                    <a:lnTo>
                      <a:pt x="35909" y="106394"/>
                    </a:lnTo>
                    <a:lnTo>
                      <a:pt x="35909" y="0"/>
                    </a:lnTo>
                    <a:cubicBezTo>
                      <a:pt x="18383" y="11049"/>
                      <a:pt x="1714" y="51340"/>
                      <a:pt x="0" y="106394"/>
                    </a:cubicBezTo>
                    <a:close/>
                  </a:path>
                </a:pathLst>
              </a:custGeom>
              <a:grpFill/>
              <a:ln w="9525" cap="flat">
                <a:noFill/>
                <a:prstDash val="solid"/>
                <a:miter/>
              </a:ln>
            </p:spPr>
            <p:txBody>
              <a:bodyPr rtlCol="0" anchor="ctr"/>
              <a:lstStyle/>
              <a:p>
                <a:endParaRPr lang="pt-BR" dirty="0"/>
              </a:p>
            </p:txBody>
          </p:sp>
          <p:sp>
            <p:nvSpPr>
              <p:cNvPr id="99" name="Forma Livre: Forma 98">
                <a:extLst>
                  <a:ext uri="{FF2B5EF4-FFF2-40B4-BE49-F238E27FC236}">
                    <a16:creationId xmlns:a16="http://schemas.microsoft.com/office/drawing/2014/main" id="{7E9E9431-627A-E952-3907-C7BEE5318442}"/>
                  </a:ext>
                </a:extLst>
              </p:cNvPr>
              <p:cNvSpPr/>
              <p:nvPr>
                <p:custDataLst>
                  <p:tags r:id="rId90"/>
                </p:custDataLst>
              </p:nvPr>
            </p:nvSpPr>
            <p:spPr>
              <a:xfrm>
                <a:off x="177035" y="2361812"/>
                <a:ext cx="35909" cy="106394"/>
              </a:xfrm>
              <a:custGeom>
                <a:avLst/>
                <a:gdLst>
                  <a:gd name="connsiteX0" fmla="*/ 35909 w 35909"/>
                  <a:gd name="connsiteY0" fmla="*/ 106394 h 106394"/>
                  <a:gd name="connsiteX1" fmla="*/ 35909 w 35909"/>
                  <a:gd name="connsiteY1" fmla="*/ 0 h 106394"/>
                  <a:gd name="connsiteX2" fmla="*/ 0 w 35909"/>
                  <a:gd name="connsiteY2" fmla="*/ 0 h 106394"/>
                  <a:gd name="connsiteX3" fmla="*/ 35909 w 35909"/>
                  <a:gd name="connsiteY3" fmla="*/ 106394 h 106394"/>
                </a:gdLst>
                <a:ahLst/>
                <a:cxnLst>
                  <a:cxn ang="0">
                    <a:pos x="connsiteX0" y="connsiteY0"/>
                  </a:cxn>
                  <a:cxn ang="0">
                    <a:pos x="connsiteX1" y="connsiteY1"/>
                  </a:cxn>
                  <a:cxn ang="0">
                    <a:pos x="connsiteX2" y="connsiteY2"/>
                  </a:cxn>
                  <a:cxn ang="0">
                    <a:pos x="connsiteX3" y="connsiteY3"/>
                  </a:cxn>
                </a:cxnLst>
                <a:rect l="l" t="t" r="r" b="b"/>
                <a:pathLst>
                  <a:path w="35909" h="106394">
                    <a:moveTo>
                      <a:pt x="35909" y="106394"/>
                    </a:moveTo>
                    <a:lnTo>
                      <a:pt x="35909" y="0"/>
                    </a:lnTo>
                    <a:lnTo>
                      <a:pt x="0" y="0"/>
                    </a:lnTo>
                    <a:cubicBezTo>
                      <a:pt x="1714" y="55054"/>
                      <a:pt x="18383" y="95345"/>
                      <a:pt x="35909" y="106394"/>
                    </a:cubicBezTo>
                    <a:close/>
                  </a:path>
                </a:pathLst>
              </a:custGeom>
              <a:grpFill/>
              <a:ln w="9525" cap="flat">
                <a:noFill/>
                <a:prstDash val="solid"/>
                <a:miter/>
              </a:ln>
            </p:spPr>
            <p:txBody>
              <a:bodyPr rtlCol="0" anchor="ctr"/>
              <a:lstStyle/>
              <a:p>
                <a:endParaRPr lang="pt-BR" dirty="0"/>
              </a:p>
            </p:txBody>
          </p:sp>
          <p:sp>
            <p:nvSpPr>
              <p:cNvPr id="100" name="Forma Livre: Forma 99">
                <a:extLst>
                  <a:ext uri="{FF2B5EF4-FFF2-40B4-BE49-F238E27FC236}">
                    <a16:creationId xmlns:a16="http://schemas.microsoft.com/office/drawing/2014/main" id="{F14E598D-7E4E-4554-A7C5-5925C379F26B}"/>
                  </a:ext>
                </a:extLst>
              </p:cNvPr>
              <p:cNvSpPr/>
              <p:nvPr>
                <p:custDataLst>
                  <p:tags r:id="rId91"/>
                </p:custDataLst>
              </p:nvPr>
            </p:nvSpPr>
            <p:spPr>
              <a:xfrm>
                <a:off x="231994" y="2361812"/>
                <a:ext cx="36004" cy="106394"/>
              </a:xfrm>
              <a:custGeom>
                <a:avLst/>
                <a:gdLst>
                  <a:gd name="connsiteX0" fmla="*/ 0 w 36004"/>
                  <a:gd name="connsiteY0" fmla="*/ 106394 h 106394"/>
                  <a:gd name="connsiteX1" fmla="*/ 36005 w 36004"/>
                  <a:gd name="connsiteY1" fmla="*/ 0 h 106394"/>
                  <a:gd name="connsiteX2" fmla="*/ 0 w 36004"/>
                  <a:gd name="connsiteY2" fmla="*/ 0 h 106394"/>
                  <a:gd name="connsiteX3" fmla="*/ 0 w 36004"/>
                  <a:gd name="connsiteY3" fmla="*/ 106394 h 106394"/>
                </a:gdLst>
                <a:ahLst/>
                <a:cxnLst>
                  <a:cxn ang="0">
                    <a:pos x="connsiteX0" y="connsiteY0"/>
                  </a:cxn>
                  <a:cxn ang="0">
                    <a:pos x="connsiteX1" y="connsiteY1"/>
                  </a:cxn>
                  <a:cxn ang="0">
                    <a:pos x="connsiteX2" y="connsiteY2"/>
                  </a:cxn>
                  <a:cxn ang="0">
                    <a:pos x="connsiteX3" y="connsiteY3"/>
                  </a:cxn>
                </a:cxnLst>
                <a:rect l="l" t="t" r="r" b="b"/>
                <a:pathLst>
                  <a:path w="36004" h="106394">
                    <a:moveTo>
                      <a:pt x="0" y="106394"/>
                    </a:moveTo>
                    <a:cubicBezTo>
                      <a:pt x="17621" y="95345"/>
                      <a:pt x="34195" y="55054"/>
                      <a:pt x="36005" y="0"/>
                    </a:cubicBezTo>
                    <a:lnTo>
                      <a:pt x="0" y="0"/>
                    </a:lnTo>
                    <a:lnTo>
                      <a:pt x="0" y="106394"/>
                    </a:lnTo>
                    <a:close/>
                  </a:path>
                </a:pathLst>
              </a:custGeom>
              <a:grpFill/>
              <a:ln w="9525" cap="flat">
                <a:noFill/>
                <a:prstDash val="solid"/>
                <a:miter/>
              </a:ln>
            </p:spPr>
            <p:txBody>
              <a:bodyPr rtlCol="0" anchor="ctr"/>
              <a:lstStyle/>
              <a:p>
                <a:endParaRPr lang="pt-BR" dirty="0"/>
              </a:p>
            </p:txBody>
          </p:sp>
          <p:sp>
            <p:nvSpPr>
              <p:cNvPr id="101" name="Forma Livre: Forma 100">
                <a:extLst>
                  <a:ext uri="{FF2B5EF4-FFF2-40B4-BE49-F238E27FC236}">
                    <a16:creationId xmlns:a16="http://schemas.microsoft.com/office/drawing/2014/main" id="{D35668FC-7D70-F005-705E-9C6930B77589}"/>
                  </a:ext>
                </a:extLst>
              </p:cNvPr>
              <p:cNvSpPr/>
              <p:nvPr>
                <p:custDataLst>
                  <p:tags r:id="rId92"/>
                </p:custDataLst>
              </p:nvPr>
            </p:nvSpPr>
            <p:spPr>
              <a:xfrm>
                <a:off x="231994" y="2236368"/>
                <a:ext cx="36004" cy="106394"/>
              </a:xfrm>
              <a:custGeom>
                <a:avLst/>
                <a:gdLst>
                  <a:gd name="connsiteX0" fmla="*/ 0 w 36004"/>
                  <a:gd name="connsiteY0" fmla="*/ 0 h 106394"/>
                  <a:gd name="connsiteX1" fmla="*/ 0 w 36004"/>
                  <a:gd name="connsiteY1" fmla="*/ 106394 h 106394"/>
                  <a:gd name="connsiteX2" fmla="*/ 36005 w 36004"/>
                  <a:gd name="connsiteY2" fmla="*/ 106394 h 106394"/>
                  <a:gd name="connsiteX3" fmla="*/ 0 w 36004"/>
                  <a:gd name="connsiteY3" fmla="*/ 0 h 106394"/>
                </a:gdLst>
                <a:ahLst/>
                <a:cxnLst>
                  <a:cxn ang="0">
                    <a:pos x="connsiteX0" y="connsiteY0"/>
                  </a:cxn>
                  <a:cxn ang="0">
                    <a:pos x="connsiteX1" y="connsiteY1"/>
                  </a:cxn>
                  <a:cxn ang="0">
                    <a:pos x="connsiteX2" y="connsiteY2"/>
                  </a:cxn>
                  <a:cxn ang="0">
                    <a:pos x="connsiteX3" y="connsiteY3"/>
                  </a:cxn>
                </a:cxnLst>
                <a:rect l="l" t="t" r="r" b="b"/>
                <a:pathLst>
                  <a:path w="36004" h="106394">
                    <a:moveTo>
                      <a:pt x="0" y="0"/>
                    </a:moveTo>
                    <a:lnTo>
                      <a:pt x="0" y="106394"/>
                    </a:lnTo>
                    <a:lnTo>
                      <a:pt x="36005" y="106394"/>
                    </a:lnTo>
                    <a:cubicBezTo>
                      <a:pt x="34195" y="51340"/>
                      <a:pt x="17621" y="11049"/>
                      <a:pt x="0" y="0"/>
                    </a:cubicBezTo>
                    <a:close/>
                  </a:path>
                </a:pathLst>
              </a:custGeom>
              <a:grpFill/>
              <a:ln w="9525" cap="flat">
                <a:noFill/>
                <a:prstDash val="solid"/>
                <a:miter/>
              </a:ln>
            </p:spPr>
            <p:txBody>
              <a:bodyPr rtlCol="0" anchor="ctr"/>
              <a:lstStyle/>
              <a:p>
                <a:endParaRPr lang="pt-BR" dirty="0"/>
              </a:p>
            </p:txBody>
          </p:sp>
          <p:sp>
            <p:nvSpPr>
              <p:cNvPr id="102" name="Forma Livre: Forma 101">
                <a:extLst>
                  <a:ext uri="{FF2B5EF4-FFF2-40B4-BE49-F238E27FC236}">
                    <a16:creationId xmlns:a16="http://schemas.microsoft.com/office/drawing/2014/main" id="{5AD29671-9C27-4866-9CA5-9A09388B4FFC}"/>
                  </a:ext>
                </a:extLst>
              </p:cNvPr>
              <p:cNvSpPr/>
              <p:nvPr>
                <p:custDataLst>
                  <p:tags r:id="rId93"/>
                </p:custDataLst>
              </p:nvPr>
            </p:nvSpPr>
            <p:spPr>
              <a:xfrm>
                <a:off x="260855" y="2361812"/>
                <a:ext cx="80200" cy="103060"/>
              </a:xfrm>
              <a:custGeom>
                <a:avLst/>
                <a:gdLst>
                  <a:gd name="connsiteX0" fmla="*/ 0 w 80200"/>
                  <a:gd name="connsiteY0" fmla="*/ 103061 h 103060"/>
                  <a:gd name="connsiteX1" fmla="*/ 80200 w 80200"/>
                  <a:gd name="connsiteY1" fmla="*/ 0 h 103060"/>
                  <a:gd name="connsiteX2" fmla="*/ 26194 w 80200"/>
                  <a:gd name="connsiteY2" fmla="*/ 0 h 103060"/>
                  <a:gd name="connsiteX3" fmla="*/ 0 w 80200"/>
                  <a:gd name="connsiteY3" fmla="*/ 103061 h 103060"/>
                </a:gdLst>
                <a:ahLst/>
                <a:cxnLst>
                  <a:cxn ang="0">
                    <a:pos x="connsiteX0" y="connsiteY0"/>
                  </a:cxn>
                  <a:cxn ang="0">
                    <a:pos x="connsiteX1" y="connsiteY1"/>
                  </a:cxn>
                  <a:cxn ang="0">
                    <a:pos x="connsiteX2" y="connsiteY2"/>
                  </a:cxn>
                  <a:cxn ang="0">
                    <a:pos x="connsiteX3" y="connsiteY3"/>
                  </a:cxn>
                </a:cxnLst>
                <a:rect l="l" t="t" r="r" b="b"/>
                <a:pathLst>
                  <a:path w="80200" h="103060">
                    <a:moveTo>
                      <a:pt x="0" y="103061"/>
                    </a:moveTo>
                    <a:cubicBezTo>
                      <a:pt x="43910" y="88106"/>
                      <a:pt x="76391" y="48006"/>
                      <a:pt x="80200" y="0"/>
                    </a:cubicBezTo>
                    <a:lnTo>
                      <a:pt x="26194" y="0"/>
                    </a:lnTo>
                    <a:cubicBezTo>
                      <a:pt x="24860" y="43434"/>
                      <a:pt x="15049" y="80201"/>
                      <a:pt x="0" y="103061"/>
                    </a:cubicBezTo>
                    <a:close/>
                  </a:path>
                </a:pathLst>
              </a:custGeom>
              <a:grpFill/>
              <a:ln w="9525" cap="flat">
                <a:noFill/>
                <a:prstDash val="solid"/>
                <a:miter/>
              </a:ln>
            </p:spPr>
            <p:txBody>
              <a:bodyPr rtlCol="0" anchor="ctr"/>
              <a:lstStyle/>
              <a:p>
                <a:endParaRPr lang="pt-BR" dirty="0"/>
              </a:p>
            </p:txBody>
          </p:sp>
          <p:sp>
            <p:nvSpPr>
              <p:cNvPr id="103" name="Forma Livre: Forma 102">
                <a:extLst>
                  <a:ext uri="{FF2B5EF4-FFF2-40B4-BE49-F238E27FC236}">
                    <a16:creationId xmlns:a16="http://schemas.microsoft.com/office/drawing/2014/main" id="{D3B2D56E-22AC-817F-4D43-83591C5C88DA}"/>
                  </a:ext>
                </a:extLst>
              </p:cNvPr>
              <p:cNvSpPr/>
              <p:nvPr>
                <p:custDataLst>
                  <p:tags r:id="rId94"/>
                </p:custDataLst>
              </p:nvPr>
            </p:nvSpPr>
            <p:spPr>
              <a:xfrm>
                <a:off x="260855" y="2239701"/>
                <a:ext cx="80200" cy="103060"/>
              </a:xfrm>
              <a:custGeom>
                <a:avLst/>
                <a:gdLst>
                  <a:gd name="connsiteX0" fmla="*/ 0 w 80200"/>
                  <a:gd name="connsiteY0" fmla="*/ 0 h 103060"/>
                  <a:gd name="connsiteX1" fmla="*/ 26194 w 80200"/>
                  <a:gd name="connsiteY1" fmla="*/ 103061 h 103060"/>
                  <a:gd name="connsiteX2" fmla="*/ 80200 w 80200"/>
                  <a:gd name="connsiteY2" fmla="*/ 103061 h 103060"/>
                  <a:gd name="connsiteX3" fmla="*/ 0 w 80200"/>
                  <a:gd name="connsiteY3" fmla="*/ 0 h 103060"/>
                </a:gdLst>
                <a:ahLst/>
                <a:cxnLst>
                  <a:cxn ang="0">
                    <a:pos x="connsiteX0" y="connsiteY0"/>
                  </a:cxn>
                  <a:cxn ang="0">
                    <a:pos x="connsiteX1" y="connsiteY1"/>
                  </a:cxn>
                  <a:cxn ang="0">
                    <a:pos x="connsiteX2" y="connsiteY2"/>
                  </a:cxn>
                  <a:cxn ang="0">
                    <a:pos x="connsiteX3" y="connsiteY3"/>
                  </a:cxn>
                </a:cxnLst>
                <a:rect l="l" t="t" r="r" b="b"/>
                <a:pathLst>
                  <a:path w="80200" h="103060">
                    <a:moveTo>
                      <a:pt x="0" y="0"/>
                    </a:moveTo>
                    <a:cubicBezTo>
                      <a:pt x="15049" y="22956"/>
                      <a:pt x="24860" y="59627"/>
                      <a:pt x="26194" y="103061"/>
                    </a:cubicBezTo>
                    <a:lnTo>
                      <a:pt x="80200" y="103061"/>
                    </a:lnTo>
                    <a:cubicBezTo>
                      <a:pt x="76391" y="55055"/>
                      <a:pt x="43910" y="14954"/>
                      <a:pt x="0" y="0"/>
                    </a:cubicBezTo>
                    <a:close/>
                  </a:path>
                </a:pathLst>
              </a:custGeom>
              <a:grpFill/>
              <a:ln w="9525" cap="flat">
                <a:noFill/>
                <a:prstDash val="solid"/>
                <a:miter/>
              </a:ln>
            </p:spPr>
            <p:txBody>
              <a:bodyPr rtlCol="0" anchor="ctr"/>
              <a:lstStyle/>
              <a:p>
                <a:endParaRPr lang="pt-BR" dirty="0"/>
              </a:p>
            </p:txBody>
          </p:sp>
        </p:grpSp>
      </p:grpSp>
      <p:grpSp>
        <p:nvGrpSpPr>
          <p:cNvPr id="121" name="Agrupar 120">
            <a:extLst>
              <a:ext uri="{FF2B5EF4-FFF2-40B4-BE49-F238E27FC236}">
                <a16:creationId xmlns:a16="http://schemas.microsoft.com/office/drawing/2014/main" id="{41B6A523-2F9F-24CC-08DA-3FD94294E46E}"/>
              </a:ext>
            </a:extLst>
          </p:cNvPr>
          <p:cNvGrpSpPr/>
          <p:nvPr>
            <p:custDataLst>
              <p:tags r:id="rId9"/>
            </p:custDataLst>
          </p:nvPr>
        </p:nvGrpSpPr>
        <p:grpSpPr>
          <a:xfrm>
            <a:off x="4135955" y="1916226"/>
            <a:ext cx="709448" cy="709448"/>
            <a:chOff x="4145046" y="2724150"/>
            <a:chExt cx="709448" cy="709448"/>
          </a:xfrm>
        </p:grpSpPr>
        <p:sp>
          <p:nvSpPr>
            <p:cNvPr id="73" name="Elipse 72">
              <a:extLst>
                <a:ext uri="{FF2B5EF4-FFF2-40B4-BE49-F238E27FC236}">
                  <a16:creationId xmlns:a16="http://schemas.microsoft.com/office/drawing/2014/main" id="{20E0DEAD-DB07-2E87-AEC2-0115A4F972B0}"/>
                </a:ext>
              </a:extLst>
            </p:cNvPr>
            <p:cNvSpPr/>
            <p:nvPr>
              <p:custDataLst>
                <p:tags r:id="rId75"/>
              </p:custDataLst>
            </p:nvPr>
          </p:nvSpPr>
          <p:spPr>
            <a:xfrm>
              <a:off x="4145046" y="2724150"/>
              <a:ext cx="709448" cy="709448"/>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grpSp>
          <p:nvGrpSpPr>
            <p:cNvPr id="111" name="Gráfico 108">
              <a:extLst>
                <a:ext uri="{FF2B5EF4-FFF2-40B4-BE49-F238E27FC236}">
                  <a16:creationId xmlns:a16="http://schemas.microsoft.com/office/drawing/2014/main" id="{F3C3C8C4-FC29-837C-69F7-8E1599C6661D}"/>
                </a:ext>
              </a:extLst>
            </p:cNvPr>
            <p:cNvGrpSpPr/>
            <p:nvPr>
              <p:custDataLst>
                <p:tags r:id="rId76"/>
              </p:custDataLst>
            </p:nvPr>
          </p:nvGrpSpPr>
          <p:grpSpPr>
            <a:xfrm>
              <a:off x="4267404" y="2907007"/>
              <a:ext cx="472603" cy="292566"/>
              <a:chOff x="2654271" y="3990602"/>
              <a:chExt cx="400050" cy="247652"/>
            </a:xfrm>
            <a:solidFill>
              <a:schemeClr val="bg1"/>
            </a:solidFill>
          </p:grpSpPr>
          <p:sp>
            <p:nvSpPr>
              <p:cNvPr id="112" name="Forma Livre: Forma 111">
                <a:extLst>
                  <a:ext uri="{FF2B5EF4-FFF2-40B4-BE49-F238E27FC236}">
                    <a16:creationId xmlns:a16="http://schemas.microsoft.com/office/drawing/2014/main" id="{66595E09-CF82-014D-8618-5F784EB00444}"/>
                  </a:ext>
                </a:extLst>
              </p:cNvPr>
              <p:cNvSpPr/>
              <p:nvPr>
                <p:custDataLst>
                  <p:tags r:id="rId77"/>
                </p:custDataLst>
              </p:nvPr>
            </p:nvSpPr>
            <p:spPr>
              <a:xfrm>
                <a:off x="2806668" y="3990602"/>
                <a:ext cx="95254" cy="95254"/>
              </a:xfrm>
              <a:custGeom>
                <a:avLst/>
                <a:gdLst>
                  <a:gd name="connsiteX0" fmla="*/ 95207 w 95254"/>
                  <a:gd name="connsiteY0" fmla="*/ 47197 h 95254"/>
                  <a:gd name="connsiteX1" fmla="*/ 47579 w 95254"/>
                  <a:gd name="connsiteY1" fmla="*/ 94825 h 95254"/>
                  <a:gd name="connsiteX2" fmla="*/ -48 w 95254"/>
                  <a:gd name="connsiteY2" fmla="*/ 47197 h 95254"/>
                  <a:gd name="connsiteX3" fmla="*/ 47579 w 95254"/>
                  <a:gd name="connsiteY3" fmla="*/ -430 h 95254"/>
                  <a:gd name="connsiteX4" fmla="*/ 95207 w 95254"/>
                  <a:gd name="connsiteY4" fmla="*/ 47197 h 952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4" h="95254">
                    <a:moveTo>
                      <a:pt x="95207" y="47197"/>
                    </a:moveTo>
                    <a:cubicBezTo>
                      <a:pt x="95207" y="73501"/>
                      <a:pt x="73883" y="94825"/>
                      <a:pt x="47579" y="94825"/>
                    </a:cubicBezTo>
                    <a:cubicBezTo>
                      <a:pt x="21276" y="94825"/>
                      <a:pt x="-48" y="73501"/>
                      <a:pt x="-48" y="47197"/>
                    </a:cubicBezTo>
                    <a:cubicBezTo>
                      <a:pt x="-48" y="20894"/>
                      <a:pt x="21276" y="-430"/>
                      <a:pt x="47579" y="-430"/>
                    </a:cubicBezTo>
                    <a:cubicBezTo>
                      <a:pt x="73883" y="-430"/>
                      <a:pt x="95207" y="20894"/>
                      <a:pt x="95207" y="47197"/>
                    </a:cubicBezTo>
                    <a:close/>
                  </a:path>
                </a:pathLst>
              </a:custGeom>
              <a:grpFill/>
              <a:ln w="7144" cap="flat">
                <a:noFill/>
                <a:prstDash val="solid"/>
                <a:round/>
              </a:ln>
            </p:spPr>
            <p:txBody>
              <a:bodyPr rtlCol="0" anchor="ctr"/>
              <a:lstStyle/>
              <a:p>
                <a:endParaRPr lang="pt-BR" dirty="0"/>
              </a:p>
            </p:txBody>
          </p:sp>
          <p:sp>
            <p:nvSpPr>
              <p:cNvPr id="113" name="Forma Livre: Forma 112">
                <a:extLst>
                  <a:ext uri="{FF2B5EF4-FFF2-40B4-BE49-F238E27FC236}">
                    <a16:creationId xmlns:a16="http://schemas.microsoft.com/office/drawing/2014/main" id="{61869925-9DA1-D248-13B0-B0EF648EECDD}"/>
                  </a:ext>
                </a:extLst>
              </p:cNvPr>
              <p:cNvSpPr/>
              <p:nvPr>
                <p:custDataLst>
                  <p:tags r:id="rId78"/>
                </p:custDataLst>
              </p:nvPr>
            </p:nvSpPr>
            <p:spPr>
              <a:xfrm>
                <a:off x="2940021" y="4028705"/>
                <a:ext cx="95250" cy="95250"/>
              </a:xfrm>
              <a:custGeom>
                <a:avLst/>
                <a:gdLst>
                  <a:gd name="connsiteX0" fmla="*/ 95202 w 95250"/>
                  <a:gd name="connsiteY0" fmla="*/ 47193 h 95250"/>
                  <a:gd name="connsiteX1" fmla="*/ 47577 w 95250"/>
                  <a:gd name="connsiteY1" fmla="*/ 94818 h 95250"/>
                  <a:gd name="connsiteX2" fmla="*/ -48 w 95250"/>
                  <a:gd name="connsiteY2" fmla="*/ 47193 h 95250"/>
                  <a:gd name="connsiteX3" fmla="*/ 47577 w 95250"/>
                  <a:gd name="connsiteY3" fmla="*/ -432 h 95250"/>
                  <a:gd name="connsiteX4" fmla="*/ 95202 w 95250"/>
                  <a:gd name="connsiteY4" fmla="*/ 4719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5202" y="47193"/>
                    </a:moveTo>
                    <a:cubicBezTo>
                      <a:pt x="95202" y="73495"/>
                      <a:pt x="73880" y="94818"/>
                      <a:pt x="47577" y="94818"/>
                    </a:cubicBezTo>
                    <a:cubicBezTo>
                      <a:pt x="21274" y="94818"/>
                      <a:pt x="-48" y="73495"/>
                      <a:pt x="-48" y="47193"/>
                    </a:cubicBezTo>
                    <a:cubicBezTo>
                      <a:pt x="-48" y="20891"/>
                      <a:pt x="21274" y="-432"/>
                      <a:pt x="47577" y="-432"/>
                    </a:cubicBezTo>
                    <a:cubicBezTo>
                      <a:pt x="73880" y="-432"/>
                      <a:pt x="95202" y="20891"/>
                      <a:pt x="95202" y="47193"/>
                    </a:cubicBezTo>
                    <a:close/>
                  </a:path>
                </a:pathLst>
              </a:custGeom>
              <a:grpFill/>
              <a:ln w="9525" cap="flat">
                <a:noFill/>
                <a:prstDash val="solid"/>
                <a:round/>
              </a:ln>
            </p:spPr>
            <p:txBody>
              <a:bodyPr rtlCol="0" anchor="ctr"/>
              <a:lstStyle/>
              <a:p>
                <a:endParaRPr lang="pt-BR" dirty="0"/>
              </a:p>
            </p:txBody>
          </p:sp>
          <p:sp>
            <p:nvSpPr>
              <p:cNvPr id="114" name="Forma Livre: Forma 113">
                <a:extLst>
                  <a:ext uri="{FF2B5EF4-FFF2-40B4-BE49-F238E27FC236}">
                    <a16:creationId xmlns:a16="http://schemas.microsoft.com/office/drawing/2014/main" id="{DC695A19-2430-BF89-5BCE-814FDA820466}"/>
                  </a:ext>
                </a:extLst>
              </p:cNvPr>
              <p:cNvSpPr/>
              <p:nvPr>
                <p:custDataLst>
                  <p:tags r:id="rId79"/>
                </p:custDataLst>
              </p:nvPr>
            </p:nvSpPr>
            <p:spPr>
              <a:xfrm>
                <a:off x="2673321" y="4028705"/>
                <a:ext cx="95250" cy="95250"/>
              </a:xfrm>
              <a:custGeom>
                <a:avLst/>
                <a:gdLst>
                  <a:gd name="connsiteX0" fmla="*/ 95174 w 95250"/>
                  <a:gd name="connsiteY0" fmla="*/ 47193 h 95250"/>
                  <a:gd name="connsiteX1" fmla="*/ 47549 w 95250"/>
                  <a:gd name="connsiteY1" fmla="*/ 94818 h 95250"/>
                  <a:gd name="connsiteX2" fmla="*/ -76 w 95250"/>
                  <a:gd name="connsiteY2" fmla="*/ 47193 h 95250"/>
                  <a:gd name="connsiteX3" fmla="*/ 47549 w 95250"/>
                  <a:gd name="connsiteY3" fmla="*/ -432 h 95250"/>
                  <a:gd name="connsiteX4" fmla="*/ 95174 w 95250"/>
                  <a:gd name="connsiteY4" fmla="*/ 47193 h 95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95250">
                    <a:moveTo>
                      <a:pt x="95174" y="47193"/>
                    </a:moveTo>
                    <a:cubicBezTo>
                      <a:pt x="95174" y="73495"/>
                      <a:pt x="73852" y="94818"/>
                      <a:pt x="47549" y="94818"/>
                    </a:cubicBezTo>
                    <a:cubicBezTo>
                      <a:pt x="21246" y="94818"/>
                      <a:pt x="-76" y="73495"/>
                      <a:pt x="-76" y="47193"/>
                    </a:cubicBezTo>
                    <a:cubicBezTo>
                      <a:pt x="-76" y="20891"/>
                      <a:pt x="21246" y="-432"/>
                      <a:pt x="47549" y="-432"/>
                    </a:cubicBezTo>
                    <a:cubicBezTo>
                      <a:pt x="73852" y="-432"/>
                      <a:pt x="95174" y="20891"/>
                      <a:pt x="95174" y="47193"/>
                    </a:cubicBezTo>
                    <a:close/>
                  </a:path>
                </a:pathLst>
              </a:custGeom>
              <a:grpFill/>
              <a:ln w="9525" cap="flat">
                <a:noFill/>
                <a:prstDash val="solid"/>
                <a:round/>
              </a:ln>
            </p:spPr>
            <p:txBody>
              <a:bodyPr rtlCol="0" anchor="ctr"/>
              <a:lstStyle/>
              <a:p>
                <a:endParaRPr lang="pt-BR" dirty="0"/>
              </a:p>
            </p:txBody>
          </p:sp>
          <p:sp>
            <p:nvSpPr>
              <p:cNvPr id="115" name="Forma Livre: Forma 114">
                <a:extLst>
                  <a:ext uri="{FF2B5EF4-FFF2-40B4-BE49-F238E27FC236}">
                    <a16:creationId xmlns:a16="http://schemas.microsoft.com/office/drawing/2014/main" id="{E607AFD8-DC5E-0448-7FD5-55919A3E0C5C}"/>
                  </a:ext>
                </a:extLst>
              </p:cNvPr>
              <p:cNvSpPr/>
              <p:nvPr>
                <p:custDataLst>
                  <p:tags r:id="rId80"/>
                </p:custDataLst>
              </p:nvPr>
            </p:nvSpPr>
            <p:spPr>
              <a:xfrm>
                <a:off x="2654271" y="4143005"/>
                <a:ext cx="99450" cy="95250"/>
              </a:xfrm>
              <a:custGeom>
                <a:avLst/>
                <a:gdLst>
                  <a:gd name="connsiteX0" fmla="*/ 99403 w 99450"/>
                  <a:gd name="connsiteY0" fmla="*/ 1576 h 95250"/>
                  <a:gd name="connsiteX1" fmla="*/ 85677 w 99450"/>
                  <a:gd name="connsiteY1" fmla="*/ -434 h 95250"/>
                  <a:gd name="connsiteX2" fmla="*/ 47577 w 99450"/>
                  <a:gd name="connsiteY2" fmla="*/ -434 h 95250"/>
                  <a:gd name="connsiteX3" fmla="*/ -48 w 99450"/>
                  <a:gd name="connsiteY3" fmla="*/ 47191 h 95250"/>
                  <a:gd name="connsiteX4" fmla="*/ -48 w 99450"/>
                  <a:gd name="connsiteY4" fmla="*/ 85291 h 95250"/>
                  <a:gd name="connsiteX5" fmla="*/ 9477 w 99450"/>
                  <a:gd name="connsiteY5" fmla="*/ 94816 h 95250"/>
                  <a:gd name="connsiteX6" fmla="*/ 96840 w 99450"/>
                  <a:gd name="connsiteY6" fmla="*/ 94816 h 95250"/>
                  <a:gd name="connsiteX7" fmla="*/ 95202 w 99450"/>
                  <a:gd name="connsiteY7" fmla="*/ 85291 h 95250"/>
                  <a:gd name="connsiteX8" fmla="*/ 95202 w 99450"/>
                  <a:gd name="connsiteY8" fmla="*/ 28141 h 95250"/>
                  <a:gd name="connsiteX9" fmla="*/ 99403 w 99450"/>
                  <a:gd name="connsiteY9" fmla="*/ 157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50" h="95250">
                    <a:moveTo>
                      <a:pt x="99403" y="1576"/>
                    </a:moveTo>
                    <a:cubicBezTo>
                      <a:pt x="95050" y="271"/>
                      <a:pt x="90449" y="-434"/>
                      <a:pt x="85677" y="-434"/>
                    </a:cubicBezTo>
                    <a:cubicBezTo>
                      <a:pt x="73218" y="-434"/>
                      <a:pt x="60036" y="-434"/>
                      <a:pt x="47577" y="-434"/>
                    </a:cubicBezTo>
                    <a:cubicBezTo>
                      <a:pt x="21278" y="-434"/>
                      <a:pt x="-48" y="20893"/>
                      <a:pt x="-48" y="47191"/>
                    </a:cubicBezTo>
                    <a:cubicBezTo>
                      <a:pt x="-48" y="47191"/>
                      <a:pt x="-48" y="85291"/>
                      <a:pt x="-48" y="85291"/>
                    </a:cubicBezTo>
                    <a:cubicBezTo>
                      <a:pt x="-48" y="90549"/>
                      <a:pt x="4219" y="94816"/>
                      <a:pt x="9477" y="94816"/>
                    </a:cubicBezTo>
                    <a:lnTo>
                      <a:pt x="96840" y="94816"/>
                    </a:lnTo>
                    <a:cubicBezTo>
                      <a:pt x="95764" y="91787"/>
                      <a:pt x="95202" y="88568"/>
                      <a:pt x="95202" y="85291"/>
                    </a:cubicBezTo>
                    <a:lnTo>
                      <a:pt x="95202" y="28141"/>
                    </a:lnTo>
                    <a:cubicBezTo>
                      <a:pt x="95202" y="18864"/>
                      <a:pt x="96678" y="9939"/>
                      <a:pt x="99403" y="1576"/>
                    </a:cubicBezTo>
                    <a:close/>
                  </a:path>
                </a:pathLst>
              </a:custGeom>
              <a:grpFill/>
              <a:ln w="9525" cap="flat">
                <a:noFill/>
                <a:prstDash val="solid"/>
                <a:round/>
              </a:ln>
            </p:spPr>
            <p:txBody>
              <a:bodyPr rtlCol="0" anchor="ctr"/>
              <a:lstStyle/>
              <a:p>
                <a:endParaRPr lang="pt-BR" dirty="0"/>
              </a:p>
            </p:txBody>
          </p:sp>
          <p:sp>
            <p:nvSpPr>
              <p:cNvPr id="116" name="Forma Livre: Forma 115">
                <a:extLst>
                  <a:ext uri="{FF2B5EF4-FFF2-40B4-BE49-F238E27FC236}">
                    <a16:creationId xmlns:a16="http://schemas.microsoft.com/office/drawing/2014/main" id="{8E6237EC-2E29-F3BA-B368-74005BF9AB25}"/>
                  </a:ext>
                </a:extLst>
              </p:cNvPr>
              <p:cNvSpPr/>
              <p:nvPr>
                <p:custDataLst>
                  <p:tags r:id="rId81"/>
                </p:custDataLst>
              </p:nvPr>
            </p:nvSpPr>
            <p:spPr>
              <a:xfrm>
                <a:off x="2768571" y="4104905"/>
                <a:ext cx="171450" cy="133350"/>
              </a:xfrm>
              <a:custGeom>
                <a:avLst/>
                <a:gdLst>
                  <a:gd name="connsiteX0" fmla="*/ 171402 w 171450"/>
                  <a:gd name="connsiteY0" fmla="*/ 66241 h 133350"/>
                  <a:gd name="connsiteX1" fmla="*/ 171402 w 171450"/>
                  <a:gd name="connsiteY1" fmla="*/ 123391 h 133350"/>
                  <a:gd name="connsiteX2" fmla="*/ 168611 w 171450"/>
                  <a:gd name="connsiteY2" fmla="*/ 130125 h 133350"/>
                  <a:gd name="connsiteX3" fmla="*/ 161877 w 171450"/>
                  <a:gd name="connsiteY3" fmla="*/ 132916 h 133350"/>
                  <a:gd name="connsiteX4" fmla="*/ 9477 w 171450"/>
                  <a:gd name="connsiteY4" fmla="*/ 132916 h 133350"/>
                  <a:gd name="connsiteX5" fmla="*/ 2743 w 171450"/>
                  <a:gd name="connsiteY5" fmla="*/ 130125 h 133350"/>
                  <a:gd name="connsiteX6" fmla="*/ -48 w 171450"/>
                  <a:gd name="connsiteY6" fmla="*/ 123391 h 133350"/>
                  <a:gd name="connsiteX7" fmla="*/ -48 w 171450"/>
                  <a:gd name="connsiteY7" fmla="*/ 66241 h 133350"/>
                  <a:gd name="connsiteX8" fmla="*/ 66627 w 171450"/>
                  <a:gd name="connsiteY8" fmla="*/ -434 h 133350"/>
                  <a:gd name="connsiteX9" fmla="*/ 104727 w 171450"/>
                  <a:gd name="connsiteY9" fmla="*/ -434 h 133350"/>
                  <a:gd name="connsiteX10" fmla="*/ 171402 w 171450"/>
                  <a:gd name="connsiteY10" fmla="*/ 6624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450" h="133350">
                    <a:moveTo>
                      <a:pt x="171402" y="66241"/>
                    </a:moveTo>
                    <a:lnTo>
                      <a:pt x="171402" y="123391"/>
                    </a:lnTo>
                    <a:cubicBezTo>
                      <a:pt x="171402" y="125915"/>
                      <a:pt x="170402" y="128344"/>
                      <a:pt x="168611" y="130125"/>
                    </a:cubicBezTo>
                    <a:cubicBezTo>
                      <a:pt x="166830" y="131916"/>
                      <a:pt x="164401" y="132916"/>
                      <a:pt x="161877" y="132916"/>
                    </a:cubicBezTo>
                    <a:lnTo>
                      <a:pt x="9477" y="132916"/>
                    </a:lnTo>
                    <a:cubicBezTo>
                      <a:pt x="6953" y="132916"/>
                      <a:pt x="4524" y="131916"/>
                      <a:pt x="2743" y="130125"/>
                    </a:cubicBezTo>
                    <a:cubicBezTo>
                      <a:pt x="952" y="128344"/>
                      <a:pt x="-48" y="125915"/>
                      <a:pt x="-48" y="123391"/>
                    </a:cubicBezTo>
                    <a:cubicBezTo>
                      <a:pt x="-48" y="123391"/>
                      <a:pt x="-48" y="66241"/>
                      <a:pt x="-48" y="66241"/>
                    </a:cubicBezTo>
                    <a:cubicBezTo>
                      <a:pt x="-48" y="29417"/>
                      <a:pt x="29803" y="-434"/>
                      <a:pt x="66627" y="-434"/>
                    </a:cubicBezTo>
                    <a:cubicBezTo>
                      <a:pt x="66627" y="-434"/>
                      <a:pt x="104727" y="-434"/>
                      <a:pt x="104727" y="-434"/>
                    </a:cubicBezTo>
                    <a:cubicBezTo>
                      <a:pt x="141551" y="-434"/>
                      <a:pt x="171402" y="29417"/>
                      <a:pt x="171402" y="66241"/>
                    </a:cubicBezTo>
                    <a:close/>
                  </a:path>
                </a:pathLst>
              </a:custGeom>
              <a:grpFill/>
              <a:ln w="9525" cap="flat">
                <a:noFill/>
                <a:prstDash val="solid"/>
                <a:round/>
              </a:ln>
            </p:spPr>
            <p:txBody>
              <a:bodyPr rtlCol="0" anchor="ctr"/>
              <a:lstStyle/>
              <a:p>
                <a:endParaRPr lang="pt-BR" dirty="0"/>
              </a:p>
            </p:txBody>
          </p:sp>
          <p:sp>
            <p:nvSpPr>
              <p:cNvPr id="117" name="Forma Livre: Forma 116">
                <a:extLst>
                  <a:ext uri="{FF2B5EF4-FFF2-40B4-BE49-F238E27FC236}">
                    <a16:creationId xmlns:a16="http://schemas.microsoft.com/office/drawing/2014/main" id="{1621BAFF-D575-8F73-7945-BDC64816D053}"/>
                  </a:ext>
                </a:extLst>
              </p:cNvPr>
              <p:cNvSpPr/>
              <p:nvPr>
                <p:custDataLst>
                  <p:tags r:id="rId82"/>
                </p:custDataLst>
              </p:nvPr>
            </p:nvSpPr>
            <p:spPr>
              <a:xfrm>
                <a:off x="2954870" y="4143005"/>
                <a:ext cx="99450" cy="95250"/>
              </a:xfrm>
              <a:custGeom>
                <a:avLst/>
                <a:gdLst>
                  <a:gd name="connsiteX0" fmla="*/ 2514 w 99450"/>
                  <a:gd name="connsiteY0" fmla="*/ 94816 h 95250"/>
                  <a:gd name="connsiteX1" fmla="*/ 89878 w 99450"/>
                  <a:gd name="connsiteY1" fmla="*/ 94816 h 95250"/>
                  <a:gd name="connsiteX2" fmla="*/ 99403 w 99450"/>
                  <a:gd name="connsiteY2" fmla="*/ 85291 h 95250"/>
                  <a:gd name="connsiteX3" fmla="*/ 99403 w 99450"/>
                  <a:gd name="connsiteY3" fmla="*/ 47191 h 95250"/>
                  <a:gd name="connsiteX4" fmla="*/ 51778 w 99450"/>
                  <a:gd name="connsiteY4" fmla="*/ -434 h 95250"/>
                  <a:gd name="connsiteX5" fmla="*/ 13678 w 99450"/>
                  <a:gd name="connsiteY5" fmla="*/ -434 h 95250"/>
                  <a:gd name="connsiteX6" fmla="*/ -48 w 99450"/>
                  <a:gd name="connsiteY6" fmla="*/ 1576 h 95250"/>
                  <a:gd name="connsiteX7" fmla="*/ 4153 w 99450"/>
                  <a:gd name="connsiteY7" fmla="*/ 28141 h 95250"/>
                  <a:gd name="connsiteX8" fmla="*/ 4153 w 99450"/>
                  <a:gd name="connsiteY8" fmla="*/ 85291 h 95250"/>
                  <a:gd name="connsiteX9" fmla="*/ 2514 w 99450"/>
                  <a:gd name="connsiteY9" fmla="*/ 94816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450" h="95250">
                    <a:moveTo>
                      <a:pt x="2514" y="94816"/>
                    </a:moveTo>
                    <a:lnTo>
                      <a:pt x="89878" y="94816"/>
                    </a:lnTo>
                    <a:cubicBezTo>
                      <a:pt x="95135" y="94816"/>
                      <a:pt x="99403" y="90549"/>
                      <a:pt x="99403" y="85291"/>
                    </a:cubicBezTo>
                    <a:lnTo>
                      <a:pt x="99403" y="47191"/>
                    </a:lnTo>
                    <a:cubicBezTo>
                      <a:pt x="99403" y="20893"/>
                      <a:pt x="78076" y="-434"/>
                      <a:pt x="51778" y="-434"/>
                    </a:cubicBezTo>
                    <a:cubicBezTo>
                      <a:pt x="39319" y="-434"/>
                      <a:pt x="26136" y="-434"/>
                      <a:pt x="13678" y="-434"/>
                    </a:cubicBezTo>
                    <a:cubicBezTo>
                      <a:pt x="8906" y="-434"/>
                      <a:pt x="4305" y="271"/>
                      <a:pt x="-48" y="1576"/>
                    </a:cubicBezTo>
                    <a:cubicBezTo>
                      <a:pt x="2676" y="9939"/>
                      <a:pt x="4153" y="18864"/>
                      <a:pt x="4153" y="28141"/>
                    </a:cubicBezTo>
                    <a:lnTo>
                      <a:pt x="4153" y="85291"/>
                    </a:lnTo>
                    <a:cubicBezTo>
                      <a:pt x="4153" y="88568"/>
                      <a:pt x="3591" y="91787"/>
                      <a:pt x="2514" y="94816"/>
                    </a:cubicBezTo>
                    <a:close/>
                  </a:path>
                </a:pathLst>
              </a:custGeom>
              <a:grpFill/>
              <a:ln w="9525" cap="flat">
                <a:noFill/>
                <a:prstDash val="solid"/>
                <a:round/>
              </a:ln>
            </p:spPr>
            <p:txBody>
              <a:bodyPr rtlCol="0" anchor="ctr"/>
              <a:lstStyle/>
              <a:p>
                <a:endParaRPr lang="pt-BR" dirty="0"/>
              </a:p>
            </p:txBody>
          </p:sp>
        </p:grpSp>
      </p:grpSp>
      <p:grpSp>
        <p:nvGrpSpPr>
          <p:cNvPr id="135" name="Agrupar 134">
            <a:extLst>
              <a:ext uri="{FF2B5EF4-FFF2-40B4-BE49-F238E27FC236}">
                <a16:creationId xmlns:a16="http://schemas.microsoft.com/office/drawing/2014/main" id="{FDB110D9-C9DD-34ED-2BF1-8E373EF6F65A}"/>
              </a:ext>
            </a:extLst>
          </p:cNvPr>
          <p:cNvGrpSpPr/>
          <p:nvPr>
            <p:custDataLst>
              <p:tags r:id="rId10"/>
            </p:custDataLst>
          </p:nvPr>
        </p:nvGrpSpPr>
        <p:grpSpPr>
          <a:xfrm>
            <a:off x="7026081" y="1916226"/>
            <a:ext cx="709448" cy="709448"/>
            <a:chOff x="7049632" y="2411465"/>
            <a:chExt cx="709448" cy="709448"/>
          </a:xfrm>
        </p:grpSpPr>
        <p:sp>
          <p:nvSpPr>
            <p:cNvPr id="76" name="Elipse 75">
              <a:extLst>
                <a:ext uri="{FF2B5EF4-FFF2-40B4-BE49-F238E27FC236}">
                  <a16:creationId xmlns:a16="http://schemas.microsoft.com/office/drawing/2014/main" id="{7DFEAB71-F1E0-7721-2069-0A811E793291}"/>
                </a:ext>
              </a:extLst>
            </p:cNvPr>
            <p:cNvSpPr/>
            <p:nvPr>
              <p:custDataLst>
                <p:tags r:id="rId73"/>
              </p:custDataLst>
            </p:nvPr>
          </p:nvSpPr>
          <p:spPr>
            <a:xfrm>
              <a:off x="7049632" y="2411465"/>
              <a:ext cx="709448" cy="70944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24" name="Forma Livre: Forma 123">
              <a:extLst>
                <a:ext uri="{FF2B5EF4-FFF2-40B4-BE49-F238E27FC236}">
                  <a16:creationId xmlns:a16="http://schemas.microsoft.com/office/drawing/2014/main" id="{18C18406-AF3D-45A9-4F9D-34D6B79D0A4A}"/>
                </a:ext>
              </a:extLst>
            </p:cNvPr>
            <p:cNvSpPr/>
            <p:nvPr>
              <p:custDataLst>
                <p:tags r:id="rId74"/>
              </p:custDataLst>
            </p:nvPr>
          </p:nvSpPr>
          <p:spPr>
            <a:xfrm>
              <a:off x="7197859" y="2537275"/>
              <a:ext cx="420737" cy="418149"/>
            </a:xfrm>
            <a:custGeom>
              <a:avLst/>
              <a:gdLst>
                <a:gd name="connsiteX0" fmla="*/ 242690 w 876476"/>
                <a:gd name="connsiteY0" fmla="*/ 736402 h 871085"/>
                <a:gd name="connsiteX1" fmla="*/ 242690 w 876476"/>
                <a:gd name="connsiteY1" fmla="*/ 350163 h 871085"/>
                <a:gd name="connsiteX2" fmla="*/ 139820 w 876476"/>
                <a:gd name="connsiteY2" fmla="*/ 350163 h 871085"/>
                <a:gd name="connsiteX3" fmla="*/ 139820 w 876476"/>
                <a:gd name="connsiteY3" fmla="*/ 736402 h 871085"/>
                <a:gd name="connsiteX4" fmla="*/ 242690 w 876476"/>
                <a:gd name="connsiteY4" fmla="*/ 736402 h 871085"/>
                <a:gd name="connsiteX5" fmla="*/ 242690 w 876476"/>
                <a:gd name="connsiteY5" fmla="*/ 736402 h 871085"/>
                <a:gd name="connsiteX6" fmla="*/ 53143 w 876476"/>
                <a:gd name="connsiteY6" fmla="*/ 817840 h 871085"/>
                <a:gd name="connsiteX7" fmla="*/ 836860 w 876476"/>
                <a:gd name="connsiteY7" fmla="*/ 817840 h 871085"/>
                <a:gd name="connsiteX8" fmla="*/ 852290 w 876476"/>
                <a:gd name="connsiteY8" fmla="*/ 833366 h 871085"/>
                <a:gd name="connsiteX9" fmla="*/ 852290 w 876476"/>
                <a:gd name="connsiteY9" fmla="*/ 871085 h 871085"/>
                <a:gd name="connsiteX10" fmla="*/ 37617 w 876476"/>
                <a:gd name="connsiteY10" fmla="*/ 871085 h 871085"/>
                <a:gd name="connsiteX11" fmla="*/ 37617 w 876476"/>
                <a:gd name="connsiteY11" fmla="*/ 833366 h 871085"/>
                <a:gd name="connsiteX12" fmla="*/ 53143 w 876476"/>
                <a:gd name="connsiteY12" fmla="*/ 817840 h 871085"/>
                <a:gd name="connsiteX13" fmla="*/ 53143 w 876476"/>
                <a:gd name="connsiteY13" fmla="*/ 817840 h 871085"/>
                <a:gd name="connsiteX14" fmla="*/ 101625 w 876476"/>
                <a:gd name="connsiteY14" fmla="*/ 764691 h 871085"/>
                <a:gd name="connsiteX15" fmla="*/ 788377 w 876476"/>
                <a:gd name="connsiteY15" fmla="*/ 764691 h 871085"/>
                <a:gd name="connsiteX16" fmla="*/ 803903 w 876476"/>
                <a:gd name="connsiteY16" fmla="*/ 780217 h 871085"/>
                <a:gd name="connsiteX17" fmla="*/ 803903 w 876476"/>
                <a:gd name="connsiteY17" fmla="*/ 789646 h 871085"/>
                <a:gd name="connsiteX18" fmla="*/ 86194 w 876476"/>
                <a:gd name="connsiteY18" fmla="*/ 789646 h 871085"/>
                <a:gd name="connsiteX19" fmla="*/ 86194 w 876476"/>
                <a:gd name="connsiteY19" fmla="*/ 780217 h 871085"/>
                <a:gd name="connsiteX20" fmla="*/ 101625 w 876476"/>
                <a:gd name="connsiteY20" fmla="*/ 764691 h 871085"/>
                <a:gd name="connsiteX21" fmla="*/ 101625 w 876476"/>
                <a:gd name="connsiteY21" fmla="*/ 764691 h 871085"/>
                <a:gd name="connsiteX22" fmla="*/ 101625 w 876476"/>
                <a:gd name="connsiteY22" fmla="*/ 321874 h 871085"/>
                <a:gd name="connsiteX23" fmla="*/ 788377 w 876476"/>
                <a:gd name="connsiteY23" fmla="*/ 321874 h 871085"/>
                <a:gd name="connsiteX24" fmla="*/ 803903 w 876476"/>
                <a:gd name="connsiteY24" fmla="*/ 306348 h 871085"/>
                <a:gd name="connsiteX25" fmla="*/ 803903 w 876476"/>
                <a:gd name="connsiteY25" fmla="*/ 297013 h 871085"/>
                <a:gd name="connsiteX26" fmla="*/ 86194 w 876476"/>
                <a:gd name="connsiteY26" fmla="*/ 297013 h 871085"/>
                <a:gd name="connsiteX27" fmla="*/ 86194 w 876476"/>
                <a:gd name="connsiteY27" fmla="*/ 306443 h 871085"/>
                <a:gd name="connsiteX28" fmla="*/ 101625 w 876476"/>
                <a:gd name="connsiteY28" fmla="*/ 321874 h 871085"/>
                <a:gd name="connsiteX29" fmla="*/ 101625 w 876476"/>
                <a:gd name="connsiteY29" fmla="*/ 321874 h 871085"/>
                <a:gd name="connsiteX30" fmla="*/ 451859 w 876476"/>
                <a:gd name="connsiteY30" fmla="*/ 3358 h 871085"/>
                <a:gd name="connsiteX31" fmla="*/ 704748 w 876476"/>
                <a:gd name="connsiteY31" fmla="*/ 132517 h 871085"/>
                <a:gd name="connsiteX32" fmla="*/ 860101 w 876476"/>
                <a:gd name="connsiteY32" fmla="*/ 211955 h 871085"/>
                <a:gd name="connsiteX33" fmla="*/ 875626 w 876476"/>
                <a:gd name="connsiteY33" fmla="*/ 245674 h 871085"/>
                <a:gd name="connsiteX34" fmla="*/ 846480 w 876476"/>
                <a:gd name="connsiteY34" fmla="*/ 268629 h 871085"/>
                <a:gd name="connsiteX35" fmla="*/ 29997 w 876476"/>
                <a:gd name="connsiteY35" fmla="*/ 268629 h 871085"/>
                <a:gd name="connsiteX36" fmla="*/ 850 w 876476"/>
                <a:gd name="connsiteY36" fmla="*/ 245674 h 871085"/>
                <a:gd name="connsiteX37" fmla="*/ 16376 w 876476"/>
                <a:gd name="connsiteY37" fmla="*/ 211955 h 871085"/>
                <a:gd name="connsiteX38" fmla="*/ 171729 w 876476"/>
                <a:gd name="connsiteY38" fmla="*/ 132517 h 871085"/>
                <a:gd name="connsiteX39" fmla="*/ 424618 w 876476"/>
                <a:gd name="connsiteY39" fmla="*/ 3358 h 871085"/>
                <a:gd name="connsiteX40" fmla="*/ 451859 w 876476"/>
                <a:gd name="connsiteY40" fmla="*/ 3358 h 871085"/>
                <a:gd name="connsiteX41" fmla="*/ 451859 w 876476"/>
                <a:gd name="connsiteY41" fmla="*/ 3358 h 871085"/>
                <a:gd name="connsiteX42" fmla="*/ 750182 w 876476"/>
                <a:gd name="connsiteY42" fmla="*/ 736402 h 871085"/>
                <a:gd name="connsiteX43" fmla="*/ 750182 w 876476"/>
                <a:gd name="connsiteY43" fmla="*/ 350163 h 871085"/>
                <a:gd name="connsiteX44" fmla="*/ 647407 w 876476"/>
                <a:gd name="connsiteY44" fmla="*/ 350163 h 871085"/>
                <a:gd name="connsiteX45" fmla="*/ 647407 w 876476"/>
                <a:gd name="connsiteY45" fmla="*/ 736402 h 871085"/>
                <a:gd name="connsiteX46" fmla="*/ 750182 w 876476"/>
                <a:gd name="connsiteY46" fmla="*/ 736402 h 871085"/>
                <a:gd name="connsiteX47" fmla="*/ 750182 w 876476"/>
                <a:gd name="connsiteY47" fmla="*/ 736402 h 871085"/>
                <a:gd name="connsiteX48" fmla="*/ 496531 w 876476"/>
                <a:gd name="connsiteY48" fmla="*/ 736402 h 871085"/>
                <a:gd name="connsiteX49" fmla="*/ 496531 w 876476"/>
                <a:gd name="connsiteY49" fmla="*/ 350163 h 871085"/>
                <a:gd name="connsiteX50" fmla="*/ 393661 w 876476"/>
                <a:gd name="connsiteY50" fmla="*/ 350163 h 871085"/>
                <a:gd name="connsiteX51" fmla="*/ 393661 w 876476"/>
                <a:gd name="connsiteY51" fmla="*/ 736402 h 871085"/>
                <a:gd name="connsiteX52" fmla="*/ 496531 w 876476"/>
                <a:gd name="connsiteY52" fmla="*/ 736402 h 871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876475" h="871085">
                  <a:moveTo>
                    <a:pt x="242690" y="736402"/>
                  </a:moveTo>
                  <a:lnTo>
                    <a:pt x="242690" y="350163"/>
                  </a:lnTo>
                  <a:lnTo>
                    <a:pt x="139820" y="350163"/>
                  </a:lnTo>
                  <a:lnTo>
                    <a:pt x="139820" y="736402"/>
                  </a:lnTo>
                  <a:lnTo>
                    <a:pt x="242690" y="736402"/>
                  </a:lnTo>
                  <a:lnTo>
                    <a:pt x="242690" y="736402"/>
                  </a:lnTo>
                  <a:close/>
                  <a:moveTo>
                    <a:pt x="53143" y="817840"/>
                  </a:moveTo>
                  <a:lnTo>
                    <a:pt x="836860" y="817840"/>
                  </a:lnTo>
                  <a:cubicBezTo>
                    <a:pt x="845337" y="817840"/>
                    <a:pt x="852290" y="824794"/>
                    <a:pt x="852290" y="833366"/>
                  </a:cubicBezTo>
                  <a:lnTo>
                    <a:pt x="852290" y="871085"/>
                  </a:lnTo>
                  <a:lnTo>
                    <a:pt x="37617" y="871085"/>
                  </a:lnTo>
                  <a:lnTo>
                    <a:pt x="37617" y="833366"/>
                  </a:lnTo>
                  <a:cubicBezTo>
                    <a:pt x="37617" y="824794"/>
                    <a:pt x="44570" y="817840"/>
                    <a:pt x="53143" y="817840"/>
                  </a:cubicBezTo>
                  <a:lnTo>
                    <a:pt x="53143" y="817840"/>
                  </a:lnTo>
                  <a:close/>
                  <a:moveTo>
                    <a:pt x="101625" y="764691"/>
                  </a:moveTo>
                  <a:lnTo>
                    <a:pt x="788377" y="764691"/>
                  </a:lnTo>
                  <a:cubicBezTo>
                    <a:pt x="796950" y="764691"/>
                    <a:pt x="803903" y="771644"/>
                    <a:pt x="803903" y="780217"/>
                  </a:cubicBezTo>
                  <a:lnTo>
                    <a:pt x="803903" y="789646"/>
                  </a:lnTo>
                  <a:lnTo>
                    <a:pt x="86194" y="789646"/>
                  </a:lnTo>
                  <a:lnTo>
                    <a:pt x="86194" y="780217"/>
                  </a:lnTo>
                  <a:cubicBezTo>
                    <a:pt x="86194" y="771644"/>
                    <a:pt x="93148" y="764691"/>
                    <a:pt x="101625" y="764691"/>
                  </a:cubicBezTo>
                  <a:lnTo>
                    <a:pt x="101625" y="764691"/>
                  </a:lnTo>
                  <a:close/>
                  <a:moveTo>
                    <a:pt x="101625" y="321874"/>
                  </a:moveTo>
                  <a:lnTo>
                    <a:pt x="788377" y="321874"/>
                  </a:lnTo>
                  <a:cubicBezTo>
                    <a:pt x="796950" y="321874"/>
                    <a:pt x="803903" y="314920"/>
                    <a:pt x="803903" y="306348"/>
                  </a:cubicBezTo>
                  <a:lnTo>
                    <a:pt x="803903" y="297013"/>
                  </a:lnTo>
                  <a:lnTo>
                    <a:pt x="86194" y="297013"/>
                  </a:lnTo>
                  <a:lnTo>
                    <a:pt x="86194" y="306443"/>
                  </a:lnTo>
                  <a:cubicBezTo>
                    <a:pt x="86194" y="314920"/>
                    <a:pt x="93148" y="321874"/>
                    <a:pt x="101625" y="321874"/>
                  </a:cubicBezTo>
                  <a:lnTo>
                    <a:pt x="101625" y="321874"/>
                  </a:lnTo>
                  <a:close/>
                  <a:moveTo>
                    <a:pt x="451859" y="3358"/>
                  </a:moveTo>
                  <a:lnTo>
                    <a:pt x="704748" y="132517"/>
                  </a:lnTo>
                  <a:lnTo>
                    <a:pt x="860101" y="211955"/>
                  </a:lnTo>
                  <a:cubicBezTo>
                    <a:pt x="872674" y="218337"/>
                    <a:pt x="878865" y="232053"/>
                    <a:pt x="875626" y="245674"/>
                  </a:cubicBezTo>
                  <a:cubicBezTo>
                    <a:pt x="872388" y="259294"/>
                    <a:pt x="860482" y="268629"/>
                    <a:pt x="846480" y="268629"/>
                  </a:cubicBezTo>
                  <a:lnTo>
                    <a:pt x="29997" y="268629"/>
                  </a:lnTo>
                  <a:cubicBezTo>
                    <a:pt x="15900" y="268629"/>
                    <a:pt x="4089" y="259294"/>
                    <a:pt x="850" y="245674"/>
                  </a:cubicBezTo>
                  <a:cubicBezTo>
                    <a:pt x="-2388" y="232053"/>
                    <a:pt x="3803" y="218337"/>
                    <a:pt x="16376" y="211955"/>
                  </a:cubicBezTo>
                  <a:lnTo>
                    <a:pt x="171729" y="132517"/>
                  </a:lnTo>
                  <a:lnTo>
                    <a:pt x="424618" y="3358"/>
                  </a:lnTo>
                  <a:cubicBezTo>
                    <a:pt x="433476" y="-1119"/>
                    <a:pt x="443001" y="-1119"/>
                    <a:pt x="451859" y="3358"/>
                  </a:cubicBezTo>
                  <a:lnTo>
                    <a:pt x="451859" y="3358"/>
                  </a:lnTo>
                  <a:close/>
                  <a:moveTo>
                    <a:pt x="750182" y="736402"/>
                  </a:moveTo>
                  <a:lnTo>
                    <a:pt x="750182" y="350163"/>
                  </a:lnTo>
                  <a:lnTo>
                    <a:pt x="647407" y="350163"/>
                  </a:lnTo>
                  <a:lnTo>
                    <a:pt x="647407" y="736402"/>
                  </a:lnTo>
                  <a:lnTo>
                    <a:pt x="750182" y="736402"/>
                  </a:lnTo>
                  <a:lnTo>
                    <a:pt x="750182" y="736402"/>
                  </a:lnTo>
                  <a:close/>
                  <a:moveTo>
                    <a:pt x="496531" y="736402"/>
                  </a:moveTo>
                  <a:lnTo>
                    <a:pt x="496531" y="350163"/>
                  </a:lnTo>
                  <a:lnTo>
                    <a:pt x="393661" y="350163"/>
                  </a:lnTo>
                  <a:lnTo>
                    <a:pt x="393661" y="736402"/>
                  </a:lnTo>
                  <a:lnTo>
                    <a:pt x="496531" y="736402"/>
                  </a:lnTo>
                  <a:close/>
                </a:path>
              </a:pathLst>
            </a:custGeom>
            <a:solidFill>
              <a:schemeClr val="bg1"/>
            </a:solidFill>
            <a:ln w="9525" cap="flat">
              <a:noFill/>
              <a:prstDash val="solid"/>
              <a:miter/>
            </a:ln>
          </p:spPr>
          <p:txBody>
            <a:bodyPr rtlCol="0" anchor="ctr"/>
            <a:lstStyle/>
            <a:p>
              <a:endParaRPr lang="pt-BR" dirty="0"/>
            </a:p>
          </p:txBody>
        </p:sp>
      </p:grpSp>
      <p:grpSp>
        <p:nvGrpSpPr>
          <p:cNvPr id="175" name="Agrupar 174">
            <a:extLst>
              <a:ext uri="{FF2B5EF4-FFF2-40B4-BE49-F238E27FC236}">
                <a16:creationId xmlns:a16="http://schemas.microsoft.com/office/drawing/2014/main" id="{7CF13281-38E9-7843-A75A-01FE76C344FF}"/>
              </a:ext>
            </a:extLst>
          </p:cNvPr>
          <p:cNvGrpSpPr/>
          <p:nvPr>
            <p:custDataLst>
              <p:tags r:id="rId11"/>
            </p:custDataLst>
          </p:nvPr>
        </p:nvGrpSpPr>
        <p:grpSpPr>
          <a:xfrm>
            <a:off x="257177" y="2694604"/>
            <a:ext cx="2686751" cy="844805"/>
            <a:chOff x="257177" y="2694604"/>
            <a:chExt cx="2686751" cy="844805"/>
          </a:xfrm>
        </p:grpSpPr>
        <p:sp>
          <p:nvSpPr>
            <p:cNvPr id="136" name="CaixaDeTexto 135">
              <a:extLst>
                <a:ext uri="{FF2B5EF4-FFF2-40B4-BE49-F238E27FC236}">
                  <a16:creationId xmlns:a16="http://schemas.microsoft.com/office/drawing/2014/main" id="{B5EAB1A8-DE02-78DF-850B-4D4D6B0A99DE}"/>
                </a:ext>
              </a:extLst>
            </p:cNvPr>
            <p:cNvSpPr txBox="1"/>
            <p:nvPr>
              <p:custDataLst>
                <p:tags r:id="rId71"/>
              </p:custDataLst>
            </p:nvPr>
          </p:nvSpPr>
          <p:spPr>
            <a:xfrm>
              <a:off x="257177" y="2694604"/>
              <a:ext cx="2686751"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1" i="0" u="none" strike="noStrike" cap="none" spc="0" baseline="0" dirty="0">
                  <a:solidFill>
                    <a:srgbClr val="385723"/>
                  </a:solidFill>
                  <a:effectLst/>
                  <a:uFillTx/>
                  <a:latin typeface="Segoe UI"/>
                </a:rPr>
                <a:t>ENVIRONMENTAL</a:t>
              </a:r>
            </a:p>
          </p:txBody>
        </p:sp>
        <p:sp>
          <p:nvSpPr>
            <p:cNvPr id="139" name="CaixaDeTexto 138">
              <a:extLst>
                <a:ext uri="{FF2B5EF4-FFF2-40B4-BE49-F238E27FC236}">
                  <a16:creationId xmlns:a16="http://schemas.microsoft.com/office/drawing/2014/main" id="{07462C2B-E712-182F-3ABB-84B9080272A7}"/>
                </a:ext>
              </a:extLst>
            </p:cNvPr>
            <p:cNvSpPr txBox="1"/>
            <p:nvPr>
              <p:custDataLst>
                <p:tags r:id="rId72"/>
              </p:custDataLst>
            </p:nvPr>
          </p:nvSpPr>
          <p:spPr>
            <a:xfrm>
              <a:off x="286445" y="2930011"/>
              <a:ext cx="2569137" cy="6093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0" i="0" u="none" strike="noStrike" cap="none" spc="0" baseline="0" dirty="0">
                  <a:solidFill>
                    <a:srgbClr val="011F57"/>
                  </a:solidFill>
                  <a:effectLst/>
                  <a:uFillTx/>
                  <a:latin typeface="Segoe UI Light"/>
                </a:rPr>
                <a:t>Generate positive environmental impacts through</a:t>
              </a:r>
              <a:br>
                <a:rPr sz="1400" spc="0" dirty="0"/>
              </a:br>
              <a:r>
                <a:rPr lang="en-US" sz="1400" b="0" i="0" u="none" strike="noStrike" cap="none" spc="0" baseline="0" dirty="0">
                  <a:solidFill>
                    <a:srgbClr val="011F57"/>
                  </a:solidFill>
                  <a:effectLst/>
                  <a:uFillTx/>
                  <a:latin typeface="Segoe UI Light"/>
                </a:rPr>
                <a:t>our businesses</a:t>
              </a:r>
            </a:p>
          </p:txBody>
        </p:sp>
      </p:grpSp>
      <p:grpSp>
        <p:nvGrpSpPr>
          <p:cNvPr id="176" name="Agrupar 175">
            <a:extLst>
              <a:ext uri="{FF2B5EF4-FFF2-40B4-BE49-F238E27FC236}">
                <a16:creationId xmlns:a16="http://schemas.microsoft.com/office/drawing/2014/main" id="{94D78487-612E-1331-E056-A539B86C6A2E}"/>
              </a:ext>
            </a:extLst>
          </p:cNvPr>
          <p:cNvGrpSpPr/>
          <p:nvPr>
            <p:custDataLst>
              <p:tags r:id="rId12"/>
            </p:custDataLst>
          </p:nvPr>
        </p:nvGrpSpPr>
        <p:grpSpPr>
          <a:xfrm>
            <a:off x="3147308" y="2694604"/>
            <a:ext cx="2675169" cy="758628"/>
            <a:chOff x="3147308" y="2694604"/>
            <a:chExt cx="2675169" cy="758628"/>
          </a:xfrm>
        </p:grpSpPr>
        <p:sp>
          <p:nvSpPr>
            <p:cNvPr id="137" name="CaixaDeTexto 136">
              <a:extLst>
                <a:ext uri="{FF2B5EF4-FFF2-40B4-BE49-F238E27FC236}">
                  <a16:creationId xmlns:a16="http://schemas.microsoft.com/office/drawing/2014/main" id="{2896773E-47A4-C811-B1E3-F30B5DC60BF1}"/>
                </a:ext>
              </a:extLst>
            </p:cNvPr>
            <p:cNvSpPr txBox="1"/>
            <p:nvPr>
              <p:custDataLst>
                <p:tags r:id="rId69"/>
              </p:custDataLst>
            </p:nvPr>
          </p:nvSpPr>
          <p:spPr>
            <a:xfrm>
              <a:off x="3147308" y="2694604"/>
              <a:ext cx="2675169"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1" i="0" u="none" strike="noStrike" cap="none" spc="0" baseline="0" dirty="0">
                  <a:solidFill>
                    <a:srgbClr val="F8681E"/>
                  </a:solidFill>
                  <a:effectLst/>
                  <a:uFillTx/>
                  <a:latin typeface="Segoe UI"/>
                </a:rPr>
                <a:t>SOCIAL</a:t>
              </a:r>
            </a:p>
          </p:txBody>
        </p:sp>
        <p:sp>
          <p:nvSpPr>
            <p:cNvPr id="140" name="CaixaDeTexto 139">
              <a:extLst>
                <a:ext uri="{FF2B5EF4-FFF2-40B4-BE49-F238E27FC236}">
                  <a16:creationId xmlns:a16="http://schemas.microsoft.com/office/drawing/2014/main" id="{5CAF836E-A2C9-76F6-58F2-577C0A51EF58}"/>
                </a:ext>
              </a:extLst>
            </p:cNvPr>
            <p:cNvSpPr txBox="1"/>
            <p:nvPr>
              <p:custDataLst>
                <p:tags r:id="rId70"/>
              </p:custDataLst>
            </p:nvPr>
          </p:nvSpPr>
          <p:spPr>
            <a:xfrm>
              <a:off x="3171594" y="3016189"/>
              <a:ext cx="2626600"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0" i="0" u="none" strike="noStrike" cap="none" spc="0" baseline="0" dirty="0">
                  <a:solidFill>
                    <a:srgbClr val="011F57"/>
                  </a:solidFill>
                  <a:effectLst/>
                  <a:uFillTx/>
                  <a:latin typeface="Segoe UI Light"/>
                </a:rPr>
                <a:t>Contribute to the development and creation of value for society </a:t>
              </a:r>
            </a:p>
          </p:txBody>
        </p:sp>
      </p:grpSp>
      <p:grpSp>
        <p:nvGrpSpPr>
          <p:cNvPr id="177" name="Agrupar 176">
            <a:extLst>
              <a:ext uri="{FF2B5EF4-FFF2-40B4-BE49-F238E27FC236}">
                <a16:creationId xmlns:a16="http://schemas.microsoft.com/office/drawing/2014/main" id="{1C75EBF0-4AF5-FB7C-C95D-69CA4643A914}"/>
              </a:ext>
            </a:extLst>
          </p:cNvPr>
          <p:cNvGrpSpPr/>
          <p:nvPr>
            <p:custDataLst>
              <p:tags r:id="rId13"/>
            </p:custDataLst>
          </p:nvPr>
        </p:nvGrpSpPr>
        <p:grpSpPr>
          <a:xfrm>
            <a:off x="6038771" y="2693455"/>
            <a:ext cx="2672497" cy="845955"/>
            <a:chOff x="6038771" y="2693455"/>
            <a:chExt cx="2672497" cy="845955"/>
          </a:xfrm>
        </p:grpSpPr>
        <p:sp>
          <p:nvSpPr>
            <p:cNvPr id="138" name="CaixaDeTexto 137">
              <a:extLst>
                <a:ext uri="{FF2B5EF4-FFF2-40B4-BE49-F238E27FC236}">
                  <a16:creationId xmlns:a16="http://schemas.microsoft.com/office/drawing/2014/main" id="{C028A62C-7B9E-1BCA-5CEE-C943CFC0462F}"/>
                </a:ext>
              </a:extLst>
            </p:cNvPr>
            <p:cNvSpPr txBox="1"/>
            <p:nvPr>
              <p:custDataLst>
                <p:tags r:id="rId67"/>
              </p:custDataLst>
            </p:nvPr>
          </p:nvSpPr>
          <p:spPr>
            <a:xfrm>
              <a:off x="6037435" y="2694604"/>
              <a:ext cx="2675170"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1" i="0" u="none" strike="noStrike" cap="none" spc="0" baseline="0" dirty="0">
                  <a:solidFill>
                    <a:srgbClr val="005FD7"/>
                  </a:solidFill>
                  <a:effectLst/>
                  <a:uFillTx/>
                  <a:latin typeface="Segoe UI"/>
                </a:rPr>
                <a:t>GOVERNANCE</a:t>
              </a:r>
            </a:p>
          </p:txBody>
        </p:sp>
        <p:sp>
          <p:nvSpPr>
            <p:cNvPr id="141" name="CaixaDeTexto 140">
              <a:extLst>
                <a:ext uri="{FF2B5EF4-FFF2-40B4-BE49-F238E27FC236}">
                  <a16:creationId xmlns:a16="http://schemas.microsoft.com/office/drawing/2014/main" id="{03A3F1F0-0CC6-5745-8A5B-87EE7EBA2B32}"/>
                </a:ext>
              </a:extLst>
            </p:cNvPr>
            <p:cNvSpPr txBox="1"/>
            <p:nvPr>
              <p:custDataLst>
                <p:tags r:id="rId68"/>
              </p:custDataLst>
            </p:nvPr>
          </p:nvSpPr>
          <p:spPr>
            <a:xfrm>
              <a:off x="6097586" y="2932657"/>
              <a:ext cx="2554869" cy="60410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0" i="0" u="none" strike="noStrike" cap="none" spc="0" baseline="0" dirty="0">
                  <a:solidFill>
                    <a:srgbClr val="011F57"/>
                  </a:solidFill>
                  <a:effectLst/>
                  <a:uFillTx/>
                  <a:latin typeface="Segoe UI Light"/>
                </a:rPr>
                <a:t>Ensure responsible</a:t>
              </a:r>
              <a:br>
                <a:rPr sz="1400" spc="0" dirty="0"/>
              </a:br>
              <a:r>
                <a:rPr lang="en-US" sz="1400" b="0" i="0" u="none" strike="noStrike" cap="none" spc="0" baseline="0" dirty="0">
                  <a:solidFill>
                    <a:srgbClr val="011F57"/>
                  </a:solidFill>
                  <a:effectLst/>
                  <a:uFillTx/>
                  <a:latin typeface="Segoe UI Light"/>
                </a:rPr>
                <a:t>and transparent business conduct</a:t>
              </a:r>
            </a:p>
          </p:txBody>
        </p:sp>
      </p:grpSp>
      <p:sp>
        <p:nvSpPr>
          <p:cNvPr id="145" name="CaixaDeTexto 144">
            <a:extLst>
              <a:ext uri="{FF2B5EF4-FFF2-40B4-BE49-F238E27FC236}">
                <a16:creationId xmlns:a16="http://schemas.microsoft.com/office/drawing/2014/main" id="{DFCCCF72-029E-4BA8-6131-91D41D90E8EA}"/>
              </a:ext>
            </a:extLst>
          </p:cNvPr>
          <p:cNvSpPr txBox="1"/>
          <p:nvPr>
            <p:custDataLst>
              <p:tags r:id="rId14"/>
            </p:custDataLst>
          </p:nvPr>
        </p:nvSpPr>
        <p:spPr>
          <a:xfrm>
            <a:off x="283562" y="4686960"/>
            <a:ext cx="8340903" cy="23798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200" b="0" i="0" u="none" strike="noStrike" cap="none" spc="0" baseline="0" dirty="0">
                <a:solidFill>
                  <a:srgbClr val="FFFFFF"/>
                </a:solidFill>
                <a:effectLst/>
                <a:uFillTx/>
                <a:latin typeface="Segoe UI Black"/>
              </a:rPr>
              <a:t>PRIORITY SUSTAINABLE DEVELOPMENT GOALS (SDGs) </a:t>
            </a:r>
          </a:p>
        </p:txBody>
      </p:sp>
      <p:grpSp>
        <p:nvGrpSpPr>
          <p:cNvPr id="171" name="Agrupar 170">
            <a:extLst>
              <a:ext uri="{FF2B5EF4-FFF2-40B4-BE49-F238E27FC236}">
                <a16:creationId xmlns:a16="http://schemas.microsoft.com/office/drawing/2014/main" id="{CDAD8FED-24D0-6535-B754-4A15148B7D3F}"/>
              </a:ext>
            </a:extLst>
          </p:cNvPr>
          <p:cNvGrpSpPr/>
          <p:nvPr>
            <p:custDataLst>
              <p:tags r:id="rId15"/>
            </p:custDataLst>
          </p:nvPr>
        </p:nvGrpSpPr>
        <p:grpSpPr>
          <a:xfrm>
            <a:off x="726873" y="3603374"/>
            <a:ext cx="1773418" cy="829285"/>
            <a:chOff x="726873" y="3687714"/>
            <a:chExt cx="1773418" cy="829285"/>
          </a:xfrm>
        </p:grpSpPr>
        <p:grpSp>
          <p:nvGrpSpPr>
            <p:cNvPr id="147" name="Agrupar 146">
              <a:extLst>
                <a:ext uri="{FF2B5EF4-FFF2-40B4-BE49-F238E27FC236}">
                  <a16:creationId xmlns:a16="http://schemas.microsoft.com/office/drawing/2014/main" id="{EC2261A6-3FB5-E49C-96F6-227FBB8EAAEE}"/>
                </a:ext>
              </a:extLst>
            </p:cNvPr>
            <p:cNvGrpSpPr/>
            <p:nvPr>
              <p:custDataLst>
                <p:tags r:id="rId58"/>
              </p:custDataLst>
            </p:nvPr>
          </p:nvGrpSpPr>
          <p:grpSpPr>
            <a:xfrm>
              <a:off x="1287842" y="3687714"/>
              <a:ext cx="652377" cy="535376"/>
              <a:chOff x="75267" y="5660033"/>
              <a:chExt cx="883799" cy="725293"/>
            </a:xfrm>
            <a:effectLst>
              <a:outerShdw blurRad="50800" dist="38100" algn="l" rotWithShape="0">
                <a:prstClr val="black">
                  <a:alpha val="40000"/>
                </a:prstClr>
              </a:outerShdw>
            </a:effectLst>
          </p:grpSpPr>
          <p:sp>
            <p:nvSpPr>
              <p:cNvPr id="148" name="Hexágono 147">
                <a:extLst>
                  <a:ext uri="{FF2B5EF4-FFF2-40B4-BE49-F238E27FC236}">
                    <a16:creationId xmlns:a16="http://schemas.microsoft.com/office/drawing/2014/main" id="{9EA3368F-713A-91F1-2651-3401B970D3A9}"/>
                  </a:ext>
                </a:extLst>
              </p:cNvPr>
              <p:cNvSpPr/>
              <p:nvPr>
                <p:custDataLst>
                  <p:tags r:id="rId65"/>
                </p:custDataLst>
              </p:nvPr>
            </p:nvSpPr>
            <p:spPr>
              <a:xfrm>
                <a:off x="75267" y="5660033"/>
                <a:ext cx="883799" cy="725293"/>
              </a:xfrm>
              <a:prstGeom prst="hexagon">
                <a:avLst/>
              </a:prstGeom>
              <a:solidFill>
                <a:srgbClr val="F7C212"/>
              </a:solidFill>
              <a:ln>
                <a:solidFill>
                  <a:srgbClr val="F7C21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49" name="Picture 4">
                <a:extLst>
                  <a:ext uri="{FF2B5EF4-FFF2-40B4-BE49-F238E27FC236}">
                    <a16:creationId xmlns:a16="http://schemas.microsoft.com/office/drawing/2014/main" id="{BFACCB5A-EDB0-12F2-4799-3E78CA96814C}"/>
                  </a:ext>
                </a:extLst>
              </p:cNvPr>
              <p:cNvPicPr>
                <a:picLocks noChangeAspect="1" noChangeArrowheads="1"/>
              </p:cNvPicPr>
              <p:nvPr>
                <p:custDataLst>
                  <p:tags r:id="rId66"/>
                </p:custDataLst>
              </p:nvPr>
            </p:nvPicPr>
            <p:blipFill>
              <a:blip r:embed="rId99">
                <a:extLst>
                  <a:ext uri="{28A0092B-C50C-407E-A947-70E740481C1C}">
                    <a14:useLocalDpi xmlns:a14="http://schemas.microsoft.com/office/drawing/2010/main"/>
                  </a:ext>
                </a:extLst>
              </a:blip>
              <a:stretch>
                <a:fillRect/>
              </a:stretch>
            </p:blipFill>
            <p:spPr bwMode="auto">
              <a:xfrm>
                <a:off x="236306" y="5753169"/>
                <a:ext cx="580116" cy="5801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0" name="Agrupar 149">
              <a:extLst>
                <a:ext uri="{FF2B5EF4-FFF2-40B4-BE49-F238E27FC236}">
                  <a16:creationId xmlns:a16="http://schemas.microsoft.com/office/drawing/2014/main" id="{11F00F10-C9FE-54EA-CC61-E2E75AEF75A7}"/>
                </a:ext>
              </a:extLst>
            </p:cNvPr>
            <p:cNvGrpSpPr/>
            <p:nvPr>
              <p:custDataLst>
                <p:tags r:id="rId59"/>
              </p:custDataLst>
            </p:nvPr>
          </p:nvGrpSpPr>
          <p:grpSpPr>
            <a:xfrm>
              <a:off x="726873" y="3961628"/>
              <a:ext cx="652377" cy="535376"/>
              <a:chOff x="1682932" y="5841315"/>
              <a:chExt cx="883799" cy="725293"/>
            </a:xfrm>
            <a:effectLst>
              <a:outerShdw blurRad="50800" dist="38100" algn="l" rotWithShape="0">
                <a:prstClr val="black">
                  <a:alpha val="40000"/>
                </a:prstClr>
              </a:outerShdw>
            </a:effectLst>
          </p:grpSpPr>
          <p:sp>
            <p:nvSpPr>
              <p:cNvPr id="151" name="Hexágono 150">
                <a:extLst>
                  <a:ext uri="{FF2B5EF4-FFF2-40B4-BE49-F238E27FC236}">
                    <a16:creationId xmlns:a16="http://schemas.microsoft.com/office/drawing/2014/main" id="{FEB8D1AF-7BE9-FEE4-D0A8-B2262615D637}"/>
                  </a:ext>
                </a:extLst>
              </p:cNvPr>
              <p:cNvSpPr/>
              <p:nvPr>
                <p:custDataLst>
                  <p:tags r:id="rId63"/>
                </p:custDataLst>
              </p:nvPr>
            </p:nvSpPr>
            <p:spPr>
              <a:xfrm>
                <a:off x="1682932" y="5841315"/>
                <a:ext cx="883799" cy="725293"/>
              </a:xfrm>
              <a:prstGeom prst="hexagon">
                <a:avLst/>
              </a:prstGeom>
              <a:solidFill>
                <a:srgbClr val="3E7D4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52" name="Picture 6">
                <a:extLst>
                  <a:ext uri="{FF2B5EF4-FFF2-40B4-BE49-F238E27FC236}">
                    <a16:creationId xmlns:a16="http://schemas.microsoft.com/office/drawing/2014/main" id="{EB3F1EFD-B124-DE4E-2FB0-7A06FC06F172}"/>
                  </a:ext>
                </a:extLst>
              </p:cNvPr>
              <p:cNvPicPr>
                <a:picLocks noChangeAspect="1" noChangeArrowheads="1"/>
              </p:cNvPicPr>
              <p:nvPr>
                <p:custDataLst>
                  <p:tags r:id="rId64"/>
                </p:custDataLst>
              </p:nvPr>
            </p:nvPicPr>
            <p:blipFill>
              <a:blip r:embed="rId100">
                <a:extLst>
                  <a:ext uri="{28A0092B-C50C-407E-A947-70E740481C1C}">
                    <a14:useLocalDpi xmlns:a14="http://schemas.microsoft.com/office/drawing/2010/main"/>
                  </a:ext>
                </a:extLst>
              </a:blip>
              <a:stretch>
                <a:fillRect/>
              </a:stretch>
            </p:blipFill>
            <p:spPr bwMode="auto">
              <a:xfrm>
                <a:off x="1838198" y="5932126"/>
                <a:ext cx="569171" cy="56917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3" name="Agrupar 152">
              <a:extLst>
                <a:ext uri="{FF2B5EF4-FFF2-40B4-BE49-F238E27FC236}">
                  <a16:creationId xmlns:a16="http://schemas.microsoft.com/office/drawing/2014/main" id="{60510938-BA33-5067-EC5F-896B324A9D9D}"/>
                </a:ext>
              </a:extLst>
            </p:cNvPr>
            <p:cNvGrpSpPr/>
            <p:nvPr>
              <p:custDataLst>
                <p:tags r:id="rId60"/>
              </p:custDataLst>
            </p:nvPr>
          </p:nvGrpSpPr>
          <p:grpSpPr>
            <a:xfrm>
              <a:off x="1847914" y="3981623"/>
              <a:ext cx="652377" cy="535376"/>
              <a:chOff x="3152549" y="5139596"/>
              <a:chExt cx="883799" cy="725293"/>
            </a:xfrm>
            <a:effectLst>
              <a:outerShdw blurRad="50800" dist="38100" algn="l" rotWithShape="0">
                <a:prstClr val="black">
                  <a:alpha val="40000"/>
                </a:prstClr>
              </a:outerShdw>
            </a:effectLst>
          </p:grpSpPr>
          <p:sp>
            <p:nvSpPr>
              <p:cNvPr id="154" name="Hexágono 153">
                <a:extLst>
                  <a:ext uri="{FF2B5EF4-FFF2-40B4-BE49-F238E27FC236}">
                    <a16:creationId xmlns:a16="http://schemas.microsoft.com/office/drawing/2014/main" id="{A8437EB5-2B50-79FE-C700-E66AA5DC99B9}"/>
                  </a:ext>
                </a:extLst>
              </p:cNvPr>
              <p:cNvSpPr/>
              <p:nvPr>
                <p:custDataLst>
                  <p:tags r:id="rId61"/>
                </p:custDataLst>
              </p:nvPr>
            </p:nvSpPr>
            <p:spPr>
              <a:xfrm>
                <a:off x="3152549" y="5139596"/>
                <a:ext cx="883799" cy="725293"/>
              </a:xfrm>
              <a:prstGeom prst="hexagon">
                <a:avLst/>
              </a:prstGeom>
              <a:solidFill>
                <a:srgbClr val="5BB84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55" name="Picture 12">
                <a:extLst>
                  <a:ext uri="{FF2B5EF4-FFF2-40B4-BE49-F238E27FC236}">
                    <a16:creationId xmlns:a16="http://schemas.microsoft.com/office/drawing/2014/main" id="{904CD4AC-2D09-919A-5EC2-B42651F7861A}"/>
                  </a:ext>
                </a:extLst>
              </p:cNvPr>
              <p:cNvPicPr>
                <a:picLocks noChangeAspect="1" noChangeArrowheads="1"/>
              </p:cNvPicPr>
              <p:nvPr>
                <p:custDataLst>
                  <p:tags r:id="rId62"/>
                </p:custDataLst>
              </p:nvPr>
            </p:nvPicPr>
            <p:blipFill>
              <a:blip r:embed="rId101">
                <a:extLst>
                  <a:ext uri="{28A0092B-C50C-407E-A947-70E740481C1C}">
                    <a14:useLocalDpi xmlns:a14="http://schemas.microsoft.com/office/drawing/2010/main"/>
                  </a:ext>
                </a:extLst>
              </a:blip>
              <a:stretch>
                <a:fillRect/>
              </a:stretch>
            </p:blipFill>
            <p:spPr bwMode="auto">
              <a:xfrm>
                <a:off x="3322185" y="5224100"/>
                <a:ext cx="553215" cy="55321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4" name="Agrupar 173">
            <a:extLst>
              <a:ext uri="{FF2B5EF4-FFF2-40B4-BE49-F238E27FC236}">
                <a16:creationId xmlns:a16="http://schemas.microsoft.com/office/drawing/2014/main" id="{93F34FB0-7C85-9D6A-D415-4C0B9384A589}"/>
              </a:ext>
            </a:extLst>
          </p:cNvPr>
          <p:cNvGrpSpPr/>
          <p:nvPr>
            <p:custDataLst>
              <p:tags r:id="rId16"/>
            </p:custDataLst>
          </p:nvPr>
        </p:nvGrpSpPr>
        <p:grpSpPr>
          <a:xfrm>
            <a:off x="6782797" y="3593435"/>
            <a:ext cx="1196015" cy="819655"/>
            <a:chOff x="6809066" y="3677775"/>
            <a:chExt cx="1196015" cy="819655"/>
          </a:xfrm>
        </p:grpSpPr>
        <p:grpSp>
          <p:nvGrpSpPr>
            <p:cNvPr id="162" name="Agrupar 161">
              <a:extLst>
                <a:ext uri="{FF2B5EF4-FFF2-40B4-BE49-F238E27FC236}">
                  <a16:creationId xmlns:a16="http://schemas.microsoft.com/office/drawing/2014/main" id="{506FC61C-DE7F-0CDB-7025-E904F3E64964}"/>
                </a:ext>
              </a:extLst>
            </p:cNvPr>
            <p:cNvGrpSpPr/>
            <p:nvPr>
              <p:custDataLst>
                <p:tags r:id="rId52"/>
              </p:custDataLst>
            </p:nvPr>
          </p:nvGrpSpPr>
          <p:grpSpPr>
            <a:xfrm>
              <a:off x="7352704" y="3677775"/>
              <a:ext cx="652377" cy="535376"/>
              <a:chOff x="10043470" y="6107236"/>
              <a:chExt cx="883799" cy="725293"/>
            </a:xfrm>
            <a:effectLst>
              <a:outerShdw blurRad="50800" dist="38100" dir="5400000" algn="t" rotWithShape="0">
                <a:prstClr val="black">
                  <a:alpha val="40000"/>
                </a:prstClr>
              </a:outerShdw>
            </a:effectLst>
          </p:grpSpPr>
          <p:sp>
            <p:nvSpPr>
              <p:cNvPr id="163" name="Hexágono 162">
                <a:extLst>
                  <a:ext uri="{FF2B5EF4-FFF2-40B4-BE49-F238E27FC236}">
                    <a16:creationId xmlns:a16="http://schemas.microsoft.com/office/drawing/2014/main" id="{4C111C6F-533C-D19C-2195-88076658CA3B}"/>
                  </a:ext>
                </a:extLst>
              </p:cNvPr>
              <p:cNvSpPr/>
              <p:nvPr>
                <p:custDataLst>
                  <p:tags r:id="rId56"/>
                </p:custDataLst>
              </p:nvPr>
            </p:nvSpPr>
            <p:spPr>
              <a:xfrm>
                <a:off x="10043470" y="6107236"/>
                <a:ext cx="883799" cy="725293"/>
              </a:xfrm>
              <a:prstGeom prst="hexagon">
                <a:avLst/>
              </a:prstGeom>
              <a:solidFill>
                <a:srgbClr val="14496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64" name="Imagem 163">
                <a:extLst>
                  <a:ext uri="{FF2B5EF4-FFF2-40B4-BE49-F238E27FC236}">
                    <a16:creationId xmlns:a16="http://schemas.microsoft.com/office/drawing/2014/main" id="{481826D0-BA11-F523-8EA4-F07E9E180368}"/>
                  </a:ext>
                </a:extLst>
              </p:cNvPr>
              <p:cNvPicPr>
                <a:picLocks noChangeAspect="1"/>
              </p:cNvPicPr>
              <p:nvPr>
                <p:custDataLst>
                  <p:tags r:id="rId57"/>
                </p:custDataLst>
              </p:nvPr>
            </p:nvPicPr>
            <p:blipFill>
              <a:blip r:embed="rId102">
                <a:extLst>
                  <a:ext uri="{28A0092B-C50C-407E-A947-70E740481C1C}">
                    <a14:useLocalDpi xmlns:a14="http://schemas.microsoft.com/office/drawing/2010/main"/>
                  </a:ext>
                </a:extLst>
              </a:blip>
              <a:srcRect l="4157" t="5113" r="5535" b="2885"/>
              <a:stretch>
                <a:fillRect/>
              </a:stretch>
            </p:blipFill>
            <p:spPr>
              <a:xfrm>
                <a:off x="10227656" y="6205865"/>
                <a:ext cx="524164" cy="540014"/>
              </a:xfrm>
              <a:prstGeom prst="rect">
                <a:avLst/>
              </a:prstGeom>
            </p:spPr>
          </p:pic>
        </p:grpSp>
        <p:grpSp>
          <p:nvGrpSpPr>
            <p:cNvPr id="165" name="Agrupar 164">
              <a:extLst>
                <a:ext uri="{FF2B5EF4-FFF2-40B4-BE49-F238E27FC236}">
                  <a16:creationId xmlns:a16="http://schemas.microsoft.com/office/drawing/2014/main" id="{0B7F543A-B28A-82E1-D0AC-D37F22AC7D7B}"/>
                </a:ext>
              </a:extLst>
            </p:cNvPr>
            <p:cNvGrpSpPr/>
            <p:nvPr>
              <p:custDataLst>
                <p:tags r:id="rId53"/>
              </p:custDataLst>
            </p:nvPr>
          </p:nvGrpSpPr>
          <p:grpSpPr>
            <a:xfrm>
              <a:off x="6809066" y="3962054"/>
              <a:ext cx="652377" cy="535376"/>
              <a:chOff x="7987946" y="5403509"/>
              <a:chExt cx="883799" cy="725293"/>
            </a:xfrm>
            <a:effectLst>
              <a:outerShdw blurRad="50800" dist="38100" dir="5400000" algn="t" rotWithShape="0">
                <a:prstClr val="black">
                  <a:alpha val="40000"/>
                </a:prstClr>
              </a:outerShdw>
            </a:effectLst>
          </p:grpSpPr>
          <p:sp>
            <p:nvSpPr>
              <p:cNvPr id="166" name="Hexágono 165">
                <a:extLst>
                  <a:ext uri="{FF2B5EF4-FFF2-40B4-BE49-F238E27FC236}">
                    <a16:creationId xmlns:a16="http://schemas.microsoft.com/office/drawing/2014/main" id="{59F54BA3-3596-A618-E668-F9F0C0B88642}"/>
                  </a:ext>
                </a:extLst>
              </p:cNvPr>
              <p:cNvSpPr/>
              <p:nvPr>
                <p:custDataLst>
                  <p:tags r:id="rId54"/>
                </p:custDataLst>
              </p:nvPr>
            </p:nvSpPr>
            <p:spPr>
              <a:xfrm>
                <a:off x="7987946" y="5403509"/>
                <a:ext cx="883799" cy="725293"/>
              </a:xfrm>
              <a:prstGeom prst="hexagon">
                <a:avLst/>
              </a:prstGeom>
              <a:solidFill>
                <a:srgbClr val="03689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67" name="Picture 10">
                <a:extLst>
                  <a:ext uri="{FF2B5EF4-FFF2-40B4-BE49-F238E27FC236}">
                    <a16:creationId xmlns:a16="http://schemas.microsoft.com/office/drawing/2014/main" id="{12D2760F-7175-FF50-527E-6FE1E5B345CC}"/>
                  </a:ext>
                </a:extLst>
              </p:cNvPr>
              <p:cNvPicPr>
                <a:picLocks noChangeAspect="1" noChangeArrowheads="1"/>
              </p:cNvPicPr>
              <p:nvPr>
                <p:custDataLst>
                  <p:tags r:id="rId55"/>
                </p:custDataLst>
              </p:nvPr>
            </p:nvPicPr>
            <p:blipFill>
              <a:blip r:embed="rId103">
                <a:extLst>
                  <a:ext uri="{28A0092B-C50C-407E-A947-70E740481C1C}">
                    <a14:useLocalDpi xmlns:a14="http://schemas.microsoft.com/office/drawing/2010/main"/>
                  </a:ext>
                </a:extLst>
              </a:blip>
              <a:stretch>
                <a:fillRect/>
              </a:stretch>
            </p:blipFill>
            <p:spPr bwMode="auto">
              <a:xfrm>
                <a:off x="8147249" y="5484601"/>
                <a:ext cx="579256" cy="579256"/>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72" name="Agrupar 171">
            <a:extLst>
              <a:ext uri="{FF2B5EF4-FFF2-40B4-BE49-F238E27FC236}">
                <a16:creationId xmlns:a16="http://schemas.microsoft.com/office/drawing/2014/main" id="{36333648-0F78-7E04-0621-95EA16BE6E01}"/>
              </a:ext>
            </a:extLst>
          </p:cNvPr>
          <p:cNvGrpSpPr/>
          <p:nvPr>
            <p:custDataLst>
              <p:tags r:id="rId17"/>
            </p:custDataLst>
          </p:nvPr>
        </p:nvGrpSpPr>
        <p:grpSpPr>
          <a:xfrm>
            <a:off x="3627619" y="3548276"/>
            <a:ext cx="1744300" cy="812855"/>
            <a:chOff x="3783892" y="3632616"/>
            <a:chExt cx="1744300" cy="812855"/>
          </a:xfrm>
        </p:grpSpPr>
        <p:grpSp>
          <p:nvGrpSpPr>
            <p:cNvPr id="156" name="Agrupar 155">
              <a:extLst>
                <a:ext uri="{FF2B5EF4-FFF2-40B4-BE49-F238E27FC236}">
                  <a16:creationId xmlns:a16="http://schemas.microsoft.com/office/drawing/2014/main" id="{2647AFB6-4BC6-3FB5-25D8-4A30B40D7BCB}"/>
                </a:ext>
              </a:extLst>
            </p:cNvPr>
            <p:cNvGrpSpPr/>
            <p:nvPr>
              <p:custDataLst>
                <p:tags r:id="rId43"/>
              </p:custDataLst>
            </p:nvPr>
          </p:nvGrpSpPr>
          <p:grpSpPr>
            <a:xfrm>
              <a:off x="4330210" y="3632616"/>
              <a:ext cx="652377" cy="535376"/>
              <a:chOff x="5654100" y="5971297"/>
              <a:chExt cx="883799" cy="725293"/>
            </a:xfrm>
            <a:effectLst>
              <a:outerShdw blurRad="50800" dist="38100" dir="5400000" algn="t" rotWithShape="0">
                <a:prstClr val="black">
                  <a:alpha val="40000"/>
                </a:prstClr>
              </a:outerShdw>
            </a:effectLst>
          </p:grpSpPr>
          <p:sp>
            <p:nvSpPr>
              <p:cNvPr id="157" name="Hexágono 156">
                <a:extLst>
                  <a:ext uri="{FF2B5EF4-FFF2-40B4-BE49-F238E27FC236}">
                    <a16:creationId xmlns:a16="http://schemas.microsoft.com/office/drawing/2014/main" id="{669470EF-B427-A19B-4597-FC9A0FE84E93}"/>
                  </a:ext>
                </a:extLst>
              </p:cNvPr>
              <p:cNvSpPr/>
              <p:nvPr>
                <p:custDataLst>
                  <p:tags r:id="rId50"/>
                </p:custDataLst>
              </p:nvPr>
            </p:nvSpPr>
            <p:spPr>
              <a:xfrm>
                <a:off x="5654100" y="5971297"/>
                <a:ext cx="883799" cy="725293"/>
              </a:xfrm>
              <a:prstGeom prst="hexagon">
                <a:avLst/>
              </a:prstGeom>
              <a:solidFill>
                <a:srgbClr val="F06A2B"/>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58" name="Picture 8">
                <a:extLst>
                  <a:ext uri="{FF2B5EF4-FFF2-40B4-BE49-F238E27FC236}">
                    <a16:creationId xmlns:a16="http://schemas.microsoft.com/office/drawing/2014/main" id="{181CF12D-0F96-CB3F-65CD-CD4E1231AD3A}"/>
                  </a:ext>
                </a:extLst>
              </p:cNvPr>
              <p:cNvPicPr>
                <a:picLocks noChangeAspect="1" noChangeArrowheads="1"/>
              </p:cNvPicPr>
              <p:nvPr>
                <p:custDataLst>
                  <p:tags r:id="rId51"/>
                </p:custDataLst>
              </p:nvPr>
            </p:nvPicPr>
            <p:blipFill>
              <a:blip r:embed="rId104">
                <a:extLst>
                  <a:ext uri="{28A0092B-C50C-407E-A947-70E740481C1C}">
                    <a14:useLocalDpi xmlns:a14="http://schemas.microsoft.com/office/drawing/2010/main"/>
                  </a:ext>
                </a:extLst>
              </a:blip>
              <a:stretch>
                <a:fillRect/>
              </a:stretch>
            </p:blipFill>
            <p:spPr bwMode="auto">
              <a:xfrm>
                <a:off x="5822297" y="6048310"/>
                <a:ext cx="571265" cy="5712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Agrupar 158">
              <a:extLst>
                <a:ext uri="{FF2B5EF4-FFF2-40B4-BE49-F238E27FC236}">
                  <a16:creationId xmlns:a16="http://schemas.microsoft.com/office/drawing/2014/main" id="{86E2DCFC-A89C-4A35-430D-67E90882B572}"/>
                </a:ext>
              </a:extLst>
            </p:cNvPr>
            <p:cNvGrpSpPr/>
            <p:nvPr>
              <p:custDataLst>
                <p:tags r:id="rId44"/>
              </p:custDataLst>
            </p:nvPr>
          </p:nvGrpSpPr>
          <p:grpSpPr>
            <a:xfrm>
              <a:off x="3783892" y="3910095"/>
              <a:ext cx="652377" cy="535376"/>
              <a:chOff x="4645978" y="6027896"/>
              <a:chExt cx="883799" cy="725293"/>
            </a:xfrm>
            <a:effectLst>
              <a:outerShdw blurRad="50800" dist="38100" dir="5400000" algn="t" rotWithShape="0">
                <a:prstClr val="black">
                  <a:alpha val="40000"/>
                </a:prstClr>
              </a:outerShdw>
            </a:effectLst>
          </p:grpSpPr>
          <p:sp>
            <p:nvSpPr>
              <p:cNvPr id="160" name="Hexágono 159">
                <a:extLst>
                  <a:ext uri="{FF2B5EF4-FFF2-40B4-BE49-F238E27FC236}">
                    <a16:creationId xmlns:a16="http://schemas.microsoft.com/office/drawing/2014/main" id="{D8C3992D-8258-BA35-6EB2-05A982F70299}"/>
                  </a:ext>
                </a:extLst>
              </p:cNvPr>
              <p:cNvSpPr/>
              <p:nvPr>
                <p:custDataLst>
                  <p:tags r:id="rId48"/>
                </p:custDataLst>
              </p:nvPr>
            </p:nvSpPr>
            <p:spPr>
              <a:xfrm>
                <a:off x="4645978" y="6027896"/>
                <a:ext cx="883799" cy="725293"/>
              </a:xfrm>
              <a:prstGeom prst="hexagon">
                <a:avLst/>
              </a:prstGeom>
              <a:solidFill>
                <a:srgbClr val="C41F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61" name="Picture 2">
                <a:extLst>
                  <a:ext uri="{FF2B5EF4-FFF2-40B4-BE49-F238E27FC236}">
                    <a16:creationId xmlns:a16="http://schemas.microsoft.com/office/drawing/2014/main" id="{A2E21611-C0FC-52A7-AAFC-601A08281028}"/>
                  </a:ext>
                </a:extLst>
              </p:cNvPr>
              <p:cNvPicPr>
                <a:picLocks noChangeAspect="1" noChangeArrowheads="1"/>
              </p:cNvPicPr>
              <p:nvPr>
                <p:custDataLst>
                  <p:tags r:id="rId49"/>
                </p:custDataLst>
              </p:nvPr>
            </p:nvPicPr>
            <p:blipFill>
              <a:blip r:embed="rId105">
                <a:extLst>
                  <a:ext uri="{28A0092B-C50C-407E-A947-70E740481C1C}">
                    <a14:useLocalDpi xmlns:a14="http://schemas.microsoft.com/office/drawing/2010/main"/>
                  </a:ext>
                </a:extLst>
              </a:blip>
              <a:stretch>
                <a:fillRect/>
              </a:stretch>
            </p:blipFill>
            <p:spPr bwMode="auto">
              <a:xfrm>
                <a:off x="4808696" y="6116388"/>
                <a:ext cx="571265" cy="5712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8" name="Agrupar 167">
              <a:extLst>
                <a:ext uri="{FF2B5EF4-FFF2-40B4-BE49-F238E27FC236}">
                  <a16:creationId xmlns:a16="http://schemas.microsoft.com/office/drawing/2014/main" id="{5BDC9033-D8C6-8B5A-BDA9-1C1C15498599}"/>
                </a:ext>
              </a:extLst>
            </p:cNvPr>
            <p:cNvGrpSpPr/>
            <p:nvPr>
              <p:custDataLst>
                <p:tags r:id="rId45"/>
              </p:custDataLst>
            </p:nvPr>
          </p:nvGrpSpPr>
          <p:grpSpPr>
            <a:xfrm>
              <a:off x="4875815" y="3910095"/>
              <a:ext cx="652377" cy="535376"/>
              <a:chOff x="6409877" y="5898545"/>
              <a:chExt cx="883799" cy="725293"/>
            </a:xfrm>
          </p:grpSpPr>
          <p:sp>
            <p:nvSpPr>
              <p:cNvPr id="169" name="Hexágono 168">
                <a:extLst>
                  <a:ext uri="{FF2B5EF4-FFF2-40B4-BE49-F238E27FC236}">
                    <a16:creationId xmlns:a16="http://schemas.microsoft.com/office/drawing/2014/main" id="{4B33EAD4-7F93-E74E-913C-002672AC856A}"/>
                  </a:ext>
                </a:extLst>
              </p:cNvPr>
              <p:cNvSpPr/>
              <p:nvPr>
                <p:custDataLst>
                  <p:tags r:id="rId46"/>
                </p:custDataLst>
              </p:nvPr>
            </p:nvSpPr>
            <p:spPr>
              <a:xfrm>
                <a:off x="6409877" y="5898545"/>
                <a:ext cx="883799" cy="725293"/>
              </a:xfrm>
              <a:prstGeom prst="hexagon">
                <a:avLst/>
              </a:prstGeom>
              <a:solidFill>
                <a:srgbClr val="EF402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pic>
            <p:nvPicPr>
              <p:cNvPr id="170" name="Imagem 169">
                <a:extLst>
                  <a:ext uri="{FF2B5EF4-FFF2-40B4-BE49-F238E27FC236}">
                    <a16:creationId xmlns:a16="http://schemas.microsoft.com/office/drawing/2014/main" id="{A0B8BC10-94CF-E9BB-3CD3-349BDA0F7608}"/>
                  </a:ext>
                </a:extLst>
              </p:cNvPr>
              <p:cNvPicPr>
                <a:picLocks noChangeAspect="1"/>
              </p:cNvPicPr>
              <p:nvPr>
                <p:custDataLst>
                  <p:tags r:id="rId47"/>
                </p:custDataLst>
              </p:nvPr>
            </p:nvPicPr>
            <p:blipFill>
              <a:blip r:embed="rId106">
                <a:extLst>
                  <a:ext uri="{28A0092B-C50C-407E-A947-70E740481C1C}">
                    <a14:useLocalDpi xmlns:a14="http://schemas.microsoft.com/office/drawing/2010/main"/>
                  </a:ext>
                </a:extLst>
              </a:blip>
              <a:stretch>
                <a:fillRect/>
              </a:stretch>
            </p:blipFill>
            <p:spPr>
              <a:xfrm>
                <a:off x="6572153" y="5986828"/>
                <a:ext cx="577842" cy="571124"/>
              </a:xfrm>
              <a:prstGeom prst="rect">
                <a:avLst/>
              </a:prstGeom>
            </p:spPr>
          </p:pic>
        </p:grpSp>
      </p:grpSp>
      <p:grpSp>
        <p:nvGrpSpPr>
          <p:cNvPr id="178" name="Gráfico 8">
            <a:extLst>
              <a:ext uri="{FF2B5EF4-FFF2-40B4-BE49-F238E27FC236}">
                <a16:creationId xmlns:a16="http://schemas.microsoft.com/office/drawing/2014/main" id="{D4B2BEF1-4AE2-4322-A1A4-2A68BE021DB1}"/>
              </a:ext>
            </a:extLst>
          </p:cNvPr>
          <p:cNvGrpSpPr/>
          <p:nvPr>
            <p:custDataLst>
              <p:tags r:id="rId18"/>
            </p:custDataLst>
          </p:nvPr>
        </p:nvGrpSpPr>
        <p:grpSpPr>
          <a:xfrm>
            <a:off x="4169409" y="-684359"/>
            <a:ext cx="1672772" cy="1672771"/>
            <a:chOff x="2112302" y="736866"/>
            <a:chExt cx="1043879" cy="1043878"/>
          </a:xfrm>
          <a:gradFill>
            <a:gsLst>
              <a:gs pos="0">
                <a:srgbClr val="E39100"/>
              </a:gs>
              <a:gs pos="50000">
                <a:srgbClr val="D86900"/>
              </a:gs>
              <a:gs pos="100000">
                <a:srgbClr val="CD4100"/>
              </a:gs>
            </a:gsLst>
            <a:lin ang="18645808" scaled="1"/>
          </a:gradFill>
        </p:grpSpPr>
        <p:grpSp>
          <p:nvGrpSpPr>
            <p:cNvPr id="179" name="Gráfico 8">
              <a:extLst>
                <a:ext uri="{FF2B5EF4-FFF2-40B4-BE49-F238E27FC236}">
                  <a16:creationId xmlns:a16="http://schemas.microsoft.com/office/drawing/2014/main" id="{698A96E0-7E48-0739-27B0-A35D61BB1212}"/>
                </a:ext>
              </a:extLst>
            </p:cNvPr>
            <p:cNvGrpSpPr/>
            <p:nvPr>
              <p:custDataLst>
                <p:tags r:id="rId20"/>
              </p:custDataLst>
            </p:nvPr>
          </p:nvGrpSpPr>
          <p:grpSpPr>
            <a:xfrm>
              <a:off x="2259350" y="883586"/>
              <a:ext cx="749709" cy="281062"/>
              <a:chOff x="2259350" y="883586"/>
              <a:chExt cx="749709" cy="281062"/>
            </a:xfrm>
            <a:grpFill/>
          </p:grpSpPr>
          <p:grpSp>
            <p:nvGrpSpPr>
              <p:cNvPr id="194" name="Gráfico 8">
                <a:extLst>
                  <a:ext uri="{FF2B5EF4-FFF2-40B4-BE49-F238E27FC236}">
                    <a16:creationId xmlns:a16="http://schemas.microsoft.com/office/drawing/2014/main" id="{10570849-C127-48C2-AB83-5D3AAF2757F1}"/>
                  </a:ext>
                </a:extLst>
              </p:cNvPr>
              <p:cNvGrpSpPr/>
              <p:nvPr>
                <p:custDataLst>
                  <p:tags r:id="rId35"/>
                </p:custDataLst>
              </p:nvPr>
            </p:nvGrpSpPr>
            <p:grpSpPr>
              <a:xfrm>
                <a:off x="2259350" y="883626"/>
                <a:ext cx="281507" cy="281022"/>
                <a:chOff x="2259350" y="883626"/>
                <a:chExt cx="281507" cy="281022"/>
              </a:xfrm>
              <a:grpFill/>
            </p:grpSpPr>
            <p:sp>
              <p:nvSpPr>
                <p:cNvPr id="199" name="Forma Livre: Forma 198">
                  <a:extLst>
                    <a:ext uri="{FF2B5EF4-FFF2-40B4-BE49-F238E27FC236}">
                      <a16:creationId xmlns:a16="http://schemas.microsoft.com/office/drawing/2014/main" id="{D863A53B-34DE-1263-5FBC-71513A9AB382}"/>
                    </a:ext>
                  </a:extLst>
                </p:cNvPr>
                <p:cNvSpPr/>
                <p:nvPr>
                  <p:custDataLst>
                    <p:tags r:id="rId40"/>
                  </p:custDataLst>
                </p:nvPr>
              </p:nvSpPr>
              <p:spPr>
                <a:xfrm>
                  <a:off x="2259350" y="1093710"/>
                  <a:ext cx="124848" cy="70938"/>
                </a:xfrm>
                <a:custGeom>
                  <a:avLst/>
                  <a:gdLst>
                    <a:gd name="connsiteX0" fmla="*/ 108443 w 124848"/>
                    <a:gd name="connsiteY0" fmla="*/ 70938 h 70938"/>
                    <a:gd name="connsiteX1" fmla="*/ 102120 w 124848"/>
                    <a:gd name="connsiteY1" fmla="*/ 69717 h 70938"/>
                    <a:gd name="connsiteX2" fmla="*/ 10155 w 124848"/>
                    <a:gd name="connsiteY2" fmla="*/ 31637 h 70938"/>
                    <a:gd name="connsiteX3" fmla="*/ 1245 w 124848"/>
                    <a:gd name="connsiteY3" fmla="*/ 10155 h 70938"/>
                    <a:gd name="connsiteX4" fmla="*/ 22728 w 124848"/>
                    <a:gd name="connsiteY4" fmla="*/ 1245 h 70938"/>
                    <a:gd name="connsiteX5" fmla="*/ 114693 w 124848"/>
                    <a:gd name="connsiteY5" fmla="*/ 39325 h 70938"/>
                    <a:gd name="connsiteX6" fmla="*/ 123603 w 124848"/>
                    <a:gd name="connsiteY6" fmla="*/ 60807 h 70938"/>
                    <a:gd name="connsiteX7" fmla="*/ 108371 w 124848"/>
                    <a:gd name="connsiteY7" fmla="*/ 70938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47" h="70938">
                      <a:moveTo>
                        <a:pt x="108443" y="70938"/>
                      </a:moveTo>
                      <a:cubicBezTo>
                        <a:pt x="106359" y="70938"/>
                        <a:pt x="104204" y="70507"/>
                        <a:pt x="102120" y="69717"/>
                      </a:cubicBezTo>
                      <a:lnTo>
                        <a:pt x="10155" y="31637"/>
                      </a:lnTo>
                      <a:cubicBezTo>
                        <a:pt x="1748" y="28188"/>
                        <a:pt x="-2203" y="18561"/>
                        <a:pt x="1245" y="10155"/>
                      </a:cubicBezTo>
                      <a:cubicBezTo>
                        <a:pt x="4694" y="1748"/>
                        <a:pt x="14394" y="-2203"/>
                        <a:pt x="22728" y="1245"/>
                      </a:cubicBezTo>
                      <a:lnTo>
                        <a:pt x="114693" y="39325"/>
                      </a:lnTo>
                      <a:cubicBezTo>
                        <a:pt x="123100" y="42774"/>
                        <a:pt x="127051" y="52401"/>
                        <a:pt x="123603" y="60807"/>
                      </a:cubicBezTo>
                      <a:cubicBezTo>
                        <a:pt x="120944" y="67130"/>
                        <a:pt x="114837" y="70938"/>
                        <a:pt x="108371" y="70938"/>
                      </a:cubicBezTo>
                      <a:close/>
                    </a:path>
                  </a:pathLst>
                </a:custGeom>
                <a:grpFill/>
                <a:ln w="3592" cap="flat">
                  <a:gradFill>
                    <a:gsLst>
                      <a:gs pos="0">
                        <a:srgbClr val="E39100"/>
                      </a:gs>
                      <a:gs pos="50000">
                        <a:srgbClr val="D86900"/>
                      </a:gs>
                      <a:gs pos="100000">
                        <a:srgbClr val="CD4100"/>
                      </a:gs>
                    </a:gsLst>
                    <a:lin ang="18222632" scaled="1"/>
                  </a:gradFill>
                  <a:prstDash val="solid"/>
                  <a:miter/>
                </a:ln>
              </p:spPr>
              <p:txBody>
                <a:bodyPr rtlCol="0" anchor="ctr"/>
                <a:lstStyle/>
                <a:p>
                  <a:endParaRPr lang="pt-BR" dirty="0"/>
                </a:p>
              </p:txBody>
            </p:sp>
            <p:sp>
              <p:nvSpPr>
                <p:cNvPr id="200" name="Forma Livre: Forma 199">
                  <a:extLst>
                    <a:ext uri="{FF2B5EF4-FFF2-40B4-BE49-F238E27FC236}">
                      <a16:creationId xmlns:a16="http://schemas.microsoft.com/office/drawing/2014/main" id="{F115239D-2DFE-C4D3-7B68-74EC64162440}"/>
                    </a:ext>
                  </a:extLst>
                </p:cNvPr>
                <p:cNvSpPr/>
                <p:nvPr>
                  <p:custDataLst>
                    <p:tags r:id="rId41"/>
                  </p:custDataLst>
                </p:nvPr>
              </p:nvSpPr>
              <p:spPr>
                <a:xfrm>
                  <a:off x="2469043" y="883626"/>
                  <a:ext cx="71814" cy="126405"/>
                </a:xfrm>
                <a:custGeom>
                  <a:avLst/>
                  <a:gdLst>
                    <a:gd name="connsiteX0" fmla="*/ 55378 w 71814"/>
                    <a:gd name="connsiteY0" fmla="*/ 126406 h 126405"/>
                    <a:gd name="connsiteX1" fmla="*/ 40146 w 71814"/>
                    <a:gd name="connsiteY1" fmla="*/ 116275 h 126405"/>
                    <a:gd name="connsiteX2" fmla="*/ 1277 w 71814"/>
                    <a:gd name="connsiteY2" fmla="*/ 22801 h 126405"/>
                    <a:gd name="connsiteX3" fmla="*/ 10114 w 71814"/>
                    <a:gd name="connsiteY3" fmla="*/ 1247 h 126405"/>
                    <a:gd name="connsiteX4" fmla="*/ 31668 w 71814"/>
                    <a:gd name="connsiteY4" fmla="*/ 10084 h 126405"/>
                    <a:gd name="connsiteX5" fmla="*/ 70538 w 71814"/>
                    <a:gd name="connsiteY5" fmla="*/ 103558 h 126405"/>
                    <a:gd name="connsiteX6" fmla="*/ 61701 w 71814"/>
                    <a:gd name="connsiteY6" fmla="*/ 125112 h 126405"/>
                    <a:gd name="connsiteX7" fmla="*/ 55378 w 71814"/>
                    <a:gd name="connsiteY7" fmla="*/ 126406 h 12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14" h="126405">
                      <a:moveTo>
                        <a:pt x="55378" y="126406"/>
                      </a:moveTo>
                      <a:cubicBezTo>
                        <a:pt x="48912" y="126406"/>
                        <a:pt x="42805" y="122598"/>
                        <a:pt x="40146" y="116275"/>
                      </a:cubicBezTo>
                      <a:lnTo>
                        <a:pt x="1277" y="22801"/>
                      </a:lnTo>
                      <a:cubicBezTo>
                        <a:pt x="-2244" y="14395"/>
                        <a:pt x="1780" y="4767"/>
                        <a:pt x="10114" y="1247"/>
                      </a:cubicBezTo>
                      <a:cubicBezTo>
                        <a:pt x="18520" y="-2202"/>
                        <a:pt x="28148" y="1749"/>
                        <a:pt x="31668" y="10084"/>
                      </a:cubicBezTo>
                      <a:lnTo>
                        <a:pt x="70538" y="103558"/>
                      </a:lnTo>
                      <a:cubicBezTo>
                        <a:pt x="74059" y="111964"/>
                        <a:pt x="70035" y="121592"/>
                        <a:pt x="61701" y="125112"/>
                      </a:cubicBezTo>
                      <a:cubicBezTo>
                        <a:pt x="59617" y="125975"/>
                        <a:pt x="57462" y="126406"/>
                        <a:pt x="55378" y="126406"/>
                      </a:cubicBezTo>
                      <a:close/>
                    </a:path>
                  </a:pathLst>
                </a:custGeom>
                <a:grpFill/>
                <a:ln w="3592" cap="flat">
                  <a:gradFill>
                    <a:gsLst>
                      <a:gs pos="0">
                        <a:srgbClr val="E39100"/>
                      </a:gs>
                      <a:gs pos="50000">
                        <a:srgbClr val="D86900"/>
                      </a:gs>
                      <a:gs pos="100000">
                        <a:srgbClr val="CD4100"/>
                      </a:gs>
                    </a:gsLst>
                    <a:lin ang="18222884" scaled="1"/>
                  </a:gradFill>
                  <a:prstDash val="solid"/>
                  <a:miter/>
                </a:ln>
              </p:spPr>
              <p:txBody>
                <a:bodyPr rtlCol="0" anchor="ctr"/>
                <a:lstStyle/>
                <a:p>
                  <a:endParaRPr lang="pt-BR" dirty="0"/>
                </a:p>
              </p:txBody>
            </p:sp>
            <p:sp>
              <p:nvSpPr>
                <p:cNvPr id="201" name="Forma Livre: Forma 200">
                  <a:extLst>
                    <a:ext uri="{FF2B5EF4-FFF2-40B4-BE49-F238E27FC236}">
                      <a16:creationId xmlns:a16="http://schemas.microsoft.com/office/drawing/2014/main" id="{B7EB89DF-3CA2-6A57-3957-938A68015667}"/>
                    </a:ext>
                  </a:extLst>
                </p:cNvPr>
                <p:cNvSpPr/>
                <p:nvPr>
                  <p:custDataLst>
                    <p:tags r:id="rId42"/>
                  </p:custDataLst>
                </p:nvPr>
              </p:nvSpPr>
              <p:spPr>
                <a:xfrm>
                  <a:off x="2260057" y="885699"/>
                  <a:ext cx="188744" cy="187990"/>
                </a:xfrm>
                <a:custGeom>
                  <a:avLst/>
                  <a:gdLst>
                    <a:gd name="connsiteX0" fmla="*/ 172255 w 188744"/>
                    <a:gd name="connsiteY0" fmla="*/ 187990 h 187990"/>
                    <a:gd name="connsiteX1" fmla="*/ 160616 w 188744"/>
                    <a:gd name="connsiteY1" fmla="*/ 183176 h 187990"/>
                    <a:gd name="connsiteX2" fmla="*/ 4850 w 188744"/>
                    <a:gd name="connsiteY2" fmla="*/ 28128 h 187990"/>
                    <a:gd name="connsiteX3" fmla="*/ 4850 w 188744"/>
                    <a:gd name="connsiteY3" fmla="*/ 4850 h 187990"/>
                    <a:gd name="connsiteX4" fmla="*/ 28128 w 188744"/>
                    <a:gd name="connsiteY4" fmla="*/ 4850 h 187990"/>
                    <a:gd name="connsiteX5" fmla="*/ 183895 w 188744"/>
                    <a:gd name="connsiteY5" fmla="*/ 159898 h 187990"/>
                    <a:gd name="connsiteX6" fmla="*/ 183895 w 188744"/>
                    <a:gd name="connsiteY6" fmla="*/ 183176 h 187990"/>
                    <a:gd name="connsiteX7" fmla="*/ 172255 w 188744"/>
                    <a:gd name="connsiteY7" fmla="*/ 187990 h 18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744" h="187990">
                      <a:moveTo>
                        <a:pt x="172255" y="187990"/>
                      </a:moveTo>
                      <a:cubicBezTo>
                        <a:pt x="168088" y="187990"/>
                        <a:pt x="163849" y="186410"/>
                        <a:pt x="160616" y="183176"/>
                      </a:cubicBezTo>
                      <a:lnTo>
                        <a:pt x="4850" y="28128"/>
                      </a:lnTo>
                      <a:cubicBezTo>
                        <a:pt x="-1617" y="21734"/>
                        <a:pt x="-1617" y="11316"/>
                        <a:pt x="4850" y="4850"/>
                      </a:cubicBezTo>
                      <a:cubicBezTo>
                        <a:pt x="11244" y="-1617"/>
                        <a:pt x="21662" y="-1617"/>
                        <a:pt x="28128" y="4850"/>
                      </a:cubicBezTo>
                      <a:lnTo>
                        <a:pt x="183895" y="159898"/>
                      </a:lnTo>
                      <a:cubicBezTo>
                        <a:pt x="190361" y="166292"/>
                        <a:pt x="190361" y="176710"/>
                        <a:pt x="183895" y="183176"/>
                      </a:cubicBezTo>
                      <a:cubicBezTo>
                        <a:pt x="180662" y="186410"/>
                        <a:pt x="176423" y="187990"/>
                        <a:pt x="172255" y="187990"/>
                      </a:cubicBezTo>
                      <a:close/>
                    </a:path>
                  </a:pathLst>
                </a:custGeom>
                <a:grpFill/>
                <a:ln w="3592" cap="flat">
                  <a:gradFill>
                    <a:gsLst>
                      <a:gs pos="0">
                        <a:srgbClr val="E39100"/>
                      </a:gs>
                      <a:gs pos="50000">
                        <a:srgbClr val="D86900"/>
                      </a:gs>
                      <a:gs pos="100000">
                        <a:srgbClr val="CD4100"/>
                      </a:gs>
                    </a:gsLst>
                    <a:lin ang="18222270" scaled="1"/>
                  </a:gradFill>
                  <a:prstDash val="solid"/>
                  <a:miter/>
                </a:ln>
              </p:spPr>
              <p:txBody>
                <a:bodyPr rtlCol="0" anchor="ctr"/>
                <a:lstStyle/>
                <a:p>
                  <a:endParaRPr lang="pt-BR" dirty="0"/>
                </a:p>
              </p:txBody>
            </p:sp>
          </p:grpSp>
          <p:grpSp>
            <p:nvGrpSpPr>
              <p:cNvPr id="195" name="Gráfico 8">
                <a:extLst>
                  <a:ext uri="{FF2B5EF4-FFF2-40B4-BE49-F238E27FC236}">
                    <a16:creationId xmlns:a16="http://schemas.microsoft.com/office/drawing/2014/main" id="{9FD3F3D1-81F1-3B9E-CC99-46D23D072616}"/>
                  </a:ext>
                </a:extLst>
              </p:cNvPr>
              <p:cNvGrpSpPr/>
              <p:nvPr>
                <p:custDataLst>
                  <p:tags r:id="rId36"/>
                </p:custDataLst>
              </p:nvPr>
            </p:nvGrpSpPr>
            <p:grpSpPr>
              <a:xfrm>
                <a:off x="2727614" y="883586"/>
                <a:ext cx="281445" cy="281062"/>
                <a:chOff x="2727614" y="883586"/>
                <a:chExt cx="281445" cy="281062"/>
              </a:xfrm>
              <a:grpFill/>
            </p:grpSpPr>
            <p:sp>
              <p:nvSpPr>
                <p:cNvPr id="196" name="Forma Livre: Forma 195">
                  <a:extLst>
                    <a:ext uri="{FF2B5EF4-FFF2-40B4-BE49-F238E27FC236}">
                      <a16:creationId xmlns:a16="http://schemas.microsoft.com/office/drawing/2014/main" id="{2C064E55-0135-E075-6BDE-DDAFF6ED8648}"/>
                    </a:ext>
                  </a:extLst>
                </p:cNvPr>
                <p:cNvSpPr/>
                <p:nvPr>
                  <p:custDataLst>
                    <p:tags r:id="rId37"/>
                  </p:custDataLst>
                </p:nvPr>
              </p:nvSpPr>
              <p:spPr>
                <a:xfrm>
                  <a:off x="2884212" y="1093710"/>
                  <a:ext cx="124848" cy="70938"/>
                </a:xfrm>
                <a:custGeom>
                  <a:avLst/>
                  <a:gdLst>
                    <a:gd name="connsiteX0" fmla="*/ 16477 w 124848"/>
                    <a:gd name="connsiteY0" fmla="*/ 70938 h 70938"/>
                    <a:gd name="connsiteX1" fmla="*/ 1246 w 124848"/>
                    <a:gd name="connsiteY1" fmla="*/ 60807 h 70938"/>
                    <a:gd name="connsiteX2" fmla="*/ 10155 w 124848"/>
                    <a:gd name="connsiteY2" fmla="*/ 39325 h 70938"/>
                    <a:gd name="connsiteX3" fmla="*/ 102120 w 124848"/>
                    <a:gd name="connsiteY3" fmla="*/ 1245 h 70938"/>
                    <a:gd name="connsiteX4" fmla="*/ 123603 w 124848"/>
                    <a:gd name="connsiteY4" fmla="*/ 10155 h 70938"/>
                    <a:gd name="connsiteX5" fmla="*/ 114694 w 124848"/>
                    <a:gd name="connsiteY5" fmla="*/ 31637 h 70938"/>
                    <a:gd name="connsiteX6" fmla="*/ 22728 w 124848"/>
                    <a:gd name="connsiteY6" fmla="*/ 69717 h 70938"/>
                    <a:gd name="connsiteX7" fmla="*/ 16405 w 124848"/>
                    <a:gd name="connsiteY7" fmla="*/ 70938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47" h="70938">
                      <a:moveTo>
                        <a:pt x="16477" y="70938"/>
                      </a:moveTo>
                      <a:cubicBezTo>
                        <a:pt x="10011" y="70938"/>
                        <a:pt x="3904" y="67130"/>
                        <a:pt x="1246" y="60807"/>
                      </a:cubicBezTo>
                      <a:cubicBezTo>
                        <a:pt x="-2203" y="52401"/>
                        <a:pt x="1749" y="42774"/>
                        <a:pt x="10155" y="39325"/>
                      </a:cubicBezTo>
                      <a:lnTo>
                        <a:pt x="102120" y="1245"/>
                      </a:lnTo>
                      <a:cubicBezTo>
                        <a:pt x="110526" y="-2203"/>
                        <a:pt x="120154" y="1748"/>
                        <a:pt x="123603" y="10155"/>
                      </a:cubicBezTo>
                      <a:cubicBezTo>
                        <a:pt x="127051" y="18561"/>
                        <a:pt x="123100" y="28188"/>
                        <a:pt x="114694" y="31637"/>
                      </a:cubicBezTo>
                      <a:lnTo>
                        <a:pt x="22728" y="69717"/>
                      </a:lnTo>
                      <a:cubicBezTo>
                        <a:pt x="20645" y="70579"/>
                        <a:pt x="18561" y="70938"/>
                        <a:pt x="16405" y="70938"/>
                      </a:cubicBezTo>
                      <a:close/>
                    </a:path>
                  </a:pathLst>
                </a:custGeom>
                <a:grpFill/>
                <a:ln w="3592" cap="flat">
                  <a:gradFill>
                    <a:gsLst>
                      <a:gs pos="0">
                        <a:srgbClr val="E39100"/>
                      </a:gs>
                      <a:gs pos="50000">
                        <a:srgbClr val="D86900"/>
                      </a:gs>
                      <a:gs pos="100000">
                        <a:srgbClr val="CD4100"/>
                      </a:gs>
                    </a:gsLst>
                    <a:lin ang="18223128" scaled="1"/>
                  </a:gradFill>
                  <a:prstDash val="solid"/>
                  <a:miter/>
                </a:ln>
              </p:spPr>
              <p:txBody>
                <a:bodyPr rtlCol="0" anchor="ctr"/>
                <a:lstStyle/>
                <a:p>
                  <a:endParaRPr lang="pt-BR" dirty="0"/>
                </a:p>
              </p:txBody>
            </p:sp>
            <p:sp>
              <p:nvSpPr>
                <p:cNvPr id="197" name="Forma Livre: Forma 196">
                  <a:extLst>
                    <a:ext uri="{FF2B5EF4-FFF2-40B4-BE49-F238E27FC236}">
                      <a16:creationId xmlns:a16="http://schemas.microsoft.com/office/drawing/2014/main" id="{B39459A7-186E-E2EB-FA64-5652E66688B8}"/>
                    </a:ext>
                  </a:extLst>
                </p:cNvPr>
                <p:cNvSpPr/>
                <p:nvPr>
                  <p:custDataLst>
                    <p:tags r:id="rId38"/>
                  </p:custDataLst>
                </p:nvPr>
              </p:nvSpPr>
              <p:spPr>
                <a:xfrm>
                  <a:off x="2727614" y="883586"/>
                  <a:ext cx="71906" cy="126445"/>
                </a:xfrm>
                <a:custGeom>
                  <a:avLst/>
                  <a:gdLst>
                    <a:gd name="connsiteX0" fmla="*/ 16447 w 71906"/>
                    <a:gd name="connsiteY0" fmla="*/ 126446 h 126445"/>
                    <a:gd name="connsiteX1" fmla="*/ 10124 w 71906"/>
                    <a:gd name="connsiteY1" fmla="*/ 125152 h 126445"/>
                    <a:gd name="connsiteX2" fmla="*/ 1287 w 71906"/>
                    <a:gd name="connsiteY2" fmla="*/ 103598 h 126445"/>
                    <a:gd name="connsiteX3" fmla="*/ 40228 w 71906"/>
                    <a:gd name="connsiteY3" fmla="*/ 10124 h 126445"/>
                    <a:gd name="connsiteX4" fmla="*/ 61783 w 71906"/>
                    <a:gd name="connsiteY4" fmla="*/ 1287 h 126445"/>
                    <a:gd name="connsiteX5" fmla="*/ 70620 w 71906"/>
                    <a:gd name="connsiteY5" fmla="*/ 22841 h 126445"/>
                    <a:gd name="connsiteX6" fmla="*/ 31678 w 71906"/>
                    <a:gd name="connsiteY6" fmla="*/ 116315 h 126445"/>
                    <a:gd name="connsiteX7" fmla="*/ 16447 w 71906"/>
                    <a:gd name="connsiteY7" fmla="*/ 126446 h 12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906" h="126445">
                      <a:moveTo>
                        <a:pt x="16447" y="126446"/>
                      </a:moveTo>
                      <a:cubicBezTo>
                        <a:pt x="14363" y="126446"/>
                        <a:pt x="12208" y="126015"/>
                        <a:pt x="10124" y="125152"/>
                      </a:cubicBezTo>
                      <a:cubicBezTo>
                        <a:pt x="1718" y="121632"/>
                        <a:pt x="-2234" y="112004"/>
                        <a:pt x="1287" y="103598"/>
                      </a:cubicBezTo>
                      <a:lnTo>
                        <a:pt x="40228" y="10124"/>
                      </a:lnTo>
                      <a:cubicBezTo>
                        <a:pt x="43749" y="1718"/>
                        <a:pt x="53376" y="-2234"/>
                        <a:pt x="61783" y="1287"/>
                      </a:cubicBezTo>
                      <a:cubicBezTo>
                        <a:pt x="70189" y="4807"/>
                        <a:pt x="74141" y="14435"/>
                        <a:pt x="70620" y="22841"/>
                      </a:cubicBezTo>
                      <a:lnTo>
                        <a:pt x="31678" y="116315"/>
                      </a:lnTo>
                      <a:cubicBezTo>
                        <a:pt x="29020" y="122638"/>
                        <a:pt x="22913" y="126446"/>
                        <a:pt x="16447" y="126446"/>
                      </a:cubicBezTo>
                      <a:close/>
                    </a:path>
                  </a:pathLst>
                </a:custGeom>
                <a:grpFill/>
                <a:ln w="3592" cap="flat">
                  <a:gradFill>
                    <a:gsLst>
                      <a:gs pos="0">
                        <a:srgbClr val="E39100"/>
                      </a:gs>
                      <a:gs pos="50000">
                        <a:srgbClr val="D86900"/>
                      </a:gs>
                      <a:gs pos="100000">
                        <a:srgbClr val="CD4100"/>
                      </a:gs>
                    </a:gsLst>
                    <a:lin ang="18221908" scaled="1"/>
                  </a:gradFill>
                  <a:prstDash val="solid"/>
                  <a:miter/>
                </a:ln>
              </p:spPr>
              <p:txBody>
                <a:bodyPr rtlCol="0" anchor="ctr"/>
                <a:lstStyle/>
                <a:p>
                  <a:endParaRPr lang="pt-BR" dirty="0"/>
                </a:p>
              </p:txBody>
            </p:sp>
            <p:sp>
              <p:nvSpPr>
                <p:cNvPr id="198" name="Forma Livre: Forma 197">
                  <a:extLst>
                    <a:ext uri="{FF2B5EF4-FFF2-40B4-BE49-F238E27FC236}">
                      <a16:creationId xmlns:a16="http://schemas.microsoft.com/office/drawing/2014/main" id="{4654F30C-0EBE-FB30-3501-ED087FD2B724}"/>
                    </a:ext>
                  </a:extLst>
                </p:cNvPr>
                <p:cNvSpPr/>
                <p:nvPr>
                  <p:custDataLst>
                    <p:tags r:id="rId39"/>
                  </p:custDataLst>
                </p:nvPr>
              </p:nvSpPr>
              <p:spPr>
                <a:xfrm>
                  <a:off x="2819735" y="885753"/>
                  <a:ext cx="188636" cy="187936"/>
                </a:xfrm>
                <a:custGeom>
                  <a:avLst/>
                  <a:gdLst>
                    <a:gd name="connsiteX0" fmla="*/ 16435 w 188636"/>
                    <a:gd name="connsiteY0" fmla="*/ 187936 h 187936"/>
                    <a:gd name="connsiteX1" fmla="*/ 4796 w 188636"/>
                    <a:gd name="connsiteY1" fmla="*/ 183122 h 187936"/>
                    <a:gd name="connsiteX2" fmla="*/ 4796 w 188636"/>
                    <a:gd name="connsiteY2" fmla="*/ 159844 h 187936"/>
                    <a:gd name="connsiteX3" fmla="*/ 160562 w 188636"/>
                    <a:gd name="connsiteY3" fmla="*/ 4796 h 187936"/>
                    <a:gd name="connsiteX4" fmla="*/ 183841 w 188636"/>
                    <a:gd name="connsiteY4" fmla="*/ 4796 h 187936"/>
                    <a:gd name="connsiteX5" fmla="*/ 183841 w 188636"/>
                    <a:gd name="connsiteY5" fmla="*/ 28075 h 187936"/>
                    <a:gd name="connsiteX6" fmla="*/ 28075 w 188636"/>
                    <a:gd name="connsiteY6" fmla="*/ 183122 h 187936"/>
                    <a:gd name="connsiteX7" fmla="*/ 16435 w 188636"/>
                    <a:gd name="connsiteY7" fmla="*/ 187936 h 18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636" h="187936">
                      <a:moveTo>
                        <a:pt x="16435" y="187936"/>
                      </a:moveTo>
                      <a:cubicBezTo>
                        <a:pt x="12196" y="187936"/>
                        <a:pt x="7957" y="186356"/>
                        <a:pt x="4796" y="183122"/>
                      </a:cubicBezTo>
                      <a:cubicBezTo>
                        <a:pt x="-1599" y="176656"/>
                        <a:pt x="-1599" y="166238"/>
                        <a:pt x="4796" y="159844"/>
                      </a:cubicBezTo>
                      <a:lnTo>
                        <a:pt x="160562" y="4796"/>
                      </a:lnTo>
                      <a:cubicBezTo>
                        <a:pt x="167029" y="-1599"/>
                        <a:pt x="177446" y="-1599"/>
                        <a:pt x="183841" y="4796"/>
                      </a:cubicBezTo>
                      <a:cubicBezTo>
                        <a:pt x="190235" y="11262"/>
                        <a:pt x="190235" y="21680"/>
                        <a:pt x="183841" y="28075"/>
                      </a:cubicBezTo>
                      <a:lnTo>
                        <a:pt x="28075" y="183122"/>
                      </a:lnTo>
                      <a:cubicBezTo>
                        <a:pt x="24841" y="186284"/>
                        <a:pt x="20674" y="187936"/>
                        <a:pt x="16435" y="187936"/>
                      </a:cubicBezTo>
                      <a:close/>
                    </a:path>
                  </a:pathLst>
                </a:custGeom>
                <a:grpFill/>
                <a:ln w="3592" cap="flat">
                  <a:gradFill>
                    <a:gsLst>
                      <a:gs pos="0">
                        <a:srgbClr val="E39100"/>
                      </a:gs>
                      <a:gs pos="50000">
                        <a:srgbClr val="D86900"/>
                      </a:gs>
                      <a:gs pos="100000">
                        <a:srgbClr val="CD4100"/>
                      </a:gs>
                    </a:gsLst>
                    <a:lin ang="18221132" scaled="1"/>
                  </a:gradFill>
                  <a:prstDash val="solid"/>
                  <a:miter/>
                </a:ln>
              </p:spPr>
              <p:txBody>
                <a:bodyPr rtlCol="0" anchor="ctr"/>
                <a:lstStyle/>
                <a:p>
                  <a:endParaRPr lang="pt-BR" dirty="0"/>
                </a:p>
              </p:txBody>
            </p:sp>
          </p:grpSp>
        </p:grpSp>
        <p:grpSp>
          <p:nvGrpSpPr>
            <p:cNvPr id="180" name="Gráfico 8">
              <a:extLst>
                <a:ext uri="{FF2B5EF4-FFF2-40B4-BE49-F238E27FC236}">
                  <a16:creationId xmlns:a16="http://schemas.microsoft.com/office/drawing/2014/main" id="{806FD7F6-FD3C-98B7-16AD-123457F53A28}"/>
                </a:ext>
              </a:extLst>
            </p:cNvPr>
            <p:cNvGrpSpPr/>
            <p:nvPr>
              <p:custDataLst>
                <p:tags r:id="rId21"/>
              </p:custDataLst>
            </p:nvPr>
          </p:nvGrpSpPr>
          <p:grpSpPr>
            <a:xfrm>
              <a:off x="2259350" y="1351788"/>
              <a:ext cx="749637" cy="280949"/>
              <a:chOff x="2259350" y="1351788"/>
              <a:chExt cx="749637" cy="280949"/>
            </a:xfrm>
            <a:grpFill/>
          </p:grpSpPr>
          <p:grpSp>
            <p:nvGrpSpPr>
              <p:cNvPr id="186" name="Gráfico 8">
                <a:extLst>
                  <a:ext uri="{FF2B5EF4-FFF2-40B4-BE49-F238E27FC236}">
                    <a16:creationId xmlns:a16="http://schemas.microsoft.com/office/drawing/2014/main" id="{93E9AFDB-C765-0520-8389-16242BC3CBC4}"/>
                  </a:ext>
                </a:extLst>
              </p:cNvPr>
              <p:cNvGrpSpPr/>
              <p:nvPr>
                <p:custDataLst>
                  <p:tags r:id="rId27"/>
                </p:custDataLst>
              </p:nvPr>
            </p:nvGrpSpPr>
            <p:grpSpPr>
              <a:xfrm>
                <a:off x="2259350" y="1351788"/>
                <a:ext cx="281517" cy="280949"/>
                <a:chOff x="2259350" y="1351788"/>
                <a:chExt cx="281517" cy="280949"/>
              </a:xfrm>
              <a:grpFill/>
            </p:grpSpPr>
            <p:sp>
              <p:nvSpPr>
                <p:cNvPr id="191" name="Forma Livre: Forma 190">
                  <a:extLst>
                    <a:ext uri="{FF2B5EF4-FFF2-40B4-BE49-F238E27FC236}">
                      <a16:creationId xmlns:a16="http://schemas.microsoft.com/office/drawing/2014/main" id="{EDE61537-5C50-C330-7B44-91BC0DABC9E5}"/>
                    </a:ext>
                  </a:extLst>
                </p:cNvPr>
                <p:cNvSpPr/>
                <p:nvPr>
                  <p:custDataLst>
                    <p:tags r:id="rId32"/>
                  </p:custDataLst>
                </p:nvPr>
              </p:nvSpPr>
              <p:spPr>
                <a:xfrm>
                  <a:off x="2259350" y="1351788"/>
                  <a:ext cx="124848" cy="70938"/>
                </a:xfrm>
                <a:custGeom>
                  <a:avLst/>
                  <a:gdLst>
                    <a:gd name="connsiteX0" fmla="*/ 16477 w 124848"/>
                    <a:gd name="connsiteY0" fmla="*/ 70938 h 70938"/>
                    <a:gd name="connsiteX1" fmla="*/ 1245 w 124848"/>
                    <a:gd name="connsiteY1" fmla="*/ 60807 h 70938"/>
                    <a:gd name="connsiteX2" fmla="*/ 10155 w 124848"/>
                    <a:gd name="connsiteY2" fmla="*/ 39325 h 70938"/>
                    <a:gd name="connsiteX3" fmla="*/ 102120 w 124848"/>
                    <a:gd name="connsiteY3" fmla="*/ 1246 h 70938"/>
                    <a:gd name="connsiteX4" fmla="*/ 123603 w 124848"/>
                    <a:gd name="connsiteY4" fmla="*/ 10155 h 70938"/>
                    <a:gd name="connsiteX5" fmla="*/ 114693 w 124848"/>
                    <a:gd name="connsiteY5" fmla="*/ 31637 h 70938"/>
                    <a:gd name="connsiteX6" fmla="*/ 22728 w 124848"/>
                    <a:gd name="connsiteY6" fmla="*/ 69717 h 70938"/>
                    <a:gd name="connsiteX7" fmla="*/ 16405 w 124848"/>
                    <a:gd name="connsiteY7" fmla="*/ 70938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47" h="70938">
                      <a:moveTo>
                        <a:pt x="16477" y="70938"/>
                      </a:moveTo>
                      <a:cubicBezTo>
                        <a:pt x="10011" y="70938"/>
                        <a:pt x="3904" y="67130"/>
                        <a:pt x="1245" y="60807"/>
                      </a:cubicBezTo>
                      <a:cubicBezTo>
                        <a:pt x="-2203" y="52401"/>
                        <a:pt x="1748" y="42774"/>
                        <a:pt x="10155" y="39325"/>
                      </a:cubicBezTo>
                      <a:lnTo>
                        <a:pt x="102120" y="1246"/>
                      </a:lnTo>
                      <a:cubicBezTo>
                        <a:pt x="110526" y="-2203"/>
                        <a:pt x="120154" y="1748"/>
                        <a:pt x="123603" y="10155"/>
                      </a:cubicBezTo>
                      <a:cubicBezTo>
                        <a:pt x="127051" y="18561"/>
                        <a:pt x="123100" y="28188"/>
                        <a:pt x="114693" y="31637"/>
                      </a:cubicBezTo>
                      <a:lnTo>
                        <a:pt x="22728" y="69717"/>
                      </a:lnTo>
                      <a:cubicBezTo>
                        <a:pt x="20644" y="70579"/>
                        <a:pt x="18561" y="70938"/>
                        <a:pt x="16405" y="70938"/>
                      </a:cubicBezTo>
                      <a:close/>
                    </a:path>
                  </a:pathLst>
                </a:custGeom>
                <a:grpFill/>
                <a:ln w="3592" cap="flat">
                  <a:gradFill>
                    <a:gsLst>
                      <a:gs pos="0">
                        <a:srgbClr val="E39100"/>
                      </a:gs>
                      <a:gs pos="50000">
                        <a:srgbClr val="D86900"/>
                      </a:gs>
                      <a:gs pos="100000">
                        <a:srgbClr val="CD4100"/>
                      </a:gs>
                    </a:gsLst>
                    <a:lin ang="18221404" scaled="1"/>
                  </a:gradFill>
                  <a:prstDash val="solid"/>
                  <a:miter/>
                </a:ln>
              </p:spPr>
              <p:txBody>
                <a:bodyPr rtlCol="0" anchor="ctr"/>
                <a:lstStyle/>
                <a:p>
                  <a:endParaRPr lang="pt-BR" dirty="0"/>
                </a:p>
              </p:txBody>
            </p:sp>
            <p:sp>
              <p:nvSpPr>
                <p:cNvPr id="192" name="Forma Livre: Forma 191">
                  <a:extLst>
                    <a:ext uri="{FF2B5EF4-FFF2-40B4-BE49-F238E27FC236}">
                      <a16:creationId xmlns:a16="http://schemas.microsoft.com/office/drawing/2014/main" id="{84C15BBA-9A38-2F4B-6863-44666E11D234}"/>
                    </a:ext>
                  </a:extLst>
                </p:cNvPr>
                <p:cNvSpPr/>
                <p:nvPr>
                  <p:custDataLst>
                    <p:tags r:id="rId33"/>
                  </p:custDataLst>
                </p:nvPr>
              </p:nvSpPr>
              <p:spPr>
                <a:xfrm>
                  <a:off x="2469033" y="1506292"/>
                  <a:ext cx="71834" cy="126445"/>
                </a:xfrm>
                <a:custGeom>
                  <a:avLst/>
                  <a:gdLst>
                    <a:gd name="connsiteX0" fmla="*/ 16446 w 71834"/>
                    <a:gd name="connsiteY0" fmla="*/ 126446 h 126445"/>
                    <a:gd name="connsiteX1" fmla="*/ 10124 w 71834"/>
                    <a:gd name="connsiteY1" fmla="*/ 125153 h 126445"/>
                    <a:gd name="connsiteX2" fmla="*/ 1287 w 71834"/>
                    <a:gd name="connsiteY2" fmla="*/ 103598 h 126445"/>
                    <a:gd name="connsiteX3" fmla="*/ 40156 w 71834"/>
                    <a:gd name="connsiteY3" fmla="*/ 10124 h 126445"/>
                    <a:gd name="connsiteX4" fmla="*/ 61711 w 71834"/>
                    <a:gd name="connsiteY4" fmla="*/ 1287 h 126445"/>
                    <a:gd name="connsiteX5" fmla="*/ 70548 w 71834"/>
                    <a:gd name="connsiteY5" fmla="*/ 22841 h 126445"/>
                    <a:gd name="connsiteX6" fmla="*/ 31678 w 71834"/>
                    <a:gd name="connsiteY6" fmla="*/ 116315 h 126445"/>
                    <a:gd name="connsiteX7" fmla="*/ 16446 w 71834"/>
                    <a:gd name="connsiteY7" fmla="*/ 126446 h 126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34" h="126445">
                      <a:moveTo>
                        <a:pt x="16446" y="126446"/>
                      </a:moveTo>
                      <a:cubicBezTo>
                        <a:pt x="14363" y="126446"/>
                        <a:pt x="12207" y="126015"/>
                        <a:pt x="10124" y="125153"/>
                      </a:cubicBezTo>
                      <a:cubicBezTo>
                        <a:pt x="1718" y="121632"/>
                        <a:pt x="-2234" y="112004"/>
                        <a:pt x="1287" y="103598"/>
                      </a:cubicBezTo>
                      <a:lnTo>
                        <a:pt x="40156" y="10124"/>
                      </a:lnTo>
                      <a:cubicBezTo>
                        <a:pt x="43605" y="1718"/>
                        <a:pt x="53304" y="-2234"/>
                        <a:pt x="61711" y="1287"/>
                      </a:cubicBezTo>
                      <a:cubicBezTo>
                        <a:pt x="70117" y="4807"/>
                        <a:pt x="74069" y="14435"/>
                        <a:pt x="70548" y="22841"/>
                      </a:cubicBezTo>
                      <a:lnTo>
                        <a:pt x="31678" y="116315"/>
                      </a:lnTo>
                      <a:cubicBezTo>
                        <a:pt x="29020" y="122638"/>
                        <a:pt x="22913" y="126446"/>
                        <a:pt x="16446" y="126446"/>
                      </a:cubicBezTo>
                      <a:close/>
                    </a:path>
                  </a:pathLst>
                </a:custGeom>
                <a:grpFill/>
                <a:ln w="3592" cap="flat">
                  <a:gradFill>
                    <a:gsLst>
                      <a:gs pos="0">
                        <a:srgbClr val="E39100"/>
                      </a:gs>
                      <a:gs pos="50000">
                        <a:srgbClr val="D86900"/>
                      </a:gs>
                      <a:gs pos="100000">
                        <a:srgbClr val="CD4100"/>
                      </a:gs>
                    </a:gsLst>
                    <a:lin ang="18221908" scaled="1"/>
                  </a:gradFill>
                  <a:prstDash val="solid"/>
                  <a:miter/>
                </a:ln>
              </p:spPr>
              <p:txBody>
                <a:bodyPr rtlCol="0" anchor="ctr"/>
                <a:lstStyle/>
                <a:p>
                  <a:endParaRPr lang="pt-BR" dirty="0"/>
                </a:p>
              </p:txBody>
            </p:sp>
            <p:sp>
              <p:nvSpPr>
                <p:cNvPr id="193" name="Forma Livre: Forma 192">
                  <a:extLst>
                    <a:ext uri="{FF2B5EF4-FFF2-40B4-BE49-F238E27FC236}">
                      <a16:creationId xmlns:a16="http://schemas.microsoft.com/office/drawing/2014/main" id="{F7F16717-CF05-E36D-432E-178B2DC55706}"/>
                    </a:ext>
                  </a:extLst>
                </p:cNvPr>
                <p:cNvSpPr/>
                <p:nvPr>
                  <p:custDataLst>
                    <p:tags r:id="rId34"/>
                  </p:custDataLst>
                </p:nvPr>
              </p:nvSpPr>
              <p:spPr>
                <a:xfrm>
                  <a:off x="2260111" y="1442718"/>
                  <a:ext cx="188636" cy="187936"/>
                </a:xfrm>
                <a:custGeom>
                  <a:avLst/>
                  <a:gdLst>
                    <a:gd name="connsiteX0" fmla="*/ 16435 w 188636"/>
                    <a:gd name="connsiteY0" fmla="*/ 187936 h 187936"/>
                    <a:gd name="connsiteX1" fmla="*/ 4796 w 188636"/>
                    <a:gd name="connsiteY1" fmla="*/ 183123 h 187936"/>
                    <a:gd name="connsiteX2" fmla="*/ 4796 w 188636"/>
                    <a:gd name="connsiteY2" fmla="*/ 159844 h 187936"/>
                    <a:gd name="connsiteX3" fmla="*/ 160562 w 188636"/>
                    <a:gd name="connsiteY3" fmla="*/ 4796 h 187936"/>
                    <a:gd name="connsiteX4" fmla="*/ 183841 w 188636"/>
                    <a:gd name="connsiteY4" fmla="*/ 4796 h 187936"/>
                    <a:gd name="connsiteX5" fmla="*/ 183841 w 188636"/>
                    <a:gd name="connsiteY5" fmla="*/ 28075 h 187936"/>
                    <a:gd name="connsiteX6" fmla="*/ 28075 w 188636"/>
                    <a:gd name="connsiteY6" fmla="*/ 183123 h 187936"/>
                    <a:gd name="connsiteX7" fmla="*/ 16435 w 188636"/>
                    <a:gd name="connsiteY7" fmla="*/ 187936 h 18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636" h="187936">
                      <a:moveTo>
                        <a:pt x="16435" y="187936"/>
                      </a:moveTo>
                      <a:cubicBezTo>
                        <a:pt x="12196" y="187936"/>
                        <a:pt x="7957" y="186356"/>
                        <a:pt x="4796" y="183123"/>
                      </a:cubicBezTo>
                      <a:cubicBezTo>
                        <a:pt x="-1599" y="176656"/>
                        <a:pt x="-1599" y="166238"/>
                        <a:pt x="4796" y="159844"/>
                      </a:cubicBezTo>
                      <a:lnTo>
                        <a:pt x="160562" y="4796"/>
                      </a:lnTo>
                      <a:cubicBezTo>
                        <a:pt x="167028" y="-1599"/>
                        <a:pt x="177447" y="-1599"/>
                        <a:pt x="183841" y="4796"/>
                      </a:cubicBezTo>
                      <a:cubicBezTo>
                        <a:pt x="190235" y="11262"/>
                        <a:pt x="190235" y="21680"/>
                        <a:pt x="183841" y="28075"/>
                      </a:cubicBezTo>
                      <a:lnTo>
                        <a:pt x="28075" y="183123"/>
                      </a:lnTo>
                      <a:cubicBezTo>
                        <a:pt x="24841" y="186284"/>
                        <a:pt x="20674" y="187936"/>
                        <a:pt x="16435" y="187936"/>
                      </a:cubicBezTo>
                      <a:close/>
                    </a:path>
                  </a:pathLst>
                </a:custGeom>
                <a:grpFill/>
                <a:ln w="3592" cap="flat">
                  <a:gradFill>
                    <a:gsLst>
                      <a:gs pos="0">
                        <a:srgbClr val="E39100"/>
                      </a:gs>
                      <a:gs pos="50000">
                        <a:srgbClr val="D86900"/>
                      </a:gs>
                      <a:gs pos="100000">
                        <a:srgbClr val="CD4100"/>
                      </a:gs>
                    </a:gsLst>
                    <a:lin ang="18221676" scaled="1"/>
                  </a:gradFill>
                  <a:prstDash val="solid"/>
                  <a:miter/>
                </a:ln>
              </p:spPr>
              <p:txBody>
                <a:bodyPr rtlCol="0" anchor="ctr"/>
                <a:lstStyle/>
                <a:p>
                  <a:endParaRPr lang="pt-BR" dirty="0"/>
                </a:p>
              </p:txBody>
            </p:sp>
          </p:grpSp>
          <p:grpSp>
            <p:nvGrpSpPr>
              <p:cNvPr id="187" name="Gráfico 8">
                <a:extLst>
                  <a:ext uri="{FF2B5EF4-FFF2-40B4-BE49-F238E27FC236}">
                    <a16:creationId xmlns:a16="http://schemas.microsoft.com/office/drawing/2014/main" id="{2D990418-BB40-A2A6-BB11-1C332E4E821D}"/>
                  </a:ext>
                </a:extLst>
              </p:cNvPr>
              <p:cNvGrpSpPr/>
              <p:nvPr>
                <p:custDataLst>
                  <p:tags r:id="rId28"/>
                </p:custDataLst>
              </p:nvPr>
            </p:nvGrpSpPr>
            <p:grpSpPr>
              <a:xfrm>
                <a:off x="2727480" y="1351788"/>
                <a:ext cx="281507" cy="280949"/>
                <a:chOff x="2727480" y="1351788"/>
                <a:chExt cx="281507" cy="280949"/>
              </a:xfrm>
              <a:grpFill/>
            </p:grpSpPr>
            <p:sp>
              <p:nvSpPr>
                <p:cNvPr id="188" name="Forma Livre: Forma 187">
                  <a:extLst>
                    <a:ext uri="{FF2B5EF4-FFF2-40B4-BE49-F238E27FC236}">
                      <a16:creationId xmlns:a16="http://schemas.microsoft.com/office/drawing/2014/main" id="{1A7E3FDA-1BEE-FDA7-7451-9BD6438345D1}"/>
                    </a:ext>
                  </a:extLst>
                </p:cNvPr>
                <p:cNvSpPr/>
                <p:nvPr>
                  <p:custDataLst>
                    <p:tags r:id="rId29"/>
                  </p:custDataLst>
                </p:nvPr>
              </p:nvSpPr>
              <p:spPr>
                <a:xfrm>
                  <a:off x="2884140" y="1351788"/>
                  <a:ext cx="124848" cy="70938"/>
                </a:xfrm>
                <a:custGeom>
                  <a:avLst/>
                  <a:gdLst>
                    <a:gd name="connsiteX0" fmla="*/ 108443 w 124848"/>
                    <a:gd name="connsiteY0" fmla="*/ 70938 h 70938"/>
                    <a:gd name="connsiteX1" fmla="*/ 102120 w 124848"/>
                    <a:gd name="connsiteY1" fmla="*/ 69717 h 70938"/>
                    <a:gd name="connsiteX2" fmla="*/ 10155 w 124848"/>
                    <a:gd name="connsiteY2" fmla="*/ 31637 h 70938"/>
                    <a:gd name="connsiteX3" fmla="*/ 1245 w 124848"/>
                    <a:gd name="connsiteY3" fmla="*/ 10155 h 70938"/>
                    <a:gd name="connsiteX4" fmla="*/ 22728 w 124848"/>
                    <a:gd name="connsiteY4" fmla="*/ 1246 h 70938"/>
                    <a:gd name="connsiteX5" fmla="*/ 114693 w 124848"/>
                    <a:gd name="connsiteY5" fmla="*/ 39325 h 70938"/>
                    <a:gd name="connsiteX6" fmla="*/ 123603 w 124848"/>
                    <a:gd name="connsiteY6" fmla="*/ 60807 h 70938"/>
                    <a:gd name="connsiteX7" fmla="*/ 108371 w 124848"/>
                    <a:gd name="connsiteY7" fmla="*/ 70938 h 7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847" h="70938">
                      <a:moveTo>
                        <a:pt x="108443" y="70938"/>
                      </a:moveTo>
                      <a:cubicBezTo>
                        <a:pt x="106359" y="70938"/>
                        <a:pt x="104204" y="70507"/>
                        <a:pt x="102120" y="69717"/>
                      </a:cubicBezTo>
                      <a:lnTo>
                        <a:pt x="10155" y="31637"/>
                      </a:lnTo>
                      <a:cubicBezTo>
                        <a:pt x="1748" y="28188"/>
                        <a:pt x="-2203" y="18561"/>
                        <a:pt x="1245" y="10155"/>
                      </a:cubicBezTo>
                      <a:cubicBezTo>
                        <a:pt x="4694" y="1748"/>
                        <a:pt x="14394" y="-2203"/>
                        <a:pt x="22728" y="1246"/>
                      </a:cubicBezTo>
                      <a:lnTo>
                        <a:pt x="114693" y="39325"/>
                      </a:lnTo>
                      <a:cubicBezTo>
                        <a:pt x="123100" y="42774"/>
                        <a:pt x="127051" y="52401"/>
                        <a:pt x="123603" y="60807"/>
                      </a:cubicBezTo>
                      <a:cubicBezTo>
                        <a:pt x="120944" y="67130"/>
                        <a:pt x="114837" y="70938"/>
                        <a:pt x="108371" y="70938"/>
                      </a:cubicBezTo>
                      <a:close/>
                    </a:path>
                  </a:pathLst>
                </a:custGeom>
                <a:grpFill/>
                <a:ln w="3592" cap="flat">
                  <a:gradFill>
                    <a:gsLst>
                      <a:gs pos="0">
                        <a:srgbClr val="E39100"/>
                      </a:gs>
                      <a:gs pos="50000">
                        <a:srgbClr val="D86900"/>
                      </a:gs>
                      <a:gs pos="100000">
                        <a:srgbClr val="CD4100"/>
                      </a:gs>
                    </a:gsLst>
                    <a:lin ang="18222632" scaled="1"/>
                  </a:gradFill>
                  <a:prstDash val="solid"/>
                  <a:miter/>
                </a:ln>
              </p:spPr>
              <p:txBody>
                <a:bodyPr rtlCol="0" anchor="ctr"/>
                <a:lstStyle/>
                <a:p>
                  <a:endParaRPr lang="pt-BR" dirty="0"/>
                </a:p>
              </p:txBody>
            </p:sp>
            <p:sp>
              <p:nvSpPr>
                <p:cNvPr id="189" name="Forma Livre: Forma 188">
                  <a:extLst>
                    <a:ext uri="{FF2B5EF4-FFF2-40B4-BE49-F238E27FC236}">
                      <a16:creationId xmlns:a16="http://schemas.microsoft.com/office/drawing/2014/main" id="{CC8229B7-2F53-4918-70E4-5EB52D5DB933}"/>
                    </a:ext>
                  </a:extLst>
                </p:cNvPr>
                <p:cNvSpPr/>
                <p:nvPr>
                  <p:custDataLst>
                    <p:tags r:id="rId30"/>
                  </p:custDataLst>
                </p:nvPr>
              </p:nvSpPr>
              <p:spPr>
                <a:xfrm>
                  <a:off x="2727480" y="1506332"/>
                  <a:ext cx="71886" cy="126405"/>
                </a:xfrm>
                <a:custGeom>
                  <a:avLst/>
                  <a:gdLst>
                    <a:gd name="connsiteX0" fmla="*/ 55450 w 71886"/>
                    <a:gd name="connsiteY0" fmla="*/ 126406 h 126405"/>
                    <a:gd name="connsiteX1" fmla="*/ 40218 w 71886"/>
                    <a:gd name="connsiteY1" fmla="*/ 116275 h 126405"/>
                    <a:gd name="connsiteX2" fmla="*/ 1277 w 71886"/>
                    <a:gd name="connsiteY2" fmla="*/ 22801 h 126405"/>
                    <a:gd name="connsiteX3" fmla="*/ 10114 w 71886"/>
                    <a:gd name="connsiteY3" fmla="*/ 1247 h 126405"/>
                    <a:gd name="connsiteX4" fmla="*/ 31668 w 71886"/>
                    <a:gd name="connsiteY4" fmla="*/ 10084 h 126405"/>
                    <a:gd name="connsiteX5" fmla="*/ 70610 w 71886"/>
                    <a:gd name="connsiteY5" fmla="*/ 103558 h 126405"/>
                    <a:gd name="connsiteX6" fmla="*/ 61773 w 71886"/>
                    <a:gd name="connsiteY6" fmla="*/ 125112 h 126405"/>
                    <a:gd name="connsiteX7" fmla="*/ 55450 w 71886"/>
                    <a:gd name="connsiteY7" fmla="*/ 126406 h 12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86" h="126405">
                      <a:moveTo>
                        <a:pt x="55450" y="126406"/>
                      </a:moveTo>
                      <a:cubicBezTo>
                        <a:pt x="48984" y="126406"/>
                        <a:pt x="42877" y="122598"/>
                        <a:pt x="40218" y="116275"/>
                      </a:cubicBezTo>
                      <a:lnTo>
                        <a:pt x="1277" y="22801"/>
                      </a:lnTo>
                      <a:cubicBezTo>
                        <a:pt x="-2244" y="14395"/>
                        <a:pt x="1780" y="4767"/>
                        <a:pt x="10114" y="1247"/>
                      </a:cubicBezTo>
                      <a:cubicBezTo>
                        <a:pt x="18520" y="-2202"/>
                        <a:pt x="28148" y="1749"/>
                        <a:pt x="31668" y="10084"/>
                      </a:cubicBezTo>
                      <a:lnTo>
                        <a:pt x="70610" y="103558"/>
                      </a:lnTo>
                      <a:cubicBezTo>
                        <a:pt x="74130" y="111964"/>
                        <a:pt x="70107" y="121592"/>
                        <a:pt x="61773" y="125112"/>
                      </a:cubicBezTo>
                      <a:cubicBezTo>
                        <a:pt x="59689" y="125975"/>
                        <a:pt x="57534" y="126406"/>
                        <a:pt x="55450" y="126406"/>
                      </a:cubicBezTo>
                      <a:close/>
                    </a:path>
                  </a:pathLst>
                </a:custGeom>
                <a:grpFill/>
                <a:ln w="3592" cap="flat">
                  <a:gradFill>
                    <a:gsLst>
                      <a:gs pos="0">
                        <a:srgbClr val="E39100"/>
                      </a:gs>
                      <a:gs pos="50000">
                        <a:srgbClr val="D86900"/>
                      </a:gs>
                      <a:gs pos="100000">
                        <a:srgbClr val="CD4100"/>
                      </a:gs>
                    </a:gsLst>
                    <a:lin ang="18220664" scaled="1"/>
                  </a:gradFill>
                  <a:prstDash val="solid"/>
                  <a:miter/>
                </a:ln>
              </p:spPr>
              <p:txBody>
                <a:bodyPr rtlCol="0" anchor="ctr"/>
                <a:lstStyle/>
                <a:p>
                  <a:endParaRPr lang="pt-BR" dirty="0"/>
                </a:p>
              </p:txBody>
            </p:sp>
            <p:sp>
              <p:nvSpPr>
                <p:cNvPr id="190" name="Forma Livre: Forma 189">
                  <a:extLst>
                    <a:ext uri="{FF2B5EF4-FFF2-40B4-BE49-F238E27FC236}">
                      <a16:creationId xmlns:a16="http://schemas.microsoft.com/office/drawing/2014/main" id="{90FDDBDD-1182-E62A-3DAF-F1A5C4D01A8E}"/>
                    </a:ext>
                  </a:extLst>
                </p:cNvPr>
                <p:cNvSpPr/>
                <p:nvPr>
                  <p:custDataLst>
                    <p:tags r:id="rId31"/>
                  </p:custDataLst>
                </p:nvPr>
              </p:nvSpPr>
              <p:spPr>
                <a:xfrm>
                  <a:off x="2819681" y="1442664"/>
                  <a:ext cx="188744" cy="187990"/>
                </a:xfrm>
                <a:custGeom>
                  <a:avLst/>
                  <a:gdLst>
                    <a:gd name="connsiteX0" fmla="*/ 172256 w 188744"/>
                    <a:gd name="connsiteY0" fmla="*/ 187990 h 187990"/>
                    <a:gd name="connsiteX1" fmla="*/ 160616 w 188744"/>
                    <a:gd name="connsiteY1" fmla="*/ 183176 h 187990"/>
                    <a:gd name="connsiteX2" fmla="*/ 4850 w 188744"/>
                    <a:gd name="connsiteY2" fmla="*/ 28128 h 187990"/>
                    <a:gd name="connsiteX3" fmla="*/ 4850 w 188744"/>
                    <a:gd name="connsiteY3" fmla="*/ 4850 h 187990"/>
                    <a:gd name="connsiteX4" fmla="*/ 28129 w 188744"/>
                    <a:gd name="connsiteY4" fmla="*/ 4850 h 187990"/>
                    <a:gd name="connsiteX5" fmla="*/ 183895 w 188744"/>
                    <a:gd name="connsiteY5" fmla="*/ 159898 h 187990"/>
                    <a:gd name="connsiteX6" fmla="*/ 183895 w 188744"/>
                    <a:gd name="connsiteY6" fmla="*/ 183176 h 187990"/>
                    <a:gd name="connsiteX7" fmla="*/ 172256 w 188744"/>
                    <a:gd name="connsiteY7" fmla="*/ 187990 h 187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744" h="187990">
                      <a:moveTo>
                        <a:pt x="172256" y="187990"/>
                      </a:moveTo>
                      <a:cubicBezTo>
                        <a:pt x="168088" y="187990"/>
                        <a:pt x="163849" y="186410"/>
                        <a:pt x="160616" y="183176"/>
                      </a:cubicBezTo>
                      <a:lnTo>
                        <a:pt x="4850" y="28128"/>
                      </a:lnTo>
                      <a:cubicBezTo>
                        <a:pt x="-1617" y="21734"/>
                        <a:pt x="-1617" y="11316"/>
                        <a:pt x="4850" y="4850"/>
                      </a:cubicBezTo>
                      <a:cubicBezTo>
                        <a:pt x="11244" y="-1617"/>
                        <a:pt x="21662" y="-1617"/>
                        <a:pt x="28129" y="4850"/>
                      </a:cubicBezTo>
                      <a:lnTo>
                        <a:pt x="183895" y="159898"/>
                      </a:lnTo>
                      <a:cubicBezTo>
                        <a:pt x="190361" y="166292"/>
                        <a:pt x="190361" y="176710"/>
                        <a:pt x="183895" y="183176"/>
                      </a:cubicBezTo>
                      <a:cubicBezTo>
                        <a:pt x="180662" y="186410"/>
                        <a:pt x="176423" y="187990"/>
                        <a:pt x="172256" y="187990"/>
                      </a:cubicBezTo>
                      <a:close/>
                    </a:path>
                  </a:pathLst>
                </a:custGeom>
                <a:grpFill/>
                <a:ln w="3592" cap="flat">
                  <a:gradFill>
                    <a:gsLst>
                      <a:gs pos="0">
                        <a:srgbClr val="E39100"/>
                      </a:gs>
                      <a:gs pos="50000">
                        <a:srgbClr val="D86900"/>
                      </a:gs>
                      <a:gs pos="100000">
                        <a:srgbClr val="CD4100"/>
                      </a:gs>
                    </a:gsLst>
                    <a:lin ang="18220540" scaled="1"/>
                  </a:gradFill>
                  <a:prstDash val="solid"/>
                  <a:miter/>
                </a:ln>
              </p:spPr>
              <p:txBody>
                <a:bodyPr rtlCol="0" anchor="ctr"/>
                <a:lstStyle/>
                <a:p>
                  <a:endParaRPr lang="pt-BR" dirty="0"/>
                </a:p>
              </p:txBody>
            </p:sp>
          </p:grpSp>
        </p:grpSp>
        <p:sp>
          <p:nvSpPr>
            <p:cNvPr id="181" name="Forma Livre: Forma 180">
              <a:extLst>
                <a:ext uri="{FF2B5EF4-FFF2-40B4-BE49-F238E27FC236}">
                  <a16:creationId xmlns:a16="http://schemas.microsoft.com/office/drawing/2014/main" id="{ED279DE1-AD0D-B8C0-ABAA-005EF6A9F231}"/>
                </a:ext>
              </a:extLst>
            </p:cNvPr>
            <p:cNvSpPr/>
            <p:nvPr>
              <p:custDataLst>
                <p:tags r:id="rId22"/>
              </p:custDataLst>
            </p:nvPr>
          </p:nvSpPr>
          <p:spPr>
            <a:xfrm>
              <a:off x="2411558" y="1036050"/>
              <a:ext cx="445582" cy="445591"/>
            </a:xfrm>
            <a:custGeom>
              <a:avLst/>
              <a:gdLst>
                <a:gd name="connsiteX0" fmla="*/ 222863 w 445582"/>
                <a:gd name="connsiteY0" fmla="*/ 445592 h 445591"/>
                <a:gd name="connsiteX1" fmla="*/ 137508 w 445582"/>
                <a:gd name="connsiteY1" fmla="*/ 428492 h 445591"/>
                <a:gd name="connsiteX2" fmla="*/ 16947 w 445582"/>
                <a:gd name="connsiteY2" fmla="*/ 308003 h 445591"/>
                <a:gd name="connsiteX3" fmla="*/ 137508 w 445582"/>
                <a:gd name="connsiteY3" fmla="*/ 16947 h 445591"/>
                <a:gd name="connsiteX4" fmla="*/ 137508 w 445582"/>
                <a:gd name="connsiteY4" fmla="*/ 16947 h 445591"/>
                <a:gd name="connsiteX5" fmla="*/ 428564 w 445582"/>
                <a:gd name="connsiteY5" fmla="*/ 137508 h 445591"/>
                <a:gd name="connsiteX6" fmla="*/ 428492 w 445582"/>
                <a:gd name="connsiteY6" fmla="*/ 307931 h 445591"/>
                <a:gd name="connsiteX7" fmla="*/ 308003 w 445582"/>
                <a:gd name="connsiteY7" fmla="*/ 428492 h 445591"/>
                <a:gd name="connsiteX8" fmla="*/ 222935 w 445582"/>
                <a:gd name="connsiteY8" fmla="*/ 445520 h 445591"/>
                <a:gd name="connsiteX9" fmla="*/ 150009 w 445582"/>
                <a:gd name="connsiteY9" fmla="*/ 47410 h 445591"/>
                <a:gd name="connsiteX10" fmla="*/ 150009 w 445582"/>
                <a:gd name="connsiteY10" fmla="*/ 47410 h 445591"/>
                <a:gd name="connsiteX11" fmla="*/ 47267 w 445582"/>
                <a:gd name="connsiteY11" fmla="*/ 295429 h 445591"/>
                <a:gd name="connsiteX12" fmla="*/ 150081 w 445582"/>
                <a:gd name="connsiteY12" fmla="*/ 398100 h 445591"/>
                <a:gd name="connsiteX13" fmla="*/ 295358 w 445582"/>
                <a:gd name="connsiteY13" fmla="*/ 398172 h 445591"/>
                <a:gd name="connsiteX14" fmla="*/ 398028 w 445582"/>
                <a:gd name="connsiteY14" fmla="*/ 295429 h 445591"/>
                <a:gd name="connsiteX15" fmla="*/ 398100 w 445582"/>
                <a:gd name="connsiteY15" fmla="*/ 150153 h 445591"/>
                <a:gd name="connsiteX16" fmla="*/ 150081 w 445582"/>
                <a:gd name="connsiteY16" fmla="*/ 47410 h 44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5582" h="445590">
                  <a:moveTo>
                    <a:pt x="222863" y="445592"/>
                  </a:moveTo>
                  <a:cubicBezTo>
                    <a:pt x="193980" y="445592"/>
                    <a:pt x="165026" y="439916"/>
                    <a:pt x="137508" y="428492"/>
                  </a:cubicBezTo>
                  <a:cubicBezTo>
                    <a:pt x="82472" y="405716"/>
                    <a:pt x="39651" y="362895"/>
                    <a:pt x="16947" y="308003"/>
                  </a:cubicBezTo>
                  <a:cubicBezTo>
                    <a:pt x="-30042" y="194483"/>
                    <a:pt x="24060" y="63935"/>
                    <a:pt x="137508" y="16947"/>
                  </a:cubicBezTo>
                  <a:lnTo>
                    <a:pt x="137508" y="16947"/>
                  </a:lnTo>
                  <a:cubicBezTo>
                    <a:pt x="251028" y="-30042"/>
                    <a:pt x="381575" y="24060"/>
                    <a:pt x="428564" y="137508"/>
                  </a:cubicBezTo>
                  <a:cubicBezTo>
                    <a:pt x="451268" y="192399"/>
                    <a:pt x="451268" y="252967"/>
                    <a:pt x="428492" y="307931"/>
                  </a:cubicBezTo>
                  <a:cubicBezTo>
                    <a:pt x="405716" y="362967"/>
                    <a:pt x="362895" y="405788"/>
                    <a:pt x="308003" y="428492"/>
                  </a:cubicBezTo>
                  <a:cubicBezTo>
                    <a:pt x="280629" y="439844"/>
                    <a:pt x="251746" y="445520"/>
                    <a:pt x="222935" y="445520"/>
                  </a:cubicBezTo>
                  <a:close/>
                  <a:moveTo>
                    <a:pt x="150009" y="47410"/>
                  </a:moveTo>
                  <a:lnTo>
                    <a:pt x="150009" y="47410"/>
                  </a:lnTo>
                  <a:cubicBezTo>
                    <a:pt x="53302" y="87430"/>
                    <a:pt x="7247" y="198722"/>
                    <a:pt x="47267" y="295429"/>
                  </a:cubicBezTo>
                  <a:cubicBezTo>
                    <a:pt x="66666" y="342202"/>
                    <a:pt x="103164" y="378629"/>
                    <a:pt x="150081" y="398100"/>
                  </a:cubicBezTo>
                  <a:cubicBezTo>
                    <a:pt x="196998" y="417499"/>
                    <a:pt x="248585" y="417571"/>
                    <a:pt x="295358" y="398172"/>
                  </a:cubicBezTo>
                  <a:cubicBezTo>
                    <a:pt x="342131" y="378773"/>
                    <a:pt x="378558" y="342346"/>
                    <a:pt x="398028" y="295429"/>
                  </a:cubicBezTo>
                  <a:cubicBezTo>
                    <a:pt x="417499" y="248513"/>
                    <a:pt x="417499" y="196926"/>
                    <a:pt x="398100" y="150153"/>
                  </a:cubicBezTo>
                  <a:cubicBezTo>
                    <a:pt x="358081" y="53445"/>
                    <a:pt x="246788" y="7391"/>
                    <a:pt x="150081" y="47410"/>
                  </a:cubicBezTo>
                  <a:close/>
                </a:path>
              </a:pathLst>
            </a:custGeom>
            <a:grpFill/>
            <a:ln w="3592" cap="flat">
              <a:gradFill>
                <a:gsLst>
                  <a:gs pos="0">
                    <a:srgbClr val="E39100"/>
                  </a:gs>
                  <a:gs pos="50000">
                    <a:srgbClr val="D86900"/>
                  </a:gs>
                  <a:gs pos="100000">
                    <a:srgbClr val="CD4100"/>
                  </a:gs>
                </a:gsLst>
                <a:lin ang="18221558" scaled="1"/>
              </a:gradFill>
              <a:prstDash val="solid"/>
              <a:miter/>
            </a:ln>
          </p:spPr>
          <p:txBody>
            <a:bodyPr rtlCol="0" anchor="ctr"/>
            <a:lstStyle/>
            <a:p>
              <a:endParaRPr lang="pt-BR" dirty="0"/>
            </a:p>
          </p:txBody>
        </p:sp>
        <p:sp>
          <p:nvSpPr>
            <p:cNvPr id="182" name="Forma Livre: Forma 181">
              <a:extLst>
                <a:ext uri="{FF2B5EF4-FFF2-40B4-BE49-F238E27FC236}">
                  <a16:creationId xmlns:a16="http://schemas.microsoft.com/office/drawing/2014/main" id="{E13D8B98-E5CD-74AF-2891-3865DD6C7AC1}"/>
                </a:ext>
              </a:extLst>
            </p:cNvPr>
            <p:cNvSpPr/>
            <p:nvPr>
              <p:custDataLst>
                <p:tags r:id="rId23"/>
              </p:custDataLst>
            </p:nvPr>
          </p:nvSpPr>
          <p:spPr>
            <a:xfrm>
              <a:off x="2617752" y="736866"/>
              <a:ext cx="32906" cy="252186"/>
            </a:xfrm>
            <a:custGeom>
              <a:avLst/>
              <a:gdLst>
                <a:gd name="connsiteX0" fmla="*/ 16453 w 32906"/>
                <a:gd name="connsiteY0" fmla="*/ 252186 h 252186"/>
                <a:gd name="connsiteX1" fmla="*/ 0 w 32906"/>
                <a:gd name="connsiteY1" fmla="*/ 235733 h 252186"/>
                <a:gd name="connsiteX2" fmla="*/ 0 w 32906"/>
                <a:gd name="connsiteY2" fmla="*/ 16453 h 252186"/>
                <a:gd name="connsiteX3" fmla="*/ 16453 w 32906"/>
                <a:gd name="connsiteY3" fmla="*/ 0 h 252186"/>
                <a:gd name="connsiteX4" fmla="*/ 32906 w 32906"/>
                <a:gd name="connsiteY4" fmla="*/ 16453 h 252186"/>
                <a:gd name="connsiteX5" fmla="*/ 32906 w 32906"/>
                <a:gd name="connsiteY5" fmla="*/ 235733 h 252186"/>
                <a:gd name="connsiteX6" fmla="*/ 16453 w 32906"/>
                <a:gd name="connsiteY6" fmla="*/ 252186 h 25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6" h="252185">
                  <a:moveTo>
                    <a:pt x="16453" y="252186"/>
                  </a:moveTo>
                  <a:cubicBezTo>
                    <a:pt x="7329" y="252186"/>
                    <a:pt x="0" y="244858"/>
                    <a:pt x="0" y="235733"/>
                  </a:cubicBezTo>
                  <a:lnTo>
                    <a:pt x="0" y="16453"/>
                  </a:lnTo>
                  <a:cubicBezTo>
                    <a:pt x="0" y="7328"/>
                    <a:pt x="7329" y="0"/>
                    <a:pt x="16453" y="0"/>
                  </a:cubicBezTo>
                  <a:cubicBezTo>
                    <a:pt x="25578" y="0"/>
                    <a:pt x="32906" y="7328"/>
                    <a:pt x="32906" y="16453"/>
                  </a:cubicBezTo>
                  <a:lnTo>
                    <a:pt x="32906" y="235733"/>
                  </a:lnTo>
                  <a:cubicBezTo>
                    <a:pt x="32906" y="244858"/>
                    <a:pt x="25578" y="252186"/>
                    <a:pt x="16453" y="252186"/>
                  </a:cubicBezTo>
                  <a:close/>
                </a:path>
              </a:pathLst>
            </a:custGeom>
            <a:grpFill/>
            <a:ln w="3592" cap="flat">
              <a:gradFill>
                <a:gsLst>
                  <a:gs pos="0">
                    <a:srgbClr val="E39100"/>
                  </a:gs>
                  <a:gs pos="50000">
                    <a:srgbClr val="D86900"/>
                  </a:gs>
                  <a:gs pos="100000">
                    <a:srgbClr val="CD4100"/>
                  </a:gs>
                </a:gsLst>
                <a:lin ang="18220778" scaled="1"/>
              </a:gradFill>
              <a:prstDash val="solid"/>
              <a:miter/>
            </a:ln>
          </p:spPr>
          <p:txBody>
            <a:bodyPr rtlCol="0" anchor="ctr"/>
            <a:lstStyle/>
            <a:p>
              <a:endParaRPr lang="pt-BR" dirty="0"/>
            </a:p>
          </p:txBody>
        </p:sp>
        <p:sp>
          <p:nvSpPr>
            <p:cNvPr id="183" name="Forma Livre: Forma 182">
              <a:extLst>
                <a:ext uri="{FF2B5EF4-FFF2-40B4-BE49-F238E27FC236}">
                  <a16:creationId xmlns:a16="http://schemas.microsoft.com/office/drawing/2014/main" id="{E06CE6A4-1E32-22A9-80E3-1E6EF7C59DF7}"/>
                </a:ext>
              </a:extLst>
            </p:cNvPr>
            <p:cNvSpPr/>
            <p:nvPr>
              <p:custDataLst>
                <p:tags r:id="rId24"/>
              </p:custDataLst>
            </p:nvPr>
          </p:nvSpPr>
          <p:spPr>
            <a:xfrm>
              <a:off x="2617752" y="1528630"/>
              <a:ext cx="32906" cy="252114"/>
            </a:xfrm>
            <a:custGeom>
              <a:avLst/>
              <a:gdLst>
                <a:gd name="connsiteX0" fmla="*/ 16453 w 32906"/>
                <a:gd name="connsiteY0" fmla="*/ 252114 h 252114"/>
                <a:gd name="connsiteX1" fmla="*/ 0 w 32906"/>
                <a:gd name="connsiteY1" fmla="*/ 235661 h 252114"/>
                <a:gd name="connsiteX2" fmla="*/ 0 w 32906"/>
                <a:gd name="connsiteY2" fmla="*/ 16453 h 252114"/>
                <a:gd name="connsiteX3" fmla="*/ 16453 w 32906"/>
                <a:gd name="connsiteY3" fmla="*/ 0 h 252114"/>
                <a:gd name="connsiteX4" fmla="*/ 32906 w 32906"/>
                <a:gd name="connsiteY4" fmla="*/ 16453 h 252114"/>
                <a:gd name="connsiteX5" fmla="*/ 32906 w 32906"/>
                <a:gd name="connsiteY5" fmla="*/ 235661 h 252114"/>
                <a:gd name="connsiteX6" fmla="*/ 16453 w 32906"/>
                <a:gd name="connsiteY6" fmla="*/ 252114 h 252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06" h="252114">
                  <a:moveTo>
                    <a:pt x="16453" y="252114"/>
                  </a:moveTo>
                  <a:cubicBezTo>
                    <a:pt x="7400" y="252114"/>
                    <a:pt x="0" y="244786"/>
                    <a:pt x="0" y="235661"/>
                  </a:cubicBezTo>
                  <a:lnTo>
                    <a:pt x="0" y="16453"/>
                  </a:lnTo>
                  <a:cubicBezTo>
                    <a:pt x="0" y="7400"/>
                    <a:pt x="7329" y="0"/>
                    <a:pt x="16453" y="0"/>
                  </a:cubicBezTo>
                  <a:cubicBezTo>
                    <a:pt x="25578" y="0"/>
                    <a:pt x="32906" y="7329"/>
                    <a:pt x="32906" y="16453"/>
                  </a:cubicBezTo>
                  <a:lnTo>
                    <a:pt x="32906" y="235661"/>
                  </a:lnTo>
                  <a:cubicBezTo>
                    <a:pt x="32906" y="244714"/>
                    <a:pt x="25578" y="252114"/>
                    <a:pt x="16453" y="252114"/>
                  </a:cubicBezTo>
                  <a:close/>
                </a:path>
              </a:pathLst>
            </a:custGeom>
            <a:grpFill/>
            <a:ln w="3592" cap="flat">
              <a:gradFill>
                <a:gsLst>
                  <a:gs pos="0">
                    <a:srgbClr val="E39100"/>
                  </a:gs>
                  <a:gs pos="50000">
                    <a:srgbClr val="D86900"/>
                  </a:gs>
                  <a:gs pos="100000">
                    <a:srgbClr val="CD4100"/>
                  </a:gs>
                </a:gsLst>
                <a:lin ang="18221404" scaled="1"/>
              </a:gradFill>
              <a:prstDash val="solid"/>
              <a:miter/>
            </a:ln>
          </p:spPr>
          <p:txBody>
            <a:bodyPr rtlCol="0" anchor="ctr"/>
            <a:lstStyle/>
            <a:p>
              <a:endParaRPr lang="pt-BR" dirty="0"/>
            </a:p>
          </p:txBody>
        </p:sp>
        <p:sp>
          <p:nvSpPr>
            <p:cNvPr id="184" name="Forma Livre: Forma 183">
              <a:extLst>
                <a:ext uri="{FF2B5EF4-FFF2-40B4-BE49-F238E27FC236}">
                  <a16:creationId xmlns:a16="http://schemas.microsoft.com/office/drawing/2014/main" id="{4591A351-7D85-E0CB-E780-981B413373F3}"/>
                </a:ext>
              </a:extLst>
            </p:cNvPr>
            <p:cNvSpPr/>
            <p:nvPr>
              <p:custDataLst>
                <p:tags r:id="rId25"/>
              </p:custDataLst>
            </p:nvPr>
          </p:nvSpPr>
          <p:spPr>
            <a:xfrm>
              <a:off x="2903994" y="1242316"/>
              <a:ext cx="252186" cy="32906"/>
            </a:xfrm>
            <a:custGeom>
              <a:avLst/>
              <a:gdLst>
                <a:gd name="connsiteX0" fmla="*/ 235733 w 252186"/>
                <a:gd name="connsiteY0" fmla="*/ 32906 h 32906"/>
                <a:gd name="connsiteX1" fmla="*/ 16453 w 252186"/>
                <a:gd name="connsiteY1" fmla="*/ 32906 h 32906"/>
                <a:gd name="connsiteX2" fmla="*/ 0 w 252186"/>
                <a:gd name="connsiteY2" fmla="*/ 16453 h 32906"/>
                <a:gd name="connsiteX3" fmla="*/ 16453 w 252186"/>
                <a:gd name="connsiteY3" fmla="*/ 0 h 32906"/>
                <a:gd name="connsiteX4" fmla="*/ 235733 w 252186"/>
                <a:gd name="connsiteY4" fmla="*/ 0 h 32906"/>
                <a:gd name="connsiteX5" fmla="*/ 252186 w 252186"/>
                <a:gd name="connsiteY5" fmla="*/ 16453 h 32906"/>
                <a:gd name="connsiteX6" fmla="*/ 235733 w 252186"/>
                <a:gd name="connsiteY6" fmla="*/ 32906 h 3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185" h="32906">
                  <a:moveTo>
                    <a:pt x="235733" y="32906"/>
                  </a:moveTo>
                  <a:lnTo>
                    <a:pt x="16453" y="32906"/>
                  </a:lnTo>
                  <a:cubicBezTo>
                    <a:pt x="7329" y="32906"/>
                    <a:pt x="0" y="25578"/>
                    <a:pt x="0" y="16453"/>
                  </a:cubicBezTo>
                  <a:cubicBezTo>
                    <a:pt x="0" y="7329"/>
                    <a:pt x="7329" y="0"/>
                    <a:pt x="16453" y="0"/>
                  </a:cubicBezTo>
                  <a:lnTo>
                    <a:pt x="235733" y="0"/>
                  </a:lnTo>
                  <a:cubicBezTo>
                    <a:pt x="244858" y="0"/>
                    <a:pt x="252186" y="7329"/>
                    <a:pt x="252186" y="16453"/>
                  </a:cubicBezTo>
                  <a:cubicBezTo>
                    <a:pt x="252186" y="25578"/>
                    <a:pt x="244858" y="32906"/>
                    <a:pt x="235733" y="32906"/>
                  </a:cubicBezTo>
                  <a:close/>
                </a:path>
              </a:pathLst>
            </a:custGeom>
            <a:grpFill/>
            <a:ln w="3592" cap="flat">
              <a:gradFill>
                <a:gsLst>
                  <a:gs pos="0">
                    <a:srgbClr val="E39100"/>
                  </a:gs>
                  <a:gs pos="50000">
                    <a:srgbClr val="D86900"/>
                  </a:gs>
                  <a:gs pos="100000">
                    <a:srgbClr val="CD4100"/>
                  </a:gs>
                </a:gsLst>
                <a:lin ang="18221838" scaled="1"/>
              </a:gradFill>
              <a:prstDash val="solid"/>
              <a:miter/>
            </a:ln>
          </p:spPr>
          <p:txBody>
            <a:bodyPr rtlCol="0" anchor="ctr"/>
            <a:lstStyle/>
            <a:p>
              <a:endParaRPr lang="pt-BR" dirty="0"/>
            </a:p>
          </p:txBody>
        </p:sp>
        <p:sp>
          <p:nvSpPr>
            <p:cNvPr id="185" name="Forma Livre: Forma 184">
              <a:extLst>
                <a:ext uri="{FF2B5EF4-FFF2-40B4-BE49-F238E27FC236}">
                  <a16:creationId xmlns:a16="http://schemas.microsoft.com/office/drawing/2014/main" id="{28EBB37D-466B-959E-EA22-0542D1BC7DBC}"/>
                </a:ext>
              </a:extLst>
            </p:cNvPr>
            <p:cNvSpPr/>
            <p:nvPr>
              <p:custDataLst>
                <p:tags r:id="rId26"/>
              </p:custDataLst>
            </p:nvPr>
          </p:nvSpPr>
          <p:spPr>
            <a:xfrm>
              <a:off x="2112302" y="1242388"/>
              <a:ext cx="252114" cy="32906"/>
            </a:xfrm>
            <a:custGeom>
              <a:avLst/>
              <a:gdLst>
                <a:gd name="connsiteX0" fmla="*/ 16453 w 252114"/>
                <a:gd name="connsiteY0" fmla="*/ 32906 h 32906"/>
                <a:gd name="connsiteX1" fmla="*/ 0 w 252114"/>
                <a:gd name="connsiteY1" fmla="*/ 16453 h 32906"/>
                <a:gd name="connsiteX2" fmla="*/ 16453 w 252114"/>
                <a:gd name="connsiteY2" fmla="*/ 0 h 32906"/>
                <a:gd name="connsiteX3" fmla="*/ 235661 w 252114"/>
                <a:gd name="connsiteY3" fmla="*/ 0 h 32906"/>
                <a:gd name="connsiteX4" fmla="*/ 252114 w 252114"/>
                <a:gd name="connsiteY4" fmla="*/ 16453 h 32906"/>
                <a:gd name="connsiteX5" fmla="*/ 235661 w 252114"/>
                <a:gd name="connsiteY5" fmla="*/ 32906 h 32906"/>
                <a:gd name="connsiteX6" fmla="*/ 16453 w 252114"/>
                <a:gd name="connsiteY6" fmla="*/ 32906 h 3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114" h="32906">
                  <a:moveTo>
                    <a:pt x="16453" y="32906"/>
                  </a:moveTo>
                  <a:cubicBezTo>
                    <a:pt x="7400" y="32906"/>
                    <a:pt x="0" y="25578"/>
                    <a:pt x="0" y="16453"/>
                  </a:cubicBezTo>
                  <a:cubicBezTo>
                    <a:pt x="0" y="7328"/>
                    <a:pt x="7329" y="0"/>
                    <a:pt x="16453" y="0"/>
                  </a:cubicBezTo>
                  <a:lnTo>
                    <a:pt x="235661" y="0"/>
                  </a:lnTo>
                  <a:cubicBezTo>
                    <a:pt x="244714" y="0"/>
                    <a:pt x="252114" y="7328"/>
                    <a:pt x="252114" y="16453"/>
                  </a:cubicBezTo>
                  <a:cubicBezTo>
                    <a:pt x="252114" y="25578"/>
                    <a:pt x="244786" y="32906"/>
                    <a:pt x="235661" y="32906"/>
                  </a:cubicBezTo>
                  <a:lnTo>
                    <a:pt x="16453" y="32906"/>
                  </a:lnTo>
                  <a:close/>
                </a:path>
              </a:pathLst>
            </a:custGeom>
            <a:grpFill/>
            <a:ln w="3592" cap="flat">
              <a:gradFill>
                <a:gsLst>
                  <a:gs pos="0">
                    <a:srgbClr val="E39100"/>
                  </a:gs>
                  <a:gs pos="50000">
                    <a:srgbClr val="D86900"/>
                  </a:gs>
                  <a:gs pos="100000">
                    <a:srgbClr val="CD4100"/>
                  </a:gs>
                </a:gsLst>
                <a:lin ang="18221838" scaled="1"/>
              </a:gradFill>
              <a:prstDash val="solid"/>
              <a:miter/>
            </a:ln>
          </p:spPr>
          <p:txBody>
            <a:bodyPr rtlCol="0" anchor="ctr"/>
            <a:lstStyle/>
            <a:p>
              <a:endParaRPr lang="pt-BR" dirty="0"/>
            </a:p>
          </p:txBody>
        </p:sp>
      </p:grpSp>
      <p:sp>
        <p:nvSpPr>
          <p:cNvPr id="14" name="CaixaDeTexto 13">
            <a:extLst>
              <a:ext uri="{FF2B5EF4-FFF2-40B4-BE49-F238E27FC236}">
                <a16:creationId xmlns:a16="http://schemas.microsoft.com/office/drawing/2014/main" id="{19D95C7F-25DA-438C-2FB6-E6E1914429A7}"/>
              </a:ext>
            </a:extLst>
          </p:cNvPr>
          <p:cNvSpPr txBox="1"/>
          <p:nvPr>
            <p:custDataLst>
              <p:tags r:id="rId19"/>
            </p:custDataLst>
          </p:nvPr>
        </p:nvSpPr>
        <p:spPr>
          <a:xfrm>
            <a:off x="646911" y="161735"/>
            <a:ext cx="1544581"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SUSTAINABILITY</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ecarbonization and social value generation </a:t>
            </a:r>
          </a:p>
        </p:txBody>
      </p:sp>
      <p:grpSp>
        <p:nvGrpSpPr>
          <p:cNvPr id="2" name="Agrupar 1">
            <a:extLst>
              <a:ext uri="{FF2B5EF4-FFF2-40B4-BE49-F238E27FC236}">
                <a16:creationId xmlns:a16="http://schemas.microsoft.com/office/drawing/2014/main" id="{47FF929C-B311-D454-17AE-BABD61F174FF}"/>
              </a:ext>
            </a:extLst>
          </p:cNvPr>
          <p:cNvGrpSpPr/>
          <p:nvPr/>
        </p:nvGrpSpPr>
        <p:grpSpPr>
          <a:xfrm>
            <a:off x="223872" y="163247"/>
            <a:ext cx="312606" cy="353271"/>
            <a:chOff x="223872" y="163247"/>
            <a:chExt cx="312606" cy="353271"/>
          </a:xfrm>
        </p:grpSpPr>
        <p:sp>
          <p:nvSpPr>
            <p:cNvPr id="3" name="Forma Livre: Forma 2">
              <a:extLst>
                <a:ext uri="{FF2B5EF4-FFF2-40B4-BE49-F238E27FC236}">
                  <a16:creationId xmlns:a16="http://schemas.microsoft.com/office/drawing/2014/main" id="{4FA2CDF0-C6BA-4EEE-9F70-6692D201B7BE}"/>
                </a:ext>
              </a:extLst>
            </p:cNvPr>
            <p:cNvSpPr/>
            <p:nvPr/>
          </p:nvSpPr>
          <p:spPr>
            <a:xfrm>
              <a:off x="223872" y="163247"/>
              <a:ext cx="312606" cy="345244"/>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a:p>
          </p:txBody>
        </p:sp>
        <p:sp>
          <p:nvSpPr>
            <p:cNvPr id="4" name="CaixaDeTexto 3">
              <a:extLst>
                <a:ext uri="{FF2B5EF4-FFF2-40B4-BE49-F238E27FC236}">
                  <a16:creationId xmlns:a16="http://schemas.microsoft.com/office/drawing/2014/main" id="{40F7A14B-C3B7-1A43-A1CA-01F09FC3647A}"/>
                </a:ext>
              </a:extLst>
            </p:cNvPr>
            <p:cNvSpPr txBox="1"/>
            <p:nvPr/>
          </p:nvSpPr>
          <p:spPr>
            <a:xfrm>
              <a:off x="323691" y="241058"/>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2</a:t>
              </a:r>
            </a:p>
          </p:txBody>
        </p:sp>
      </p:grpSp>
      <p:pic>
        <p:nvPicPr>
          <p:cNvPr id="5" name="Imagem 4" descr="Uma imagem contendo Interface gráfica do usuário&#10;&#10;Descrição gerada automaticamente">
            <a:extLst>
              <a:ext uri="{FF2B5EF4-FFF2-40B4-BE49-F238E27FC236}">
                <a16:creationId xmlns:a16="http://schemas.microsoft.com/office/drawing/2014/main" id="{5C2267CF-ED67-769D-C1C9-B3D951A17D4C}"/>
              </a:ext>
            </a:extLst>
          </p:cNvPr>
          <p:cNvPicPr>
            <a:picLocks noChangeAspect="1"/>
          </p:cNvPicPr>
          <p:nvPr/>
        </p:nvPicPr>
        <p:blipFill>
          <a:blip r:embed="rId107"/>
          <a:stretch>
            <a:fillRect/>
          </a:stretch>
        </p:blipFill>
        <p:spPr>
          <a:xfrm>
            <a:off x="8039840" y="60434"/>
            <a:ext cx="920231" cy="509571"/>
          </a:xfrm>
          <a:prstGeom prst="rect">
            <a:avLst/>
          </a:prstGeom>
        </p:spPr>
      </p:pic>
    </p:spTree>
    <p:extLst>
      <p:ext uri="{BB962C8B-B14F-4D97-AF65-F5344CB8AC3E}">
        <p14:creationId xmlns:p14="http://schemas.microsoft.com/office/powerpoint/2010/main" val="3355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35" presetClass="path" presetSubtype="0" accel="17000" decel="83000" fill="hold" grpId="1" nodeType="withEffect">
                                  <p:stCondLst>
                                    <p:cond delay="250"/>
                                  </p:stCondLst>
                                  <p:childTnLst>
                                    <p:animMotion origin="layout" path="M 0.02046 2.33616E-06 L -1.52408E-06 2.33616E-06" pathEditMode="relative" rAng="0" ptsTypes="AA">
                                      <p:cBhvr>
                                        <p:cTn id="9" dur="1100" fill="hold"/>
                                        <p:tgtEl>
                                          <p:spTgt spid="26"/>
                                        </p:tgtEl>
                                        <p:attrNameLst>
                                          <p:attrName>ppt_x</p:attrName>
                                          <p:attrName>ppt_y</p:attrName>
                                        </p:attrNameLst>
                                      </p:cBhvr>
                                      <p:rCtr x="-1023" y="0"/>
                                    </p:animMotion>
                                  </p:childTnLst>
                                </p:cTn>
                              </p:par>
                              <p:par>
                                <p:cTn id="10" presetID="10" presetClass="entr" presetSubtype="0" fill="hold" nodeType="with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childTnLst>
                                </p:cTn>
                              </p:par>
                              <p:par>
                                <p:cTn id="13" presetID="10"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1000"/>
                                        <p:tgtEl>
                                          <p:spTgt spid="25"/>
                                        </p:tgtEl>
                                      </p:cBhvr>
                                    </p:animEffect>
                                  </p:childTnLst>
                                </p:cTn>
                              </p:par>
                              <p:par>
                                <p:cTn id="16" presetID="53" presetClass="entr" presetSubtype="0" fill="hold" nodeType="withEffect">
                                  <p:stCondLst>
                                    <p:cond delay="500"/>
                                  </p:stCondLst>
                                  <p:childTnLst>
                                    <p:set>
                                      <p:cBhvr>
                                        <p:cTn id="17" dur="1" fill="hold">
                                          <p:stCondLst>
                                            <p:cond delay="0"/>
                                          </p:stCondLst>
                                        </p:cTn>
                                        <p:tgtEl>
                                          <p:spTgt spid="107"/>
                                        </p:tgtEl>
                                        <p:attrNameLst>
                                          <p:attrName>style.visibility</p:attrName>
                                        </p:attrNameLst>
                                      </p:cBhvr>
                                      <p:to>
                                        <p:strVal val="visible"/>
                                      </p:to>
                                    </p:set>
                                    <p:anim calcmode="lin" valueType="num">
                                      <p:cBhvr>
                                        <p:cTn id="18" dur="500" fill="hold"/>
                                        <p:tgtEl>
                                          <p:spTgt spid="107"/>
                                        </p:tgtEl>
                                        <p:attrNameLst>
                                          <p:attrName>ppt_w</p:attrName>
                                        </p:attrNameLst>
                                      </p:cBhvr>
                                      <p:tavLst>
                                        <p:tav tm="0">
                                          <p:val>
                                            <p:fltVal val="0"/>
                                          </p:val>
                                        </p:tav>
                                        <p:tav tm="100000">
                                          <p:val>
                                            <p:strVal val="#ppt_w"/>
                                          </p:val>
                                        </p:tav>
                                      </p:tavLst>
                                    </p:anim>
                                    <p:anim calcmode="lin" valueType="num">
                                      <p:cBhvr>
                                        <p:cTn id="19" dur="500" fill="hold"/>
                                        <p:tgtEl>
                                          <p:spTgt spid="107"/>
                                        </p:tgtEl>
                                        <p:attrNameLst>
                                          <p:attrName>ppt_h</p:attrName>
                                        </p:attrNameLst>
                                      </p:cBhvr>
                                      <p:tavLst>
                                        <p:tav tm="0">
                                          <p:val>
                                            <p:fltVal val="0"/>
                                          </p:val>
                                        </p:tav>
                                        <p:tav tm="100000">
                                          <p:val>
                                            <p:strVal val="#ppt_h"/>
                                          </p:val>
                                        </p:tav>
                                      </p:tavLst>
                                    </p:anim>
                                    <p:animEffect transition="in" filter="fade">
                                      <p:cBhvr>
                                        <p:cTn id="20" dur="500"/>
                                        <p:tgtEl>
                                          <p:spTgt spid="107"/>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31"/>
                                        </p:tgtEl>
                                        <p:attrNameLst>
                                          <p:attrName>style.visibility</p:attrName>
                                        </p:attrNameLst>
                                      </p:cBhvr>
                                      <p:to>
                                        <p:strVal val="visible"/>
                                      </p:to>
                                    </p:set>
                                    <p:animEffect transition="in" filter="fade">
                                      <p:cBhvr>
                                        <p:cTn id="23" dur="500"/>
                                        <p:tgtEl>
                                          <p:spTgt spid="131"/>
                                        </p:tgtEl>
                                      </p:cBhvr>
                                    </p:animEffect>
                                  </p:childTnLst>
                                </p:cTn>
                              </p:par>
                              <p:par>
                                <p:cTn id="24" presetID="35" presetClass="path" presetSubtype="0" accel="17000" decel="83000" fill="hold" grpId="1" nodeType="withEffect">
                                  <p:stCondLst>
                                    <p:cond delay="500"/>
                                  </p:stCondLst>
                                  <p:childTnLst>
                                    <p:animMotion origin="layout" path="M -0.00106 0.06177 L 8.62586E-07 4.88554E-06" pathEditMode="relative" rAng="0" ptsTypes="AA">
                                      <p:cBhvr>
                                        <p:cTn id="25" dur="1100" fill="hold"/>
                                        <p:tgtEl>
                                          <p:spTgt spid="131"/>
                                        </p:tgtEl>
                                        <p:attrNameLst>
                                          <p:attrName>ppt_x</p:attrName>
                                          <p:attrName>ppt_y</p:attrName>
                                        </p:attrNameLst>
                                      </p:cBhvr>
                                      <p:rCtr x="53" y="-3104"/>
                                    </p:animMotion>
                                  </p:childTnLst>
                                </p:cTn>
                              </p:par>
                              <p:par>
                                <p:cTn id="26" presetID="10" presetClass="entr" presetSubtype="0" fill="hold" nodeType="withEffect">
                                  <p:stCondLst>
                                    <p:cond delay="750"/>
                                  </p:stCondLst>
                                  <p:childTnLst>
                                    <p:set>
                                      <p:cBhvr>
                                        <p:cTn id="27" dur="1" fill="hold">
                                          <p:stCondLst>
                                            <p:cond delay="0"/>
                                          </p:stCondLst>
                                        </p:cTn>
                                        <p:tgtEl>
                                          <p:spTgt spid="175"/>
                                        </p:tgtEl>
                                        <p:attrNameLst>
                                          <p:attrName>style.visibility</p:attrName>
                                        </p:attrNameLst>
                                      </p:cBhvr>
                                      <p:to>
                                        <p:strVal val="visible"/>
                                      </p:to>
                                    </p:set>
                                    <p:animEffect transition="in" filter="fade">
                                      <p:cBhvr>
                                        <p:cTn id="28" dur="500"/>
                                        <p:tgtEl>
                                          <p:spTgt spid="175"/>
                                        </p:tgtEl>
                                      </p:cBhvr>
                                    </p:animEffect>
                                  </p:childTnLst>
                                </p:cTn>
                              </p:par>
                              <p:par>
                                <p:cTn id="29" presetID="35" presetClass="path" presetSubtype="0" accel="17000" decel="83000" fill="hold" nodeType="withEffect">
                                  <p:stCondLst>
                                    <p:cond delay="750"/>
                                  </p:stCondLst>
                                  <p:childTnLst>
                                    <p:animMotion origin="layout" path="M -0.00106 0.06177 L 8.62586E-07 4.88554E-06" pathEditMode="relative" rAng="0" ptsTypes="AA">
                                      <p:cBhvr>
                                        <p:cTn id="30" dur="1100" fill="hold"/>
                                        <p:tgtEl>
                                          <p:spTgt spid="175"/>
                                        </p:tgtEl>
                                        <p:attrNameLst>
                                          <p:attrName>ppt_x</p:attrName>
                                          <p:attrName>ppt_y</p:attrName>
                                        </p:attrNameLst>
                                      </p:cBhvr>
                                      <p:rCtr x="53" y="-3104"/>
                                    </p:animMotion>
                                  </p:childTnLst>
                                </p:cTn>
                              </p:par>
                              <p:par>
                                <p:cTn id="31" presetID="2" presetClass="entr" presetSubtype="4" decel="100000" fill="hold" nodeType="withEffect">
                                  <p:stCondLst>
                                    <p:cond delay="750"/>
                                  </p:stCondLst>
                                  <p:childTnLst>
                                    <p:set>
                                      <p:cBhvr>
                                        <p:cTn id="32" dur="1" fill="hold">
                                          <p:stCondLst>
                                            <p:cond delay="0"/>
                                          </p:stCondLst>
                                        </p:cTn>
                                        <p:tgtEl>
                                          <p:spTgt spid="171"/>
                                        </p:tgtEl>
                                        <p:attrNameLst>
                                          <p:attrName>style.visibility</p:attrName>
                                        </p:attrNameLst>
                                      </p:cBhvr>
                                      <p:to>
                                        <p:strVal val="visible"/>
                                      </p:to>
                                    </p:set>
                                    <p:anim calcmode="lin" valueType="num">
                                      <p:cBhvr additive="base">
                                        <p:cTn id="33" dur="500" fill="hold"/>
                                        <p:tgtEl>
                                          <p:spTgt spid="171"/>
                                        </p:tgtEl>
                                        <p:attrNameLst>
                                          <p:attrName>ppt_x</p:attrName>
                                        </p:attrNameLst>
                                      </p:cBhvr>
                                      <p:tavLst>
                                        <p:tav tm="0">
                                          <p:val>
                                            <p:strVal val="#ppt_x"/>
                                          </p:val>
                                        </p:tav>
                                        <p:tav tm="100000">
                                          <p:val>
                                            <p:strVal val="#ppt_x"/>
                                          </p:val>
                                        </p:tav>
                                      </p:tavLst>
                                    </p:anim>
                                    <p:anim calcmode="lin" valueType="num">
                                      <p:cBhvr additive="base">
                                        <p:cTn id="34" dur="500" fill="hold"/>
                                        <p:tgtEl>
                                          <p:spTgt spid="171"/>
                                        </p:tgtEl>
                                        <p:attrNameLst>
                                          <p:attrName>ppt_y</p:attrName>
                                        </p:attrNameLst>
                                      </p:cBhvr>
                                      <p:tavLst>
                                        <p:tav tm="0">
                                          <p:val>
                                            <p:strVal val="1+#ppt_h/2"/>
                                          </p:val>
                                        </p:tav>
                                        <p:tav tm="100000">
                                          <p:val>
                                            <p:strVal val="#ppt_y"/>
                                          </p:val>
                                        </p:tav>
                                      </p:tavLst>
                                    </p:anim>
                                  </p:childTnLst>
                                </p:cTn>
                              </p:par>
                              <p:par>
                                <p:cTn id="35" presetID="53" presetClass="entr" presetSubtype="0" fill="hold" nodeType="withEffect">
                                  <p:stCondLst>
                                    <p:cond delay="1000"/>
                                  </p:stCondLst>
                                  <p:childTnLst>
                                    <p:set>
                                      <p:cBhvr>
                                        <p:cTn id="36" dur="1" fill="hold">
                                          <p:stCondLst>
                                            <p:cond delay="0"/>
                                          </p:stCondLst>
                                        </p:cTn>
                                        <p:tgtEl>
                                          <p:spTgt spid="121"/>
                                        </p:tgtEl>
                                        <p:attrNameLst>
                                          <p:attrName>style.visibility</p:attrName>
                                        </p:attrNameLst>
                                      </p:cBhvr>
                                      <p:to>
                                        <p:strVal val="visible"/>
                                      </p:to>
                                    </p:set>
                                    <p:anim calcmode="lin" valueType="num">
                                      <p:cBhvr>
                                        <p:cTn id="37" dur="500" fill="hold"/>
                                        <p:tgtEl>
                                          <p:spTgt spid="121"/>
                                        </p:tgtEl>
                                        <p:attrNameLst>
                                          <p:attrName>ppt_w</p:attrName>
                                        </p:attrNameLst>
                                      </p:cBhvr>
                                      <p:tavLst>
                                        <p:tav tm="0">
                                          <p:val>
                                            <p:fltVal val="0"/>
                                          </p:val>
                                        </p:tav>
                                        <p:tav tm="100000">
                                          <p:val>
                                            <p:strVal val="#ppt_w"/>
                                          </p:val>
                                        </p:tav>
                                      </p:tavLst>
                                    </p:anim>
                                    <p:anim calcmode="lin" valueType="num">
                                      <p:cBhvr>
                                        <p:cTn id="38" dur="500" fill="hold"/>
                                        <p:tgtEl>
                                          <p:spTgt spid="121"/>
                                        </p:tgtEl>
                                        <p:attrNameLst>
                                          <p:attrName>ppt_h</p:attrName>
                                        </p:attrNameLst>
                                      </p:cBhvr>
                                      <p:tavLst>
                                        <p:tav tm="0">
                                          <p:val>
                                            <p:fltVal val="0"/>
                                          </p:val>
                                        </p:tav>
                                        <p:tav tm="100000">
                                          <p:val>
                                            <p:strVal val="#ppt_h"/>
                                          </p:val>
                                        </p:tav>
                                      </p:tavLst>
                                    </p:anim>
                                    <p:animEffect transition="in" filter="fade">
                                      <p:cBhvr>
                                        <p:cTn id="39" dur="500"/>
                                        <p:tgtEl>
                                          <p:spTgt spid="121"/>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132"/>
                                        </p:tgtEl>
                                        <p:attrNameLst>
                                          <p:attrName>style.visibility</p:attrName>
                                        </p:attrNameLst>
                                      </p:cBhvr>
                                      <p:to>
                                        <p:strVal val="visible"/>
                                      </p:to>
                                    </p:set>
                                    <p:animEffect transition="in" filter="fade">
                                      <p:cBhvr>
                                        <p:cTn id="42" dur="500"/>
                                        <p:tgtEl>
                                          <p:spTgt spid="132"/>
                                        </p:tgtEl>
                                      </p:cBhvr>
                                    </p:animEffect>
                                  </p:childTnLst>
                                </p:cTn>
                              </p:par>
                              <p:par>
                                <p:cTn id="43" presetID="35" presetClass="path" presetSubtype="0" accel="17000" decel="83000" fill="hold" grpId="1" nodeType="withEffect">
                                  <p:stCondLst>
                                    <p:cond delay="1000"/>
                                  </p:stCondLst>
                                  <p:childTnLst>
                                    <p:animMotion origin="layout" path="M -0.00106 0.06177 L 8.62586E-07 4.88554E-06" pathEditMode="relative" rAng="0" ptsTypes="AA">
                                      <p:cBhvr>
                                        <p:cTn id="44" dur="1100" fill="hold"/>
                                        <p:tgtEl>
                                          <p:spTgt spid="132"/>
                                        </p:tgtEl>
                                        <p:attrNameLst>
                                          <p:attrName>ppt_x</p:attrName>
                                          <p:attrName>ppt_y</p:attrName>
                                        </p:attrNameLst>
                                      </p:cBhvr>
                                      <p:rCtr x="53" y="-3104"/>
                                    </p:animMotion>
                                  </p:childTnLst>
                                </p:cTn>
                              </p:par>
                              <p:par>
                                <p:cTn id="45" presetID="10" presetClass="entr" presetSubtype="0" fill="hold" nodeType="withEffect">
                                  <p:stCondLst>
                                    <p:cond delay="1250"/>
                                  </p:stCondLst>
                                  <p:childTnLst>
                                    <p:set>
                                      <p:cBhvr>
                                        <p:cTn id="46" dur="1" fill="hold">
                                          <p:stCondLst>
                                            <p:cond delay="0"/>
                                          </p:stCondLst>
                                        </p:cTn>
                                        <p:tgtEl>
                                          <p:spTgt spid="176"/>
                                        </p:tgtEl>
                                        <p:attrNameLst>
                                          <p:attrName>style.visibility</p:attrName>
                                        </p:attrNameLst>
                                      </p:cBhvr>
                                      <p:to>
                                        <p:strVal val="visible"/>
                                      </p:to>
                                    </p:set>
                                    <p:animEffect transition="in" filter="fade">
                                      <p:cBhvr>
                                        <p:cTn id="47" dur="500"/>
                                        <p:tgtEl>
                                          <p:spTgt spid="176"/>
                                        </p:tgtEl>
                                      </p:cBhvr>
                                    </p:animEffect>
                                  </p:childTnLst>
                                </p:cTn>
                              </p:par>
                              <p:par>
                                <p:cTn id="48" presetID="35" presetClass="path" presetSubtype="0" accel="17000" decel="83000" fill="hold" nodeType="withEffect">
                                  <p:stCondLst>
                                    <p:cond delay="1250"/>
                                  </p:stCondLst>
                                  <p:childTnLst>
                                    <p:animMotion origin="layout" path="M -0.00106 0.06177 L 8.62586E-07 4.88554E-06" pathEditMode="relative" rAng="0" ptsTypes="AA">
                                      <p:cBhvr>
                                        <p:cTn id="49" dur="1100" fill="hold"/>
                                        <p:tgtEl>
                                          <p:spTgt spid="176"/>
                                        </p:tgtEl>
                                        <p:attrNameLst>
                                          <p:attrName>ppt_x</p:attrName>
                                          <p:attrName>ppt_y</p:attrName>
                                        </p:attrNameLst>
                                      </p:cBhvr>
                                      <p:rCtr x="53" y="-3104"/>
                                    </p:animMotion>
                                  </p:childTnLst>
                                </p:cTn>
                              </p:par>
                              <p:par>
                                <p:cTn id="50" presetID="2" presetClass="entr" presetSubtype="4" decel="100000" fill="hold" nodeType="withEffect">
                                  <p:stCondLst>
                                    <p:cond delay="1250"/>
                                  </p:stCondLst>
                                  <p:childTnLst>
                                    <p:set>
                                      <p:cBhvr>
                                        <p:cTn id="51" dur="1" fill="hold">
                                          <p:stCondLst>
                                            <p:cond delay="0"/>
                                          </p:stCondLst>
                                        </p:cTn>
                                        <p:tgtEl>
                                          <p:spTgt spid="172"/>
                                        </p:tgtEl>
                                        <p:attrNameLst>
                                          <p:attrName>style.visibility</p:attrName>
                                        </p:attrNameLst>
                                      </p:cBhvr>
                                      <p:to>
                                        <p:strVal val="visible"/>
                                      </p:to>
                                    </p:set>
                                    <p:anim calcmode="lin" valueType="num">
                                      <p:cBhvr additive="base">
                                        <p:cTn id="52" dur="500" fill="hold"/>
                                        <p:tgtEl>
                                          <p:spTgt spid="172"/>
                                        </p:tgtEl>
                                        <p:attrNameLst>
                                          <p:attrName>ppt_x</p:attrName>
                                        </p:attrNameLst>
                                      </p:cBhvr>
                                      <p:tavLst>
                                        <p:tav tm="0">
                                          <p:val>
                                            <p:strVal val="#ppt_x"/>
                                          </p:val>
                                        </p:tav>
                                        <p:tav tm="100000">
                                          <p:val>
                                            <p:strVal val="#ppt_x"/>
                                          </p:val>
                                        </p:tav>
                                      </p:tavLst>
                                    </p:anim>
                                    <p:anim calcmode="lin" valueType="num">
                                      <p:cBhvr additive="base">
                                        <p:cTn id="53" dur="500" fill="hold"/>
                                        <p:tgtEl>
                                          <p:spTgt spid="172"/>
                                        </p:tgtEl>
                                        <p:attrNameLst>
                                          <p:attrName>ppt_y</p:attrName>
                                        </p:attrNameLst>
                                      </p:cBhvr>
                                      <p:tavLst>
                                        <p:tav tm="0">
                                          <p:val>
                                            <p:strVal val="1+#ppt_h/2"/>
                                          </p:val>
                                        </p:tav>
                                        <p:tav tm="100000">
                                          <p:val>
                                            <p:strVal val="#ppt_y"/>
                                          </p:val>
                                        </p:tav>
                                      </p:tavLst>
                                    </p:anim>
                                  </p:childTnLst>
                                </p:cTn>
                              </p:par>
                              <p:par>
                                <p:cTn id="54" presetID="53" presetClass="entr" presetSubtype="0" fill="hold" nodeType="withEffect">
                                  <p:stCondLst>
                                    <p:cond delay="1500"/>
                                  </p:stCondLst>
                                  <p:childTnLst>
                                    <p:set>
                                      <p:cBhvr>
                                        <p:cTn id="55" dur="1" fill="hold">
                                          <p:stCondLst>
                                            <p:cond delay="0"/>
                                          </p:stCondLst>
                                        </p:cTn>
                                        <p:tgtEl>
                                          <p:spTgt spid="135"/>
                                        </p:tgtEl>
                                        <p:attrNameLst>
                                          <p:attrName>style.visibility</p:attrName>
                                        </p:attrNameLst>
                                      </p:cBhvr>
                                      <p:to>
                                        <p:strVal val="visible"/>
                                      </p:to>
                                    </p:set>
                                    <p:anim calcmode="lin" valueType="num">
                                      <p:cBhvr>
                                        <p:cTn id="56" dur="500" fill="hold"/>
                                        <p:tgtEl>
                                          <p:spTgt spid="135"/>
                                        </p:tgtEl>
                                        <p:attrNameLst>
                                          <p:attrName>ppt_w</p:attrName>
                                        </p:attrNameLst>
                                      </p:cBhvr>
                                      <p:tavLst>
                                        <p:tav tm="0">
                                          <p:val>
                                            <p:fltVal val="0"/>
                                          </p:val>
                                        </p:tav>
                                        <p:tav tm="100000">
                                          <p:val>
                                            <p:strVal val="#ppt_w"/>
                                          </p:val>
                                        </p:tav>
                                      </p:tavLst>
                                    </p:anim>
                                    <p:anim calcmode="lin" valueType="num">
                                      <p:cBhvr>
                                        <p:cTn id="57" dur="500" fill="hold"/>
                                        <p:tgtEl>
                                          <p:spTgt spid="135"/>
                                        </p:tgtEl>
                                        <p:attrNameLst>
                                          <p:attrName>ppt_h</p:attrName>
                                        </p:attrNameLst>
                                      </p:cBhvr>
                                      <p:tavLst>
                                        <p:tav tm="0">
                                          <p:val>
                                            <p:fltVal val="0"/>
                                          </p:val>
                                        </p:tav>
                                        <p:tav tm="100000">
                                          <p:val>
                                            <p:strVal val="#ppt_h"/>
                                          </p:val>
                                        </p:tav>
                                      </p:tavLst>
                                    </p:anim>
                                    <p:animEffect transition="in" filter="fade">
                                      <p:cBhvr>
                                        <p:cTn id="58" dur="500"/>
                                        <p:tgtEl>
                                          <p:spTgt spid="135"/>
                                        </p:tgtEl>
                                      </p:cBhvr>
                                    </p:animEffect>
                                  </p:childTnLst>
                                </p:cTn>
                              </p:par>
                              <p:par>
                                <p:cTn id="59" presetID="10" presetClass="entr" presetSubtype="0" fill="hold" grpId="0" nodeType="withEffect">
                                  <p:stCondLst>
                                    <p:cond delay="1500"/>
                                  </p:stCondLst>
                                  <p:childTnLst>
                                    <p:set>
                                      <p:cBhvr>
                                        <p:cTn id="60" dur="1" fill="hold">
                                          <p:stCondLst>
                                            <p:cond delay="0"/>
                                          </p:stCondLst>
                                        </p:cTn>
                                        <p:tgtEl>
                                          <p:spTgt spid="133"/>
                                        </p:tgtEl>
                                        <p:attrNameLst>
                                          <p:attrName>style.visibility</p:attrName>
                                        </p:attrNameLst>
                                      </p:cBhvr>
                                      <p:to>
                                        <p:strVal val="visible"/>
                                      </p:to>
                                    </p:set>
                                    <p:animEffect transition="in" filter="fade">
                                      <p:cBhvr>
                                        <p:cTn id="61" dur="500"/>
                                        <p:tgtEl>
                                          <p:spTgt spid="133"/>
                                        </p:tgtEl>
                                      </p:cBhvr>
                                    </p:animEffect>
                                  </p:childTnLst>
                                </p:cTn>
                              </p:par>
                              <p:par>
                                <p:cTn id="62" presetID="35" presetClass="path" presetSubtype="0" accel="17000" decel="83000" fill="hold" grpId="1" nodeType="withEffect">
                                  <p:stCondLst>
                                    <p:cond delay="1500"/>
                                  </p:stCondLst>
                                  <p:childTnLst>
                                    <p:animMotion origin="layout" path="M -0.00106 0.06177 L 8.62586E-07 4.88554E-06" pathEditMode="relative" rAng="0" ptsTypes="AA">
                                      <p:cBhvr>
                                        <p:cTn id="63" dur="1100" fill="hold"/>
                                        <p:tgtEl>
                                          <p:spTgt spid="133"/>
                                        </p:tgtEl>
                                        <p:attrNameLst>
                                          <p:attrName>ppt_x</p:attrName>
                                          <p:attrName>ppt_y</p:attrName>
                                        </p:attrNameLst>
                                      </p:cBhvr>
                                      <p:rCtr x="53" y="-3104"/>
                                    </p:animMotion>
                                  </p:childTnLst>
                                </p:cTn>
                              </p:par>
                              <p:par>
                                <p:cTn id="64" presetID="10" presetClass="entr" presetSubtype="0" fill="hold" nodeType="withEffect">
                                  <p:stCondLst>
                                    <p:cond delay="1750"/>
                                  </p:stCondLst>
                                  <p:childTnLst>
                                    <p:set>
                                      <p:cBhvr>
                                        <p:cTn id="65" dur="1" fill="hold">
                                          <p:stCondLst>
                                            <p:cond delay="0"/>
                                          </p:stCondLst>
                                        </p:cTn>
                                        <p:tgtEl>
                                          <p:spTgt spid="177"/>
                                        </p:tgtEl>
                                        <p:attrNameLst>
                                          <p:attrName>style.visibility</p:attrName>
                                        </p:attrNameLst>
                                      </p:cBhvr>
                                      <p:to>
                                        <p:strVal val="visible"/>
                                      </p:to>
                                    </p:set>
                                    <p:animEffect transition="in" filter="fade">
                                      <p:cBhvr>
                                        <p:cTn id="66" dur="500"/>
                                        <p:tgtEl>
                                          <p:spTgt spid="177"/>
                                        </p:tgtEl>
                                      </p:cBhvr>
                                    </p:animEffect>
                                  </p:childTnLst>
                                </p:cTn>
                              </p:par>
                              <p:par>
                                <p:cTn id="67" presetID="35" presetClass="path" presetSubtype="0" accel="17000" decel="83000" fill="hold" nodeType="withEffect">
                                  <p:stCondLst>
                                    <p:cond delay="1750"/>
                                  </p:stCondLst>
                                  <p:childTnLst>
                                    <p:animMotion origin="layout" path="M -0.00106 0.06177 L 8.62586E-07 4.88554E-06" pathEditMode="relative" rAng="0" ptsTypes="AA">
                                      <p:cBhvr>
                                        <p:cTn id="68" dur="1100" fill="hold"/>
                                        <p:tgtEl>
                                          <p:spTgt spid="177"/>
                                        </p:tgtEl>
                                        <p:attrNameLst>
                                          <p:attrName>ppt_x</p:attrName>
                                          <p:attrName>ppt_y</p:attrName>
                                        </p:attrNameLst>
                                      </p:cBhvr>
                                      <p:rCtr x="53" y="-3104"/>
                                    </p:animMotion>
                                  </p:childTnLst>
                                </p:cTn>
                              </p:par>
                              <p:par>
                                <p:cTn id="69" presetID="2" presetClass="entr" presetSubtype="4" decel="100000" fill="hold" nodeType="withEffect">
                                  <p:stCondLst>
                                    <p:cond delay="1750"/>
                                  </p:stCondLst>
                                  <p:childTnLst>
                                    <p:set>
                                      <p:cBhvr>
                                        <p:cTn id="70" dur="1" fill="hold">
                                          <p:stCondLst>
                                            <p:cond delay="0"/>
                                          </p:stCondLst>
                                        </p:cTn>
                                        <p:tgtEl>
                                          <p:spTgt spid="174"/>
                                        </p:tgtEl>
                                        <p:attrNameLst>
                                          <p:attrName>style.visibility</p:attrName>
                                        </p:attrNameLst>
                                      </p:cBhvr>
                                      <p:to>
                                        <p:strVal val="visible"/>
                                      </p:to>
                                    </p:set>
                                    <p:anim calcmode="lin" valueType="num">
                                      <p:cBhvr additive="base">
                                        <p:cTn id="71" dur="500" fill="hold"/>
                                        <p:tgtEl>
                                          <p:spTgt spid="174"/>
                                        </p:tgtEl>
                                        <p:attrNameLst>
                                          <p:attrName>ppt_x</p:attrName>
                                        </p:attrNameLst>
                                      </p:cBhvr>
                                      <p:tavLst>
                                        <p:tav tm="0">
                                          <p:val>
                                            <p:strVal val="#ppt_x"/>
                                          </p:val>
                                        </p:tav>
                                        <p:tav tm="100000">
                                          <p:val>
                                            <p:strVal val="#ppt_x"/>
                                          </p:val>
                                        </p:tav>
                                      </p:tavLst>
                                    </p:anim>
                                    <p:anim calcmode="lin" valueType="num">
                                      <p:cBhvr additive="base">
                                        <p:cTn id="72" dur="500" fill="hold"/>
                                        <p:tgtEl>
                                          <p:spTgt spid="174"/>
                                        </p:tgtEl>
                                        <p:attrNameLst>
                                          <p:attrName>ppt_y</p:attrName>
                                        </p:attrNameLst>
                                      </p:cBhvr>
                                      <p:tavLst>
                                        <p:tav tm="0">
                                          <p:val>
                                            <p:strVal val="1+#ppt_h/2"/>
                                          </p:val>
                                        </p:tav>
                                        <p:tav tm="100000">
                                          <p:val>
                                            <p:strVal val="#ppt_y"/>
                                          </p:val>
                                        </p:tav>
                                      </p:tavLst>
                                    </p:anim>
                                  </p:childTnLst>
                                </p:cTn>
                              </p:par>
                              <p:par>
                                <p:cTn id="73" presetID="10" presetClass="entr" presetSubtype="0" fill="hold" grpId="0" nodeType="withEffect">
                                  <p:stCondLst>
                                    <p:cond delay="2250"/>
                                  </p:stCondLst>
                                  <p:childTnLst>
                                    <p:set>
                                      <p:cBhvr>
                                        <p:cTn id="74" dur="1" fill="hold">
                                          <p:stCondLst>
                                            <p:cond delay="0"/>
                                          </p:stCondLst>
                                        </p:cTn>
                                        <p:tgtEl>
                                          <p:spTgt spid="145"/>
                                        </p:tgtEl>
                                        <p:attrNameLst>
                                          <p:attrName>style.visibility</p:attrName>
                                        </p:attrNameLst>
                                      </p:cBhvr>
                                      <p:to>
                                        <p:strVal val="visible"/>
                                      </p:to>
                                    </p:set>
                                    <p:animEffect transition="in" filter="fade">
                                      <p:cBhvr>
                                        <p:cTn id="75" dur="500"/>
                                        <p:tgtEl>
                                          <p:spTgt spid="145"/>
                                        </p:tgtEl>
                                      </p:cBhvr>
                                    </p:animEffect>
                                  </p:childTnLst>
                                </p:cTn>
                              </p:par>
                              <p:par>
                                <p:cTn id="76" presetID="10" presetClass="entr" presetSubtype="0" fill="hold" nodeType="withEffect">
                                  <p:stCondLst>
                                    <p:cond delay="0"/>
                                  </p:stCondLst>
                                  <p:childTnLst>
                                    <p:set>
                                      <p:cBhvr>
                                        <p:cTn id="77" dur="1" fill="hold">
                                          <p:stCondLst>
                                            <p:cond delay="0"/>
                                          </p:stCondLst>
                                        </p:cTn>
                                        <p:tgtEl>
                                          <p:spTgt spid="178"/>
                                        </p:tgtEl>
                                        <p:attrNameLst>
                                          <p:attrName>style.visibility</p:attrName>
                                        </p:attrNameLst>
                                      </p:cBhvr>
                                      <p:to>
                                        <p:strVal val="visible"/>
                                      </p:to>
                                    </p:set>
                                    <p:animEffect transition="in" filter="fade">
                                      <p:cBhvr>
                                        <p:cTn id="78" dur="500"/>
                                        <p:tgtEl>
                                          <p:spTgt spid="178"/>
                                        </p:tgtEl>
                                      </p:cBhvr>
                                    </p:animEffect>
                                  </p:childTnLst>
                                </p:cTn>
                              </p:par>
                              <p:par>
                                <p:cTn id="79" presetID="35" presetClass="path" presetSubtype="0" accel="17000" decel="83000" fill="hold" nodeType="withEffect">
                                  <p:stCondLst>
                                    <p:cond delay="0"/>
                                  </p:stCondLst>
                                  <p:childTnLst>
                                    <p:animMotion origin="layout" path="M 0.00141 -0.07181 L -2.74828E-06 -3.48071E-06" pathEditMode="relative" rAng="0" ptsTypes="AA">
                                      <p:cBhvr>
                                        <p:cTn id="80" dur="1100" fill="hold"/>
                                        <p:tgtEl>
                                          <p:spTgt spid="178"/>
                                        </p:tgtEl>
                                        <p:attrNameLst>
                                          <p:attrName>ppt_x</p:attrName>
                                          <p:attrName>ppt_y</p:attrName>
                                        </p:attrNameLst>
                                      </p:cBhvr>
                                      <p:rCtr x="-71" y="36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131" grpId="0" animBg="1"/>
      <p:bldP spid="131" grpId="1" animBg="1"/>
      <p:bldP spid="132" grpId="0" animBg="1"/>
      <p:bldP spid="132" grpId="1" animBg="1"/>
      <p:bldP spid="133" grpId="0" animBg="1"/>
      <p:bldP spid="133" grpId="1" animBg="1"/>
      <p:bldP spid="14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Imagem 19" descr="Imagem em branco e azul&#10;&#10;Descrição gerada automaticamente com confiança média">
            <a:extLst>
              <a:ext uri="{FF2B5EF4-FFF2-40B4-BE49-F238E27FC236}">
                <a16:creationId xmlns:a16="http://schemas.microsoft.com/office/drawing/2014/main" id="{5ED38588-D2B7-97C0-4866-D1C0D9E0845A}"/>
              </a:ext>
            </a:extLst>
          </p:cNvPr>
          <p:cNvPicPr>
            <a:picLocks noChangeAspect="1"/>
          </p:cNvPicPr>
          <p:nvPr>
            <p:custDataLst>
              <p:tags r:id="rId1"/>
            </p:custDataLst>
          </p:nvPr>
        </p:nvPicPr>
        <p:blipFill>
          <a:blip r:embed="rId30">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23" name="Imagem 22" descr="Água com montanhas ao fundo&#10;&#10;Descrição gerada automaticamente">
            <a:extLst>
              <a:ext uri="{FF2B5EF4-FFF2-40B4-BE49-F238E27FC236}">
                <a16:creationId xmlns:a16="http://schemas.microsoft.com/office/drawing/2014/main" id="{123B8FA3-403D-FF1D-EEFC-1149B4E19D5F}"/>
              </a:ext>
            </a:extLst>
          </p:cNvPr>
          <p:cNvPicPr>
            <a:picLocks noChangeAspect="1"/>
          </p:cNvPicPr>
          <p:nvPr>
            <p:custDataLst>
              <p:tags r:id="rId2"/>
            </p:custDataLst>
          </p:nvPr>
        </p:nvPicPr>
        <p:blipFill>
          <a:blip r:embed="rId31">
            <a:extLst>
              <a:ext uri="{28A0092B-C50C-407E-A947-70E740481C1C}">
                <a14:useLocalDpi xmlns:a14="http://schemas.microsoft.com/office/drawing/2010/main"/>
              </a:ext>
            </a:extLst>
          </a:blip>
          <a:stretch>
            <a:fillRect/>
          </a:stretch>
        </p:blipFill>
        <p:spPr>
          <a:xfrm>
            <a:off x="0" y="298"/>
            <a:ext cx="8999538" cy="5062240"/>
          </a:xfrm>
          <a:prstGeom prst="rect">
            <a:avLst/>
          </a:prstGeom>
        </p:spPr>
      </p:pic>
      <p:sp>
        <p:nvSpPr>
          <p:cNvPr id="46" name="Retângulo: Cantos Arredondados 45">
            <a:extLst>
              <a:ext uri="{FF2B5EF4-FFF2-40B4-BE49-F238E27FC236}">
                <a16:creationId xmlns:a16="http://schemas.microsoft.com/office/drawing/2014/main" id="{0C6C1D25-0A26-CC33-3AE1-3B72B2C965C1}"/>
              </a:ext>
            </a:extLst>
          </p:cNvPr>
          <p:cNvSpPr/>
          <p:nvPr>
            <p:custDataLst>
              <p:tags r:id="rId3"/>
            </p:custDataLst>
          </p:nvPr>
        </p:nvSpPr>
        <p:spPr>
          <a:xfrm rot="16200000">
            <a:off x="3263920" y="2049146"/>
            <a:ext cx="1712420" cy="2953036"/>
          </a:xfrm>
          <a:prstGeom prst="roundRect">
            <a:avLst>
              <a:gd name="adj" fmla="val 7656"/>
            </a:avLst>
          </a:prstGeom>
          <a:gradFill>
            <a:gsLst>
              <a:gs pos="0">
                <a:schemeClr val="bg1">
                  <a:alpha val="0"/>
                </a:schemeClr>
              </a:gs>
              <a:gs pos="11000">
                <a:schemeClr val="bg1">
                  <a:alpha val="90000"/>
                </a:schemeClr>
              </a:gs>
            </a:gsLst>
            <a:lin ang="0" scaled="0"/>
          </a:gradFill>
          <a:ln w="19050">
            <a:gradFill flip="none" rotWithShape="1">
              <a:gsLst>
                <a:gs pos="0">
                  <a:srgbClr val="649C3E"/>
                </a:gs>
                <a:gs pos="100000">
                  <a:srgbClr val="649C3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47" name="Retângulo: Cantos Arredondados 46">
            <a:extLst>
              <a:ext uri="{FF2B5EF4-FFF2-40B4-BE49-F238E27FC236}">
                <a16:creationId xmlns:a16="http://schemas.microsoft.com/office/drawing/2014/main" id="{BB73CA84-BF84-1D4D-8387-CC15379B7C7A}"/>
              </a:ext>
            </a:extLst>
          </p:cNvPr>
          <p:cNvSpPr/>
          <p:nvPr>
            <p:custDataLst>
              <p:tags r:id="rId4"/>
            </p:custDataLst>
          </p:nvPr>
        </p:nvSpPr>
        <p:spPr>
          <a:xfrm rot="16200000">
            <a:off x="6286173" y="2049151"/>
            <a:ext cx="1712419" cy="2953032"/>
          </a:xfrm>
          <a:prstGeom prst="roundRect">
            <a:avLst>
              <a:gd name="adj" fmla="val 7656"/>
            </a:avLst>
          </a:prstGeom>
          <a:gradFill>
            <a:gsLst>
              <a:gs pos="0">
                <a:schemeClr val="bg1">
                  <a:alpha val="0"/>
                </a:schemeClr>
              </a:gs>
              <a:gs pos="11000">
                <a:schemeClr val="bg1">
                  <a:alpha val="90000"/>
                </a:schemeClr>
              </a:gs>
            </a:gsLst>
            <a:lin ang="0" scaled="0"/>
          </a:gradFill>
          <a:ln w="19050">
            <a:gradFill flip="none" rotWithShape="1">
              <a:gsLst>
                <a:gs pos="0">
                  <a:srgbClr val="649C3E"/>
                </a:gs>
                <a:gs pos="100000">
                  <a:srgbClr val="649C3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26" name="CaixaDeTexto 25">
            <a:extLst>
              <a:ext uri="{FF2B5EF4-FFF2-40B4-BE49-F238E27FC236}">
                <a16:creationId xmlns:a16="http://schemas.microsoft.com/office/drawing/2014/main" id="{2006F648-FD69-D856-9682-420514307DEC}"/>
              </a:ext>
            </a:extLst>
          </p:cNvPr>
          <p:cNvSpPr txBox="1"/>
          <p:nvPr>
            <p:custDataLst>
              <p:tags r:id="rId5"/>
            </p:custDataLst>
          </p:nvPr>
        </p:nvSpPr>
        <p:spPr>
          <a:xfrm>
            <a:off x="4293166" y="455338"/>
            <a:ext cx="4325733" cy="327782"/>
          </a:xfrm>
          <a:prstGeom prst="rect">
            <a:avLst/>
          </a:prstGeom>
          <a:noFill/>
        </p:spPr>
        <p:txBody>
          <a:bodyPr wrap="square" rtlCol="0">
            <a:spAutoFit/>
          </a:bodyPr>
          <a:lstStyle/>
          <a:p>
            <a:pPr lvl="0" algn="r" defTabSz="675010">
              <a:lnSpc>
                <a:spcPct val="85000"/>
              </a:lnSpc>
              <a:spcBef>
                <a:spcPts val="148"/>
              </a:spcBef>
              <a:spcAft>
                <a:spcPts val="148"/>
              </a:spcAft>
              <a:defRPr/>
            </a:pPr>
            <a:r>
              <a:rPr lang="en-US" sz="1800" b="0" i="0" u="none" strike="noStrike" cap="none" spc="600" baseline="0" dirty="0">
                <a:solidFill>
                  <a:srgbClr val="002581"/>
                </a:solidFill>
                <a:effectLst/>
                <a:uFillTx/>
                <a:latin typeface="Segoe UI Light"/>
              </a:rPr>
              <a:t>OPERATIONAL AXES AND</a:t>
            </a:r>
          </a:p>
        </p:txBody>
      </p:sp>
      <p:grpSp>
        <p:nvGrpSpPr>
          <p:cNvPr id="43" name="Agrupar 42">
            <a:extLst>
              <a:ext uri="{FF2B5EF4-FFF2-40B4-BE49-F238E27FC236}">
                <a16:creationId xmlns:a16="http://schemas.microsoft.com/office/drawing/2014/main" id="{300C92E2-BEE3-F138-8F05-3644B103710A}"/>
              </a:ext>
            </a:extLst>
          </p:cNvPr>
          <p:cNvGrpSpPr/>
          <p:nvPr>
            <p:custDataLst>
              <p:tags r:id="rId6"/>
            </p:custDataLst>
          </p:nvPr>
        </p:nvGrpSpPr>
        <p:grpSpPr>
          <a:xfrm>
            <a:off x="2643612" y="1362065"/>
            <a:ext cx="5975287" cy="306007"/>
            <a:chOff x="3544841" y="1196834"/>
            <a:chExt cx="5055952" cy="306007"/>
          </a:xfrm>
        </p:grpSpPr>
        <p:sp>
          <p:nvSpPr>
            <p:cNvPr id="36" name="Retângulo: Cantos Arredondados 35">
              <a:extLst>
                <a:ext uri="{FF2B5EF4-FFF2-40B4-BE49-F238E27FC236}">
                  <a16:creationId xmlns:a16="http://schemas.microsoft.com/office/drawing/2014/main" id="{F8BA17F9-B17F-32E4-D304-EC26A05C5287}"/>
                </a:ext>
              </a:extLst>
            </p:cNvPr>
            <p:cNvSpPr/>
            <p:nvPr>
              <p:custDataLst>
                <p:tags r:id="rId26"/>
              </p:custDataLst>
            </p:nvPr>
          </p:nvSpPr>
          <p:spPr>
            <a:xfrm>
              <a:off x="3544841" y="1196834"/>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0" name="CaixaDeTexto 39">
              <a:extLst>
                <a:ext uri="{FF2B5EF4-FFF2-40B4-BE49-F238E27FC236}">
                  <a16:creationId xmlns:a16="http://schemas.microsoft.com/office/drawing/2014/main" id="{E48195CF-83B7-2116-E5A6-0F0C6D257872}"/>
                </a:ext>
              </a:extLst>
            </p:cNvPr>
            <p:cNvSpPr txBox="1"/>
            <p:nvPr>
              <p:custDataLst>
                <p:tags r:id="rId27"/>
              </p:custDataLst>
            </p:nvPr>
          </p:nvSpPr>
          <p:spPr>
            <a:xfrm>
              <a:off x="4788248" y="1213531"/>
              <a:ext cx="2569137"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solidFill>
                    <a:srgbClr val="FFFFFF"/>
                  </a:solidFill>
                  <a:effectLst/>
                  <a:uFillTx/>
                  <a:latin typeface="Segoe UI"/>
                </a:rPr>
                <a:t>Sustainable operation</a:t>
              </a:r>
            </a:p>
          </p:txBody>
        </p:sp>
      </p:grpSp>
      <p:grpSp>
        <p:nvGrpSpPr>
          <p:cNvPr id="44" name="Agrupar 43">
            <a:extLst>
              <a:ext uri="{FF2B5EF4-FFF2-40B4-BE49-F238E27FC236}">
                <a16:creationId xmlns:a16="http://schemas.microsoft.com/office/drawing/2014/main" id="{E32470AF-CD94-70B1-8585-A4C2708BCF57}"/>
              </a:ext>
            </a:extLst>
          </p:cNvPr>
          <p:cNvGrpSpPr/>
          <p:nvPr>
            <p:custDataLst>
              <p:tags r:id="rId7"/>
            </p:custDataLst>
          </p:nvPr>
        </p:nvGrpSpPr>
        <p:grpSpPr>
          <a:xfrm>
            <a:off x="2643612" y="1727982"/>
            <a:ext cx="5975287" cy="299843"/>
            <a:chOff x="3544841" y="1612128"/>
            <a:chExt cx="5055952" cy="299843"/>
          </a:xfrm>
        </p:grpSpPr>
        <p:sp>
          <p:nvSpPr>
            <p:cNvPr id="38" name="Retângulo: Cantos Arredondados 37">
              <a:extLst>
                <a:ext uri="{FF2B5EF4-FFF2-40B4-BE49-F238E27FC236}">
                  <a16:creationId xmlns:a16="http://schemas.microsoft.com/office/drawing/2014/main" id="{4EC117C1-86F5-4202-7E68-B40B97913B91}"/>
                </a:ext>
              </a:extLst>
            </p:cNvPr>
            <p:cNvSpPr/>
            <p:nvPr>
              <p:custDataLst>
                <p:tags r:id="rId24"/>
              </p:custDataLst>
            </p:nvPr>
          </p:nvSpPr>
          <p:spPr>
            <a:xfrm>
              <a:off x="3544841" y="1612128"/>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1" name="CaixaDeTexto 40">
              <a:extLst>
                <a:ext uri="{FF2B5EF4-FFF2-40B4-BE49-F238E27FC236}">
                  <a16:creationId xmlns:a16="http://schemas.microsoft.com/office/drawing/2014/main" id="{D53D6766-0552-4F55-2519-0B396BBE0776}"/>
                </a:ext>
              </a:extLst>
            </p:cNvPr>
            <p:cNvSpPr txBox="1"/>
            <p:nvPr>
              <p:custDataLst>
                <p:tags r:id="rId25"/>
              </p:custDataLst>
            </p:nvPr>
          </p:nvSpPr>
          <p:spPr>
            <a:xfrm>
              <a:off x="4410025" y="1623916"/>
              <a:ext cx="3325583" cy="28679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solidFill>
                    <a:srgbClr val="FFFFFF"/>
                  </a:solidFill>
                  <a:effectLst/>
                  <a:uFillTx/>
                  <a:latin typeface="Segoe UI"/>
                </a:rPr>
                <a:t>Low carbon technologies</a:t>
              </a:r>
            </a:p>
          </p:txBody>
        </p:sp>
      </p:grpSp>
      <p:grpSp>
        <p:nvGrpSpPr>
          <p:cNvPr id="45" name="Agrupar 44">
            <a:extLst>
              <a:ext uri="{FF2B5EF4-FFF2-40B4-BE49-F238E27FC236}">
                <a16:creationId xmlns:a16="http://schemas.microsoft.com/office/drawing/2014/main" id="{B5AD2F65-FFF5-8623-31AD-838CF4CBD53C}"/>
              </a:ext>
            </a:extLst>
          </p:cNvPr>
          <p:cNvGrpSpPr/>
          <p:nvPr>
            <p:custDataLst>
              <p:tags r:id="rId8"/>
            </p:custDataLst>
          </p:nvPr>
        </p:nvGrpSpPr>
        <p:grpSpPr>
          <a:xfrm>
            <a:off x="2643612" y="2087735"/>
            <a:ext cx="5975287" cy="298363"/>
            <a:chOff x="3544841" y="2027421"/>
            <a:chExt cx="5055952" cy="298363"/>
          </a:xfrm>
        </p:grpSpPr>
        <p:sp>
          <p:nvSpPr>
            <p:cNvPr id="39" name="Retângulo: Cantos Arredondados 38">
              <a:extLst>
                <a:ext uri="{FF2B5EF4-FFF2-40B4-BE49-F238E27FC236}">
                  <a16:creationId xmlns:a16="http://schemas.microsoft.com/office/drawing/2014/main" id="{AAD8DA86-8913-4B27-55E5-677606680D7A}"/>
                </a:ext>
              </a:extLst>
            </p:cNvPr>
            <p:cNvSpPr/>
            <p:nvPr>
              <p:custDataLst>
                <p:tags r:id="rId22"/>
              </p:custDataLst>
            </p:nvPr>
          </p:nvSpPr>
          <p:spPr>
            <a:xfrm>
              <a:off x="3544841" y="2027421"/>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2" name="CaixaDeTexto 41">
              <a:extLst>
                <a:ext uri="{FF2B5EF4-FFF2-40B4-BE49-F238E27FC236}">
                  <a16:creationId xmlns:a16="http://schemas.microsoft.com/office/drawing/2014/main" id="{5CBAAC88-3757-40D9-A12C-EA62DD90C51B}"/>
                </a:ext>
              </a:extLst>
            </p:cNvPr>
            <p:cNvSpPr txBox="1"/>
            <p:nvPr>
              <p:custDataLst>
                <p:tags r:id="rId23"/>
              </p:custDataLst>
            </p:nvPr>
          </p:nvSpPr>
          <p:spPr>
            <a:xfrm>
              <a:off x="4070182" y="2036474"/>
              <a:ext cx="4005272"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solidFill>
                    <a:srgbClr val="FFFFFF"/>
                  </a:solidFill>
                  <a:effectLst/>
                  <a:uFillTx/>
                  <a:latin typeface="Segoe UI"/>
                </a:rPr>
                <a:t>Climate change and biodiversity</a:t>
              </a:r>
            </a:p>
          </p:txBody>
        </p:sp>
      </p:grpSp>
      <p:pic>
        <p:nvPicPr>
          <p:cNvPr id="25" name="Imagem 24" descr="Desenho de personagem&#10;&#10;Descrição gerada automaticamente com confiança média">
            <a:extLst>
              <a:ext uri="{FF2B5EF4-FFF2-40B4-BE49-F238E27FC236}">
                <a16:creationId xmlns:a16="http://schemas.microsoft.com/office/drawing/2014/main" id="{E1BBB694-A990-BC57-11DD-63B9E04E86C0}"/>
              </a:ext>
            </a:extLst>
          </p:cNvPr>
          <p:cNvPicPr>
            <a:picLocks noChangeAspect="1"/>
          </p:cNvPicPr>
          <p:nvPr>
            <p:custDataLst>
              <p:tags r:id="rId9"/>
            </p:custDataLst>
          </p:nvPr>
        </p:nvPicPr>
        <p:blipFill>
          <a:blip r:embed="rId32">
            <a:extLst>
              <a:ext uri="{28A0092B-C50C-407E-A947-70E740481C1C}">
                <a14:useLocalDpi xmlns:a14="http://schemas.microsoft.com/office/drawing/2010/main"/>
              </a:ext>
            </a:extLst>
          </a:blip>
          <a:srcRect r="57245"/>
          <a:stretch>
            <a:fillRect/>
          </a:stretch>
        </p:blipFill>
        <p:spPr>
          <a:xfrm>
            <a:off x="0" y="149"/>
            <a:ext cx="3847723" cy="5062240"/>
          </a:xfrm>
          <a:prstGeom prst="rect">
            <a:avLst/>
          </a:prstGeom>
        </p:spPr>
      </p:pic>
      <p:sp>
        <p:nvSpPr>
          <p:cNvPr id="76" name="CaixaDeTexto 75">
            <a:extLst>
              <a:ext uri="{FF2B5EF4-FFF2-40B4-BE49-F238E27FC236}">
                <a16:creationId xmlns:a16="http://schemas.microsoft.com/office/drawing/2014/main" id="{866106E6-B14C-6CBD-BD85-30333F903146}"/>
              </a:ext>
            </a:extLst>
          </p:cNvPr>
          <p:cNvSpPr txBox="1"/>
          <p:nvPr>
            <p:custDataLst>
              <p:tags r:id="rId10"/>
            </p:custDataLst>
          </p:nvPr>
        </p:nvSpPr>
        <p:spPr>
          <a:xfrm>
            <a:off x="3198030" y="792326"/>
            <a:ext cx="5934201" cy="327782"/>
          </a:xfrm>
          <a:prstGeom prst="rect">
            <a:avLst/>
          </a:prstGeom>
          <a:noFill/>
        </p:spPr>
        <p:txBody>
          <a:bodyPr wrap="square" rtlCol="0">
            <a:spAutoFit/>
          </a:bodyPr>
          <a:lstStyle/>
          <a:p>
            <a:pPr lvl="0" algn="r" defTabSz="675010">
              <a:lnSpc>
                <a:spcPct val="85000"/>
              </a:lnSpc>
              <a:spcBef>
                <a:spcPts val="148"/>
              </a:spcBef>
              <a:spcAft>
                <a:spcPts val="148"/>
              </a:spcAft>
              <a:defRPr/>
            </a:pPr>
            <a:r>
              <a:rPr lang="en-US" sz="1800" b="0" i="0" u="none" strike="noStrike" cap="none" spc="600" baseline="0" dirty="0">
                <a:solidFill>
                  <a:srgbClr val="002581"/>
                </a:solidFill>
                <a:effectLst/>
                <a:uFillTx/>
                <a:latin typeface="Segoe UI Black"/>
              </a:rPr>
              <a:t>ENVIRONMENTAL COMMITMENTS</a:t>
            </a:r>
          </a:p>
        </p:txBody>
      </p:sp>
      <p:sp>
        <p:nvSpPr>
          <p:cNvPr id="50" name="CaixaDeTexto 49">
            <a:extLst>
              <a:ext uri="{FF2B5EF4-FFF2-40B4-BE49-F238E27FC236}">
                <a16:creationId xmlns:a16="http://schemas.microsoft.com/office/drawing/2014/main" id="{86A31CDB-C5B1-0688-809E-34296AF381BE}"/>
              </a:ext>
            </a:extLst>
          </p:cNvPr>
          <p:cNvSpPr txBox="1"/>
          <p:nvPr>
            <p:custDataLst>
              <p:tags r:id="rId11"/>
            </p:custDataLst>
          </p:nvPr>
        </p:nvSpPr>
        <p:spPr>
          <a:xfrm>
            <a:off x="2696313" y="2769765"/>
            <a:ext cx="2781031" cy="143731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spcBef>
                <a:spcPts val="300"/>
              </a:spcBef>
              <a:spcAft>
                <a:spcPts val="300"/>
              </a:spcAft>
            </a:pPr>
            <a:r>
              <a:rPr lang="en-US" sz="1200" b="1" i="0" u="none" strike="noStrike" cap="none" spc="0" baseline="0" dirty="0">
                <a:solidFill>
                  <a:srgbClr val="385723"/>
                </a:solidFill>
                <a:effectLst/>
                <a:uFillTx/>
                <a:latin typeface="Segoe UI"/>
              </a:rPr>
              <a:t>Short medium term 2025</a:t>
            </a:r>
          </a:p>
          <a:p>
            <a:pPr marL="179388" lvl="0" indent="-179388" defTabSz="234364">
              <a:spcBef>
                <a:spcPts val="300"/>
              </a:spcBef>
              <a:spcAft>
                <a:spcPts val="300"/>
              </a:spcAft>
              <a:buClr>
                <a:srgbClr val="649C3E"/>
              </a:buClr>
              <a:buFont typeface="Courier New" panose="02070309020205020404" pitchFamily="49" charset="0"/>
              <a:buChar char="o"/>
            </a:pPr>
            <a:r>
              <a:rPr lang="en-US" sz="1100" b="1" i="0" u="none" strike="noStrike" cap="none" spc="0" baseline="0" dirty="0">
                <a:solidFill>
                  <a:srgbClr val="011F57"/>
                </a:solidFill>
                <a:effectLst/>
                <a:uFillTx/>
                <a:latin typeface="Segoe UI"/>
              </a:rPr>
              <a:t>Reduction </a:t>
            </a:r>
            <a:r>
              <a:rPr lang="en-US" sz="1100" b="1" i="0" u="none" strike="noStrike" cap="none" spc="0" baseline="0">
                <a:solidFill>
                  <a:srgbClr val="011F57"/>
                </a:solidFill>
                <a:effectLst/>
                <a:uFillTx/>
                <a:latin typeface="Segoe UI"/>
              </a:rPr>
              <a:t>of SF6¹ </a:t>
            </a:r>
            <a:r>
              <a:rPr lang="en-US" sz="1100" b="1" i="0" u="none" strike="noStrike" cap="none" spc="0" baseline="0" dirty="0">
                <a:solidFill>
                  <a:srgbClr val="011F57"/>
                </a:solidFill>
                <a:effectLst/>
                <a:uFillTx/>
                <a:latin typeface="Segoe UI"/>
              </a:rPr>
              <a:t>gas losses</a:t>
            </a:r>
          </a:p>
          <a:p>
            <a:pPr marL="179388" lvl="0" indent="-179388" defTabSz="234364">
              <a:spcBef>
                <a:spcPts val="300"/>
              </a:spcBef>
              <a:spcAft>
                <a:spcPts val="300"/>
              </a:spcAft>
              <a:buClr>
                <a:srgbClr val="649C3E"/>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Electrification of </a:t>
            </a:r>
            <a:r>
              <a:rPr lang="en-US" sz="1100" b="1" i="0" u="none" strike="noStrike" cap="none" spc="0" baseline="0" dirty="0">
                <a:solidFill>
                  <a:srgbClr val="011F57"/>
                </a:solidFill>
                <a:effectLst/>
                <a:uFillTx/>
                <a:latin typeface="Segoe UI"/>
              </a:rPr>
              <a:t>light vehicle </a:t>
            </a:r>
            <a:r>
              <a:rPr lang="en-US" sz="1100" i="0" u="none" strike="noStrike" cap="none" spc="0" baseline="0" dirty="0">
                <a:solidFill>
                  <a:srgbClr val="011F57"/>
                </a:solidFill>
                <a:effectLst/>
                <a:uFillTx/>
                <a:latin typeface="Segoe UI"/>
              </a:rPr>
              <a:t>fleet</a:t>
            </a:r>
          </a:p>
          <a:p>
            <a:pPr marL="179388" lvl="0" indent="-179388" defTabSz="234364">
              <a:spcBef>
                <a:spcPts val="300"/>
              </a:spcBef>
              <a:spcAft>
                <a:spcPts val="300"/>
              </a:spcAft>
              <a:buClr>
                <a:srgbClr val="649C3E"/>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Eliminate </a:t>
            </a:r>
            <a:r>
              <a:rPr lang="en-US" sz="1100" b="1" i="0" u="none" strike="noStrike" cap="none" spc="0" baseline="0" dirty="0">
                <a:solidFill>
                  <a:srgbClr val="011F57"/>
                </a:solidFill>
                <a:effectLst/>
                <a:uFillTx/>
                <a:latin typeface="Segoe UI"/>
              </a:rPr>
              <a:t>single-use plastic</a:t>
            </a:r>
          </a:p>
          <a:p>
            <a:pPr marL="179388" lvl="0" indent="-179388" defTabSz="234364">
              <a:spcBef>
                <a:spcPts val="300"/>
              </a:spcBef>
              <a:spcAft>
                <a:spcPts val="300"/>
              </a:spcAft>
              <a:buClr>
                <a:srgbClr val="649C3E"/>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Climate adaptation and transition plan</a:t>
            </a:r>
          </a:p>
          <a:p>
            <a:pPr marL="179388" lvl="0" indent="-179388" defTabSz="234364">
              <a:spcBef>
                <a:spcPts val="300"/>
              </a:spcBef>
              <a:spcAft>
                <a:spcPts val="300"/>
              </a:spcAft>
              <a:buClr>
                <a:srgbClr val="649C3E"/>
              </a:buClr>
              <a:buFont typeface="Courier New" panose="02070309020205020404" pitchFamily="49" charset="0"/>
              <a:buChar char="o"/>
            </a:pPr>
            <a:r>
              <a:rPr lang="en-US" sz="1100" b="1" i="0" u="none" strike="noStrike" cap="none" spc="0" baseline="0" dirty="0">
                <a:solidFill>
                  <a:srgbClr val="011F57"/>
                </a:solidFill>
                <a:effectLst/>
                <a:uFillTx/>
                <a:latin typeface="Segoe UI"/>
              </a:rPr>
              <a:t>Expand the mapping </a:t>
            </a:r>
            <a:r>
              <a:rPr lang="en-US" sz="1100" b="0" i="0" u="none" strike="noStrike" cap="none" spc="0" baseline="0" dirty="0">
                <a:solidFill>
                  <a:srgbClr val="011F57"/>
                </a:solidFill>
                <a:effectLst/>
                <a:uFillTx/>
                <a:latin typeface="Segoe UI Light"/>
              </a:rPr>
              <a:t>of scope 3 emissions (construction of projects)</a:t>
            </a:r>
          </a:p>
        </p:txBody>
      </p:sp>
      <p:sp>
        <p:nvSpPr>
          <p:cNvPr id="52" name="CaixaDeTexto 51">
            <a:extLst>
              <a:ext uri="{FF2B5EF4-FFF2-40B4-BE49-F238E27FC236}">
                <a16:creationId xmlns:a16="http://schemas.microsoft.com/office/drawing/2014/main" id="{FD231CDB-EA35-BC5D-5D8F-49BAEB0B51DC}"/>
              </a:ext>
            </a:extLst>
          </p:cNvPr>
          <p:cNvSpPr txBox="1"/>
          <p:nvPr>
            <p:custDataLst>
              <p:tags r:id="rId12"/>
            </p:custDataLst>
          </p:nvPr>
        </p:nvSpPr>
        <p:spPr>
          <a:xfrm>
            <a:off x="5778543" y="2735278"/>
            <a:ext cx="2796052" cy="141885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spcBef>
                <a:spcPts val="300"/>
              </a:spcBef>
              <a:spcAft>
                <a:spcPts val="300"/>
              </a:spcAft>
            </a:pPr>
            <a:r>
              <a:rPr lang="en-US" sz="1200" b="1" i="0" u="none" strike="noStrike" cap="none" spc="0" baseline="0" dirty="0">
                <a:solidFill>
                  <a:srgbClr val="385723"/>
                </a:solidFill>
                <a:effectLst/>
                <a:uFillTx/>
                <a:latin typeface="Segoe UI"/>
              </a:rPr>
              <a:t>Long term 2030</a:t>
            </a:r>
          </a:p>
          <a:p>
            <a:pPr marL="179388" lvl="0" indent="-179388" defTabSz="234364">
              <a:spcBef>
                <a:spcPts val="300"/>
              </a:spcBef>
              <a:spcAft>
                <a:spcPts val="300"/>
              </a:spcAft>
              <a:buClr>
                <a:srgbClr val="649C3E"/>
              </a:buClr>
              <a:buFont typeface="Courier New" panose="02070309020205020404" pitchFamily="49" charset="0"/>
              <a:buChar char="o"/>
            </a:pPr>
            <a:r>
              <a:rPr lang="en-US" sz="1100" b="1" i="0" u="none" strike="noStrike" cap="none" spc="0" baseline="0" dirty="0">
                <a:solidFill>
                  <a:srgbClr val="011F57"/>
                </a:solidFill>
                <a:effectLst/>
                <a:uFillTx/>
                <a:latin typeface="Segoe UI"/>
              </a:rPr>
              <a:t>Reduce 2 million tCO2e</a:t>
            </a:r>
            <a:r>
              <a:rPr lang="en-US" sz="1100" b="0" i="0" u="none" strike="noStrike" cap="none" spc="0" baseline="0" dirty="0">
                <a:solidFill>
                  <a:srgbClr val="011F57"/>
                </a:solidFill>
                <a:effectLst/>
                <a:uFillTx/>
                <a:latin typeface="Segoe UI Light"/>
              </a:rPr>
              <a:t> - Conexão Jaguar Program and eco-efficiency</a:t>
            </a:r>
          </a:p>
          <a:p>
            <a:pPr marL="179388" lvl="0" indent="-179388" defTabSz="234364">
              <a:spcBef>
                <a:spcPts val="300"/>
              </a:spcBef>
              <a:spcAft>
                <a:spcPts val="300"/>
              </a:spcAft>
              <a:buClr>
                <a:srgbClr val="649C3E"/>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Environmental management system certification for </a:t>
            </a:r>
            <a:r>
              <a:rPr lang="en-US" sz="1100" b="1" i="0" u="none" strike="noStrike" cap="none" spc="0" baseline="0" dirty="0">
                <a:solidFill>
                  <a:srgbClr val="011F57"/>
                </a:solidFill>
                <a:effectLst/>
                <a:uFillTx/>
                <a:latin typeface="Segoe UI"/>
              </a:rPr>
              <a:t>100% of substations</a:t>
            </a:r>
          </a:p>
          <a:p>
            <a:pPr marL="179388" indent="-179388" defTabSz="234364">
              <a:spcBef>
                <a:spcPts val="300"/>
              </a:spcBef>
              <a:spcAft>
                <a:spcPts val="300"/>
              </a:spcAft>
              <a:buClr>
                <a:srgbClr val="649C3E"/>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Develop </a:t>
            </a:r>
            <a:r>
              <a:rPr lang="en-US" sz="1100" b="1" i="0" u="none" strike="noStrike" cap="none" spc="0" baseline="0" dirty="0">
                <a:solidFill>
                  <a:srgbClr val="011F57"/>
                </a:solidFill>
                <a:effectLst/>
                <a:uFillTx/>
                <a:latin typeface="Segoe UI"/>
              </a:rPr>
              <a:t>new </a:t>
            </a:r>
            <a:r>
              <a:rPr lang="en-US" sz="1100" b="1" i="0" u="none" strike="noStrike" cap="none" spc="0" baseline="0" dirty="0">
                <a:solidFill>
                  <a:srgbClr val="011F57"/>
                </a:solidFill>
                <a:effectLst/>
                <a:uFillTx/>
                <a:latin typeface="Segoe UI Light"/>
              </a:rPr>
              <a:t>technologies</a:t>
            </a:r>
            <a:r>
              <a:rPr lang="en-US" sz="1100" b="0" i="0" u="none" strike="noStrike" cap="none" spc="0" baseline="0" dirty="0">
                <a:solidFill>
                  <a:srgbClr val="011F57"/>
                </a:solidFill>
                <a:effectLst/>
                <a:uFillTx/>
                <a:latin typeface="Segoe UI Light"/>
              </a:rPr>
              <a:t> that help accelerate </a:t>
            </a:r>
            <a:r>
              <a:rPr lang="en-US" sz="1100" b="1" i="0" u="none" strike="noStrike" cap="none" spc="0" baseline="0" dirty="0">
                <a:solidFill>
                  <a:srgbClr val="011F57"/>
                </a:solidFill>
                <a:effectLst/>
                <a:uFillTx/>
                <a:latin typeface="Segoe UI"/>
              </a:rPr>
              <a:t>more efficient energy transition</a:t>
            </a:r>
            <a:r>
              <a:rPr lang="en-US" sz="1100" b="0" i="0" u="none" strike="noStrike" cap="none" spc="0" baseline="0" dirty="0">
                <a:solidFill>
                  <a:srgbClr val="011F57"/>
                </a:solidFill>
                <a:effectLst/>
                <a:uFillTx/>
                <a:latin typeface="Segoe UI Light"/>
              </a:rPr>
              <a:t> </a:t>
            </a:r>
          </a:p>
        </p:txBody>
      </p:sp>
      <p:grpSp>
        <p:nvGrpSpPr>
          <p:cNvPr id="18" name="Gráfico 8">
            <a:extLst>
              <a:ext uri="{FF2B5EF4-FFF2-40B4-BE49-F238E27FC236}">
                <a16:creationId xmlns:a16="http://schemas.microsoft.com/office/drawing/2014/main" id="{42EC85EA-7C45-7B8F-7A75-EB3FFC1957FC}"/>
              </a:ext>
            </a:extLst>
          </p:cNvPr>
          <p:cNvGrpSpPr/>
          <p:nvPr>
            <p:custDataLst>
              <p:tags r:id="rId13"/>
            </p:custDataLst>
          </p:nvPr>
        </p:nvGrpSpPr>
        <p:grpSpPr>
          <a:xfrm>
            <a:off x="7761684" y="4162064"/>
            <a:ext cx="1019609" cy="1089748"/>
            <a:chOff x="713206" y="777045"/>
            <a:chExt cx="901386" cy="963392"/>
          </a:xfrm>
          <a:gradFill>
            <a:gsLst>
              <a:gs pos="0">
                <a:srgbClr val="306FE4"/>
              </a:gs>
              <a:gs pos="100000">
                <a:srgbClr val="193A8D"/>
              </a:gs>
            </a:gsLst>
            <a:lin ang="5400000" scaled="1"/>
          </a:gradFill>
        </p:grpSpPr>
        <p:sp>
          <p:nvSpPr>
            <p:cNvPr id="19" name="Forma Livre: Forma 18">
              <a:extLst>
                <a:ext uri="{FF2B5EF4-FFF2-40B4-BE49-F238E27FC236}">
                  <a16:creationId xmlns:a16="http://schemas.microsoft.com/office/drawing/2014/main" id="{C55A6FB3-8797-4B99-C052-254F2269102B}"/>
                </a:ext>
              </a:extLst>
            </p:cNvPr>
            <p:cNvSpPr/>
            <p:nvPr>
              <p:custDataLst>
                <p:tags r:id="rId15"/>
              </p:custDataLst>
            </p:nvPr>
          </p:nvSpPr>
          <p:spPr>
            <a:xfrm>
              <a:off x="1030846" y="1306333"/>
              <a:ext cx="487326" cy="153251"/>
            </a:xfrm>
            <a:custGeom>
              <a:avLst/>
              <a:gdLst>
                <a:gd name="connsiteX0" fmla="*/ 470963 w 487326"/>
                <a:gd name="connsiteY0" fmla="*/ 153252 h 153251"/>
                <a:gd name="connsiteX1" fmla="*/ 459324 w 487326"/>
                <a:gd name="connsiteY1" fmla="*/ 148438 h 153251"/>
                <a:gd name="connsiteX2" fmla="*/ 376627 w 487326"/>
                <a:gd name="connsiteY2" fmla="*/ 65669 h 153251"/>
                <a:gd name="connsiteX3" fmla="*/ 297522 w 487326"/>
                <a:gd name="connsiteY3" fmla="*/ 32906 h 153251"/>
                <a:gd name="connsiteX4" fmla="*/ 82984 w 487326"/>
                <a:gd name="connsiteY4" fmla="*/ 32906 h 153251"/>
                <a:gd name="connsiteX5" fmla="*/ 32978 w 487326"/>
                <a:gd name="connsiteY5" fmla="*/ 82913 h 153251"/>
                <a:gd name="connsiteX6" fmla="*/ 47420 w 487326"/>
                <a:gd name="connsiteY6" fmla="*/ 98504 h 153251"/>
                <a:gd name="connsiteX7" fmla="*/ 231566 w 487326"/>
                <a:gd name="connsiteY7" fmla="*/ 112298 h 153251"/>
                <a:gd name="connsiteX8" fmla="*/ 246726 w 487326"/>
                <a:gd name="connsiteY8" fmla="*/ 129973 h 153251"/>
                <a:gd name="connsiteX9" fmla="*/ 229051 w 487326"/>
                <a:gd name="connsiteY9" fmla="*/ 145133 h 153251"/>
                <a:gd name="connsiteX10" fmla="*/ 44905 w 487326"/>
                <a:gd name="connsiteY10" fmla="*/ 131338 h 153251"/>
                <a:gd name="connsiteX11" fmla="*/ 0 w 487326"/>
                <a:gd name="connsiteY11" fmla="*/ 82913 h 153251"/>
                <a:gd name="connsiteX12" fmla="*/ 82913 w 487326"/>
                <a:gd name="connsiteY12" fmla="*/ 0 h 153251"/>
                <a:gd name="connsiteX13" fmla="*/ 297451 w 487326"/>
                <a:gd name="connsiteY13" fmla="*/ 0 h 153251"/>
                <a:gd name="connsiteX14" fmla="*/ 399834 w 487326"/>
                <a:gd name="connsiteY14" fmla="*/ 42390 h 153251"/>
                <a:gd name="connsiteX15" fmla="*/ 482531 w 487326"/>
                <a:gd name="connsiteY15" fmla="*/ 125159 h 153251"/>
                <a:gd name="connsiteX16" fmla="*/ 482531 w 487326"/>
                <a:gd name="connsiteY16" fmla="*/ 148438 h 153251"/>
                <a:gd name="connsiteX17" fmla="*/ 470892 w 487326"/>
                <a:gd name="connsiteY17" fmla="*/ 153252 h 15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25" h="153251">
                  <a:moveTo>
                    <a:pt x="470963" y="153252"/>
                  </a:moveTo>
                  <a:cubicBezTo>
                    <a:pt x="466724" y="153252"/>
                    <a:pt x="462557" y="151671"/>
                    <a:pt x="459324" y="148438"/>
                  </a:cubicBezTo>
                  <a:lnTo>
                    <a:pt x="376627" y="65669"/>
                  </a:lnTo>
                  <a:cubicBezTo>
                    <a:pt x="355504" y="44546"/>
                    <a:pt x="327411" y="32906"/>
                    <a:pt x="297522" y="32906"/>
                  </a:cubicBezTo>
                  <a:lnTo>
                    <a:pt x="82984" y="32906"/>
                  </a:lnTo>
                  <a:cubicBezTo>
                    <a:pt x="55395" y="32906"/>
                    <a:pt x="32978" y="55323"/>
                    <a:pt x="32978" y="82913"/>
                  </a:cubicBezTo>
                  <a:cubicBezTo>
                    <a:pt x="32978" y="91031"/>
                    <a:pt x="39301" y="97857"/>
                    <a:pt x="47420" y="98504"/>
                  </a:cubicBezTo>
                  <a:lnTo>
                    <a:pt x="231566" y="112298"/>
                  </a:lnTo>
                  <a:cubicBezTo>
                    <a:pt x="240619" y="112945"/>
                    <a:pt x="247444" y="120848"/>
                    <a:pt x="246726" y="129973"/>
                  </a:cubicBezTo>
                  <a:cubicBezTo>
                    <a:pt x="246007" y="139026"/>
                    <a:pt x="238176" y="145851"/>
                    <a:pt x="229051" y="145133"/>
                  </a:cubicBezTo>
                  <a:lnTo>
                    <a:pt x="44905" y="131338"/>
                  </a:lnTo>
                  <a:cubicBezTo>
                    <a:pt x="19758" y="129470"/>
                    <a:pt x="0" y="108203"/>
                    <a:pt x="0" y="82913"/>
                  </a:cubicBezTo>
                  <a:cubicBezTo>
                    <a:pt x="0" y="37145"/>
                    <a:pt x="37217" y="0"/>
                    <a:pt x="82913" y="0"/>
                  </a:cubicBezTo>
                  <a:lnTo>
                    <a:pt x="297451" y="0"/>
                  </a:lnTo>
                  <a:cubicBezTo>
                    <a:pt x="336105" y="0"/>
                    <a:pt x="372460" y="15088"/>
                    <a:pt x="399834" y="42390"/>
                  </a:cubicBezTo>
                  <a:lnTo>
                    <a:pt x="482531" y="125159"/>
                  </a:lnTo>
                  <a:cubicBezTo>
                    <a:pt x="488925" y="131554"/>
                    <a:pt x="488925" y="141972"/>
                    <a:pt x="482531" y="148438"/>
                  </a:cubicBezTo>
                  <a:cubicBezTo>
                    <a:pt x="479298" y="151671"/>
                    <a:pt x="475131" y="153252"/>
                    <a:pt x="470892" y="153252"/>
                  </a:cubicBezTo>
                  <a:close/>
                </a:path>
              </a:pathLst>
            </a:custGeom>
            <a:grpFill/>
            <a:ln w="0" cap="flat">
              <a:noFill/>
              <a:prstDash val="solid"/>
              <a:miter/>
            </a:ln>
          </p:spPr>
          <p:txBody>
            <a:bodyPr rtlCol="0" anchor="ctr"/>
            <a:lstStyle/>
            <a:p>
              <a:endParaRPr lang="pt-BR" dirty="0"/>
            </a:p>
          </p:txBody>
        </p:sp>
        <p:sp>
          <p:nvSpPr>
            <p:cNvPr id="22" name="Forma Livre: Forma 21">
              <a:extLst>
                <a:ext uri="{FF2B5EF4-FFF2-40B4-BE49-F238E27FC236}">
                  <a16:creationId xmlns:a16="http://schemas.microsoft.com/office/drawing/2014/main" id="{0E56462B-E2AE-7CFD-E209-9DBCBC9B6C52}"/>
                </a:ext>
              </a:extLst>
            </p:cNvPr>
            <p:cNvSpPr/>
            <p:nvPr>
              <p:custDataLst>
                <p:tags r:id="rId16"/>
              </p:custDataLst>
            </p:nvPr>
          </p:nvSpPr>
          <p:spPr>
            <a:xfrm>
              <a:off x="713206" y="1280946"/>
              <a:ext cx="632385" cy="363359"/>
            </a:xfrm>
            <a:custGeom>
              <a:avLst/>
              <a:gdLst>
                <a:gd name="connsiteX0" fmla="*/ 615809 w 632385"/>
                <a:gd name="connsiteY0" fmla="*/ 363216 h 363359"/>
                <a:gd name="connsiteX1" fmla="*/ 604529 w 632385"/>
                <a:gd name="connsiteY1" fmla="*/ 358690 h 363359"/>
                <a:gd name="connsiteX2" fmla="*/ 542596 w 632385"/>
                <a:gd name="connsiteY2" fmla="*/ 300062 h 363359"/>
                <a:gd name="connsiteX3" fmla="*/ 391284 w 632385"/>
                <a:gd name="connsiteY3" fmla="*/ 323340 h 363359"/>
                <a:gd name="connsiteX4" fmla="*/ 288973 w 632385"/>
                <a:gd name="connsiteY4" fmla="*/ 300708 h 363359"/>
                <a:gd name="connsiteX5" fmla="*/ 119627 w 632385"/>
                <a:gd name="connsiteY5" fmla="*/ 196601 h 363359"/>
                <a:gd name="connsiteX6" fmla="*/ 116753 w 632385"/>
                <a:gd name="connsiteY6" fmla="*/ 194373 h 363359"/>
                <a:gd name="connsiteX7" fmla="*/ 14441 w 632385"/>
                <a:gd name="connsiteY7" fmla="*/ 94289 h 363359"/>
                <a:gd name="connsiteX8" fmla="*/ 0 w 632385"/>
                <a:gd name="connsiteY8" fmla="*/ 60377 h 363359"/>
                <a:gd name="connsiteX9" fmla="*/ 14729 w 632385"/>
                <a:gd name="connsiteY9" fmla="*/ 26393 h 363359"/>
                <a:gd name="connsiteX10" fmla="*/ 144127 w 632385"/>
                <a:gd name="connsiteY10" fmla="*/ 23447 h 363359"/>
                <a:gd name="connsiteX11" fmla="*/ 189248 w 632385"/>
                <a:gd name="connsiteY11" fmla="*/ 64113 h 363359"/>
                <a:gd name="connsiteX12" fmla="*/ 261167 w 632385"/>
                <a:gd name="connsiteY12" fmla="*/ 89834 h 363359"/>
                <a:gd name="connsiteX13" fmla="*/ 323460 w 632385"/>
                <a:gd name="connsiteY13" fmla="*/ 89691 h 363359"/>
                <a:gd name="connsiteX14" fmla="*/ 323460 w 632385"/>
                <a:gd name="connsiteY14" fmla="*/ 89691 h 363359"/>
                <a:gd name="connsiteX15" fmla="*/ 339913 w 632385"/>
                <a:gd name="connsiteY15" fmla="*/ 106072 h 363359"/>
                <a:gd name="connsiteX16" fmla="*/ 323531 w 632385"/>
                <a:gd name="connsiteY16" fmla="*/ 122597 h 363359"/>
                <a:gd name="connsiteX17" fmla="*/ 258365 w 632385"/>
                <a:gd name="connsiteY17" fmla="*/ 122741 h 363359"/>
                <a:gd name="connsiteX18" fmla="*/ 258365 w 632385"/>
                <a:gd name="connsiteY18" fmla="*/ 122741 h 363359"/>
                <a:gd name="connsiteX19" fmla="*/ 252833 w 632385"/>
                <a:gd name="connsiteY19" fmla="*/ 121807 h 363359"/>
                <a:gd name="connsiteX20" fmla="*/ 175165 w 632385"/>
                <a:gd name="connsiteY20" fmla="*/ 94002 h 363359"/>
                <a:gd name="connsiteX21" fmla="*/ 169705 w 632385"/>
                <a:gd name="connsiteY21" fmla="*/ 90768 h 363359"/>
                <a:gd name="connsiteX22" fmla="*/ 122429 w 632385"/>
                <a:gd name="connsiteY22" fmla="*/ 48235 h 363359"/>
                <a:gd name="connsiteX23" fmla="*/ 37361 w 632385"/>
                <a:gd name="connsiteY23" fmla="*/ 50390 h 363359"/>
                <a:gd name="connsiteX24" fmla="*/ 32978 w 632385"/>
                <a:gd name="connsiteY24" fmla="*/ 60521 h 363359"/>
                <a:gd name="connsiteX25" fmla="*/ 37289 w 632385"/>
                <a:gd name="connsiteY25" fmla="*/ 70651 h 363359"/>
                <a:gd name="connsiteX26" fmla="*/ 138451 w 632385"/>
                <a:gd name="connsiteY26" fmla="*/ 169586 h 363359"/>
                <a:gd name="connsiteX27" fmla="*/ 306719 w 632385"/>
                <a:gd name="connsiteY27" fmla="*/ 273119 h 363359"/>
                <a:gd name="connsiteX28" fmla="*/ 386327 w 632385"/>
                <a:gd name="connsiteY28" fmla="*/ 290937 h 363359"/>
                <a:gd name="connsiteX29" fmla="*/ 545613 w 632385"/>
                <a:gd name="connsiteY29" fmla="*/ 266437 h 363359"/>
                <a:gd name="connsiteX30" fmla="*/ 559408 w 632385"/>
                <a:gd name="connsiteY30" fmla="*/ 270748 h 363359"/>
                <a:gd name="connsiteX31" fmla="*/ 627233 w 632385"/>
                <a:gd name="connsiteY31" fmla="*/ 334908 h 363359"/>
                <a:gd name="connsiteX32" fmla="*/ 627879 w 632385"/>
                <a:gd name="connsiteY32" fmla="*/ 358187 h 363359"/>
                <a:gd name="connsiteX33" fmla="*/ 615953 w 632385"/>
                <a:gd name="connsiteY33" fmla="*/ 363360 h 36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2385" h="363359">
                  <a:moveTo>
                    <a:pt x="615809" y="363216"/>
                  </a:moveTo>
                  <a:cubicBezTo>
                    <a:pt x="611714" y="363216"/>
                    <a:pt x="607690" y="361707"/>
                    <a:pt x="604529" y="358690"/>
                  </a:cubicBezTo>
                  <a:lnTo>
                    <a:pt x="542596" y="300062"/>
                  </a:lnTo>
                  <a:lnTo>
                    <a:pt x="391284" y="323340"/>
                  </a:lnTo>
                  <a:cubicBezTo>
                    <a:pt x="355432" y="328801"/>
                    <a:pt x="319077" y="320826"/>
                    <a:pt x="288973" y="300708"/>
                  </a:cubicBezTo>
                  <a:lnTo>
                    <a:pt x="119627" y="196601"/>
                  </a:lnTo>
                  <a:cubicBezTo>
                    <a:pt x="118549" y="195954"/>
                    <a:pt x="117615" y="195235"/>
                    <a:pt x="116753" y="194373"/>
                  </a:cubicBezTo>
                  <a:lnTo>
                    <a:pt x="14441" y="94289"/>
                  </a:lnTo>
                  <a:cubicBezTo>
                    <a:pt x="5317" y="85595"/>
                    <a:pt x="0" y="73238"/>
                    <a:pt x="0" y="60377"/>
                  </a:cubicBezTo>
                  <a:cubicBezTo>
                    <a:pt x="0" y="47588"/>
                    <a:pt x="5389" y="35158"/>
                    <a:pt x="14729" y="26393"/>
                  </a:cubicBezTo>
                  <a:cubicBezTo>
                    <a:pt x="50868" y="-7663"/>
                    <a:pt x="106479" y="-8885"/>
                    <a:pt x="144127" y="23447"/>
                  </a:cubicBezTo>
                  <a:lnTo>
                    <a:pt x="189248" y="64113"/>
                  </a:lnTo>
                  <a:lnTo>
                    <a:pt x="261167" y="89834"/>
                  </a:lnTo>
                  <a:lnTo>
                    <a:pt x="323460" y="89691"/>
                  </a:lnTo>
                  <a:lnTo>
                    <a:pt x="323460" y="89691"/>
                  </a:lnTo>
                  <a:cubicBezTo>
                    <a:pt x="332512" y="89691"/>
                    <a:pt x="339913" y="97019"/>
                    <a:pt x="339913" y="106072"/>
                  </a:cubicBezTo>
                  <a:cubicBezTo>
                    <a:pt x="339913" y="115197"/>
                    <a:pt x="332584" y="122525"/>
                    <a:pt x="323531" y="122597"/>
                  </a:cubicBezTo>
                  <a:lnTo>
                    <a:pt x="258365" y="122741"/>
                  </a:lnTo>
                  <a:lnTo>
                    <a:pt x="258365" y="122741"/>
                  </a:lnTo>
                  <a:cubicBezTo>
                    <a:pt x="256497" y="122741"/>
                    <a:pt x="254629" y="122382"/>
                    <a:pt x="252833" y="121807"/>
                  </a:cubicBezTo>
                  <a:lnTo>
                    <a:pt x="175165" y="94002"/>
                  </a:lnTo>
                  <a:cubicBezTo>
                    <a:pt x="173154" y="93283"/>
                    <a:pt x="171286" y="92205"/>
                    <a:pt x="169705" y="90768"/>
                  </a:cubicBezTo>
                  <a:lnTo>
                    <a:pt x="122429" y="48235"/>
                  </a:lnTo>
                  <a:cubicBezTo>
                    <a:pt x="97857" y="27111"/>
                    <a:pt x="61214" y="27902"/>
                    <a:pt x="37361" y="50390"/>
                  </a:cubicBezTo>
                  <a:cubicBezTo>
                    <a:pt x="34559" y="53048"/>
                    <a:pt x="32978" y="56641"/>
                    <a:pt x="32978" y="60521"/>
                  </a:cubicBezTo>
                  <a:cubicBezTo>
                    <a:pt x="32978" y="64400"/>
                    <a:pt x="34487" y="67993"/>
                    <a:pt x="37289" y="70651"/>
                  </a:cubicBezTo>
                  <a:lnTo>
                    <a:pt x="138451" y="169586"/>
                  </a:lnTo>
                  <a:lnTo>
                    <a:pt x="306719" y="273119"/>
                  </a:lnTo>
                  <a:cubicBezTo>
                    <a:pt x="330501" y="288997"/>
                    <a:pt x="358593" y="295176"/>
                    <a:pt x="386327" y="290937"/>
                  </a:cubicBezTo>
                  <a:lnTo>
                    <a:pt x="545613" y="266437"/>
                  </a:lnTo>
                  <a:cubicBezTo>
                    <a:pt x="550643" y="265718"/>
                    <a:pt x="555744" y="267227"/>
                    <a:pt x="559408" y="270748"/>
                  </a:cubicBezTo>
                  <a:lnTo>
                    <a:pt x="627233" y="334908"/>
                  </a:lnTo>
                  <a:cubicBezTo>
                    <a:pt x="633843" y="341159"/>
                    <a:pt x="634130" y="351577"/>
                    <a:pt x="627879" y="358187"/>
                  </a:cubicBezTo>
                  <a:cubicBezTo>
                    <a:pt x="624646" y="361635"/>
                    <a:pt x="620264" y="363360"/>
                    <a:pt x="615953" y="363360"/>
                  </a:cubicBezTo>
                  <a:close/>
                </a:path>
              </a:pathLst>
            </a:custGeom>
            <a:grpFill/>
            <a:ln w="0" cap="flat">
              <a:noFill/>
              <a:prstDash val="solid"/>
              <a:miter/>
            </a:ln>
          </p:spPr>
          <p:txBody>
            <a:bodyPr rtlCol="0" anchor="ctr"/>
            <a:lstStyle/>
            <a:p>
              <a:endParaRPr lang="pt-BR" dirty="0"/>
            </a:p>
          </p:txBody>
        </p:sp>
        <p:sp>
          <p:nvSpPr>
            <p:cNvPr id="24" name="Forma Livre: Forma 23">
              <a:extLst>
                <a:ext uri="{FF2B5EF4-FFF2-40B4-BE49-F238E27FC236}">
                  <a16:creationId xmlns:a16="http://schemas.microsoft.com/office/drawing/2014/main" id="{274855B5-30EA-0424-1B8C-E1402C18A4D7}"/>
                </a:ext>
              </a:extLst>
            </p:cNvPr>
            <p:cNvSpPr/>
            <p:nvPr>
              <p:custDataLst>
                <p:tags r:id="rId17"/>
              </p:custDataLst>
            </p:nvPr>
          </p:nvSpPr>
          <p:spPr>
            <a:xfrm>
              <a:off x="1292965" y="1418793"/>
              <a:ext cx="321627" cy="321645"/>
            </a:xfrm>
            <a:custGeom>
              <a:avLst/>
              <a:gdLst>
                <a:gd name="connsiteX0" fmla="*/ 80595 w 321627"/>
                <a:gd name="connsiteY0" fmla="*/ 321645 h 321645"/>
                <a:gd name="connsiteX1" fmla="*/ 68956 w 321627"/>
                <a:gd name="connsiteY1" fmla="*/ 316832 h 321645"/>
                <a:gd name="connsiteX2" fmla="*/ 4796 w 321627"/>
                <a:gd name="connsiteY2" fmla="*/ 252671 h 321645"/>
                <a:gd name="connsiteX3" fmla="*/ 4796 w 321627"/>
                <a:gd name="connsiteY3" fmla="*/ 229393 h 321645"/>
                <a:gd name="connsiteX4" fmla="*/ 229393 w 321627"/>
                <a:gd name="connsiteY4" fmla="*/ 4796 h 321645"/>
                <a:gd name="connsiteX5" fmla="*/ 252671 w 321627"/>
                <a:gd name="connsiteY5" fmla="*/ 4796 h 321645"/>
                <a:gd name="connsiteX6" fmla="*/ 316832 w 321627"/>
                <a:gd name="connsiteY6" fmla="*/ 68956 h 321645"/>
                <a:gd name="connsiteX7" fmla="*/ 316832 w 321627"/>
                <a:gd name="connsiteY7" fmla="*/ 92235 h 321645"/>
                <a:gd name="connsiteX8" fmla="*/ 293553 w 321627"/>
                <a:gd name="connsiteY8" fmla="*/ 92235 h 321645"/>
                <a:gd name="connsiteX9" fmla="*/ 241032 w 321627"/>
                <a:gd name="connsiteY9" fmla="*/ 39714 h 321645"/>
                <a:gd name="connsiteX10" fmla="*/ 39714 w 321627"/>
                <a:gd name="connsiteY10" fmla="*/ 241032 h 321645"/>
                <a:gd name="connsiteX11" fmla="*/ 92235 w 321627"/>
                <a:gd name="connsiteY11" fmla="*/ 293553 h 321645"/>
                <a:gd name="connsiteX12" fmla="*/ 92235 w 321627"/>
                <a:gd name="connsiteY12" fmla="*/ 316832 h 321645"/>
                <a:gd name="connsiteX13" fmla="*/ 80595 w 321627"/>
                <a:gd name="connsiteY13" fmla="*/ 321645 h 32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1627" h="321645">
                  <a:moveTo>
                    <a:pt x="80595" y="321645"/>
                  </a:moveTo>
                  <a:cubicBezTo>
                    <a:pt x="76356" y="321645"/>
                    <a:pt x="72189" y="320065"/>
                    <a:pt x="68956" y="316832"/>
                  </a:cubicBezTo>
                  <a:lnTo>
                    <a:pt x="4796" y="252671"/>
                  </a:lnTo>
                  <a:cubicBezTo>
                    <a:pt x="-1599" y="246277"/>
                    <a:pt x="-1599" y="235859"/>
                    <a:pt x="4796" y="229393"/>
                  </a:cubicBezTo>
                  <a:lnTo>
                    <a:pt x="229393" y="4796"/>
                  </a:lnTo>
                  <a:cubicBezTo>
                    <a:pt x="235787" y="-1599"/>
                    <a:pt x="246205" y="-1599"/>
                    <a:pt x="252671" y="4796"/>
                  </a:cubicBezTo>
                  <a:lnTo>
                    <a:pt x="316832" y="68956"/>
                  </a:lnTo>
                  <a:cubicBezTo>
                    <a:pt x="323226" y="75351"/>
                    <a:pt x="323226" y="85768"/>
                    <a:pt x="316832" y="92235"/>
                  </a:cubicBezTo>
                  <a:cubicBezTo>
                    <a:pt x="310437" y="98701"/>
                    <a:pt x="300019" y="98629"/>
                    <a:pt x="293553" y="92235"/>
                  </a:cubicBezTo>
                  <a:lnTo>
                    <a:pt x="241032" y="39714"/>
                  </a:lnTo>
                  <a:lnTo>
                    <a:pt x="39714" y="241032"/>
                  </a:lnTo>
                  <a:lnTo>
                    <a:pt x="92235" y="293553"/>
                  </a:lnTo>
                  <a:cubicBezTo>
                    <a:pt x="98629" y="299947"/>
                    <a:pt x="98629" y="310365"/>
                    <a:pt x="92235" y="316832"/>
                  </a:cubicBezTo>
                  <a:cubicBezTo>
                    <a:pt x="89002" y="320065"/>
                    <a:pt x="84834" y="321645"/>
                    <a:pt x="80595" y="321645"/>
                  </a:cubicBezTo>
                  <a:close/>
                </a:path>
              </a:pathLst>
            </a:custGeom>
            <a:grpFill/>
            <a:ln w="0" cap="flat">
              <a:noFill/>
              <a:prstDash val="solid"/>
              <a:miter/>
            </a:ln>
          </p:spPr>
          <p:txBody>
            <a:bodyPr rtlCol="0" anchor="ctr"/>
            <a:lstStyle/>
            <a:p>
              <a:endParaRPr lang="pt-BR" dirty="0"/>
            </a:p>
          </p:txBody>
        </p:sp>
        <p:sp>
          <p:nvSpPr>
            <p:cNvPr id="33" name="Forma Livre: Forma 32">
              <a:extLst>
                <a:ext uri="{FF2B5EF4-FFF2-40B4-BE49-F238E27FC236}">
                  <a16:creationId xmlns:a16="http://schemas.microsoft.com/office/drawing/2014/main" id="{FDFAADBA-996A-F119-D171-E44072B68FDF}"/>
                </a:ext>
              </a:extLst>
            </p:cNvPr>
            <p:cNvSpPr/>
            <p:nvPr>
              <p:custDataLst>
                <p:tags r:id="rId18"/>
              </p:custDataLst>
            </p:nvPr>
          </p:nvSpPr>
          <p:spPr>
            <a:xfrm>
              <a:off x="891838" y="1161990"/>
              <a:ext cx="482043" cy="177392"/>
            </a:xfrm>
            <a:custGeom>
              <a:avLst/>
              <a:gdLst>
                <a:gd name="connsiteX0" fmla="*/ 465701 w 482043"/>
                <a:gd name="connsiteY0" fmla="*/ 177321 h 177392"/>
                <a:gd name="connsiteX1" fmla="*/ 451978 w 482043"/>
                <a:gd name="connsiteY1" fmla="*/ 169992 h 177392"/>
                <a:gd name="connsiteX2" fmla="*/ 411599 w 482043"/>
                <a:gd name="connsiteY2" fmla="*/ 109424 h 177392"/>
                <a:gd name="connsiteX3" fmla="*/ 358575 w 482043"/>
                <a:gd name="connsiteY3" fmla="*/ 81044 h 177392"/>
                <a:gd name="connsiteX4" fmla="*/ 305264 w 482043"/>
                <a:gd name="connsiteY4" fmla="*/ 81044 h 177392"/>
                <a:gd name="connsiteX5" fmla="*/ 293625 w 482043"/>
                <a:gd name="connsiteY5" fmla="*/ 76231 h 177392"/>
                <a:gd name="connsiteX6" fmla="*/ 268981 w 482043"/>
                <a:gd name="connsiteY6" fmla="*/ 51587 h 177392"/>
                <a:gd name="connsiteX7" fmla="*/ 223860 w 482043"/>
                <a:gd name="connsiteY7" fmla="*/ 32906 h 177392"/>
                <a:gd name="connsiteX8" fmla="*/ 129883 w 482043"/>
                <a:gd name="connsiteY8" fmla="*/ 32906 h 177392"/>
                <a:gd name="connsiteX9" fmla="*/ 84763 w 482043"/>
                <a:gd name="connsiteY9" fmla="*/ 51587 h 177392"/>
                <a:gd name="connsiteX10" fmla="*/ 28075 w 482043"/>
                <a:gd name="connsiteY10" fmla="*/ 108275 h 177392"/>
                <a:gd name="connsiteX11" fmla="*/ 4796 w 482043"/>
                <a:gd name="connsiteY11" fmla="*/ 108275 h 177392"/>
                <a:gd name="connsiteX12" fmla="*/ 4796 w 482043"/>
                <a:gd name="connsiteY12" fmla="*/ 84996 h 177392"/>
                <a:gd name="connsiteX13" fmla="*/ 61484 w 482043"/>
                <a:gd name="connsiteY13" fmla="*/ 28308 h 177392"/>
                <a:gd name="connsiteX14" fmla="*/ 129811 w 482043"/>
                <a:gd name="connsiteY14" fmla="*/ 0 h 177392"/>
                <a:gd name="connsiteX15" fmla="*/ 223788 w 482043"/>
                <a:gd name="connsiteY15" fmla="*/ 0 h 177392"/>
                <a:gd name="connsiteX16" fmla="*/ 292116 w 482043"/>
                <a:gd name="connsiteY16" fmla="*/ 28308 h 177392"/>
                <a:gd name="connsiteX17" fmla="*/ 311946 w 482043"/>
                <a:gd name="connsiteY17" fmla="*/ 48138 h 177392"/>
                <a:gd name="connsiteX18" fmla="*/ 358432 w 482043"/>
                <a:gd name="connsiteY18" fmla="*/ 48138 h 177392"/>
                <a:gd name="connsiteX19" fmla="*/ 438901 w 482043"/>
                <a:gd name="connsiteY19" fmla="*/ 91175 h 177392"/>
                <a:gd name="connsiteX20" fmla="*/ 479280 w 482043"/>
                <a:gd name="connsiteY20" fmla="*/ 151743 h 177392"/>
                <a:gd name="connsiteX21" fmla="*/ 474682 w 482043"/>
                <a:gd name="connsiteY21" fmla="*/ 174591 h 177392"/>
                <a:gd name="connsiteX22" fmla="*/ 465557 w 482043"/>
                <a:gd name="connsiteY22" fmla="*/ 177393 h 17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2043" h="177392">
                  <a:moveTo>
                    <a:pt x="465701" y="177321"/>
                  </a:moveTo>
                  <a:cubicBezTo>
                    <a:pt x="460384" y="177321"/>
                    <a:pt x="455139" y="174734"/>
                    <a:pt x="451978" y="169992"/>
                  </a:cubicBezTo>
                  <a:lnTo>
                    <a:pt x="411599" y="109424"/>
                  </a:lnTo>
                  <a:cubicBezTo>
                    <a:pt x="399744" y="91678"/>
                    <a:pt x="379914" y="81044"/>
                    <a:pt x="358575" y="81044"/>
                  </a:cubicBezTo>
                  <a:lnTo>
                    <a:pt x="305264" y="81044"/>
                  </a:lnTo>
                  <a:cubicBezTo>
                    <a:pt x="300881" y="81044"/>
                    <a:pt x="296714" y="79320"/>
                    <a:pt x="293625" y="76231"/>
                  </a:cubicBezTo>
                  <a:lnTo>
                    <a:pt x="268981" y="51587"/>
                  </a:lnTo>
                  <a:cubicBezTo>
                    <a:pt x="256910" y="39516"/>
                    <a:pt x="240960" y="32906"/>
                    <a:pt x="223860" y="32906"/>
                  </a:cubicBezTo>
                  <a:lnTo>
                    <a:pt x="129883" y="32906"/>
                  </a:lnTo>
                  <a:cubicBezTo>
                    <a:pt x="112855" y="32906"/>
                    <a:pt x="96833" y="39516"/>
                    <a:pt x="84763" y="51587"/>
                  </a:cubicBezTo>
                  <a:lnTo>
                    <a:pt x="28075" y="108275"/>
                  </a:lnTo>
                  <a:cubicBezTo>
                    <a:pt x="21680" y="114669"/>
                    <a:pt x="11190" y="114669"/>
                    <a:pt x="4796" y="108275"/>
                  </a:cubicBezTo>
                  <a:cubicBezTo>
                    <a:pt x="-1599" y="101880"/>
                    <a:pt x="-1599" y="91462"/>
                    <a:pt x="4796" y="84996"/>
                  </a:cubicBezTo>
                  <a:lnTo>
                    <a:pt x="61484" y="28308"/>
                  </a:lnTo>
                  <a:cubicBezTo>
                    <a:pt x="79733" y="10059"/>
                    <a:pt x="104018" y="0"/>
                    <a:pt x="129811" y="0"/>
                  </a:cubicBezTo>
                  <a:lnTo>
                    <a:pt x="223788" y="0"/>
                  </a:lnTo>
                  <a:cubicBezTo>
                    <a:pt x="249654" y="0"/>
                    <a:pt x="273867" y="10059"/>
                    <a:pt x="292116" y="28308"/>
                  </a:cubicBezTo>
                  <a:lnTo>
                    <a:pt x="311946" y="48138"/>
                  </a:lnTo>
                  <a:lnTo>
                    <a:pt x="358432" y="48138"/>
                  </a:lnTo>
                  <a:cubicBezTo>
                    <a:pt x="390835" y="48138"/>
                    <a:pt x="420867" y="64232"/>
                    <a:pt x="438901" y="91175"/>
                  </a:cubicBezTo>
                  <a:lnTo>
                    <a:pt x="479280" y="151743"/>
                  </a:lnTo>
                  <a:cubicBezTo>
                    <a:pt x="484309" y="159287"/>
                    <a:pt x="482297" y="169489"/>
                    <a:pt x="474682" y="174591"/>
                  </a:cubicBezTo>
                  <a:cubicBezTo>
                    <a:pt x="471879" y="176459"/>
                    <a:pt x="468718" y="177393"/>
                    <a:pt x="465557" y="177393"/>
                  </a:cubicBezTo>
                  <a:close/>
                </a:path>
              </a:pathLst>
            </a:custGeom>
            <a:grpFill/>
            <a:ln w="0" cap="flat">
              <a:noFill/>
              <a:prstDash val="solid"/>
              <a:miter/>
            </a:ln>
          </p:spPr>
          <p:txBody>
            <a:bodyPr rtlCol="0" anchor="ctr"/>
            <a:lstStyle/>
            <a:p>
              <a:endParaRPr lang="pt-BR" dirty="0"/>
            </a:p>
          </p:txBody>
        </p:sp>
        <p:sp>
          <p:nvSpPr>
            <p:cNvPr id="34" name="Forma Livre: Forma 33">
              <a:extLst>
                <a:ext uri="{FF2B5EF4-FFF2-40B4-BE49-F238E27FC236}">
                  <a16:creationId xmlns:a16="http://schemas.microsoft.com/office/drawing/2014/main" id="{3D27BC95-88BB-3B89-074C-A89BE6CD5B2D}"/>
                </a:ext>
              </a:extLst>
            </p:cNvPr>
            <p:cNvSpPr/>
            <p:nvPr>
              <p:custDataLst>
                <p:tags r:id="rId19"/>
              </p:custDataLst>
            </p:nvPr>
          </p:nvSpPr>
          <p:spPr>
            <a:xfrm>
              <a:off x="875841" y="873348"/>
              <a:ext cx="225416" cy="321692"/>
            </a:xfrm>
            <a:custGeom>
              <a:avLst/>
              <a:gdLst>
                <a:gd name="connsiteX0" fmla="*/ 208963 w 225416"/>
                <a:gd name="connsiteY0" fmla="*/ 321621 h 321692"/>
                <a:gd name="connsiteX1" fmla="*/ 192510 w 225416"/>
                <a:gd name="connsiteY1" fmla="*/ 305168 h 321692"/>
                <a:gd name="connsiteX2" fmla="*/ 8148 w 225416"/>
                <a:gd name="connsiteY2" fmla="*/ 30637 h 321692"/>
                <a:gd name="connsiteX3" fmla="*/ 2257 w 225416"/>
                <a:gd name="connsiteY3" fmla="*/ 8148 h 321692"/>
                <a:gd name="connsiteX4" fmla="*/ 24745 w 225416"/>
                <a:gd name="connsiteY4" fmla="*/ 2257 h 321692"/>
                <a:gd name="connsiteX5" fmla="*/ 225416 w 225416"/>
                <a:gd name="connsiteY5" fmla="*/ 305239 h 321692"/>
                <a:gd name="connsiteX6" fmla="*/ 208963 w 225416"/>
                <a:gd name="connsiteY6" fmla="*/ 321693 h 32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416" h="321692">
                  <a:moveTo>
                    <a:pt x="208963" y="321621"/>
                  </a:moveTo>
                  <a:cubicBezTo>
                    <a:pt x="199838" y="321621"/>
                    <a:pt x="192510" y="314292"/>
                    <a:pt x="192510" y="305168"/>
                  </a:cubicBezTo>
                  <a:cubicBezTo>
                    <a:pt x="192510" y="211837"/>
                    <a:pt x="192510" y="138121"/>
                    <a:pt x="8148" y="30637"/>
                  </a:cubicBezTo>
                  <a:cubicBezTo>
                    <a:pt x="317" y="26038"/>
                    <a:pt x="-2342" y="15980"/>
                    <a:pt x="2257" y="8148"/>
                  </a:cubicBezTo>
                  <a:cubicBezTo>
                    <a:pt x="6855" y="317"/>
                    <a:pt x="16914" y="-2342"/>
                    <a:pt x="24745" y="2257"/>
                  </a:cubicBezTo>
                  <a:cubicBezTo>
                    <a:pt x="225416" y="119297"/>
                    <a:pt x="225416" y="205514"/>
                    <a:pt x="225416" y="305239"/>
                  </a:cubicBezTo>
                  <a:cubicBezTo>
                    <a:pt x="225416" y="314364"/>
                    <a:pt x="218088" y="321693"/>
                    <a:pt x="208963" y="321693"/>
                  </a:cubicBezTo>
                  <a:close/>
                </a:path>
              </a:pathLst>
            </a:custGeom>
            <a:grpFill/>
            <a:ln w="0" cap="flat">
              <a:noFill/>
              <a:prstDash val="solid"/>
              <a:miter/>
            </a:ln>
          </p:spPr>
          <p:txBody>
            <a:bodyPr rtlCol="0" anchor="ctr"/>
            <a:lstStyle/>
            <a:p>
              <a:endParaRPr lang="pt-BR" dirty="0"/>
            </a:p>
          </p:txBody>
        </p:sp>
        <p:sp>
          <p:nvSpPr>
            <p:cNvPr id="35" name="Forma Livre: Forma 34">
              <a:extLst>
                <a:ext uri="{FF2B5EF4-FFF2-40B4-BE49-F238E27FC236}">
                  <a16:creationId xmlns:a16="http://schemas.microsoft.com/office/drawing/2014/main" id="{5E613127-BC77-61D7-BD95-4004E989F898}"/>
                </a:ext>
              </a:extLst>
            </p:cNvPr>
            <p:cNvSpPr/>
            <p:nvPr>
              <p:custDataLst>
                <p:tags r:id="rId20"/>
              </p:custDataLst>
            </p:nvPr>
          </p:nvSpPr>
          <p:spPr>
            <a:xfrm>
              <a:off x="763500" y="777045"/>
              <a:ext cx="342725" cy="306630"/>
            </a:xfrm>
            <a:custGeom>
              <a:avLst/>
              <a:gdLst>
                <a:gd name="connsiteX0" fmla="*/ 223519 w 342725"/>
                <a:gd name="connsiteY0" fmla="*/ 306487 h 306630"/>
                <a:gd name="connsiteX1" fmla="*/ 103820 w 342725"/>
                <a:gd name="connsiteY1" fmla="*/ 258708 h 306630"/>
                <a:gd name="connsiteX2" fmla="*/ 0 w 342725"/>
                <a:gd name="connsiteY2" fmla="*/ 16437 h 306630"/>
                <a:gd name="connsiteX3" fmla="*/ 11711 w 342725"/>
                <a:gd name="connsiteY3" fmla="*/ 702 h 306630"/>
                <a:gd name="connsiteX4" fmla="*/ 30176 w 342725"/>
                <a:gd name="connsiteY4" fmla="*/ 7312 h 306630"/>
                <a:gd name="connsiteX5" fmla="*/ 116753 w 342725"/>
                <a:gd name="connsiteY5" fmla="*/ 33465 h 306630"/>
                <a:gd name="connsiteX6" fmla="*/ 282291 w 342725"/>
                <a:gd name="connsiteY6" fmla="*/ 82968 h 306630"/>
                <a:gd name="connsiteX7" fmla="*/ 319508 w 342725"/>
                <a:gd name="connsiteY7" fmla="*/ 281340 h 306630"/>
                <a:gd name="connsiteX8" fmla="*/ 297020 w 342725"/>
                <a:gd name="connsiteY8" fmla="*/ 287447 h 306630"/>
                <a:gd name="connsiteX9" fmla="*/ 290912 w 342725"/>
                <a:gd name="connsiteY9" fmla="*/ 265031 h 306630"/>
                <a:gd name="connsiteX10" fmla="*/ 290912 w 342725"/>
                <a:gd name="connsiteY10" fmla="*/ 265031 h 306630"/>
                <a:gd name="connsiteX11" fmla="*/ 264041 w 342725"/>
                <a:gd name="connsiteY11" fmla="*/ 110414 h 306630"/>
                <a:gd name="connsiteX12" fmla="*/ 112729 w 342725"/>
                <a:gd name="connsiteY12" fmla="*/ 66155 h 306630"/>
                <a:gd name="connsiteX13" fmla="*/ 35924 w 342725"/>
                <a:gd name="connsiteY13" fmla="*/ 50780 h 306630"/>
                <a:gd name="connsiteX14" fmla="*/ 125949 w 342725"/>
                <a:gd name="connsiteY14" fmla="*/ 234351 h 306630"/>
                <a:gd name="connsiteX15" fmla="*/ 239469 w 342725"/>
                <a:gd name="connsiteY15" fmla="*/ 272862 h 306630"/>
                <a:gd name="connsiteX16" fmla="*/ 257503 w 342725"/>
                <a:gd name="connsiteY16" fmla="*/ 287591 h 306630"/>
                <a:gd name="connsiteX17" fmla="*/ 242774 w 342725"/>
                <a:gd name="connsiteY17" fmla="*/ 305625 h 306630"/>
                <a:gd name="connsiteX18" fmla="*/ 223591 w 342725"/>
                <a:gd name="connsiteY18" fmla="*/ 306630 h 30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725" h="306630">
                  <a:moveTo>
                    <a:pt x="223519" y="306487"/>
                  </a:moveTo>
                  <a:cubicBezTo>
                    <a:pt x="179117" y="306487"/>
                    <a:pt x="138954" y="290465"/>
                    <a:pt x="103820" y="258708"/>
                  </a:cubicBezTo>
                  <a:cubicBezTo>
                    <a:pt x="32188" y="193901"/>
                    <a:pt x="0" y="78010"/>
                    <a:pt x="0" y="16437"/>
                  </a:cubicBezTo>
                  <a:cubicBezTo>
                    <a:pt x="0" y="9180"/>
                    <a:pt x="4742" y="2785"/>
                    <a:pt x="11711" y="702"/>
                  </a:cubicBezTo>
                  <a:cubicBezTo>
                    <a:pt x="18680" y="-1382"/>
                    <a:pt x="26153" y="1277"/>
                    <a:pt x="30176" y="7312"/>
                  </a:cubicBezTo>
                  <a:cubicBezTo>
                    <a:pt x="41384" y="24124"/>
                    <a:pt x="76303" y="28435"/>
                    <a:pt x="116753" y="33465"/>
                  </a:cubicBezTo>
                  <a:cubicBezTo>
                    <a:pt x="166687" y="39643"/>
                    <a:pt x="228908" y="47403"/>
                    <a:pt x="282291" y="82968"/>
                  </a:cubicBezTo>
                  <a:cubicBezTo>
                    <a:pt x="368580" y="140446"/>
                    <a:pt x="344367" y="237872"/>
                    <a:pt x="319508" y="281340"/>
                  </a:cubicBezTo>
                  <a:cubicBezTo>
                    <a:pt x="314982" y="289243"/>
                    <a:pt x="304923" y="291973"/>
                    <a:pt x="297020" y="287447"/>
                  </a:cubicBezTo>
                  <a:cubicBezTo>
                    <a:pt x="289116" y="282921"/>
                    <a:pt x="286386" y="272934"/>
                    <a:pt x="290912" y="265031"/>
                  </a:cubicBezTo>
                  <a:lnTo>
                    <a:pt x="290912" y="265031"/>
                  </a:lnTo>
                  <a:cubicBezTo>
                    <a:pt x="293212" y="261007"/>
                    <a:pt x="346092" y="165162"/>
                    <a:pt x="264041" y="110414"/>
                  </a:cubicBezTo>
                  <a:cubicBezTo>
                    <a:pt x="217125" y="79160"/>
                    <a:pt x="161658" y="72262"/>
                    <a:pt x="112729" y="66155"/>
                  </a:cubicBezTo>
                  <a:cubicBezTo>
                    <a:pt x="83631" y="62563"/>
                    <a:pt x="56904" y="59258"/>
                    <a:pt x="35924" y="50780"/>
                  </a:cubicBezTo>
                  <a:cubicBezTo>
                    <a:pt x="44905" y="107755"/>
                    <a:pt x="74075" y="187435"/>
                    <a:pt x="125949" y="234351"/>
                  </a:cubicBezTo>
                  <a:cubicBezTo>
                    <a:pt x="158856" y="264096"/>
                    <a:pt x="197007" y="277101"/>
                    <a:pt x="239469" y="272862"/>
                  </a:cubicBezTo>
                  <a:cubicBezTo>
                    <a:pt x="248594" y="271928"/>
                    <a:pt x="256569" y="278538"/>
                    <a:pt x="257503" y="287591"/>
                  </a:cubicBezTo>
                  <a:cubicBezTo>
                    <a:pt x="258437" y="296644"/>
                    <a:pt x="251827" y="304691"/>
                    <a:pt x="242774" y="305625"/>
                  </a:cubicBezTo>
                  <a:cubicBezTo>
                    <a:pt x="236308" y="306271"/>
                    <a:pt x="229914" y="306630"/>
                    <a:pt x="223591" y="306630"/>
                  </a:cubicBezTo>
                  <a:close/>
                </a:path>
              </a:pathLst>
            </a:custGeom>
            <a:grpFill/>
            <a:ln w="0" cap="flat">
              <a:noFill/>
              <a:prstDash val="solid"/>
              <a:miter/>
            </a:ln>
          </p:spPr>
          <p:txBody>
            <a:bodyPr rtlCol="0" anchor="ctr"/>
            <a:lstStyle/>
            <a:p>
              <a:endParaRPr lang="pt-BR" dirty="0"/>
            </a:p>
          </p:txBody>
        </p:sp>
        <p:sp>
          <p:nvSpPr>
            <p:cNvPr id="37" name="Forma Livre: Forma 36">
              <a:extLst>
                <a:ext uri="{FF2B5EF4-FFF2-40B4-BE49-F238E27FC236}">
                  <a16:creationId xmlns:a16="http://schemas.microsoft.com/office/drawing/2014/main" id="{77C70773-D29C-B8A0-321E-B9E0501E8E53}"/>
                </a:ext>
              </a:extLst>
            </p:cNvPr>
            <p:cNvSpPr/>
            <p:nvPr>
              <p:custDataLst>
                <p:tags r:id="rId21"/>
              </p:custDataLst>
            </p:nvPr>
          </p:nvSpPr>
          <p:spPr>
            <a:xfrm>
              <a:off x="1052204" y="816159"/>
              <a:ext cx="289617" cy="266511"/>
            </a:xfrm>
            <a:custGeom>
              <a:avLst/>
              <a:gdLst>
                <a:gd name="connsiteX0" fmla="*/ 96760 w 289617"/>
                <a:gd name="connsiteY0" fmla="*/ 266511 h 266511"/>
                <a:gd name="connsiteX1" fmla="*/ 80307 w 289617"/>
                <a:gd name="connsiteY1" fmla="*/ 250058 h 266511"/>
                <a:gd name="connsiteX2" fmla="*/ 96689 w 289617"/>
                <a:gd name="connsiteY2" fmla="*/ 233605 h 266511"/>
                <a:gd name="connsiteX3" fmla="*/ 181397 w 289617"/>
                <a:gd name="connsiteY3" fmla="*/ 190280 h 266511"/>
                <a:gd name="connsiteX4" fmla="*/ 228098 w 289617"/>
                <a:gd name="connsiteY4" fmla="*/ 93429 h 266511"/>
                <a:gd name="connsiteX5" fmla="*/ 247641 w 289617"/>
                <a:gd name="connsiteY5" fmla="*/ 37747 h 266511"/>
                <a:gd name="connsiteX6" fmla="*/ 29654 w 289617"/>
                <a:gd name="connsiteY6" fmla="*/ 83371 h 266511"/>
                <a:gd name="connsiteX7" fmla="*/ 6591 w 289617"/>
                <a:gd name="connsiteY7" fmla="*/ 86676 h 266511"/>
                <a:gd name="connsiteX8" fmla="*/ 3286 w 289617"/>
                <a:gd name="connsiteY8" fmla="*/ 63612 h 266511"/>
                <a:gd name="connsiteX9" fmla="*/ 276380 w 289617"/>
                <a:gd name="connsiteY9" fmla="*/ 9224 h 266511"/>
                <a:gd name="connsiteX10" fmla="*/ 288379 w 289617"/>
                <a:gd name="connsiteY10" fmla="*/ 19067 h 266511"/>
                <a:gd name="connsiteX11" fmla="*/ 286870 w 289617"/>
                <a:gd name="connsiteY11" fmla="*/ 34514 h 266511"/>
                <a:gd name="connsiteX12" fmla="*/ 259568 w 289617"/>
                <a:gd name="connsiteY12" fmla="*/ 102913 h 266511"/>
                <a:gd name="connsiteX13" fmla="*/ 204604 w 289617"/>
                <a:gd name="connsiteY13" fmla="*/ 213487 h 266511"/>
                <a:gd name="connsiteX14" fmla="*/ 96689 w 289617"/>
                <a:gd name="connsiteY14" fmla="*/ 266439 h 26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9617" h="266511">
                  <a:moveTo>
                    <a:pt x="96760" y="266511"/>
                  </a:moveTo>
                  <a:cubicBezTo>
                    <a:pt x="87636" y="266511"/>
                    <a:pt x="80307" y="259183"/>
                    <a:pt x="80307" y="250058"/>
                  </a:cubicBezTo>
                  <a:cubicBezTo>
                    <a:pt x="80307" y="240933"/>
                    <a:pt x="87636" y="233677"/>
                    <a:pt x="96689" y="233605"/>
                  </a:cubicBezTo>
                  <a:cubicBezTo>
                    <a:pt x="98628" y="233605"/>
                    <a:pt x="139366" y="232383"/>
                    <a:pt x="181397" y="190280"/>
                  </a:cubicBezTo>
                  <a:cubicBezTo>
                    <a:pt x="206400" y="165277"/>
                    <a:pt x="217465" y="128779"/>
                    <a:pt x="228098" y="93429"/>
                  </a:cubicBezTo>
                  <a:cubicBezTo>
                    <a:pt x="234062" y="73815"/>
                    <a:pt x="239738" y="54919"/>
                    <a:pt x="247641" y="37747"/>
                  </a:cubicBezTo>
                  <a:cubicBezTo>
                    <a:pt x="173853" y="27257"/>
                    <a:pt x="68596" y="31568"/>
                    <a:pt x="29654" y="83371"/>
                  </a:cubicBezTo>
                  <a:cubicBezTo>
                    <a:pt x="24194" y="90627"/>
                    <a:pt x="13848" y="92136"/>
                    <a:pt x="6591" y="86676"/>
                  </a:cubicBezTo>
                  <a:cubicBezTo>
                    <a:pt x="-665" y="81215"/>
                    <a:pt x="-2174" y="70869"/>
                    <a:pt x="3286" y="63612"/>
                  </a:cubicBezTo>
                  <a:cubicBezTo>
                    <a:pt x="59399" y="-11253"/>
                    <a:pt x="201371" y="-5793"/>
                    <a:pt x="276380" y="9224"/>
                  </a:cubicBezTo>
                  <a:cubicBezTo>
                    <a:pt x="281769" y="10301"/>
                    <a:pt x="286224" y="13966"/>
                    <a:pt x="288379" y="19067"/>
                  </a:cubicBezTo>
                  <a:cubicBezTo>
                    <a:pt x="290463" y="24168"/>
                    <a:pt x="289888" y="29916"/>
                    <a:pt x="286870" y="34514"/>
                  </a:cubicBezTo>
                  <a:cubicBezTo>
                    <a:pt x="274800" y="52692"/>
                    <a:pt x="267399" y="77048"/>
                    <a:pt x="259568" y="102913"/>
                  </a:cubicBezTo>
                  <a:cubicBezTo>
                    <a:pt x="248288" y="140274"/>
                    <a:pt x="235427" y="182665"/>
                    <a:pt x="204604" y="213487"/>
                  </a:cubicBezTo>
                  <a:cubicBezTo>
                    <a:pt x="152227" y="265865"/>
                    <a:pt x="98988" y="266439"/>
                    <a:pt x="96689" y="266439"/>
                  </a:cubicBezTo>
                  <a:close/>
                </a:path>
              </a:pathLst>
            </a:custGeom>
            <a:grpFill/>
            <a:ln w="0" cap="flat">
              <a:noFill/>
              <a:prstDash val="solid"/>
              <a:miter/>
            </a:ln>
          </p:spPr>
          <p:txBody>
            <a:bodyPr rtlCol="0" anchor="ctr"/>
            <a:lstStyle/>
            <a:p>
              <a:endParaRPr lang="pt-BR" dirty="0"/>
            </a:p>
          </p:txBody>
        </p:sp>
      </p:grpSp>
      <p:sp>
        <p:nvSpPr>
          <p:cNvPr id="7" name="CaixaDeTexto 6">
            <a:extLst>
              <a:ext uri="{FF2B5EF4-FFF2-40B4-BE49-F238E27FC236}">
                <a16:creationId xmlns:a16="http://schemas.microsoft.com/office/drawing/2014/main" id="{E97EF952-4CCF-6995-7EA9-785DB2BE00C8}"/>
              </a:ext>
            </a:extLst>
          </p:cNvPr>
          <p:cNvSpPr txBox="1"/>
          <p:nvPr>
            <p:custDataLst>
              <p:tags r:id="rId14"/>
            </p:custDataLst>
          </p:nvPr>
        </p:nvSpPr>
        <p:spPr>
          <a:xfrm>
            <a:off x="646911" y="161734"/>
            <a:ext cx="1544581"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FFFFFF"/>
                </a:solidFill>
                <a:effectLst/>
                <a:uFillTx/>
                <a:latin typeface="Segoe UI" panose="020B0502040204020203" pitchFamily="34" charset="0"/>
                <a:ea typeface="Segoe UI" panose="020B0502040204020203" pitchFamily="34" charset="0"/>
                <a:cs typeface="Segoe UI" panose="020B0502040204020203" pitchFamily="34" charset="0"/>
              </a:rPr>
              <a:t>SUSTAINABILITY</a:t>
            </a:r>
          </a:p>
          <a:p>
            <a:pPr lvl="0" defTabSz="234364"/>
            <a:r>
              <a:rPr lang="en-US" sz="1000" b="0" i="0" u="none" strike="noStrike" cap="none" spc="0" baseline="0" dirty="0">
                <a:effectLst/>
                <a:uFillTx/>
                <a:latin typeface="Segoe UI" panose="020B0502040204020203" pitchFamily="34" charset="0"/>
                <a:ea typeface="Segoe UI" panose="020B0502040204020203" pitchFamily="34" charset="0"/>
                <a:cs typeface="Segoe UI" panose="020B0502040204020203" pitchFamily="34" charset="0"/>
              </a:rPr>
              <a:t>Decarbonization and social value generation </a:t>
            </a:r>
          </a:p>
        </p:txBody>
      </p:sp>
      <p:grpSp>
        <p:nvGrpSpPr>
          <p:cNvPr id="8" name="Agrupar 7">
            <a:extLst>
              <a:ext uri="{FF2B5EF4-FFF2-40B4-BE49-F238E27FC236}">
                <a16:creationId xmlns:a16="http://schemas.microsoft.com/office/drawing/2014/main" id="{17037D24-6922-6147-2CD4-648A8EF9A79A}"/>
              </a:ext>
            </a:extLst>
          </p:cNvPr>
          <p:cNvGrpSpPr/>
          <p:nvPr/>
        </p:nvGrpSpPr>
        <p:grpSpPr>
          <a:xfrm>
            <a:off x="223872" y="163247"/>
            <a:ext cx="312606" cy="353271"/>
            <a:chOff x="223872" y="163247"/>
            <a:chExt cx="312606" cy="353271"/>
          </a:xfrm>
        </p:grpSpPr>
        <p:sp>
          <p:nvSpPr>
            <p:cNvPr id="9" name="Forma Livre: Forma 8">
              <a:extLst>
                <a:ext uri="{FF2B5EF4-FFF2-40B4-BE49-F238E27FC236}">
                  <a16:creationId xmlns:a16="http://schemas.microsoft.com/office/drawing/2014/main" id="{1D551BCA-4AAD-619E-F48D-00FD7933763A}"/>
                </a:ext>
              </a:extLst>
            </p:cNvPr>
            <p:cNvSpPr/>
            <p:nvPr/>
          </p:nvSpPr>
          <p:spPr>
            <a:xfrm>
              <a:off x="223872" y="163247"/>
              <a:ext cx="312606" cy="345244"/>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a:p>
          </p:txBody>
        </p:sp>
        <p:sp>
          <p:nvSpPr>
            <p:cNvPr id="10" name="CaixaDeTexto 9">
              <a:extLst>
                <a:ext uri="{FF2B5EF4-FFF2-40B4-BE49-F238E27FC236}">
                  <a16:creationId xmlns:a16="http://schemas.microsoft.com/office/drawing/2014/main" id="{F218D1F8-9EEC-9FFC-9543-A5A49A39A629}"/>
                </a:ext>
              </a:extLst>
            </p:cNvPr>
            <p:cNvSpPr txBox="1"/>
            <p:nvPr/>
          </p:nvSpPr>
          <p:spPr>
            <a:xfrm>
              <a:off x="323691" y="241058"/>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2</a:t>
              </a:r>
            </a:p>
          </p:txBody>
        </p:sp>
      </p:grpSp>
      <p:pic>
        <p:nvPicPr>
          <p:cNvPr id="2" name="Imagem 1" descr="Uma imagem contendo Interface gráfica do usuário&#10;&#10;Descrição gerada automaticamente">
            <a:extLst>
              <a:ext uri="{FF2B5EF4-FFF2-40B4-BE49-F238E27FC236}">
                <a16:creationId xmlns:a16="http://schemas.microsoft.com/office/drawing/2014/main" id="{41FE1148-268C-987B-C607-72D761BA5F1B}"/>
              </a:ext>
            </a:extLst>
          </p:cNvPr>
          <p:cNvPicPr>
            <a:picLocks noChangeAspect="1"/>
          </p:cNvPicPr>
          <p:nvPr/>
        </p:nvPicPr>
        <p:blipFill>
          <a:blip r:embed="rId33"/>
          <a:stretch>
            <a:fillRect/>
          </a:stretch>
        </p:blipFill>
        <p:spPr>
          <a:xfrm>
            <a:off x="8039840" y="60434"/>
            <a:ext cx="920231" cy="509571"/>
          </a:xfrm>
          <a:prstGeom prst="rect">
            <a:avLst/>
          </a:prstGeom>
        </p:spPr>
      </p:pic>
      <p:sp>
        <p:nvSpPr>
          <p:cNvPr id="3" name="CaixaDeTexto 2">
            <a:extLst>
              <a:ext uri="{FF2B5EF4-FFF2-40B4-BE49-F238E27FC236}">
                <a16:creationId xmlns:a16="http://schemas.microsoft.com/office/drawing/2014/main" id="{037375B9-337C-6D2C-202E-29F6CCC36E6E}"/>
              </a:ext>
            </a:extLst>
          </p:cNvPr>
          <p:cNvSpPr txBox="1"/>
          <p:nvPr/>
        </p:nvSpPr>
        <p:spPr>
          <a:xfrm>
            <a:off x="4113110" y="570005"/>
            <a:ext cx="240772" cy="369332"/>
          </a:xfrm>
          <a:prstGeom prst="rect">
            <a:avLst/>
          </a:prstGeom>
          <a:noFill/>
        </p:spPr>
        <p:txBody>
          <a:bodyPr wrap="none" rtlCol="0">
            <a:spAutoFit/>
          </a:bodyPr>
          <a:lstStyle/>
          <a:p>
            <a:r>
              <a:rPr lang="pt-BR"/>
              <a:t>¹</a:t>
            </a:r>
          </a:p>
        </p:txBody>
      </p:sp>
      <p:grpSp>
        <p:nvGrpSpPr>
          <p:cNvPr id="4" name="Agrupar 3">
            <a:extLst>
              <a:ext uri="{FF2B5EF4-FFF2-40B4-BE49-F238E27FC236}">
                <a16:creationId xmlns:a16="http://schemas.microsoft.com/office/drawing/2014/main" id="{FBAF6A5A-7B5D-9FA9-6D0A-18B7F0EC5109}"/>
              </a:ext>
            </a:extLst>
          </p:cNvPr>
          <p:cNvGrpSpPr/>
          <p:nvPr/>
        </p:nvGrpSpPr>
        <p:grpSpPr>
          <a:xfrm>
            <a:off x="1824890" y="4208557"/>
            <a:ext cx="5349758" cy="651104"/>
            <a:chOff x="2907543" y="4208557"/>
            <a:chExt cx="5349758" cy="651104"/>
          </a:xfrm>
        </p:grpSpPr>
        <p:grpSp>
          <p:nvGrpSpPr>
            <p:cNvPr id="5" name="Agrupar 4">
              <a:extLst>
                <a:ext uri="{FF2B5EF4-FFF2-40B4-BE49-F238E27FC236}">
                  <a16:creationId xmlns:a16="http://schemas.microsoft.com/office/drawing/2014/main" id="{8B6C2946-76DE-EF1E-2EFF-6CCEDCDEB94C}"/>
                </a:ext>
              </a:extLst>
            </p:cNvPr>
            <p:cNvGrpSpPr/>
            <p:nvPr/>
          </p:nvGrpSpPr>
          <p:grpSpPr>
            <a:xfrm>
              <a:off x="2907543" y="4208557"/>
              <a:ext cx="613450" cy="651104"/>
              <a:chOff x="1228329" y="4208557"/>
              <a:chExt cx="613450" cy="651104"/>
            </a:xfrm>
          </p:grpSpPr>
          <p:sp>
            <p:nvSpPr>
              <p:cNvPr id="48" name="Elipse 47">
                <a:extLst>
                  <a:ext uri="{FF2B5EF4-FFF2-40B4-BE49-F238E27FC236}">
                    <a16:creationId xmlns:a16="http://schemas.microsoft.com/office/drawing/2014/main" id="{5E9252DC-8D28-6947-1F08-FB7A2FE49AB3}"/>
                  </a:ext>
                </a:extLst>
              </p:cNvPr>
              <p:cNvSpPr/>
              <p:nvPr/>
            </p:nvSpPr>
            <p:spPr>
              <a:xfrm>
                <a:off x="1239231"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9" name="Picture 10">
                <a:extLst>
                  <a:ext uri="{FF2B5EF4-FFF2-40B4-BE49-F238E27FC236}">
                    <a16:creationId xmlns:a16="http://schemas.microsoft.com/office/drawing/2014/main" id="{EF98BDE4-D0AE-0147-FBB1-5B2AD05FDDBD}"/>
                  </a:ext>
                </a:extLst>
              </p:cNvPr>
              <p:cNvPicPr>
                <a:picLocks noChangeAspect="1" noChangeArrowheads="1"/>
              </p:cNvPicPr>
              <p:nvPr/>
            </p:nvPicPr>
            <p:blipFill rotWithShape="1">
              <a:blip r:embed="rId34" cstate="screen">
                <a:extLst>
                  <a:ext uri="{28A0092B-C50C-407E-A947-70E740481C1C}">
                    <a14:useLocalDpi xmlns:a14="http://schemas.microsoft.com/office/drawing/2010/main" val="0"/>
                  </a:ext>
                </a:extLst>
              </a:blip>
              <a:srcRect t="-3605" b="-2533"/>
              <a:stretch/>
            </p:blipFill>
            <p:spPr bwMode="auto">
              <a:xfrm>
                <a:off x="1228329" y="4208557"/>
                <a:ext cx="613450" cy="6511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 name="Agrupar 5">
              <a:extLst>
                <a:ext uri="{FF2B5EF4-FFF2-40B4-BE49-F238E27FC236}">
                  <a16:creationId xmlns:a16="http://schemas.microsoft.com/office/drawing/2014/main" id="{CB5CCF1C-67A6-B815-4B2F-2FBC3A32789D}"/>
                </a:ext>
              </a:extLst>
            </p:cNvPr>
            <p:cNvGrpSpPr/>
            <p:nvPr/>
          </p:nvGrpSpPr>
          <p:grpSpPr>
            <a:xfrm>
              <a:off x="7656526" y="4233722"/>
              <a:ext cx="600775" cy="600775"/>
              <a:chOff x="7159533" y="4233722"/>
              <a:chExt cx="600775" cy="600775"/>
            </a:xfrm>
          </p:grpSpPr>
          <p:sp>
            <p:nvSpPr>
              <p:cNvPr id="31" name="Elipse 30">
                <a:extLst>
                  <a:ext uri="{FF2B5EF4-FFF2-40B4-BE49-F238E27FC236}">
                    <a16:creationId xmlns:a16="http://schemas.microsoft.com/office/drawing/2014/main" id="{0CD1BFB1-7895-B586-9F1D-411780886CE2}"/>
                  </a:ext>
                </a:extLst>
              </p:cNvPr>
              <p:cNvSpPr/>
              <p:nvPr/>
            </p:nvSpPr>
            <p:spPr>
              <a:xfrm>
                <a:off x="7159533"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Picture 8">
                <a:extLst>
                  <a:ext uri="{FF2B5EF4-FFF2-40B4-BE49-F238E27FC236}">
                    <a16:creationId xmlns:a16="http://schemas.microsoft.com/office/drawing/2014/main" id="{998C2779-09D1-BD1C-ADA2-CA3F2ECBF522}"/>
                  </a:ext>
                </a:extLst>
              </p:cNvPr>
              <p:cNvPicPr>
                <a:picLocks noChangeAspect="1" noChangeArrowheads="1"/>
              </p:cNvPicPr>
              <p:nvPr/>
            </p:nvPicPr>
            <p:blipFill rotWithShape="1">
              <a:blip r:embed="rId35">
                <a:extLst>
                  <a:ext uri="{28A0092B-C50C-407E-A947-70E740481C1C}">
                    <a14:useLocalDpi xmlns:a14="http://schemas.microsoft.com/office/drawing/2010/main" val="0"/>
                  </a:ext>
                </a:extLst>
              </a:blip>
              <a:srcRect t="-827"/>
              <a:stretch/>
            </p:blipFill>
            <p:spPr bwMode="auto">
              <a:xfrm>
                <a:off x="7194516" y="4263841"/>
                <a:ext cx="536147" cy="5405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Agrupar 10">
              <a:extLst>
                <a:ext uri="{FF2B5EF4-FFF2-40B4-BE49-F238E27FC236}">
                  <a16:creationId xmlns:a16="http://schemas.microsoft.com/office/drawing/2014/main" id="{C9B6B95A-CD3C-CFEC-8731-6DC13762975C}"/>
                </a:ext>
              </a:extLst>
            </p:cNvPr>
            <p:cNvGrpSpPr/>
            <p:nvPr/>
          </p:nvGrpSpPr>
          <p:grpSpPr>
            <a:xfrm>
              <a:off x="3865242" y="4233722"/>
              <a:ext cx="600775" cy="600775"/>
              <a:chOff x="2423291" y="4233722"/>
              <a:chExt cx="600775" cy="600775"/>
            </a:xfrm>
          </p:grpSpPr>
          <p:sp>
            <p:nvSpPr>
              <p:cNvPr id="29" name="Elipse 28">
                <a:extLst>
                  <a:ext uri="{FF2B5EF4-FFF2-40B4-BE49-F238E27FC236}">
                    <a16:creationId xmlns:a16="http://schemas.microsoft.com/office/drawing/2014/main" id="{8E320D86-3D59-06FC-E34C-B9CA4C64E302}"/>
                  </a:ext>
                </a:extLst>
              </p:cNvPr>
              <p:cNvSpPr/>
              <p:nvPr/>
            </p:nvSpPr>
            <p:spPr>
              <a:xfrm>
                <a:off x="2423291"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Picture 2">
                <a:extLst>
                  <a:ext uri="{FF2B5EF4-FFF2-40B4-BE49-F238E27FC236}">
                    <a16:creationId xmlns:a16="http://schemas.microsoft.com/office/drawing/2014/main" id="{ED05E8CA-355E-EFAE-8F48-A3B65A19EA78}"/>
                  </a:ext>
                </a:extLst>
              </p:cNvPr>
              <p:cNvPicPr>
                <a:picLocks noChangeAspect="1" noChangeArrowheads="1"/>
              </p:cNvPicPr>
              <p:nvPr/>
            </p:nvPicPr>
            <p:blipFill rotWithShape="1">
              <a:blip r:embed="rId36" cstate="screen">
                <a:extLst>
                  <a:ext uri="{28A0092B-C50C-407E-A947-70E740481C1C}">
                    <a14:useLocalDpi xmlns:a14="http://schemas.microsoft.com/office/drawing/2010/main" val="0"/>
                  </a:ext>
                </a:extLst>
              </a:blip>
              <a:srcRect l="13301" t="13301" r="13301" b="13301"/>
              <a:stretch/>
            </p:blipFill>
            <p:spPr bwMode="auto">
              <a:xfrm>
                <a:off x="2471025" y="4268274"/>
                <a:ext cx="516040" cy="516038"/>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2" name="Agrupar 11">
              <a:extLst>
                <a:ext uri="{FF2B5EF4-FFF2-40B4-BE49-F238E27FC236}">
                  <a16:creationId xmlns:a16="http://schemas.microsoft.com/office/drawing/2014/main" id="{C9D10C5C-B4F4-4D3B-0C57-3E5FC6EB4656}"/>
                </a:ext>
              </a:extLst>
            </p:cNvPr>
            <p:cNvGrpSpPr/>
            <p:nvPr/>
          </p:nvGrpSpPr>
          <p:grpSpPr>
            <a:xfrm>
              <a:off x="4810266" y="4233722"/>
              <a:ext cx="611961" cy="606151"/>
              <a:chOff x="3596165" y="4233722"/>
              <a:chExt cx="611961" cy="606151"/>
            </a:xfrm>
          </p:grpSpPr>
          <p:sp>
            <p:nvSpPr>
              <p:cNvPr id="27" name="Elipse 26">
                <a:extLst>
                  <a:ext uri="{FF2B5EF4-FFF2-40B4-BE49-F238E27FC236}">
                    <a16:creationId xmlns:a16="http://schemas.microsoft.com/office/drawing/2014/main" id="{98FD4443-ACB7-BED5-36C3-10C165EE824E}"/>
                  </a:ext>
                </a:extLst>
              </p:cNvPr>
              <p:cNvSpPr/>
              <p:nvPr/>
            </p:nvSpPr>
            <p:spPr>
              <a:xfrm>
                <a:off x="3607351"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 name="Picture 6">
                <a:extLst>
                  <a:ext uri="{FF2B5EF4-FFF2-40B4-BE49-F238E27FC236}">
                    <a16:creationId xmlns:a16="http://schemas.microsoft.com/office/drawing/2014/main" id="{CD2C01F5-F699-C4CE-A623-B1FFB56F1358}"/>
                  </a:ext>
                </a:extLst>
              </p:cNvPr>
              <p:cNvPicPr>
                <a:picLocks noChangeAspect="1" noChangeArrowheads="1"/>
              </p:cNvPicPr>
              <p:nvPr/>
            </p:nvPicPr>
            <p:blipFill>
              <a:blip r:embed="rId37" cstate="screen">
                <a:extLst>
                  <a:ext uri="{28A0092B-C50C-407E-A947-70E740481C1C}">
                    <a14:useLocalDpi xmlns:a14="http://schemas.microsoft.com/office/drawing/2010/main" val="0"/>
                  </a:ext>
                </a:extLst>
              </a:blip>
              <a:srcRect/>
              <a:stretch>
                <a:fillRect/>
              </a:stretch>
            </p:blipFill>
            <p:spPr bwMode="auto">
              <a:xfrm>
                <a:off x="3596165" y="4235337"/>
                <a:ext cx="604536" cy="6045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Agrupar 12">
              <a:extLst>
                <a:ext uri="{FF2B5EF4-FFF2-40B4-BE49-F238E27FC236}">
                  <a16:creationId xmlns:a16="http://schemas.microsoft.com/office/drawing/2014/main" id="{B135F8D4-3F58-A042-FCFC-89D4AA99BE27}"/>
                </a:ext>
              </a:extLst>
            </p:cNvPr>
            <p:cNvGrpSpPr/>
            <p:nvPr/>
          </p:nvGrpSpPr>
          <p:grpSpPr>
            <a:xfrm>
              <a:off x="6711500" y="4233722"/>
              <a:ext cx="600775" cy="600775"/>
              <a:chOff x="5975471" y="4233722"/>
              <a:chExt cx="600775" cy="600775"/>
            </a:xfrm>
          </p:grpSpPr>
          <p:sp>
            <p:nvSpPr>
              <p:cNvPr id="17" name="Elipse 16">
                <a:extLst>
                  <a:ext uri="{FF2B5EF4-FFF2-40B4-BE49-F238E27FC236}">
                    <a16:creationId xmlns:a16="http://schemas.microsoft.com/office/drawing/2014/main" id="{09426D3F-F74C-446E-6B8C-EF8A3825DB19}"/>
                  </a:ext>
                </a:extLst>
              </p:cNvPr>
              <p:cNvSpPr/>
              <p:nvPr/>
            </p:nvSpPr>
            <p:spPr>
              <a:xfrm>
                <a:off x="5975471"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Picture 2">
                <a:extLst>
                  <a:ext uri="{FF2B5EF4-FFF2-40B4-BE49-F238E27FC236}">
                    <a16:creationId xmlns:a16="http://schemas.microsoft.com/office/drawing/2014/main" id="{75F9CB87-E636-2ACB-C0EE-F9B8112819F4}"/>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t="-2866" b="-1"/>
              <a:stretch/>
            </p:blipFill>
            <p:spPr bwMode="auto">
              <a:xfrm>
                <a:off x="5999078" y="4249080"/>
                <a:ext cx="548837" cy="56457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Agrupar 13">
              <a:extLst>
                <a:ext uri="{FF2B5EF4-FFF2-40B4-BE49-F238E27FC236}">
                  <a16:creationId xmlns:a16="http://schemas.microsoft.com/office/drawing/2014/main" id="{91804959-B1A0-EE86-877E-A7D7F444768D}"/>
                </a:ext>
              </a:extLst>
            </p:cNvPr>
            <p:cNvGrpSpPr/>
            <p:nvPr/>
          </p:nvGrpSpPr>
          <p:grpSpPr>
            <a:xfrm>
              <a:off x="5766476" y="4233722"/>
              <a:ext cx="600775" cy="600775"/>
              <a:chOff x="4791411" y="4233722"/>
              <a:chExt cx="600775" cy="600775"/>
            </a:xfrm>
          </p:grpSpPr>
          <p:sp>
            <p:nvSpPr>
              <p:cNvPr id="15" name="Elipse 14">
                <a:extLst>
                  <a:ext uri="{FF2B5EF4-FFF2-40B4-BE49-F238E27FC236}">
                    <a16:creationId xmlns:a16="http://schemas.microsoft.com/office/drawing/2014/main" id="{36E32809-46B6-5AA1-45C2-53A724932602}"/>
                  </a:ext>
                </a:extLst>
              </p:cNvPr>
              <p:cNvSpPr/>
              <p:nvPr/>
            </p:nvSpPr>
            <p:spPr>
              <a:xfrm>
                <a:off x="4791411" y="4233722"/>
                <a:ext cx="600775" cy="600775"/>
              </a:xfrm>
              <a:prstGeom prst="ellipse">
                <a:avLst/>
              </a:prstGeom>
              <a:solidFill>
                <a:schemeClr val="bg1"/>
              </a:solidFill>
              <a:ln w="19050">
                <a:gradFill>
                  <a:gsLst>
                    <a:gs pos="0">
                      <a:srgbClr val="649C3E"/>
                    </a:gs>
                    <a:gs pos="50000">
                      <a:srgbClr val="649C3E">
                        <a:alpha val="0"/>
                      </a:srgbClr>
                    </a:gs>
                    <a:gs pos="100000">
                      <a:srgbClr val="649C3E"/>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Imagem 15">
                <a:extLst>
                  <a:ext uri="{FF2B5EF4-FFF2-40B4-BE49-F238E27FC236}">
                    <a16:creationId xmlns:a16="http://schemas.microsoft.com/office/drawing/2014/main" id="{748D7CA5-CB92-596E-8A2C-372C3818D323}"/>
                  </a:ext>
                </a:extLst>
              </p:cNvPr>
              <p:cNvPicPr>
                <a:picLocks noChangeAspect="1"/>
              </p:cNvPicPr>
              <p:nvPr/>
            </p:nvPicPr>
            <p:blipFill>
              <a:blip r:embed="rId39"/>
              <a:stretch>
                <a:fillRect/>
              </a:stretch>
            </p:blipFill>
            <p:spPr>
              <a:xfrm>
                <a:off x="4856231" y="4400317"/>
                <a:ext cx="461231" cy="292113"/>
              </a:xfrm>
              <a:prstGeom prst="rect">
                <a:avLst/>
              </a:prstGeom>
            </p:spPr>
          </p:pic>
        </p:grpSp>
      </p:grpSp>
      <p:sp>
        <p:nvSpPr>
          <p:cNvPr id="51" name="CaixaDeTexto 50">
            <a:extLst>
              <a:ext uri="{FF2B5EF4-FFF2-40B4-BE49-F238E27FC236}">
                <a16:creationId xmlns:a16="http://schemas.microsoft.com/office/drawing/2014/main" id="{075FCBD3-27B1-19BF-0E74-1565D2FBC88C}"/>
              </a:ext>
            </a:extLst>
          </p:cNvPr>
          <p:cNvSpPr txBox="1"/>
          <p:nvPr/>
        </p:nvSpPr>
        <p:spPr>
          <a:xfrm>
            <a:off x="6323632" y="4821413"/>
            <a:ext cx="4500796" cy="215444"/>
          </a:xfrm>
          <a:prstGeom prst="rect">
            <a:avLst/>
          </a:prstGeom>
          <a:noFill/>
        </p:spPr>
        <p:txBody>
          <a:bodyPr wrap="square">
            <a:spAutoFit/>
          </a:bodyPr>
          <a:lstStyle/>
          <a:p>
            <a:r>
              <a:rPr lang="pt-BR" sz="800" dirty="0">
                <a:solidFill>
                  <a:srgbClr val="011F57"/>
                </a:solidFill>
                <a:latin typeface="Segoe UI "/>
              </a:rPr>
              <a:t>¹SF6: </a:t>
            </a:r>
            <a:r>
              <a:rPr lang="pt-BR" sz="800" dirty="0" err="1">
                <a:solidFill>
                  <a:srgbClr val="011F57"/>
                </a:solidFill>
                <a:latin typeface="Segoe UI "/>
              </a:rPr>
              <a:t>Sulfur</a:t>
            </a:r>
            <a:r>
              <a:rPr lang="pt-BR" sz="800" dirty="0">
                <a:solidFill>
                  <a:srgbClr val="011F57"/>
                </a:solidFill>
                <a:latin typeface="Segoe UI "/>
              </a:rPr>
              <a:t> </a:t>
            </a:r>
            <a:r>
              <a:rPr lang="pt-BR" sz="800" dirty="0" err="1">
                <a:solidFill>
                  <a:srgbClr val="011F57"/>
                </a:solidFill>
                <a:latin typeface="Segoe UI "/>
              </a:rPr>
              <a:t>Hexafluoride</a:t>
            </a:r>
            <a:endParaRPr lang="pt-BR" sz="800" dirty="0">
              <a:solidFill>
                <a:srgbClr val="011F57"/>
              </a:solidFill>
              <a:latin typeface="Segoe UI "/>
            </a:endParaRPr>
          </a:p>
        </p:txBody>
      </p:sp>
    </p:spTree>
    <p:extLst>
      <p:ext uri="{BB962C8B-B14F-4D97-AF65-F5344CB8AC3E}">
        <p14:creationId xmlns:p14="http://schemas.microsoft.com/office/powerpoint/2010/main" val="1229899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0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1000"/>
                                        <p:tgtEl>
                                          <p:spTgt spid="25"/>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35" presetClass="path" presetSubtype="0" accel="17000" decel="83000" fill="hold" grpId="1" nodeType="withEffect">
                                  <p:stCondLst>
                                    <p:cond delay="250"/>
                                  </p:stCondLst>
                                  <p:childTnLst>
                                    <p:animMotion origin="layout" path="M 0.02046 2.50862E-08 L 3.63556E-06 2.50862E-08" pathEditMode="relative" rAng="0" ptsTypes="AA">
                                      <p:cBhvr>
                                        <p:cTn id="15" dur="1100" fill="hold"/>
                                        <p:tgtEl>
                                          <p:spTgt spid="26"/>
                                        </p:tgtEl>
                                        <p:attrNameLst>
                                          <p:attrName>ppt_x</p:attrName>
                                          <p:attrName>ppt_y</p:attrName>
                                        </p:attrNameLst>
                                      </p:cBhvr>
                                      <p:rCtr x="-1023" y="0"/>
                                    </p:animMotion>
                                  </p:childTnLst>
                                </p:cTn>
                              </p:par>
                              <p:par>
                                <p:cTn id="16" presetID="10" presetClass="entr" presetSubtype="0" fill="hold" nodeType="withEffect">
                                  <p:stCondLst>
                                    <p:cond delay="500"/>
                                  </p:stCondLst>
                                  <p:childTnLst>
                                    <p:set>
                                      <p:cBhvr>
                                        <p:cTn id="17" dur="1" fill="hold">
                                          <p:stCondLst>
                                            <p:cond delay="0"/>
                                          </p:stCondLst>
                                        </p:cTn>
                                        <p:tgtEl>
                                          <p:spTgt spid="43"/>
                                        </p:tgtEl>
                                        <p:attrNameLst>
                                          <p:attrName>style.visibility</p:attrName>
                                        </p:attrNameLst>
                                      </p:cBhvr>
                                      <p:to>
                                        <p:strVal val="visible"/>
                                      </p:to>
                                    </p:set>
                                    <p:animEffect transition="in" filter="fade">
                                      <p:cBhvr>
                                        <p:cTn id="18" dur="500"/>
                                        <p:tgtEl>
                                          <p:spTgt spid="43"/>
                                        </p:tgtEl>
                                      </p:cBhvr>
                                    </p:animEffect>
                                  </p:childTnLst>
                                </p:cTn>
                              </p:par>
                              <p:par>
                                <p:cTn id="19" presetID="35" presetClass="path" presetSubtype="0" accel="17000" decel="83000" fill="hold" nodeType="withEffect">
                                  <p:stCondLst>
                                    <p:cond delay="500"/>
                                  </p:stCondLst>
                                  <p:childTnLst>
                                    <p:animMotion origin="layout" path="M -0.00105 0.06177 L -3.54207E-06 1.88147E-06" pathEditMode="relative" rAng="0" ptsTypes="AA">
                                      <p:cBhvr>
                                        <p:cTn id="20" dur="1100" fill="hold"/>
                                        <p:tgtEl>
                                          <p:spTgt spid="43"/>
                                        </p:tgtEl>
                                        <p:attrNameLst>
                                          <p:attrName>ppt_x</p:attrName>
                                          <p:attrName>ppt_y</p:attrName>
                                        </p:attrNameLst>
                                      </p:cBhvr>
                                      <p:rCtr x="53" y="-3104"/>
                                    </p:animMotion>
                                  </p:childTnLst>
                                </p:cTn>
                              </p:par>
                              <p:par>
                                <p:cTn id="21" presetID="10" presetClass="entr" presetSubtype="0" fill="hold" nodeType="withEffect">
                                  <p:stCondLst>
                                    <p:cond delay="750"/>
                                  </p:stCondLst>
                                  <p:childTnLst>
                                    <p:set>
                                      <p:cBhvr>
                                        <p:cTn id="22" dur="1" fill="hold">
                                          <p:stCondLst>
                                            <p:cond delay="0"/>
                                          </p:stCondLst>
                                        </p:cTn>
                                        <p:tgtEl>
                                          <p:spTgt spid="44"/>
                                        </p:tgtEl>
                                        <p:attrNameLst>
                                          <p:attrName>style.visibility</p:attrName>
                                        </p:attrNameLst>
                                      </p:cBhvr>
                                      <p:to>
                                        <p:strVal val="visible"/>
                                      </p:to>
                                    </p:set>
                                    <p:animEffect transition="in" filter="fade">
                                      <p:cBhvr>
                                        <p:cTn id="23" dur="500"/>
                                        <p:tgtEl>
                                          <p:spTgt spid="44"/>
                                        </p:tgtEl>
                                      </p:cBhvr>
                                    </p:animEffect>
                                  </p:childTnLst>
                                </p:cTn>
                              </p:par>
                              <p:par>
                                <p:cTn id="24" presetID="35" presetClass="path" presetSubtype="0" accel="17000" decel="83000" fill="hold" nodeType="withEffect">
                                  <p:stCondLst>
                                    <p:cond delay="750"/>
                                  </p:stCondLst>
                                  <p:childTnLst>
                                    <p:animMotion origin="layout" path="M -0.00106 0.06177 L 8.62586E-07 4.88554E-06" pathEditMode="relative" rAng="0" ptsTypes="AA">
                                      <p:cBhvr>
                                        <p:cTn id="25" dur="1100" fill="hold"/>
                                        <p:tgtEl>
                                          <p:spTgt spid="44"/>
                                        </p:tgtEl>
                                        <p:attrNameLst>
                                          <p:attrName>ppt_x</p:attrName>
                                          <p:attrName>ppt_y</p:attrName>
                                        </p:attrNameLst>
                                      </p:cBhvr>
                                      <p:rCtr x="53" y="-3104"/>
                                    </p:animMotion>
                                  </p:childTnLst>
                                </p:cTn>
                              </p:par>
                              <p:par>
                                <p:cTn id="26" presetID="10" presetClass="entr" presetSubtype="0" fill="hold" nodeType="withEffect">
                                  <p:stCondLst>
                                    <p:cond delay="100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par>
                                <p:cTn id="29" presetID="35" presetClass="path" presetSubtype="0" accel="17000" decel="83000" fill="hold" nodeType="withEffect">
                                  <p:stCondLst>
                                    <p:cond delay="1000"/>
                                  </p:stCondLst>
                                  <p:childTnLst>
                                    <p:animMotion origin="layout" path="M -0.00106 0.06177 L 8.62586E-07 4.88554E-06" pathEditMode="relative" rAng="0" ptsTypes="AA">
                                      <p:cBhvr>
                                        <p:cTn id="30" dur="1100" fill="hold"/>
                                        <p:tgtEl>
                                          <p:spTgt spid="45"/>
                                        </p:tgtEl>
                                        <p:attrNameLst>
                                          <p:attrName>ppt_x</p:attrName>
                                          <p:attrName>ppt_y</p:attrName>
                                        </p:attrNameLst>
                                      </p:cBhvr>
                                      <p:rCtr x="53" y="-3104"/>
                                    </p:animMotion>
                                  </p:childTnLst>
                                </p:cTn>
                              </p:par>
                              <p:par>
                                <p:cTn id="31" presetID="10" presetClass="entr" presetSubtype="0" fill="hold" grpId="0" nodeType="withEffect">
                                  <p:stCondLst>
                                    <p:cond delay="125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grpId="0" nodeType="withEffect">
                                  <p:stCondLst>
                                    <p:cond delay="1500"/>
                                  </p:stCondLst>
                                  <p:childTnLst>
                                    <p:set>
                                      <p:cBhvr>
                                        <p:cTn id="35" dur="1" fill="hold">
                                          <p:stCondLst>
                                            <p:cond delay="0"/>
                                          </p:stCondLst>
                                        </p:cTn>
                                        <p:tgtEl>
                                          <p:spTgt spid="50"/>
                                        </p:tgtEl>
                                        <p:attrNameLst>
                                          <p:attrName>style.visibility</p:attrName>
                                        </p:attrNameLst>
                                      </p:cBhvr>
                                      <p:to>
                                        <p:strVal val="visible"/>
                                      </p:to>
                                    </p:set>
                                    <p:animEffect transition="in" filter="fade">
                                      <p:cBhvr>
                                        <p:cTn id="36" dur="500"/>
                                        <p:tgtEl>
                                          <p:spTgt spid="50"/>
                                        </p:tgtEl>
                                      </p:cBhvr>
                                    </p:animEffect>
                                  </p:childTnLst>
                                </p:cTn>
                              </p:par>
                              <p:par>
                                <p:cTn id="37" presetID="35" presetClass="path" presetSubtype="0" accel="17000" decel="83000" fill="hold" grpId="1" nodeType="withEffect">
                                  <p:stCondLst>
                                    <p:cond delay="1500"/>
                                  </p:stCondLst>
                                  <p:childTnLst>
                                    <p:animMotion origin="layout" path="M -1.93509E-06 -0.03418 L -1.93509E-06 -6.20884E-07" pathEditMode="relative" rAng="0" ptsTypes="AA">
                                      <p:cBhvr>
                                        <p:cTn id="38" dur="1100" fill="hold"/>
                                        <p:tgtEl>
                                          <p:spTgt spid="50"/>
                                        </p:tgtEl>
                                        <p:attrNameLst>
                                          <p:attrName>ppt_x</p:attrName>
                                          <p:attrName>ppt_y</p:attrName>
                                        </p:attrNameLst>
                                      </p:cBhvr>
                                      <p:rCtr x="0" y="1693"/>
                                    </p:animMotion>
                                  </p:childTnLst>
                                </p:cTn>
                              </p:par>
                              <p:par>
                                <p:cTn id="39" presetID="10" presetClass="entr" presetSubtype="0" fill="hold" grpId="0" nodeType="withEffect">
                                  <p:stCondLst>
                                    <p:cond delay="1500"/>
                                  </p:stCondLst>
                                  <p:childTnLst>
                                    <p:set>
                                      <p:cBhvr>
                                        <p:cTn id="40" dur="1" fill="hold">
                                          <p:stCondLst>
                                            <p:cond delay="0"/>
                                          </p:stCondLst>
                                        </p:cTn>
                                        <p:tgtEl>
                                          <p:spTgt spid="47"/>
                                        </p:tgtEl>
                                        <p:attrNameLst>
                                          <p:attrName>style.visibility</p:attrName>
                                        </p:attrNameLst>
                                      </p:cBhvr>
                                      <p:to>
                                        <p:strVal val="visible"/>
                                      </p:to>
                                    </p:set>
                                    <p:animEffect transition="in" filter="fade">
                                      <p:cBhvr>
                                        <p:cTn id="41" dur="500"/>
                                        <p:tgtEl>
                                          <p:spTgt spid="47"/>
                                        </p:tgtEl>
                                      </p:cBhvr>
                                    </p:animEffect>
                                  </p:childTnLst>
                                </p:cTn>
                              </p:par>
                              <p:par>
                                <p:cTn id="42" presetID="10" presetClass="entr" presetSubtype="0" fill="hold" grpId="0" nodeType="withEffect">
                                  <p:stCondLst>
                                    <p:cond delay="175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par>
                                <p:cTn id="45" presetID="35" presetClass="path" presetSubtype="0" accel="17000" decel="83000" fill="hold" grpId="1" nodeType="withEffect">
                                  <p:stCondLst>
                                    <p:cond delay="1750"/>
                                  </p:stCondLst>
                                  <p:childTnLst>
                                    <p:animMotion origin="layout" path="M 1.2489E-06 -0.03418 L 1.2489E-06 -4.01693E-06" pathEditMode="relative" rAng="0" ptsTypes="AA">
                                      <p:cBhvr>
                                        <p:cTn id="46" dur="1100" fill="hold"/>
                                        <p:tgtEl>
                                          <p:spTgt spid="52"/>
                                        </p:tgtEl>
                                        <p:attrNameLst>
                                          <p:attrName>ppt_x</p:attrName>
                                          <p:attrName>ppt_y</p:attrName>
                                        </p:attrNameLst>
                                      </p:cBhvr>
                                      <p:rCtr x="0" y="1693"/>
                                    </p:animMotion>
                                  </p:childTnLst>
                                </p:cTn>
                              </p:par>
                              <p:par>
                                <p:cTn id="47" presetID="10" presetClass="entr" presetSubtype="0" fill="hold" grpId="0" nodeType="withEffect">
                                  <p:stCondLst>
                                    <p:cond delay="250"/>
                                  </p:stCondLst>
                                  <p:childTnLst>
                                    <p:set>
                                      <p:cBhvr>
                                        <p:cTn id="48" dur="1" fill="hold">
                                          <p:stCondLst>
                                            <p:cond delay="0"/>
                                          </p:stCondLst>
                                        </p:cTn>
                                        <p:tgtEl>
                                          <p:spTgt spid="76"/>
                                        </p:tgtEl>
                                        <p:attrNameLst>
                                          <p:attrName>style.visibility</p:attrName>
                                        </p:attrNameLst>
                                      </p:cBhvr>
                                      <p:to>
                                        <p:strVal val="visible"/>
                                      </p:to>
                                    </p:set>
                                    <p:animEffect transition="in" filter="fade">
                                      <p:cBhvr>
                                        <p:cTn id="49" dur="500"/>
                                        <p:tgtEl>
                                          <p:spTgt spid="76"/>
                                        </p:tgtEl>
                                      </p:cBhvr>
                                    </p:animEffect>
                                  </p:childTnLst>
                                </p:cTn>
                              </p:par>
                              <p:par>
                                <p:cTn id="50" presetID="35" presetClass="path" presetSubtype="0" accel="17000" decel="83000" fill="hold" grpId="1" nodeType="withEffect">
                                  <p:stCondLst>
                                    <p:cond delay="250"/>
                                  </p:stCondLst>
                                  <p:childTnLst>
                                    <p:animMotion origin="layout" path="M 0.02047 -3.91032E-06 L -4.21415E-06 -3.91032E-06" pathEditMode="relative" rAng="0" ptsTypes="AA">
                                      <p:cBhvr>
                                        <p:cTn id="51" dur="1100" fill="hold"/>
                                        <p:tgtEl>
                                          <p:spTgt spid="76"/>
                                        </p:tgtEl>
                                        <p:attrNameLst>
                                          <p:attrName>ppt_x</p:attrName>
                                          <p:attrName>ppt_y</p:attrName>
                                        </p:attrNameLst>
                                      </p:cBhvr>
                                      <p:rCtr x="-1023" y="0"/>
                                    </p:animMotion>
                                  </p:childTnLst>
                                </p:cTn>
                              </p:par>
                              <p:par>
                                <p:cTn id="52" presetID="10" presetClass="entr" presetSubtype="0" fill="hold" nodeType="with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par>
                                <p:cTn id="55" presetID="35" presetClass="path" presetSubtype="0" accel="17000" decel="83000" fill="hold" nodeType="withEffect">
                                  <p:stCondLst>
                                    <p:cond delay="0"/>
                                  </p:stCondLst>
                                  <p:childTnLst>
                                    <p:animMotion origin="layout" path="M -0.00141 0.07024 L -3.33921E-06 1.455E-06" pathEditMode="relative" rAng="0" ptsTypes="AA">
                                      <p:cBhvr>
                                        <p:cTn id="56" dur="1100" fill="hold"/>
                                        <p:tgtEl>
                                          <p:spTgt spid="18"/>
                                        </p:tgtEl>
                                        <p:attrNameLst>
                                          <p:attrName>ppt_x</p:attrName>
                                          <p:attrName>ppt_y</p:attrName>
                                        </p:attrNameLst>
                                      </p:cBhvr>
                                      <p:rCtr x="71" y="-3512"/>
                                    </p:animMotion>
                                  </p:childTnLst>
                                </p:cTn>
                              </p:par>
                              <p:par>
                                <p:cTn id="57" presetID="2" presetClass="entr" presetSubtype="4" decel="100000" fill="hold" nodeType="withEffect">
                                  <p:stCondLst>
                                    <p:cond delay="225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750" fill="hold"/>
                                        <p:tgtEl>
                                          <p:spTgt spid="4"/>
                                        </p:tgtEl>
                                        <p:attrNameLst>
                                          <p:attrName>ppt_x</p:attrName>
                                        </p:attrNameLst>
                                      </p:cBhvr>
                                      <p:tavLst>
                                        <p:tav tm="0">
                                          <p:val>
                                            <p:strVal val="#ppt_x"/>
                                          </p:val>
                                        </p:tav>
                                        <p:tav tm="100000">
                                          <p:val>
                                            <p:strVal val="#ppt_x"/>
                                          </p:val>
                                        </p:tav>
                                      </p:tavLst>
                                    </p:anim>
                                    <p:anim calcmode="lin" valueType="num">
                                      <p:cBhvr additive="base">
                                        <p:cTn id="60" dur="75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47" grpId="0" animBg="1"/>
      <p:bldP spid="26" grpId="0"/>
      <p:bldP spid="26" grpId="1"/>
      <p:bldP spid="76" grpId="0"/>
      <p:bldP spid="76" grpId="1"/>
      <p:bldP spid="50" grpId="0"/>
      <p:bldP spid="50" grpId="1"/>
      <p:bldP spid="52" grpId="0"/>
      <p:bldP spid="52"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m 25" descr="Imagem em branco e azul&#10;&#10;Descrição gerada automaticamente com confiança média">
            <a:extLst>
              <a:ext uri="{FF2B5EF4-FFF2-40B4-BE49-F238E27FC236}">
                <a16:creationId xmlns:a16="http://schemas.microsoft.com/office/drawing/2014/main" id="{53DC2000-6E96-4DDE-94F4-B649026A7EB3}"/>
              </a:ext>
            </a:extLst>
          </p:cNvPr>
          <p:cNvPicPr>
            <a:picLocks noChangeAspect="1"/>
          </p:cNvPicPr>
          <p:nvPr>
            <p:custDataLst>
              <p:tags r:id="rId1"/>
            </p:custDataLst>
          </p:nvPr>
        </p:nvPicPr>
        <p:blipFill>
          <a:blip r:embed="rId31">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27" name="Imagem 26" descr="Água com montanhas ao fundo&#10;&#10;Descrição gerada automaticamente">
            <a:extLst>
              <a:ext uri="{FF2B5EF4-FFF2-40B4-BE49-F238E27FC236}">
                <a16:creationId xmlns:a16="http://schemas.microsoft.com/office/drawing/2014/main" id="{BC0383E0-9EBF-1074-A0F4-3B0A90C5D125}"/>
              </a:ext>
            </a:extLst>
          </p:cNvPr>
          <p:cNvPicPr>
            <a:picLocks noChangeAspect="1"/>
          </p:cNvPicPr>
          <p:nvPr>
            <p:custDataLst>
              <p:tags r:id="rId2"/>
            </p:custDataLst>
          </p:nvPr>
        </p:nvPicPr>
        <p:blipFill>
          <a:blip r:embed="rId32">
            <a:extLst>
              <a:ext uri="{28A0092B-C50C-407E-A947-70E740481C1C}">
                <a14:useLocalDpi xmlns:a14="http://schemas.microsoft.com/office/drawing/2010/main"/>
              </a:ext>
            </a:extLst>
          </a:blip>
          <a:stretch>
            <a:fillRect/>
          </a:stretch>
        </p:blipFill>
        <p:spPr>
          <a:xfrm>
            <a:off x="0" y="0"/>
            <a:ext cx="8999538" cy="5062240"/>
          </a:xfrm>
          <a:prstGeom prst="rect">
            <a:avLst/>
          </a:prstGeom>
        </p:spPr>
      </p:pic>
      <p:sp>
        <p:nvSpPr>
          <p:cNvPr id="30" name="CaixaDeTexto 29">
            <a:extLst>
              <a:ext uri="{FF2B5EF4-FFF2-40B4-BE49-F238E27FC236}">
                <a16:creationId xmlns:a16="http://schemas.microsoft.com/office/drawing/2014/main" id="{0B5F4D76-F63F-FC66-F140-D6F773EE6041}"/>
              </a:ext>
            </a:extLst>
          </p:cNvPr>
          <p:cNvSpPr txBox="1"/>
          <p:nvPr>
            <p:custDataLst>
              <p:tags r:id="rId3"/>
            </p:custDataLst>
          </p:nvPr>
        </p:nvSpPr>
        <p:spPr>
          <a:xfrm>
            <a:off x="2859567" y="197130"/>
            <a:ext cx="4376657" cy="327782"/>
          </a:xfrm>
          <a:prstGeom prst="rect">
            <a:avLst/>
          </a:prstGeom>
          <a:noFill/>
        </p:spPr>
        <p:txBody>
          <a:bodyPr wrap="square" rtlCol="0">
            <a:spAutoFit/>
          </a:bodyPr>
          <a:lstStyle/>
          <a:p>
            <a:pPr lvl="0" defTabSz="675010">
              <a:lnSpc>
                <a:spcPct val="85000"/>
              </a:lnSpc>
              <a:spcBef>
                <a:spcPts val="148"/>
              </a:spcBef>
              <a:spcAft>
                <a:spcPts val="148"/>
              </a:spcAft>
              <a:defRPr/>
            </a:pPr>
            <a:r>
              <a:rPr lang="en-US" sz="1800" b="0" i="0" u="none" strike="noStrike" cap="none" spc="600" baseline="0" dirty="0">
                <a:solidFill>
                  <a:srgbClr val="002581"/>
                </a:solidFill>
                <a:effectLst/>
                <a:uFillTx/>
                <a:latin typeface="Segoe UI Light"/>
              </a:rPr>
              <a:t>OPERATIONAL AXES AND</a:t>
            </a:r>
          </a:p>
        </p:txBody>
      </p:sp>
      <p:sp>
        <p:nvSpPr>
          <p:cNvPr id="31" name="CaixaDeTexto 30">
            <a:extLst>
              <a:ext uri="{FF2B5EF4-FFF2-40B4-BE49-F238E27FC236}">
                <a16:creationId xmlns:a16="http://schemas.microsoft.com/office/drawing/2014/main" id="{4F56AB26-BDE1-1AF0-3866-9CEAADCC043A}"/>
              </a:ext>
            </a:extLst>
          </p:cNvPr>
          <p:cNvSpPr txBox="1"/>
          <p:nvPr>
            <p:custDataLst>
              <p:tags r:id="rId4"/>
            </p:custDataLst>
          </p:nvPr>
        </p:nvSpPr>
        <p:spPr>
          <a:xfrm>
            <a:off x="2859567" y="461559"/>
            <a:ext cx="4715216" cy="324937"/>
          </a:xfrm>
          <a:prstGeom prst="rect">
            <a:avLst/>
          </a:prstGeom>
          <a:noFill/>
        </p:spPr>
        <p:txBody>
          <a:bodyPr wrap="square" rtlCol="0">
            <a:spAutoFit/>
          </a:bodyPr>
          <a:lstStyle/>
          <a:p>
            <a:pPr lvl="0" defTabSz="675010">
              <a:lnSpc>
                <a:spcPct val="85000"/>
              </a:lnSpc>
              <a:spcBef>
                <a:spcPts val="148"/>
              </a:spcBef>
              <a:spcAft>
                <a:spcPts val="148"/>
              </a:spcAft>
              <a:defRPr/>
            </a:pPr>
            <a:r>
              <a:rPr lang="en-US" sz="1800" b="0" i="0" u="none" strike="noStrike" cap="none" spc="600" baseline="0" dirty="0">
                <a:solidFill>
                  <a:srgbClr val="002581"/>
                </a:solidFill>
                <a:effectLst/>
                <a:uFillTx/>
                <a:latin typeface="Segoe UI Black"/>
              </a:rPr>
              <a:t>SOCIAL COMMITMENTS</a:t>
            </a:r>
          </a:p>
        </p:txBody>
      </p:sp>
      <p:grpSp>
        <p:nvGrpSpPr>
          <p:cNvPr id="34" name="Agrupar 33">
            <a:extLst>
              <a:ext uri="{FF2B5EF4-FFF2-40B4-BE49-F238E27FC236}">
                <a16:creationId xmlns:a16="http://schemas.microsoft.com/office/drawing/2014/main" id="{445B5BC5-9C63-AEEE-EC8D-EC47F9761971}"/>
              </a:ext>
            </a:extLst>
          </p:cNvPr>
          <p:cNvGrpSpPr/>
          <p:nvPr>
            <p:custDataLst>
              <p:tags r:id="rId5"/>
            </p:custDataLst>
          </p:nvPr>
        </p:nvGrpSpPr>
        <p:grpSpPr>
          <a:xfrm>
            <a:off x="2882905" y="1414599"/>
            <a:ext cx="2860836" cy="286492"/>
            <a:chOff x="3544841" y="1196834"/>
            <a:chExt cx="5055952" cy="286492"/>
          </a:xfrm>
        </p:grpSpPr>
        <p:sp>
          <p:nvSpPr>
            <p:cNvPr id="36" name="Retângulo: Cantos Arredondados 35">
              <a:extLst>
                <a:ext uri="{FF2B5EF4-FFF2-40B4-BE49-F238E27FC236}">
                  <a16:creationId xmlns:a16="http://schemas.microsoft.com/office/drawing/2014/main" id="{3A4018B0-B966-2252-6942-F74FC1480BF0}"/>
                </a:ext>
              </a:extLst>
            </p:cNvPr>
            <p:cNvSpPr/>
            <p:nvPr>
              <p:custDataLst>
                <p:tags r:id="rId28"/>
              </p:custDataLst>
            </p:nvPr>
          </p:nvSpPr>
          <p:spPr>
            <a:xfrm>
              <a:off x="3544841" y="1196834"/>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37" name="CaixaDeTexto 36">
              <a:extLst>
                <a:ext uri="{FF2B5EF4-FFF2-40B4-BE49-F238E27FC236}">
                  <a16:creationId xmlns:a16="http://schemas.microsoft.com/office/drawing/2014/main" id="{0A34D64A-740C-7CD3-2A92-1D44E8A52FAD}"/>
                </a:ext>
              </a:extLst>
            </p:cNvPr>
            <p:cNvSpPr txBox="1"/>
            <p:nvPr>
              <p:custDataLst>
                <p:tags r:id="rId29"/>
              </p:custDataLst>
            </p:nvPr>
          </p:nvSpPr>
          <p:spPr>
            <a:xfrm>
              <a:off x="4226101" y="1228214"/>
              <a:ext cx="3693434"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200" b="1" i="0" u="none" strike="noStrike" cap="none" spc="0" baseline="0" dirty="0">
                  <a:solidFill>
                    <a:srgbClr val="FFFFFF"/>
                  </a:solidFill>
                  <a:effectLst/>
                  <a:uFillTx/>
                  <a:latin typeface="Segoe UI"/>
                </a:rPr>
                <a:t>Health and safety</a:t>
              </a:r>
            </a:p>
          </p:txBody>
        </p:sp>
      </p:grpSp>
      <p:grpSp>
        <p:nvGrpSpPr>
          <p:cNvPr id="41" name="Agrupar 40">
            <a:extLst>
              <a:ext uri="{FF2B5EF4-FFF2-40B4-BE49-F238E27FC236}">
                <a16:creationId xmlns:a16="http://schemas.microsoft.com/office/drawing/2014/main" id="{E83B70B1-84DB-1E56-B8D5-E2A27642EF55}"/>
              </a:ext>
            </a:extLst>
          </p:cNvPr>
          <p:cNvGrpSpPr/>
          <p:nvPr>
            <p:custDataLst>
              <p:tags r:id="rId6"/>
            </p:custDataLst>
          </p:nvPr>
        </p:nvGrpSpPr>
        <p:grpSpPr>
          <a:xfrm>
            <a:off x="2749089" y="2321556"/>
            <a:ext cx="3081791" cy="286492"/>
            <a:chOff x="3349594" y="1196834"/>
            <a:chExt cx="5446445" cy="286492"/>
          </a:xfrm>
        </p:grpSpPr>
        <p:sp>
          <p:nvSpPr>
            <p:cNvPr id="42" name="Retângulo: Cantos Arredondados 41">
              <a:extLst>
                <a:ext uri="{FF2B5EF4-FFF2-40B4-BE49-F238E27FC236}">
                  <a16:creationId xmlns:a16="http://schemas.microsoft.com/office/drawing/2014/main" id="{42C94ED8-D1E3-27F1-1AC4-6E47F4625FC7}"/>
                </a:ext>
              </a:extLst>
            </p:cNvPr>
            <p:cNvSpPr/>
            <p:nvPr>
              <p:custDataLst>
                <p:tags r:id="rId26"/>
              </p:custDataLst>
            </p:nvPr>
          </p:nvSpPr>
          <p:spPr>
            <a:xfrm>
              <a:off x="3544841" y="1196834"/>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3" name="CaixaDeTexto 42">
              <a:extLst>
                <a:ext uri="{FF2B5EF4-FFF2-40B4-BE49-F238E27FC236}">
                  <a16:creationId xmlns:a16="http://schemas.microsoft.com/office/drawing/2014/main" id="{B8B0CF90-7407-DEAF-B200-97BA5B827D2F}"/>
                </a:ext>
              </a:extLst>
            </p:cNvPr>
            <p:cNvSpPr txBox="1"/>
            <p:nvPr>
              <p:custDataLst>
                <p:tags r:id="rId27"/>
              </p:custDataLst>
            </p:nvPr>
          </p:nvSpPr>
          <p:spPr>
            <a:xfrm>
              <a:off x="3346870" y="1229256"/>
              <a:ext cx="5451892" cy="23798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200" b="1" i="0" u="none" strike="noStrike" cap="none" spc="0" baseline="0" dirty="0">
                  <a:solidFill>
                    <a:srgbClr val="FFFFFF"/>
                  </a:solidFill>
                  <a:effectLst/>
                  <a:uFillTx/>
                  <a:latin typeface="Segoe UI"/>
                </a:rPr>
                <a:t>Diversity Inclusion</a:t>
              </a:r>
            </a:p>
          </p:txBody>
        </p:sp>
      </p:grpSp>
      <p:grpSp>
        <p:nvGrpSpPr>
          <p:cNvPr id="44" name="Agrupar 43">
            <a:extLst>
              <a:ext uri="{FF2B5EF4-FFF2-40B4-BE49-F238E27FC236}">
                <a16:creationId xmlns:a16="http://schemas.microsoft.com/office/drawing/2014/main" id="{A4965179-84CD-101F-0C21-EF43A38798CC}"/>
              </a:ext>
            </a:extLst>
          </p:cNvPr>
          <p:cNvGrpSpPr/>
          <p:nvPr>
            <p:custDataLst>
              <p:tags r:id="rId7"/>
            </p:custDataLst>
          </p:nvPr>
        </p:nvGrpSpPr>
        <p:grpSpPr>
          <a:xfrm>
            <a:off x="5832421" y="1414599"/>
            <a:ext cx="2882634" cy="286492"/>
            <a:chOff x="3506317" y="1196834"/>
            <a:chExt cx="5094476" cy="286492"/>
          </a:xfrm>
        </p:grpSpPr>
        <p:sp>
          <p:nvSpPr>
            <p:cNvPr id="45" name="Retângulo: Cantos Arredondados 44">
              <a:extLst>
                <a:ext uri="{FF2B5EF4-FFF2-40B4-BE49-F238E27FC236}">
                  <a16:creationId xmlns:a16="http://schemas.microsoft.com/office/drawing/2014/main" id="{F7656203-CD26-62F5-B148-9F4145262F89}"/>
                </a:ext>
              </a:extLst>
            </p:cNvPr>
            <p:cNvSpPr/>
            <p:nvPr>
              <p:custDataLst>
                <p:tags r:id="rId24"/>
              </p:custDataLst>
            </p:nvPr>
          </p:nvSpPr>
          <p:spPr>
            <a:xfrm>
              <a:off x="3544841" y="1196834"/>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6" name="CaixaDeTexto 45">
              <a:extLst>
                <a:ext uri="{FF2B5EF4-FFF2-40B4-BE49-F238E27FC236}">
                  <a16:creationId xmlns:a16="http://schemas.microsoft.com/office/drawing/2014/main" id="{5B4548DA-34EA-1603-79AA-66E78B4B9ADF}"/>
                </a:ext>
              </a:extLst>
            </p:cNvPr>
            <p:cNvSpPr txBox="1"/>
            <p:nvPr>
              <p:custDataLst>
                <p:tags r:id="rId25"/>
              </p:custDataLst>
            </p:nvPr>
          </p:nvSpPr>
          <p:spPr>
            <a:xfrm>
              <a:off x="3506317" y="1240196"/>
              <a:ext cx="5077270"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200" b="1" i="0" u="none" strike="noStrike" cap="none" spc="0" baseline="0">
                  <a:solidFill>
                    <a:srgbClr val="FFFFFF"/>
                  </a:solidFill>
                  <a:effectLst/>
                  <a:uFillTx/>
                  <a:latin typeface="Segoe UI"/>
                </a:rPr>
                <a:t>Inclusive education</a:t>
              </a:r>
              <a:endParaRPr lang="en-US" sz="1200" b="1" i="0" u="none" strike="noStrike" cap="none" spc="0" baseline="0" dirty="0">
                <a:solidFill>
                  <a:srgbClr val="FFFFFF"/>
                </a:solidFill>
                <a:effectLst/>
                <a:uFillTx/>
                <a:latin typeface="Segoe UI"/>
              </a:endParaRPr>
            </a:p>
          </p:txBody>
        </p:sp>
      </p:grpSp>
      <p:grpSp>
        <p:nvGrpSpPr>
          <p:cNvPr id="47" name="Agrupar 46">
            <a:extLst>
              <a:ext uri="{FF2B5EF4-FFF2-40B4-BE49-F238E27FC236}">
                <a16:creationId xmlns:a16="http://schemas.microsoft.com/office/drawing/2014/main" id="{C6C9DAA3-92B2-ED04-2BA4-83FA619356CE}"/>
              </a:ext>
            </a:extLst>
          </p:cNvPr>
          <p:cNvGrpSpPr/>
          <p:nvPr>
            <p:custDataLst>
              <p:tags r:id="rId8"/>
            </p:custDataLst>
          </p:nvPr>
        </p:nvGrpSpPr>
        <p:grpSpPr>
          <a:xfrm>
            <a:off x="5743905" y="2321556"/>
            <a:ext cx="3081791" cy="286492"/>
            <a:chOff x="3349594" y="1196834"/>
            <a:chExt cx="5446445" cy="286492"/>
          </a:xfrm>
        </p:grpSpPr>
        <p:sp>
          <p:nvSpPr>
            <p:cNvPr id="48" name="Retângulo: Cantos Arredondados 47">
              <a:extLst>
                <a:ext uri="{FF2B5EF4-FFF2-40B4-BE49-F238E27FC236}">
                  <a16:creationId xmlns:a16="http://schemas.microsoft.com/office/drawing/2014/main" id="{BC9F4EA1-ADA8-1DCD-3DE8-108BC870E431}"/>
                </a:ext>
              </a:extLst>
            </p:cNvPr>
            <p:cNvSpPr/>
            <p:nvPr>
              <p:custDataLst>
                <p:tags r:id="rId22"/>
              </p:custDataLst>
            </p:nvPr>
          </p:nvSpPr>
          <p:spPr>
            <a:xfrm>
              <a:off x="3544841" y="1196834"/>
              <a:ext cx="5055952" cy="28649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49" name="CaixaDeTexto 48">
              <a:extLst>
                <a:ext uri="{FF2B5EF4-FFF2-40B4-BE49-F238E27FC236}">
                  <a16:creationId xmlns:a16="http://schemas.microsoft.com/office/drawing/2014/main" id="{4BB820F2-4008-FA93-934E-093ADD7A5B06}"/>
                </a:ext>
              </a:extLst>
            </p:cNvPr>
            <p:cNvSpPr txBox="1"/>
            <p:nvPr>
              <p:custDataLst>
                <p:tags r:id="rId23"/>
              </p:custDataLst>
            </p:nvPr>
          </p:nvSpPr>
          <p:spPr>
            <a:xfrm>
              <a:off x="3346869" y="1229256"/>
              <a:ext cx="5451893" cy="23798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200" b="1" i="0" u="none" strike="noStrike" cap="none" spc="0" baseline="0" dirty="0">
                  <a:solidFill>
                    <a:srgbClr val="FFFFFF"/>
                  </a:solidFill>
                  <a:effectLst/>
                  <a:uFillTx/>
                  <a:latin typeface="Segoe UI"/>
                </a:rPr>
                <a:t>Communities </a:t>
              </a:r>
            </a:p>
          </p:txBody>
        </p:sp>
      </p:grpSp>
      <p:pic>
        <p:nvPicPr>
          <p:cNvPr id="32" name="Imagem 31" descr="Homem fazendo manobra no ar&#10;&#10;Descrição gerada automaticamente com confiança média">
            <a:extLst>
              <a:ext uri="{FF2B5EF4-FFF2-40B4-BE49-F238E27FC236}">
                <a16:creationId xmlns:a16="http://schemas.microsoft.com/office/drawing/2014/main" id="{E577EC04-DE23-86E5-4984-A57A89A0BB08}"/>
              </a:ext>
            </a:extLst>
          </p:cNvPr>
          <p:cNvPicPr>
            <a:picLocks noChangeAspect="1"/>
          </p:cNvPicPr>
          <p:nvPr>
            <p:custDataLst>
              <p:tags r:id="rId9"/>
            </p:custDataLst>
          </p:nvPr>
        </p:nvPicPr>
        <p:blipFill>
          <a:blip r:embed="rId33">
            <a:extLst>
              <a:ext uri="{28A0092B-C50C-407E-A947-70E740481C1C}">
                <a14:useLocalDpi xmlns:a14="http://schemas.microsoft.com/office/drawing/2010/main"/>
              </a:ext>
            </a:extLst>
          </a:blip>
          <a:srcRect l="55277" t="33846"/>
          <a:stretch>
            <a:fillRect/>
          </a:stretch>
        </p:blipFill>
        <p:spPr>
          <a:xfrm flipH="1">
            <a:off x="-125444" y="1006502"/>
            <a:ext cx="4612620" cy="3838807"/>
          </a:xfrm>
          <a:prstGeom prst="rect">
            <a:avLst/>
          </a:prstGeom>
        </p:spPr>
      </p:pic>
      <p:sp>
        <p:nvSpPr>
          <p:cNvPr id="76" name="Retângulo: Cantos Arredondados 75">
            <a:extLst>
              <a:ext uri="{FF2B5EF4-FFF2-40B4-BE49-F238E27FC236}">
                <a16:creationId xmlns:a16="http://schemas.microsoft.com/office/drawing/2014/main" id="{5C61D269-B610-03C7-9A99-7B97561EF275}"/>
              </a:ext>
            </a:extLst>
          </p:cNvPr>
          <p:cNvSpPr/>
          <p:nvPr>
            <p:custDataLst>
              <p:tags r:id="rId10"/>
            </p:custDataLst>
          </p:nvPr>
        </p:nvSpPr>
        <p:spPr>
          <a:xfrm rot="16200000">
            <a:off x="4611955" y="1787069"/>
            <a:ext cx="1717954" cy="3707030"/>
          </a:xfrm>
          <a:prstGeom prst="roundRect">
            <a:avLst>
              <a:gd name="adj" fmla="val 7656"/>
            </a:avLst>
          </a:prstGeom>
          <a:gradFill>
            <a:gsLst>
              <a:gs pos="0">
                <a:schemeClr val="bg1">
                  <a:alpha val="0"/>
                </a:schemeClr>
              </a:gs>
              <a:gs pos="11000">
                <a:schemeClr val="bg1">
                  <a:alpha val="90000"/>
                </a:schemeClr>
              </a:gs>
            </a:gsLst>
            <a:lin ang="0" scaled="0"/>
          </a:gradFill>
          <a:ln w="19050">
            <a:gradFill flip="none" rotWithShape="1">
              <a:gsLst>
                <a:gs pos="0">
                  <a:srgbClr val="F8681E"/>
                </a:gs>
                <a:gs pos="100000">
                  <a:srgbClr val="F8681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78" name="CaixaDeTexto 77">
            <a:extLst>
              <a:ext uri="{FF2B5EF4-FFF2-40B4-BE49-F238E27FC236}">
                <a16:creationId xmlns:a16="http://schemas.microsoft.com/office/drawing/2014/main" id="{CF5F5FBE-0D59-F5D9-CB42-7A64BE284424}"/>
              </a:ext>
            </a:extLst>
          </p:cNvPr>
          <p:cNvSpPr txBox="1"/>
          <p:nvPr>
            <p:custDataLst>
              <p:tags r:id="rId11"/>
            </p:custDataLst>
          </p:nvPr>
        </p:nvSpPr>
        <p:spPr>
          <a:xfrm>
            <a:off x="3644464" y="2865570"/>
            <a:ext cx="3679983" cy="157273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spcBef>
                <a:spcPts val="300"/>
              </a:spcBef>
              <a:spcAft>
                <a:spcPts val="300"/>
              </a:spcAft>
            </a:pPr>
            <a:r>
              <a:rPr lang="en-US" sz="1200" b="1" i="0" u="none" strike="noStrike" cap="none" spc="0" baseline="0" dirty="0">
                <a:solidFill>
                  <a:srgbClr val="F8681E"/>
                </a:solidFill>
                <a:effectLst/>
                <a:uFillTx/>
                <a:latin typeface="Segoe UI"/>
              </a:rPr>
              <a:t>Short medium term</a:t>
            </a:r>
          </a:p>
          <a:p>
            <a:pPr marL="171450" lvl="0" indent="-171450" defTabSz="234364">
              <a:spcBef>
                <a:spcPts val="300"/>
              </a:spcBef>
              <a:spcAft>
                <a:spcPts val="300"/>
              </a:spcAft>
              <a:buClr>
                <a:srgbClr val="FB9F71"/>
              </a:buClr>
              <a:buFont typeface="Courier New" panose="02070309020205020404" pitchFamily="49" charset="0"/>
              <a:buChar char="o"/>
            </a:pPr>
            <a:r>
              <a:rPr lang="en-US" sz="1100" b="0" i="0" u="none" strike="noStrike" cap="none" spc="0" baseline="0" dirty="0">
                <a:solidFill>
                  <a:srgbClr val="011F57"/>
                </a:solidFill>
                <a:effectLst/>
                <a:uFillTx/>
                <a:latin typeface="Segoe UI"/>
              </a:rPr>
              <a:t>Strive for </a:t>
            </a:r>
            <a:r>
              <a:rPr lang="en-US" sz="1100" b="1" i="0" u="none" strike="noStrike" cap="none" spc="0" baseline="0" dirty="0">
                <a:solidFill>
                  <a:srgbClr val="011F57"/>
                </a:solidFill>
                <a:effectLst/>
                <a:uFillTx/>
                <a:latin typeface="Segoe UI"/>
              </a:rPr>
              <a:t>zero accidents</a:t>
            </a:r>
          </a:p>
          <a:p>
            <a:pPr marL="171450" lvl="0" indent="-171450" defTabSz="234364">
              <a:spcBef>
                <a:spcPts val="300"/>
              </a:spcBef>
              <a:spcAft>
                <a:spcPts val="300"/>
              </a:spcAft>
              <a:buClr>
                <a:srgbClr val="FB9F71"/>
              </a:buClr>
              <a:buFont typeface="Courier New" panose="02070309020205020404" pitchFamily="49" charset="0"/>
              <a:buChar char="o"/>
            </a:pPr>
            <a:r>
              <a:rPr lang="en-US" sz="1100" b="0" i="0" u="none" strike="noStrike" cap="none" spc="0" baseline="0" dirty="0">
                <a:solidFill>
                  <a:srgbClr val="011F57"/>
                </a:solidFill>
                <a:effectLst/>
                <a:uFillTx/>
                <a:latin typeface="Segoe UI Light"/>
              </a:rPr>
              <a:t>Expand </a:t>
            </a:r>
            <a:r>
              <a:rPr lang="en-US" sz="1100" b="1" i="0" u="none" strike="noStrike" cap="none" spc="0" baseline="0" dirty="0">
                <a:solidFill>
                  <a:srgbClr val="011F57"/>
                </a:solidFill>
                <a:effectLst/>
                <a:uFillTx/>
                <a:latin typeface="Segoe UI"/>
              </a:rPr>
              <a:t>private </a:t>
            </a:r>
            <a:r>
              <a:rPr lang="en-US" sz="1100" b="1" i="0" u="none" strike="noStrike" cap="none" spc="0" baseline="0">
                <a:solidFill>
                  <a:srgbClr val="011F57"/>
                </a:solidFill>
                <a:effectLst/>
                <a:uFillTx/>
                <a:latin typeface="Segoe UI"/>
              </a:rPr>
              <a:t>social investments</a:t>
            </a:r>
            <a:endParaRPr lang="en-US" sz="1100" spc="0"/>
          </a:p>
          <a:p>
            <a:pPr marL="171450" lvl="0" indent="-171450" defTabSz="234364">
              <a:spcBef>
                <a:spcPts val="300"/>
              </a:spcBef>
              <a:spcAft>
                <a:spcPts val="300"/>
              </a:spcAft>
              <a:buClr>
                <a:srgbClr val="FB9F71"/>
              </a:buClr>
              <a:buFont typeface="Courier New" panose="02070309020205020404" pitchFamily="49" charset="0"/>
              <a:buChar char="o"/>
            </a:pPr>
            <a:r>
              <a:rPr lang="en-US" sz="1100" b="0" i="0" u="none" strike="noStrike" cap="none" spc="0" baseline="0">
                <a:solidFill>
                  <a:srgbClr val="011F57"/>
                </a:solidFill>
                <a:effectLst/>
                <a:uFillTx/>
                <a:latin typeface="Segoe UI Light"/>
              </a:rPr>
              <a:t>Expand </a:t>
            </a:r>
            <a:r>
              <a:rPr lang="en-US" sz="1100" b="1" i="0" u="none" strike="noStrike" cap="none" spc="0" baseline="0" dirty="0">
                <a:solidFill>
                  <a:srgbClr val="011F57"/>
                </a:solidFill>
                <a:effectLst/>
                <a:uFillTx/>
                <a:latin typeface="Segoe UI"/>
              </a:rPr>
              <a:t>sustainability culture </a:t>
            </a:r>
            <a:r>
              <a:rPr lang="en-US" sz="1100" b="0" i="0" u="none" strike="noStrike" cap="none" spc="0" baseline="0" dirty="0">
                <a:solidFill>
                  <a:srgbClr val="011F57"/>
                </a:solidFill>
                <a:effectLst/>
                <a:uFillTx/>
                <a:latin typeface="Segoe UI Light"/>
              </a:rPr>
              <a:t>and </a:t>
            </a:r>
            <a:r>
              <a:rPr lang="en-US" sz="1100" b="0" i="0" u="none" strike="noStrike" cap="none" spc="0" baseline="0">
                <a:solidFill>
                  <a:srgbClr val="011F57"/>
                </a:solidFill>
                <a:effectLst/>
                <a:uFillTx/>
                <a:latin typeface="Segoe UI Light"/>
              </a:rPr>
              <a:t>volunteering initiatives</a:t>
            </a:r>
          </a:p>
          <a:p>
            <a:pPr marL="171450" lvl="0" indent="-171450" defTabSz="234364">
              <a:spcBef>
                <a:spcPts val="300"/>
              </a:spcBef>
              <a:spcAft>
                <a:spcPts val="300"/>
              </a:spcAft>
              <a:buClr>
                <a:srgbClr val="FB9F71"/>
              </a:buClr>
              <a:buFont typeface="Courier New" panose="02070309020205020404" pitchFamily="49" charset="0"/>
              <a:buChar char="o"/>
            </a:pPr>
            <a:r>
              <a:rPr lang="en-US" sz="1100" spc="0">
                <a:solidFill>
                  <a:srgbClr val="011F57"/>
                </a:solidFill>
                <a:latin typeface="Segoe UI Light"/>
              </a:rPr>
              <a:t>Expanding diversity in the focus pillars: gender, ethnic-racial, people with disabilities (PwDs) and LGBTI+</a:t>
            </a:r>
            <a:endParaRPr lang="en-US" sz="1100" b="0" i="0" u="none" strike="noStrike" cap="none" spc="0" baseline="0" dirty="0">
              <a:solidFill>
                <a:srgbClr val="011F57"/>
              </a:solidFill>
              <a:effectLst/>
              <a:uFillTx/>
              <a:latin typeface="Segoe UI Light"/>
            </a:endParaRPr>
          </a:p>
          <a:p>
            <a:pPr marL="171450" lvl="0" indent="-171450" defTabSz="234364">
              <a:spcBef>
                <a:spcPts val="300"/>
              </a:spcBef>
              <a:spcAft>
                <a:spcPts val="300"/>
              </a:spcAft>
              <a:buClr>
                <a:srgbClr val="FB9F71"/>
              </a:buClr>
              <a:buFont typeface="Courier New" panose="02070309020205020404" pitchFamily="49" charset="0"/>
              <a:buChar char="o"/>
            </a:pPr>
            <a:r>
              <a:rPr lang="en-US" sz="1100" b="1" i="0" u="none" strike="noStrike" cap="none" spc="0" baseline="0" dirty="0">
                <a:solidFill>
                  <a:srgbClr val="011F57"/>
                </a:solidFill>
                <a:effectLst/>
                <a:uFillTx/>
                <a:latin typeface="Segoe UI"/>
              </a:rPr>
              <a:t>50% of women </a:t>
            </a:r>
            <a:r>
              <a:rPr lang="en-US" sz="1100" b="0" i="0" u="none" strike="noStrike" cap="none" spc="0" baseline="0" dirty="0">
                <a:solidFill>
                  <a:srgbClr val="011F57"/>
                </a:solidFill>
                <a:effectLst/>
                <a:uFillTx/>
                <a:latin typeface="Segoe UI Light"/>
              </a:rPr>
              <a:t>in Trainee and Internship Programs </a:t>
            </a:r>
          </a:p>
        </p:txBody>
      </p:sp>
      <p:sp>
        <p:nvSpPr>
          <p:cNvPr id="80" name="CaixaDeTexto 79">
            <a:extLst>
              <a:ext uri="{FF2B5EF4-FFF2-40B4-BE49-F238E27FC236}">
                <a16:creationId xmlns:a16="http://schemas.microsoft.com/office/drawing/2014/main" id="{C7C76000-EE51-0748-E362-C091025C62E9}"/>
              </a:ext>
            </a:extLst>
          </p:cNvPr>
          <p:cNvSpPr txBox="1"/>
          <p:nvPr>
            <p:custDataLst>
              <p:tags r:id="rId12"/>
            </p:custDataLst>
          </p:nvPr>
        </p:nvSpPr>
        <p:spPr>
          <a:xfrm>
            <a:off x="47230" y="4838391"/>
            <a:ext cx="4569956" cy="167808"/>
          </a:xfrm>
          <a:prstGeom prst="rect">
            <a:avLst/>
          </a:prstGeom>
          <a:noFill/>
        </p:spPr>
        <p:txBody>
          <a:bodyPr wrap="square">
            <a:spAutoFit/>
          </a:bodyPr>
          <a:lstStyle/>
          <a:p>
            <a:pPr marL="0" marR="0" lvl="0" indent="0" algn="l" defTabSz="675010" rtl="0" eaLnBrk="1" fontAlgn="auto" latinLnBrk="0" hangingPunct="1">
              <a:lnSpc>
                <a:spcPct val="100000"/>
              </a:lnSpc>
              <a:spcBef>
                <a:spcPts val="443"/>
              </a:spcBef>
              <a:spcAft>
                <a:spcPts val="443"/>
              </a:spcAft>
              <a:buClrTx/>
              <a:buSzTx/>
              <a:buFontTx/>
              <a:buNone/>
              <a:defRPr/>
            </a:pPr>
            <a:r>
              <a:rPr lang="en-US" sz="500" b="0" i="0" u="none" strike="noStrike" cap="none" baseline="0" dirty="0">
                <a:solidFill>
                  <a:srgbClr val="FFFFFF"/>
                </a:solidFill>
                <a:effectLst/>
                <a:uFillTx/>
                <a:latin typeface="Segoe UI Light"/>
              </a:rPr>
              <a:t>1. Science, Technology, Engineering and Mathematics </a:t>
            </a:r>
          </a:p>
        </p:txBody>
      </p:sp>
      <p:grpSp>
        <p:nvGrpSpPr>
          <p:cNvPr id="2" name="Gráfico 8">
            <a:extLst>
              <a:ext uri="{FF2B5EF4-FFF2-40B4-BE49-F238E27FC236}">
                <a16:creationId xmlns:a16="http://schemas.microsoft.com/office/drawing/2014/main" id="{0B79AD67-9594-7DF8-E4EF-51B308CF9008}"/>
              </a:ext>
            </a:extLst>
          </p:cNvPr>
          <p:cNvGrpSpPr/>
          <p:nvPr>
            <p:custDataLst>
              <p:tags r:id="rId13"/>
            </p:custDataLst>
          </p:nvPr>
        </p:nvGrpSpPr>
        <p:grpSpPr>
          <a:xfrm>
            <a:off x="7761684" y="4162064"/>
            <a:ext cx="1019609" cy="1089748"/>
            <a:chOff x="713206" y="777045"/>
            <a:chExt cx="901386" cy="963392"/>
          </a:xfrm>
          <a:gradFill>
            <a:gsLst>
              <a:gs pos="0">
                <a:srgbClr val="306FE4"/>
              </a:gs>
              <a:gs pos="100000">
                <a:srgbClr val="193A8D"/>
              </a:gs>
            </a:gsLst>
            <a:lin ang="5400000" scaled="1"/>
          </a:gradFill>
        </p:grpSpPr>
        <p:sp>
          <p:nvSpPr>
            <p:cNvPr id="3" name="Forma Livre: Forma 2">
              <a:extLst>
                <a:ext uri="{FF2B5EF4-FFF2-40B4-BE49-F238E27FC236}">
                  <a16:creationId xmlns:a16="http://schemas.microsoft.com/office/drawing/2014/main" id="{A9E401DC-E437-5DC2-559E-E154C80AFACB}"/>
                </a:ext>
              </a:extLst>
            </p:cNvPr>
            <p:cNvSpPr/>
            <p:nvPr>
              <p:custDataLst>
                <p:tags r:id="rId15"/>
              </p:custDataLst>
            </p:nvPr>
          </p:nvSpPr>
          <p:spPr>
            <a:xfrm>
              <a:off x="1030846" y="1306333"/>
              <a:ext cx="487326" cy="153251"/>
            </a:xfrm>
            <a:custGeom>
              <a:avLst/>
              <a:gdLst>
                <a:gd name="connsiteX0" fmla="*/ 470963 w 487326"/>
                <a:gd name="connsiteY0" fmla="*/ 153252 h 153251"/>
                <a:gd name="connsiteX1" fmla="*/ 459324 w 487326"/>
                <a:gd name="connsiteY1" fmla="*/ 148438 h 153251"/>
                <a:gd name="connsiteX2" fmla="*/ 376627 w 487326"/>
                <a:gd name="connsiteY2" fmla="*/ 65669 h 153251"/>
                <a:gd name="connsiteX3" fmla="*/ 297522 w 487326"/>
                <a:gd name="connsiteY3" fmla="*/ 32906 h 153251"/>
                <a:gd name="connsiteX4" fmla="*/ 82984 w 487326"/>
                <a:gd name="connsiteY4" fmla="*/ 32906 h 153251"/>
                <a:gd name="connsiteX5" fmla="*/ 32978 w 487326"/>
                <a:gd name="connsiteY5" fmla="*/ 82913 h 153251"/>
                <a:gd name="connsiteX6" fmla="*/ 47420 w 487326"/>
                <a:gd name="connsiteY6" fmla="*/ 98504 h 153251"/>
                <a:gd name="connsiteX7" fmla="*/ 231566 w 487326"/>
                <a:gd name="connsiteY7" fmla="*/ 112298 h 153251"/>
                <a:gd name="connsiteX8" fmla="*/ 246726 w 487326"/>
                <a:gd name="connsiteY8" fmla="*/ 129973 h 153251"/>
                <a:gd name="connsiteX9" fmla="*/ 229051 w 487326"/>
                <a:gd name="connsiteY9" fmla="*/ 145133 h 153251"/>
                <a:gd name="connsiteX10" fmla="*/ 44905 w 487326"/>
                <a:gd name="connsiteY10" fmla="*/ 131338 h 153251"/>
                <a:gd name="connsiteX11" fmla="*/ 0 w 487326"/>
                <a:gd name="connsiteY11" fmla="*/ 82913 h 153251"/>
                <a:gd name="connsiteX12" fmla="*/ 82913 w 487326"/>
                <a:gd name="connsiteY12" fmla="*/ 0 h 153251"/>
                <a:gd name="connsiteX13" fmla="*/ 297451 w 487326"/>
                <a:gd name="connsiteY13" fmla="*/ 0 h 153251"/>
                <a:gd name="connsiteX14" fmla="*/ 399834 w 487326"/>
                <a:gd name="connsiteY14" fmla="*/ 42390 h 153251"/>
                <a:gd name="connsiteX15" fmla="*/ 482531 w 487326"/>
                <a:gd name="connsiteY15" fmla="*/ 125159 h 153251"/>
                <a:gd name="connsiteX16" fmla="*/ 482531 w 487326"/>
                <a:gd name="connsiteY16" fmla="*/ 148438 h 153251"/>
                <a:gd name="connsiteX17" fmla="*/ 470892 w 487326"/>
                <a:gd name="connsiteY17" fmla="*/ 153252 h 15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7325" h="153251">
                  <a:moveTo>
                    <a:pt x="470963" y="153252"/>
                  </a:moveTo>
                  <a:cubicBezTo>
                    <a:pt x="466724" y="153252"/>
                    <a:pt x="462557" y="151671"/>
                    <a:pt x="459324" y="148438"/>
                  </a:cubicBezTo>
                  <a:lnTo>
                    <a:pt x="376627" y="65669"/>
                  </a:lnTo>
                  <a:cubicBezTo>
                    <a:pt x="355504" y="44546"/>
                    <a:pt x="327411" y="32906"/>
                    <a:pt x="297522" y="32906"/>
                  </a:cubicBezTo>
                  <a:lnTo>
                    <a:pt x="82984" y="32906"/>
                  </a:lnTo>
                  <a:cubicBezTo>
                    <a:pt x="55395" y="32906"/>
                    <a:pt x="32978" y="55323"/>
                    <a:pt x="32978" y="82913"/>
                  </a:cubicBezTo>
                  <a:cubicBezTo>
                    <a:pt x="32978" y="91031"/>
                    <a:pt x="39301" y="97857"/>
                    <a:pt x="47420" y="98504"/>
                  </a:cubicBezTo>
                  <a:lnTo>
                    <a:pt x="231566" y="112298"/>
                  </a:lnTo>
                  <a:cubicBezTo>
                    <a:pt x="240619" y="112945"/>
                    <a:pt x="247444" y="120848"/>
                    <a:pt x="246726" y="129973"/>
                  </a:cubicBezTo>
                  <a:cubicBezTo>
                    <a:pt x="246007" y="139026"/>
                    <a:pt x="238176" y="145851"/>
                    <a:pt x="229051" y="145133"/>
                  </a:cubicBezTo>
                  <a:lnTo>
                    <a:pt x="44905" y="131338"/>
                  </a:lnTo>
                  <a:cubicBezTo>
                    <a:pt x="19758" y="129470"/>
                    <a:pt x="0" y="108203"/>
                    <a:pt x="0" y="82913"/>
                  </a:cubicBezTo>
                  <a:cubicBezTo>
                    <a:pt x="0" y="37145"/>
                    <a:pt x="37217" y="0"/>
                    <a:pt x="82913" y="0"/>
                  </a:cubicBezTo>
                  <a:lnTo>
                    <a:pt x="297451" y="0"/>
                  </a:lnTo>
                  <a:cubicBezTo>
                    <a:pt x="336105" y="0"/>
                    <a:pt x="372460" y="15088"/>
                    <a:pt x="399834" y="42390"/>
                  </a:cubicBezTo>
                  <a:lnTo>
                    <a:pt x="482531" y="125159"/>
                  </a:lnTo>
                  <a:cubicBezTo>
                    <a:pt x="488925" y="131554"/>
                    <a:pt x="488925" y="141972"/>
                    <a:pt x="482531" y="148438"/>
                  </a:cubicBezTo>
                  <a:cubicBezTo>
                    <a:pt x="479298" y="151671"/>
                    <a:pt x="475131" y="153252"/>
                    <a:pt x="470892" y="153252"/>
                  </a:cubicBezTo>
                  <a:close/>
                </a:path>
              </a:pathLst>
            </a:custGeom>
            <a:grpFill/>
            <a:ln w="0" cap="flat">
              <a:noFill/>
              <a:prstDash val="solid"/>
              <a:miter/>
            </a:ln>
          </p:spPr>
          <p:txBody>
            <a:bodyPr rtlCol="0" anchor="ctr"/>
            <a:lstStyle/>
            <a:p>
              <a:endParaRPr lang="pt-BR" dirty="0"/>
            </a:p>
          </p:txBody>
        </p:sp>
        <p:sp>
          <p:nvSpPr>
            <p:cNvPr id="4" name="Forma Livre: Forma 3">
              <a:extLst>
                <a:ext uri="{FF2B5EF4-FFF2-40B4-BE49-F238E27FC236}">
                  <a16:creationId xmlns:a16="http://schemas.microsoft.com/office/drawing/2014/main" id="{68F6BC07-2F42-C572-D7A9-3BDACA3A0AE4}"/>
                </a:ext>
              </a:extLst>
            </p:cNvPr>
            <p:cNvSpPr/>
            <p:nvPr>
              <p:custDataLst>
                <p:tags r:id="rId16"/>
              </p:custDataLst>
            </p:nvPr>
          </p:nvSpPr>
          <p:spPr>
            <a:xfrm>
              <a:off x="713206" y="1280946"/>
              <a:ext cx="632385" cy="363359"/>
            </a:xfrm>
            <a:custGeom>
              <a:avLst/>
              <a:gdLst>
                <a:gd name="connsiteX0" fmla="*/ 615809 w 632385"/>
                <a:gd name="connsiteY0" fmla="*/ 363216 h 363359"/>
                <a:gd name="connsiteX1" fmla="*/ 604529 w 632385"/>
                <a:gd name="connsiteY1" fmla="*/ 358690 h 363359"/>
                <a:gd name="connsiteX2" fmla="*/ 542596 w 632385"/>
                <a:gd name="connsiteY2" fmla="*/ 300062 h 363359"/>
                <a:gd name="connsiteX3" fmla="*/ 391284 w 632385"/>
                <a:gd name="connsiteY3" fmla="*/ 323340 h 363359"/>
                <a:gd name="connsiteX4" fmla="*/ 288973 w 632385"/>
                <a:gd name="connsiteY4" fmla="*/ 300708 h 363359"/>
                <a:gd name="connsiteX5" fmla="*/ 119627 w 632385"/>
                <a:gd name="connsiteY5" fmla="*/ 196601 h 363359"/>
                <a:gd name="connsiteX6" fmla="*/ 116753 w 632385"/>
                <a:gd name="connsiteY6" fmla="*/ 194373 h 363359"/>
                <a:gd name="connsiteX7" fmla="*/ 14441 w 632385"/>
                <a:gd name="connsiteY7" fmla="*/ 94289 h 363359"/>
                <a:gd name="connsiteX8" fmla="*/ 0 w 632385"/>
                <a:gd name="connsiteY8" fmla="*/ 60377 h 363359"/>
                <a:gd name="connsiteX9" fmla="*/ 14729 w 632385"/>
                <a:gd name="connsiteY9" fmla="*/ 26393 h 363359"/>
                <a:gd name="connsiteX10" fmla="*/ 144127 w 632385"/>
                <a:gd name="connsiteY10" fmla="*/ 23447 h 363359"/>
                <a:gd name="connsiteX11" fmla="*/ 189248 w 632385"/>
                <a:gd name="connsiteY11" fmla="*/ 64113 h 363359"/>
                <a:gd name="connsiteX12" fmla="*/ 261167 w 632385"/>
                <a:gd name="connsiteY12" fmla="*/ 89834 h 363359"/>
                <a:gd name="connsiteX13" fmla="*/ 323460 w 632385"/>
                <a:gd name="connsiteY13" fmla="*/ 89691 h 363359"/>
                <a:gd name="connsiteX14" fmla="*/ 323460 w 632385"/>
                <a:gd name="connsiteY14" fmla="*/ 89691 h 363359"/>
                <a:gd name="connsiteX15" fmla="*/ 339913 w 632385"/>
                <a:gd name="connsiteY15" fmla="*/ 106072 h 363359"/>
                <a:gd name="connsiteX16" fmla="*/ 323531 w 632385"/>
                <a:gd name="connsiteY16" fmla="*/ 122597 h 363359"/>
                <a:gd name="connsiteX17" fmla="*/ 258365 w 632385"/>
                <a:gd name="connsiteY17" fmla="*/ 122741 h 363359"/>
                <a:gd name="connsiteX18" fmla="*/ 258365 w 632385"/>
                <a:gd name="connsiteY18" fmla="*/ 122741 h 363359"/>
                <a:gd name="connsiteX19" fmla="*/ 252833 w 632385"/>
                <a:gd name="connsiteY19" fmla="*/ 121807 h 363359"/>
                <a:gd name="connsiteX20" fmla="*/ 175165 w 632385"/>
                <a:gd name="connsiteY20" fmla="*/ 94002 h 363359"/>
                <a:gd name="connsiteX21" fmla="*/ 169705 w 632385"/>
                <a:gd name="connsiteY21" fmla="*/ 90768 h 363359"/>
                <a:gd name="connsiteX22" fmla="*/ 122429 w 632385"/>
                <a:gd name="connsiteY22" fmla="*/ 48235 h 363359"/>
                <a:gd name="connsiteX23" fmla="*/ 37361 w 632385"/>
                <a:gd name="connsiteY23" fmla="*/ 50390 h 363359"/>
                <a:gd name="connsiteX24" fmla="*/ 32978 w 632385"/>
                <a:gd name="connsiteY24" fmla="*/ 60521 h 363359"/>
                <a:gd name="connsiteX25" fmla="*/ 37289 w 632385"/>
                <a:gd name="connsiteY25" fmla="*/ 70651 h 363359"/>
                <a:gd name="connsiteX26" fmla="*/ 138451 w 632385"/>
                <a:gd name="connsiteY26" fmla="*/ 169586 h 363359"/>
                <a:gd name="connsiteX27" fmla="*/ 306719 w 632385"/>
                <a:gd name="connsiteY27" fmla="*/ 273119 h 363359"/>
                <a:gd name="connsiteX28" fmla="*/ 386327 w 632385"/>
                <a:gd name="connsiteY28" fmla="*/ 290937 h 363359"/>
                <a:gd name="connsiteX29" fmla="*/ 545613 w 632385"/>
                <a:gd name="connsiteY29" fmla="*/ 266437 h 363359"/>
                <a:gd name="connsiteX30" fmla="*/ 559408 w 632385"/>
                <a:gd name="connsiteY30" fmla="*/ 270748 h 363359"/>
                <a:gd name="connsiteX31" fmla="*/ 627233 w 632385"/>
                <a:gd name="connsiteY31" fmla="*/ 334908 h 363359"/>
                <a:gd name="connsiteX32" fmla="*/ 627879 w 632385"/>
                <a:gd name="connsiteY32" fmla="*/ 358187 h 363359"/>
                <a:gd name="connsiteX33" fmla="*/ 615953 w 632385"/>
                <a:gd name="connsiteY33" fmla="*/ 363360 h 363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32385" h="363359">
                  <a:moveTo>
                    <a:pt x="615809" y="363216"/>
                  </a:moveTo>
                  <a:cubicBezTo>
                    <a:pt x="611714" y="363216"/>
                    <a:pt x="607690" y="361707"/>
                    <a:pt x="604529" y="358690"/>
                  </a:cubicBezTo>
                  <a:lnTo>
                    <a:pt x="542596" y="300062"/>
                  </a:lnTo>
                  <a:lnTo>
                    <a:pt x="391284" y="323340"/>
                  </a:lnTo>
                  <a:cubicBezTo>
                    <a:pt x="355432" y="328801"/>
                    <a:pt x="319077" y="320826"/>
                    <a:pt x="288973" y="300708"/>
                  </a:cubicBezTo>
                  <a:lnTo>
                    <a:pt x="119627" y="196601"/>
                  </a:lnTo>
                  <a:cubicBezTo>
                    <a:pt x="118549" y="195954"/>
                    <a:pt x="117615" y="195235"/>
                    <a:pt x="116753" y="194373"/>
                  </a:cubicBezTo>
                  <a:lnTo>
                    <a:pt x="14441" y="94289"/>
                  </a:lnTo>
                  <a:cubicBezTo>
                    <a:pt x="5317" y="85595"/>
                    <a:pt x="0" y="73238"/>
                    <a:pt x="0" y="60377"/>
                  </a:cubicBezTo>
                  <a:cubicBezTo>
                    <a:pt x="0" y="47588"/>
                    <a:pt x="5389" y="35158"/>
                    <a:pt x="14729" y="26393"/>
                  </a:cubicBezTo>
                  <a:cubicBezTo>
                    <a:pt x="50868" y="-7663"/>
                    <a:pt x="106479" y="-8885"/>
                    <a:pt x="144127" y="23447"/>
                  </a:cubicBezTo>
                  <a:lnTo>
                    <a:pt x="189248" y="64113"/>
                  </a:lnTo>
                  <a:lnTo>
                    <a:pt x="261167" y="89834"/>
                  </a:lnTo>
                  <a:lnTo>
                    <a:pt x="323460" y="89691"/>
                  </a:lnTo>
                  <a:lnTo>
                    <a:pt x="323460" y="89691"/>
                  </a:lnTo>
                  <a:cubicBezTo>
                    <a:pt x="332512" y="89691"/>
                    <a:pt x="339913" y="97019"/>
                    <a:pt x="339913" y="106072"/>
                  </a:cubicBezTo>
                  <a:cubicBezTo>
                    <a:pt x="339913" y="115197"/>
                    <a:pt x="332584" y="122525"/>
                    <a:pt x="323531" y="122597"/>
                  </a:cubicBezTo>
                  <a:lnTo>
                    <a:pt x="258365" y="122741"/>
                  </a:lnTo>
                  <a:lnTo>
                    <a:pt x="258365" y="122741"/>
                  </a:lnTo>
                  <a:cubicBezTo>
                    <a:pt x="256497" y="122741"/>
                    <a:pt x="254629" y="122382"/>
                    <a:pt x="252833" y="121807"/>
                  </a:cubicBezTo>
                  <a:lnTo>
                    <a:pt x="175165" y="94002"/>
                  </a:lnTo>
                  <a:cubicBezTo>
                    <a:pt x="173154" y="93283"/>
                    <a:pt x="171286" y="92205"/>
                    <a:pt x="169705" y="90768"/>
                  </a:cubicBezTo>
                  <a:lnTo>
                    <a:pt x="122429" y="48235"/>
                  </a:lnTo>
                  <a:cubicBezTo>
                    <a:pt x="97857" y="27111"/>
                    <a:pt x="61214" y="27902"/>
                    <a:pt x="37361" y="50390"/>
                  </a:cubicBezTo>
                  <a:cubicBezTo>
                    <a:pt x="34559" y="53048"/>
                    <a:pt x="32978" y="56641"/>
                    <a:pt x="32978" y="60521"/>
                  </a:cubicBezTo>
                  <a:cubicBezTo>
                    <a:pt x="32978" y="64400"/>
                    <a:pt x="34487" y="67993"/>
                    <a:pt x="37289" y="70651"/>
                  </a:cubicBezTo>
                  <a:lnTo>
                    <a:pt x="138451" y="169586"/>
                  </a:lnTo>
                  <a:lnTo>
                    <a:pt x="306719" y="273119"/>
                  </a:lnTo>
                  <a:cubicBezTo>
                    <a:pt x="330501" y="288997"/>
                    <a:pt x="358593" y="295176"/>
                    <a:pt x="386327" y="290937"/>
                  </a:cubicBezTo>
                  <a:lnTo>
                    <a:pt x="545613" y="266437"/>
                  </a:lnTo>
                  <a:cubicBezTo>
                    <a:pt x="550643" y="265718"/>
                    <a:pt x="555744" y="267227"/>
                    <a:pt x="559408" y="270748"/>
                  </a:cubicBezTo>
                  <a:lnTo>
                    <a:pt x="627233" y="334908"/>
                  </a:lnTo>
                  <a:cubicBezTo>
                    <a:pt x="633843" y="341159"/>
                    <a:pt x="634130" y="351577"/>
                    <a:pt x="627879" y="358187"/>
                  </a:cubicBezTo>
                  <a:cubicBezTo>
                    <a:pt x="624646" y="361635"/>
                    <a:pt x="620264" y="363360"/>
                    <a:pt x="615953" y="363360"/>
                  </a:cubicBezTo>
                  <a:close/>
                </a:path>
              </a:pathLst>
            </a:custGeom>
            <a:grpFill/>
            <a:ln w="0" cap="flat">
              <a:noFill/>
              <a:prstDash val="solid"/>
              <a:miter/>
            </a:ln>
          </p:spPr>
          <p:txBody>
            <a:bodyPr rtlCol="0" anchor="ctr"/>
            <a:lstStyle/>
            <a:p>
              <a:endParaRPr lang="pt-BR" dirty="0"/>
            </a:p>
          </p:txBody>
        </p:sp>
        <p:sp>
          <p:nvSpPr>
            <p:cNvPr id="5" name="Forma Livre: Forma 4">
              <a:extLst>
                <a:ext uri="{FF2B5EF4-FFF2-40B4-BE49-F238E27FC236}">
                  <a16:creationId xmlns:a16="http://schemas.microsoft.com/office/drawing/2014/main" id="{B8BE0925-3ED4-606F-5FAB-2BA2E3D428CC}"/>
                </a:ext>
              </a:extLst>
            </p:cNvPr>
            <p:cNvSpPr/>
            <p:nvPr>
              <p:custDataLst>
                <p:tags r:id="rId17"/>
              </p:custDataLst>
            </p:nvPr>
          </p:nvSpPr>
          <p:spPr>
            <a:xfrm>
              <a:off x="1292965" y="1418793"/>
              <a:ext cx="321627" cy="321645"/>
            </a:xfrm>
            <a:custGeom>
              <a:avLst/>
              <a:gdLst>
                <a:gd name="connsiteX0" fmla="*/ 80595 w 321627"/>
                <a:gd name="connsiteY0" fmla="*/ 321645 h 321645"/>
                <a:gd name="connsiteX1" fmla="*/ 68956 w 321627"/>
                <a:gd name="connsiteY1" fmla="*/ 316832 h 321645"/>
                <a:gd name="connsiteX2" fmla="*/ 4796 w 321627"/>
                <a:gd name="connsiteY2" fmla="*/ 252671 h 321645"/>
                <a:gd name="connsiteX3" fmla="*/ 4796 w 321627"/>
                <a:gd name="connsiteY3" fmla="*/ 229393 h 321645"/>
                <a:gd name="connsiteX4" fmla="*/ 229393 w 321627"/>
                <a:gd name="connsiteY4" fmla="*/ 4796 h 321645"/>
                <a:gd name="connsiteX5" fmla="*/ 252671 w 321627"/>
                <a:gd name="connsiteY5" fmla="*/ 4796 h 321645"/>
                <a:gd name="connsiteX6" fmla="*/ 316832 w 321627"/>
                <a:gd name="connsiteY6" fmla="*/ 68956 h 321645"/>
                <a:gd name="connsiteX7" fmla="*/ 316832 w 321627"/>
                <a:gd name="connsiteY7" fmla="*/ 92235 h 321645"/>
                <a:gd name="connsiteX8" fmla="*/ 293553 w 321627"/>
                <a:gd name="connsiteY8" fmla="*/ 92235 h 321645"/>
                <a:gd name="connsiteX9" fmla="*/ 241032 w 321627"/>
                <a:gd name="connsiteY9" fmla="*/ 39714 h 321645"/>
                <a:gd name="connsiteX10" fmla="*/ 39714 w 321627"/>
                <a:gd name="connsiteY10" fmla="*/ 241032 h 321645"/>
                <a:gd name="connsiteX11" fmla="*/ 92235 w 321627"/>
                <a:gd name="connsiteY11" fmla="*/ 293553 h 321645"/>
                <a:gd name="connsiteX12" fmla="*/ 92235 w 321627"/>
                <a:gd name="connsiteY12" fmla="*/ 316832 h 321645"/>
                <a:gd name="connsiteX13" fmla="*/ 80595 w 321627"/>
                <a:gd name="connsiteY13" fmla="*/ 321645 h 32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1627" h="321645">
                  <a:moveTo>
                    <a:pt x="80595" y="321645"/>
                  </a:moveTo>
                  <a:cubicBezTo>
                    <a:pt x="76356" y="321645"/>
                    <a:pt x="72189" y="320065"/>
                    <a:pt x="68956" y="316832"/>
                  </a:cubicBezTo>
                  <a:lnTo>
                    <a:pt x="4796" y="252671"/>
                  </a:lnTo>
                  <a:cubicBezTo>
                    <a:pt x="-1599" y="246277"/>
                    <a:pt x="-1599" y="235859"/>
                    <a:pt x="4796" y="229393"/>
                  </a:cubicBezTo>
                  <a:lnTo>
                    <a:pt x="229393" y="4796"/>
                  </a:lnTo>
                  <a:cubicBezTo>
                    <a:pt x="235787" y="-1599"/>
                    <a:pt x="246205" y="-1599"/>
                    <a:pt x="252671" y="4796"/>
                  </a:cubicBezTo>
                  <a:lnTo>
                    <a:pt x="316832" y="68956"/>
                  </a:lnTo>
                  <a:cubicBezTo>
                    <a:pt x="323226" y="75351"/>
                    <a:pt x="323226" y="85768"/>
                    <a:pt x="316832" y="92235"/>
                  </a:cubicBezTo>
                  <a:cubicBezTo>
                    <a:pt x="310437" y="98701"/>
                    <a:pt x="300019" y="98629"/>
                    <a:pt x="293553" y="92235"/>
                  </a:cubicBezTo>
                  <a:lnTo>
                    <a:pt x="241032" y="39714"/>
                  </a:lnTo>
                  <a:lnTo>
                    <a:pt x="39714" y="241032"/>
                  </a:lnTo>
                  <a:lnTo>
                    <a:pt x="92235" y="293553"/>
                  </a:lnTo>
                  <a:cubicBezTo>
                    <a:pt x="98629" y="299947"/>
                    <a:pt x="98629" y="310365"/>
                    <a:pt x="92235" y="316832"/>
                  </a:cubicBezTo>
                  <a:cubicBezTo>
                    <a:pt x="89002" y="320065"/>
                    <a:pt x="84834" y="321645"/>
                    <a:pt x="80595" y="321645"/>
                  </a:cubicBezTo>
                  <a:close/>
                </a:path>
              </a:pathLst>
            </a:custGeom>
            <a:grpFill/>
            <a:ln w="0" cap="flat">
              <a:noFill/>
              <a:prstDash val="solid"/>
              <a:miter/>
            </a:ln>
          </p:spPr>
          <p:txBody>
            <a:bodyPr rtlCol="0" anchor="ctr"/>
            <a:lstStyle/>
            <a:p>
              <a:endParaRPr lang="pt-BR" dirty="0"/>
            </a:p>
          </p:txBody>
        </p:sp>
        <p:sp>
          <p:nvSpPr>
            <p:cNvPr id="6" name="Forma Livre: Forma 5">
              <a:extLst>
                <a:ext uri="{FF2B5EF4-FFF2-40B4-BE49-F238E27FC236}">
                  <a16:creationId xmlns:a16="http://schemas.microsoft.com/office/drawing/2014/main" id="{8AA08EE3-F3FE-EC6D-40EE-15BD1EF00A1A}"/>
                </a:ext>
              </a:extLst>
            </p:cNvPr>
            <p:cNvSpPr/>
            <p:nvPr>
              <p:custDataLst>
                <p:tags r:id="rId18"/>
              </p:custDataLst>
            </p:nvPr>
          </p:nvSpPr>
          <p:spPr>
            <a:xfrm>
              <a:off x="891838" y="1161990"/>
              <a:ext cx="482043" cy="177392"/>
            </a:xfrm>
            <a:custGeom>
              <a:avLst/>
              <a:gdLst>
                <a:gd name="connsiteX0" fmla="*/ 465701 w 482043"/>
                <a:gd name="connsiteY0" fmla="*/ 177321 h 177392"/>
                <a:gd name="connsiteX1" fmla="*/ 451978 w 482043"/>
                <a:gd name="connsiteY1" fmla="*/ 169992 h 177392"/>
                <a:gd name="connsiteX2" fmla="*/ 411599 w 482043"/>
                <a:gd name="connsiteY2" fmla="*/ 109424 h 177392"/>
                <a:gd name="connsiteX3" fmla="*/ 358575 w 482043"/>
                <a:gd name="connsiteY3" fmla="*/ 81044 h 177392"/>
                <a:gd name="connsiteX4" fmla="*/ 305264 w 482043"/>
                <a:gd name="connsiteY4" fmla="*/ 81044 h 177392"/>
                <a:gd name="connsiteX5" fmla="*/ 293625 w 482043"/>
                <a:gd name="connsiteY5" fmla="*/ 76231 h 177392"/>
                <a:gd name="connsiteX6" fmla="*/ 268981 w 482043"/>
                <a:gd name="connsiteY6" fmla="*/ 51587 h 177392"/>
                <a:gd name="connsiteX7" fmla="*/ 223860 w 482043"/>
                <a:gd name="connsiteY7" fmla="*/ 32906 h 177392"/>
                <a:gd name="connsiteX8" fmla="*/ 129883 w 482043"/>
                <a:gd name="connsiteY8" fmla="*/ 32906 h 177392"/>
                <a:gd name="connsiteX9" fmla="*/ 84763 w 482043"/>
                <a:gd name="connsiteY9" fmla="*/ 51587 h 177392"/>
                <a:gd name="connsiteX10" fmla="*/ 28075 w 482043"/>
                <a:gd name="connsiteY10" fmla="*/ 108275 h 177392"/>
                <a:gd name="connsiteX11" fmla="*/ 4796 w 482043"/>
                <a:gd name="connsiteY11" fmla="*/ 108275 h 177392"/>
                <a:gd name="connsiteX12" fmla="*/ 4796 w 482043"/>
                <a:gd name="connsiteY12" fmla="*/ 84996 h 177392"/>
                <a:gd name="connsiteX13" fmla="*/ 61484 w 482043"/>
                <a:gd name="connsiteY13" fmla="*/ 28308 h 177392"/>
                <a:gd name="connsiteX14" fmla="*/ 129811 w 482043"/>
                <a:gd name="connsiteY14" fmla="*/ 0 h 177392"/>
                <a:gd name="connsiteX15" fmla="*/ 223788 w 482043"/>
                <a:gd name="connsiteY15" fmla="*/ 0 h 177392"/>
                <a:gd name="connsiteX16" fmla="*/ 292116 w 482043"/>
                <a:gd name="connsiteY16" fmla="*/ 28308 h 177392"/>
                <a:gd name="connsiteX17" fmla="*/ 311946 w 482043"/>
                <a:gd name="connsiteY17" fmla="*/ 48138 h 177392"/>
                <a:gd name="connsiteX18" fmla="*/ 358432 w 482043"/>
                <a:gd name="connsiteY18" fmla="*/ 48138 h 177392"/>
                <a:gd name="connsiteX19" fmla="*/ 438901 w 482043"/>
                <a:gd name="connsiteY19" fmla="*/ 91175 h 177392"/>
                <a:gd name="connsiteX20" fmla="*/ 479280 w 482043"/>
                <a:gd name="connsiteY20" fmla="*/ 151743 h 177392"/>
                <a:gd name="connsiteX21" fmla="*/ 474682 w 482043"/>
                <a:gd name="connsiteY21" fmla="*/ 174591 h 177392"/>
                <a:gd name="connsiteX22" fmla="*/ 465557 w 482043"/>
                <a:gd name="connsiteY22" fmla="*/ 177393 h 17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82043" h="177392">
                  <a:moveTo>
                    <a:pt x="465701" y="177321"/>
                  </a:moveTo>
                  <a:cubicBezTo>
                    <a:pt x="460384" y="177321"/>
                    <a:pt x="455139" y="174734"/>
                    <a:pt x="451978" y="169992"/>
                  </a:cubicBezTo>
                  <a:lnTo>
                    <a:pt x="411599" y="109424"/>
                  </a:lnTo>
                  <a:cubicBezTo>
                    <a:pt x="399744" y="91678"/>
                    <a:pt x="379914" y="81044"/>
                    <a:pt x="358575" y="81044"/>
                  </a:cubicBezTo>
                  <a:lnTo>
                    <a:pt x="305264" y="81044"/>
                  </a:lnTo>
                  <a:cubicBezTo>
                    <a:pt x="300881" y="81044"/>
                    <a:pt x="296714" y="79320"/>
                    <a:pt x="293625" y="76231"/>
                  </a:cubicBezTo>
                  <a:lnTo>
                    <a:pt x="268981" y="51587"/>
                  </a:lnTo>
                  <a:cubicBezTo>
                    <a:pt x="256910" y="39516"/>
                    <a:pt x="240960" y="32906"/>
                    <a:pt x="223860" y="32906"/>
                  </a:cubicBezTo>
                  <a:lnTo>
                    <a:pt x="129883" y="32906"/>
                  </a:lnTo>
                  <a:cubicBezTo>
                    <a:pt x="112855" y="32906"/>
                    <a:pt x="96833" y="39516"/>
                    <a:pt x="84763" y="51587"/>
                  </a:cubicBezTo>
                  <a:lnTo>
                    <a:pt x="28075" y="108275"/>
                  </a:lnTo>
                  <a:cubicBezTo>
                    <a:pt x="21680" y="114669"/>
                    <a:pt x="11190" y="114669"/>
                    <a:pt x="4796" y="108275"/>
                  </a:cubicBezTo>
                  <a:cubicBezTo>
                    <a:pt x="-1599" y="101880"/>
                    <a:pt x="-1599" y="91462"/>
                    <a:pt x="4796" y="84996"/>
                  </a:cubicBezTo>
                  <a:lnTo>
                    <a:pt x="61484" y="28308"/>
                  </a:lnTo>
                  <a:cubicBezTo>
                    <a:pt x="79733" y="10059"/>
                    <a:pt x="104018" y="0"/>
                    <a:pt x="129811" y="0"/>
                  </a:cubicBezTo>
                  <a:lnTo>
                    <a:pt x="223788" y="0"/>
                  </a:lnTo>
                  <a:cubicBezTo>
                    <a:pt x="249654" y="0"/>
                    <a:pt x="273867" y="10059"/>
                    <a:pt x="292116" y="28308"/>
                  </a:cubicBezTo>
                  <a:lnTo>
                    <a:pt x="311946" y="48138"/>
                  </a:lnTo>
                  <a:lnTo>
                    <a:pt x="358432" y="48138"/>
                  </a:lnTo>
                  <a:cubicBezTo>
                    <a:pt x="390835" y="48138"/>
                    <a:pt x="420867" y="64232"/>
                    <a:pt x="438901" y="91175"/>
                  </a:cubicBezTo>
                  <a:lnTo>
                    <a:pt x="479280" y="151743"/>
                  </a:lnTo>
                  <a:cubicBezTo>
                    <a:pt x="484309" y="159287"/>
                    <a:pt x="482297" y="169489"/>
                    <a:pt x="474682" y="174591"/>
                  </a:cubicBezTo>
                  <a:cubicBezTo>
                    <a:pt x="471879" y="176459"/>
                    <a:pt x="468718" y="177393"/>
                    <a:pt x="465557" y="177393"/>
                  </a:cubicBezTo>
                  <a:close/>
                </a:path>
              </a:pathLst>
            </a:custGeom>
            <a:grpFill/>
            <a:ln w="0" cap="flat">
              <a:noFill/>
              <a:prstDash val="solid"/>
              <a:miter/>
            </a:ln>
          </p:spPr>
          <p:txBody>
            <a:bodyPr rtlCol="0" anchor="ctr"/>
            <a:lstStyle/>
            <a:p>
              <a:endParaRPr lang="pt-BR" dirty="0"/>
            </a:p>
          </p:txBody>
        </p:sp>
        <p:sp>
          <p:nvSpPr>
            <p:cNvPr id="7" name="Forma Livre: Forma 6">
              <a:extLst>
                <a:ext uri="{FF2B5EF4-FFF2-40B4-BE49-F238E27FC236}">
                  <a16:creationId xmlns:a16="http://schemas.microsoft.com/office/drawing/2014/main" id="{AD012BC2-0E9C-1504-F895-D4319B42F2E2}"/>
                </a:ext>
              </a:extLst>
            </p:cNvPr>
            <p:cNvSpPr/>
            <p:nvPr>
              <p:custDataLst>
                <p:tags r:id="rId19"/>
              </p:custDataLst>
            </p:nvPr>
          </p:nvSpPr>
          <p:spPr>
            <a:xfrm>
              <a:off x="875841" y="873348"/>
              <a:ext cx="225416" cy="321692"/>
            </a:xfrm>
            <a:custGeom>
              <a:avLst/>
              <a:gdLst>
                <a:gd name="connsiteX0" fmla="*/ 208963 w 225416"/>
                <a:gd name="connsiteY0" fmla="*/ 321621 h 321692"/>
                <a:gd name="connsiteX1" fmla="*/ 192510 w 225416"/>
                <a:gd name="connsiteY1" fmla="*/ 305168 h 321692"/>
                <a:gd name="connsiteX2" fmla="*/ 8148 w 225416"/>
                <a:gd name="connsiteY2" fmla="*/ 30637 h 321692"/>
                <a:gd name="connsiteX3" fmla="*/ 2257 w 225416"/>
                <a:gd name="connsiteY3" fmla="*/ 8148 h 321692"/>
                <a:gd name="connsiteX4" fmla="*/ 24745 w 225416"/>
                <a:gd name="connsiteY4" fmla="*/ 2257 h 321692"/>
                <a:gd name="connsiteX5" fmla="*/ 225416 w 225416"/>
                <a:gd name="connsiteY5" fmla="*/ 305239 h 321692"/>
                <a:gd name="connsiteX6" fmla="*/ 208963 w 225416"/>
                <a:gd name="connsiteY6" fmla="*/ 321693 h 32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416" h="321692">
                  <a:moveTo>
                    <a:pt x="208963" y="321621"/>
                  </a:moveTo>
                  <a:cubicBezTo>
                    <a:pt x="199838" y="321621"/>
                    <a:pt x="192510" y="314292"/>
                    <a:pt x="192510" y="305168"/>
                  </a:cubicBezTo>
                  <a:cubicBezTo>
                    <a:pt x="192510" y="211837"/>
                    <a:pt x="192510" y="138121"/>
                    <a:pt x="8148" y="30637"/>
                  </a:cubicBezTo>
                  <a:cubicBezTo>
                    <a:pt x="317" y="26038"/>
                    <a:pt x="-2342" y="15980"/>
                    <a:pt x="2257" y="8148"/>
                  </a:cubicBezTo>
                  <a:cubicBezTo>
                    <a:pt x="6855" y="317"/>
                    <a:pt x="16914" y="-2342"/>
                    <a:pt x="24745" y="2257"/>
                  </a:cubicBezTo>
                  <a:cubicBezTo>
                    <a:pt x="225416" y="119297"/>
                    <a:pt x="225416" y="205514"/>
                    <a:pt x="225416" y="305239"/>
                  </a:cubicBezTo>
                  <a:cubicBezTo>
                    <a:pt x="225416" y="314364"/>
                    <a:pt x="218088" y="321693"/>
                    <a:pt x="208963" y="321693"/>
                  </a:cubicBezTo>
                  <a:close/>
                </a:path>
              </a:pathLst>
            </a:custGeom>
            <a:grpFill/>
            <a:ln w="0" cap="flat">
              <a:noFill/>
              <a:prstDash val="solid"/>
              <a:miter/>
            </a:ln>
          </p:spPr>
          <p:txBody>
            <a:bodyPr rtlCol="0" anchor="ctr"/>
            <a:lstStyle/>
            <a:p>
              <a:endParaRPr lang="pt-BR" dirty="0"/>
            </a:p>
          </p:txBody>
        </p:sp>
        <p:sp>
          <p:nvSpPr>
            <p:cNvPr id="8" name="Forma Livre: Forma 7">
              <a:extLst>
                <a:ext uri="{FF2B5EF4-FFF2-40B4-BE49-F238E27FC236}">
                  <a16:creationId xmlns:a16="http://schemas.microsoft.com/office/drawing/2014/main" id="{75FBB6CF-434F-4F2E-4638-1F4841EC534E}"/>
                </a:ext>
              </a:extLst>
            </p:cNvPr>
            <p:cNvSpPr/>
            <p:nvPr>
              <p:custDataLst>
                <p:tags r:id="rId20"/>
              </p:custDataLst>
            </p:nvPr>
          </p:nvSpPr>
          <p:spPr>
            <a:xfrm>
              <a:off x="763500" y="777045"/>
              <a:ext cx="342725" cy="306630"/>
            </a:xfrm>
            <a:custGeom>
              <a:avLst/>
              <a:gdLst>
                <a:gd name="connsiteX0" fmla="*/ 223519 w 342725"/>
                <a:gd name="connsiteY0" fmla="*/ 306487 h 306630"/>
                <a:gd name="connsiteX1" fmla="*/ 103820 w 342725"/>
                <a:gd name="connsiteY1" fmla="*/ 258708 h 306630"/>
                <a:gd name="connsiteX2" fmla="*/ 0 w 342725"/>
                <a:gd name="connsiteY2" fmla="*/ 16437 h 306630"/>
                <a:gd name="connsiteX3" fmla="*/ 11711 w 342725"/>
                <a:gd name="connsiteY3" fmla="*/ 702 h 306630"/>
                <a:gd name="connsiteX4" fmla="*/ 30176 w 342725"/>
                <a:gd name="connsiteY4" fmla="*/ 7312 h 306630"/>
                <a:gd name="connsiteX5" fmla="*/ 116753 w 342725"/>
                <a:gd name="connsiteY5" fmla="*/ 33465 h 306630"/>
                <a:gd name="connsiteX6" fmla="*/ 282291 w 342725"/>
                <a:gd name="connsiteY6" fmla="*/ 82968 h 306630"/>
                <a:gd name="connsiteX7" fmla="*/ 319508 w 342725"/>
                <a:gd name="connsiteY7" fmla="*/ 281340 h 306630"/>
                <a:gd name="connsiteX8" fmla="*/ 297020 w 342725"/>
                <a:gd name="connsiteY8" fmla="*/ 287447 h 306630"/>
                <a:gd name="connsiteX9" fmla="*/ 290912 w 342725"/>
                <a:gd name="connsiteY9" fmla="*/ 265031 h 306630"/>
                <a:gd name="connsiteX10" fmla="*/ 290912 w 342725"/>
                <a:gd name="connsiteY10" fmla="*/ 265031 h 306630"/>
                <a:gd name="connsiteX11" fmla="*/ 264041 w 342725"/>
                <a:gd name="connsiteY11" fmla="*/ 110414 h 306630"/>
                <a:gd name="connsiteX12" fmla="*/ 112729 w 342725"/>
                <a:gd name="connsiteY12" fmla="*/ 66155 h 306630"/>
                <a:gd name="connsiteX13" fmla="*/ 35924 w 342725"/>
                <a:gd name="connsiteY13" fmla="*/ 50780 h 306630"/>
                <a:gd name="connsiteX14" fmla="*/ 125949 w 342725"/>
                <a:gd name="connsiteY14" fmla="*/ 234351 h 306630"/>
                <a:gd name="connsiteX15" fmla="*/ 239469 w 342725"/>
                <a:gd name="connsiteY15" fmla="*/ 272862 h 306630"/>
                <a:gd name="connsiteX16" fmla="*/ 257503 w 342725"/>
                <a:gd name="connsiteY16" fmla="*/ 287591 h 306630"/>
                <a:gd name="connsiteX17" fmla="*/ 242774 w 342725"/>
                <a:gd name="connsiteY17" fmla="*/ 305625 h 306630"/>
                <a:gd name="connsiteX18" fmla="*/ 223591 w 342725"/>
                <a:gd name="connsiteY18" fmla="*/ 306630 h 30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2725" h="306630">
                  <a:moveTo>
                    <a:pt x="223519" y="306487"/>
                  </a:moveTo>
                  <a:cubicBezTo>
                    <a:pt x="179117" y="306487"/>
                    <a:pt x="138954" y="290465"/>
                    <a:pt x="103820" y="258708"/>
                  </a:cubicBezTo>
                  <a:cubicBezTo>
                    <a:pt x="32188" y="193901"/>
                    <a:pt x="0" y="78010"/>
                    <a:pt x="0" y="16437"/>
                  </a:cubicBezTo>
                  <a:cubicBezTo>
                    <a:pt x="0" y="9180"/>
                    <a:pt x="4742" y="2785"/>
                    <a:pt x="11711" y="702"/>
                  </a:cubicBezTo>
                  <a:cubicBezTo>
                    <a:pt x="18680" y="-1382"/>
                    <a:pt x="26153" y="1277"/>
                    <a:pt x="30176" y="7312"/>
                  </a:cubicBezTo>
                  <a:cubicBezTo>
                    <a:pt x="41384" y="24124"/>
                    <a:pt x="76303" y="28435"/>
                    <a:pt x="116753" y="33465"/>
                  </a:cubicBezTo>
                  <a:cubicBezTo>
                    <a:pt x="166687" y="39643"/>
                    <a:pt x="228908" y="47403"/>
                    <a:pt x="282291" y="82968"/>
                  </a:cubicBezTo>
                  <a:cubicBezTo>
                    <a:pt x="368580" y="140446"/>
                    <a:pt x="344367" y="237872"/>
                    <a:pt x="319508" y="281340"/>
                  </a:cubicBezTo>
                  <a:cubicBezTo>
                    <a:pt x="314982" y="289243"/>
                    <a:pt x="304923" y="291973"/>
                    <a:pt x="297020" y="287447"/>
                  </a:cubicBezTo>
                  <a:cubicBezTo>
                    <a:pt x="289116" y="282921"/>
                    <a:pt x="286386" y="272934"/>
                    <a:pt x="290912" y="265031"/>
                  </a:cubicBezTo>
                  <a:lnTo>
                    <a:pt x="290912" y="265031"/>
                  </a:lnTo>
                  <a:cubicBezTo>
                    <a:pt x="293212" y="261007"/>
                    <a:pt x="346092" y="165162"/>
                    <a:pt x="264041" y="110414"/>
                  </a:cubicBezTo>
                  <a:cubicBezTo>
                    <a:pt x="217125" y="79160"/>
                    <a:pt x="161658" y="72262"/>
                    <a:pt x="112729" y="66155"/>
                  </a:cubicBezTo>
                  <a:cubicBezTo>
                    <a:pt x="83631" y="62563"/>
                    <a:pt x="56904" y="59258"/>
                    <a:pt x="35924" y="50780"/>
                  </a:cubicBezTo>
                  <a:cubicBezTo>
                    <a:pt x="44905" y="107755"/>
                    <a:pt x="74075" y="187435"/>
                    <a:pt x="125949" y="234351"/>
                  </a:cubicBezTo>
                  <a:cubicBezTo>
                    <a:pt x="158856" y="264096"/>
                    <a:pt x="197007" y="277101"/>
                    <a:pt x="239469" y="272862"/>
                  </a:cubicBezTo>
                  <a:cubicBezTo>
                    <a:pt x="248594" y="271928"/>
                    <a:pt x="256569" y="278538"/>
                    <a:pt x="257503" y="287591"/>
                  </a:cubicBezTo>
                  <a:cubicBezTo>
                    <a:pt x="258437" y="296644"/>
                    <a:pt x="251827" y="304691"/>
                    <a:pt x="242774" y="305625"/>
                  </a:cubicBezTo>
                  <a:cubicBezTo>
                    <a:pt x="236308" y="306271"/>
                    <a:pt x="229914" y="306630"/>
                    <a:pt x="223591" y="306630"/>
                  </a:cubicBezTo>
                  <a:close/>
                </a:path>
              </a:pathLst>
            </a:custGeom>
            <a:grpFill/>
            <a:ln w="0" cap="flat">
              <a:noFill/>
              <a:prstDash val="solid"/>
              <a:miter/>
            </a:ln>
          </p:spPr>
          <p:txBody>
            <a:bodyPr rtlCol="0" anchor="ctr"/>
            <a:lstStyle/>
            <a:p>
              <a:endParaRPr lang="pt-BR" dirty="0"/>
            </a:p>
          </p:txBody>
        </p:sp>
        <p:sp>
          <p:nvSpPr>
            <p:cNvPr id="9" name="Forma Livre: Forma 8">
              <a:extLst>
                <a:ext uri="{FF2B5EF4-FFF2-40B4-BE49-F238E27FC236}">
                  <a16:creationId xmlns:a16="http://schemas.microsoft.com/office/drawing/2014/main" id="{17FA77F3-B2C7-5C13-A3DB-88B376F1F852}"/>
                </a:ext>
              </a:extLst>
            </p:cNvPr>
            <p:cNvSpPr/>
            <p:nvPr>
              <p:custDataLst>
                <p:tags r:id="rId21"/>
              </p:custDataLst>
            </p:nvPr>
          </p:nvSpPr>
          <p:spPr>
            <a:xfrm>
              <a:off x="1052204" y="816159"/>
              <a:ext cx="289617" cy="266511"/>
            </a:xfrm>
            <a:custGeom>
              <a:avLst/>
              <a:gdLst>
                <a:gd name="connsiteX0" fmla="*/ 96760 w 289617"/>
                <a:gd name="connsiteY0" fmla="*/ 266511 h 266511"/>
                <a:gd name="connsiteX1" fmla="*/ 80307 w 289617"/>
                <a:gd name="connsiteY1" fmla="*/ 250058 h 266511"/>
                <a:gd name="connsiteX2" fmla="*/ 96689 w 289617"/>
                <a:gd name="connsiteY2" fmla="*/ 233605 h 266511"/>
                <a:gd name="connsiteX3" fmla="*/ 181397 w 289617"/>
                <a:gd name="connsiteY3" fmla="*/ 190280 h 266511"/>
                <a:gd name="connsiteX4" fmla="*/ 228098 w 289617"/>
                <a:gd name="connsiteY4" fmla="*/ 93429 h 266511"/>
                <a:gd name="connsiteX5" fmla="*/ 247641 w 289617"/>
                <a:gd name="connsiteY5" fmla="*/ 37747 h 266511"/>
                <a:gd name="connsiteX6" fmla="*/ 29654 w 289617"/>
                <a:gd name="connsiteY6" fmla="*/ 83371 h 266511"/>
                <a:gd name="connsiteX7" fmla="*/ 6591 w 289617"/>
                <a:gd name="connsiteY7" fmla="*/ 86676 h 266511"/>
                <a:gd name="connsiteX8" fmla="*/ 3286 w 289617"/>
                <a:gd name="connsiteY8" fmla="*/ 63612 h 266511"/>
                <a:gd name="connsiteX9" fmla="*/ 276380 w 289617"/>
                <a:gd name="connsiteY9" fmla="*/ 9224 h 266511"/>
                <a:gd name="connsiteX10" fmla="*/ 288379 w 289617"/>
                <a:gd name="connsiteY10" fmla="*/ 19067 h 266511"/>
                <a:gd name="connsiteX11" fmla="*/ 286870 w 289617"/>
                <a:gd name="connsiteY11" fmla="*/ 34514 h 266511"/>
                <a:gd name="connsiteX12" fmla="*/ 259568 w 289617"/>
                <a:gd name="connsiteY12" fmla="*/ 102913 h 266511"/>
                <a:gd name="connsiteX13" fmla="*/ 204604 w 289617"/>
                <a:gd name="connsiteY13" fmla="*/ 213487 h 266511"/>
                <a:gd name="connsiteX14" fmla="*/ 96689 w 289617"/>
                <a:gd name="connsiteY14" fmla="*/ 266439 h 266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9617" h="266511">
                  <a:moveTo>
                    <a:pt x="96760" y="266511"/>
                  </a:moveTo>
                  <a:cubicBezTo>
                    <a:pt x="87636" y="266511"/>
                    <a:pt x="80307" y="259183"/>
                    <a:pt x="80307" y="250058"/>
                  </a:cubicBezTo>
                  <a:cubicBezTo>
                    <a:pt x="80307" y="240933"/>
                    <a:pt x="87636" y="233677"/>
                    <a:pt x="96689" y="233605"/>
                  </a:cubicBezTo>
                  <a:cubicBezTo>
                    <a:pt x="98628" y="233605"/>
                    <a:pt x="139366" y="232383"/>
                    <a:pt x="181397" y="190280"/>
                  </a:cubicBezTo>
                  <a:cubicBezTo>
                    <a:pt x="206400" y="165277"/>
                    <a:pt x="217465" y="128779"/>
                    <a:pt x="228098" y="93429"/>
                  </a:cubicBezTo>
                  <a:cubicBezTo>
                    <a:pt x="234062" y="73815"/>
                    <a:pt x="239738" y="54919"/>
                    <a:pt x="247641" y="37747"/>
                  </a:cubicBezTo>
                  <a:cubicBezTo>
                    <a:pt x="173853" y="27257"/>
                    <a:pt x="68596" y="31568"/>
                    <a:pt x="29654" y="83371"/>
                  </a:cubicBezTo>
                  <a:cubicBezTo>
                    <a:pt x="24194" y="90627"/>
                    <a:pt x="13848" y="92136"/>
                    <a:pt x="6591" y="86676"/>
                  </a:cubicBezTo>
                  <a:cubicBezTo>
                    <a:pt x="-665" y="81215"/>
                    <a:pt x="-2174" y="70869"/>
                    <a:pt x="3286" y="63612"/>
                  </a:cubicBezTo>
                  <a:cubicBezTo>
                    <a:pt x="59399" y="-11253"/>
                    <a:pt x="201371" y="-5793"/>
                    <a:pt x="276380" y="9224"/>
                  </a:cubicBezTo>
                  <a:cubicBezTo>
                    <a:pt x="281769" y="10301"/>
                    <a:pt x="286224" y="13966"/>
                    <a:pt x="288379" y="19067"/>
                  </a:cubicBezTo>
                  <a:cubicBezTo>
                    <a:pt x="290463" y="24168"/>
                    <a:pt x="289888" y="29916"/>
                    <a:pt x="286870" y="34514"/>
                  </a:cubicBezTo>
                  <a:cubicBezTo>
                    <a:pt x="274800" y="52692"/>
                    <a:pt x="267399" y="77048"/>
                    <a:pt x="259568" y="102913"/>
                  </a:cubicBezTo>
                  <a:cubicBezTo>
                    <a:pt x="248288" y="140274"/>
                    <a:pt x="235427" y="182665"/>
                    <a:pt x="204604" y="213487"/>
                  </a:cubicBezTo>
                  <a:cubicBezTo>
                    <a:pt x="152227" y="265865"/>
                    <a:pt x="98988" y="266439"/>
                    <a:pt x="96689" y="266439"/>
                  </a:cubicBezTo>
                  <a:close/>
                </a:path>
              </a:pathLst>
            </a:custGeom>
            <a:grpFill/>
            <a:ln w="0" cap="flat">
              <a:noFill/>
              <a:prstDash val="solid"/>
              <a:miter/>
            </a:ln>
          </p:spPr>
          <p:txBody>
            <a:bodyPr rtlCol="0" anchor="ctr"/>
            <a:lstStyle/>
            <a:p>
              <a:endParaRPr lang="pt-BR" dirty="0"/>
            </a:p>
          </p:txBody>
        </p:sp>
      </p:grpSp>
      <p:sp>
        <p:nvSpPr>
          <p:cNvPr id="22" name="CaixaDeTexto 21">
            <a:extLst>
              <a:ext uri="{FF2B5EF4-FFF2-40B4-BE49-F238E27FC236}">
                <a16:creationId xmlns:a16="http://schemas.microsoft.com/office/drawing/2014/main" id="{851B1800-CF32-3CA6-0C8E-457D66DE8B59}"/>
              </a:ext>
            </a:extLst>
          </p:cNvPr>
          <p:cNvSpPr txBox="1"/>
          <p:nvPr>
            <p:custDataLst>
              <p:tags r:id="rId14"/>
            </p:custDataLst>
          </p:nvPr>
        </p:nvSpPr>
        <p:spPr>
          <a:xfrm>
            <a:off x="636285" y="162362"/>
            <a:ext cx="1544581"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FFFFFF"/>
                </a:solidFill>
                <a:effectLst/>
                <a:uFillTx/>
                <a:latin typeface="Segoe UI" panose="020B0502040204020203" pitchFamily="34" charset="0"/>
                <a:ea typeface="Segoe UI" panose="020B0502040204020203" pitchFamily="34" charset="0"/>
                <a:cs typeface="Segoe UI" panose="020B0502040204020203" pitchFamily="34" charset="0"/>
              </a:rPr>
              <a:t>SUSTAINABILITY</a:t>
            </a:r>
          </a:p>
          <a:p>
            <a:pPr lvl="0" defTabSz="234364"/>
            <a:r>
              <a:rPr lang="en-US" sz="1000" b="0" i="0" u="none" strike="noStrike" cap="none" spc="0" baseline="0" dirty="0">
                <a:effectLst/>
                <a:uFillTx/>
                <a:latin typeface="Segoe UI" panose="020B0502040204020203" pitchFamily="34" charset="0"/>
                <a:ea typeface="Segoe UI" panose="020B0502040204020203" pitchFamily="34" charset="0"/>
                <a:cs typeface="Segoe UI" panose="020B0502040204020203" pitchFamily="34" charset="0"/>
              </a:rPr>
              <a:t>Decarbonization and social value generation </a:t>
            </a:r>
          </a:p>
        </p:txBody>
      </p:sp>
      <p:grpSp>
        <p:nvGrpSpPr>
          <p:cNvPr id="10" name="Agrupar 9">
            <a:extLst>
              <a:ext uri="{FF2B5EF4-FFF2-40B4-BE49-F238E27FC236}">
                <a16:creationId xmlns:a16="http://schemas.microsoft.com/office/drawing/2014/main" id="{33AB7276-74CF-2EAB-E124-F0FDDB98C9A3}"/>
              </a:ext>
            </a:extLst>
          </p:cNvPr>
          <p:cNvGrpSpPr/>
          <p:nvPr/>
        </p:nvGrpSpPr>
        <p:grpSpPr>
          <a:xfrm>
            <a:off x="223872" y="163247"/>
            <a:ext cx="312606" cy="353271"/>
            <a:chOff x="223872" y="163247"/>
            <a:chExt cx="312606" cy="353271"/>
          </a:xfrm>
        </p:grpSpPr>
        <p:sp>
          <p:nvSpPr>
            <p:cNvPr id="11" name="Forma Livre: Forma 10">
              <a:extLst>
                <a:ext uri="{FF2B5EF4-FFF2-40B4-BE49-F238E27FC236}">
                  <a16:creationId xmlns:a16="http://schemas.microsoft.com/office/drawing/2014/main" id="{8A726975-3BAE-06A0-9C3A-0B8358F12901}"/>
                </a:ext>
              </a:extLst>
            </p:cNvPr>
            <p:cNvSpPr/>
            <p:nvPr/>
          </p:nvSpPr>
          <p:spPr>
            <a:xfrm>
              <a:off x="223872" y="163247"/>
              <a:ext cx="312606" cy="345244"/>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a:p>
          </p:txBody>
        </p:sp>
        <p:sp>
          <p:nvSpPr>
            <p:cNvPr id="12" name="CaixaDeTexto 11">
              <a:extLst>
                <a:ext uri="{FF2B5EF4-FFF2-40B4-BE49-F238E27FC236}">
                  <a16:creationId xmlns:a16="http://schemas.microsoft.com/office/drawing/2014/main" id="{0C39D8B3-33C4-82AD-DE04-444F3060ADB4}"/>
                </a:ext>
              </a:extLst>
            </p:cNvPr>
            <p:cNvSpPr txBox="1"/>
            <p:nvPr/>
          </p:nvSpPr>
          <p:spPr>
            <a:xfrm>
              <a:off x="323691" y="241058"/>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2</a:t>
              </a:r>
            </a:p>
          </p:txBody>
        </p:sp>
      </p:grpSp>
      <p:pic>
        <p:nvPicPr>
          <p:cNvPr id="13" name="Gráfico 12" descr="Vizinhança com preenchimento sólido">
            <a:extLst>
              <a:ext uri="{FF2B5EF4-FFF2-40B4-BE49-F238E27FC236}">
                <a16:creationId xmlns:a16="http://schemas.microsoft.com/office/drawing/2014/main" id="{68EBE323-DEBA-F3CB-BBFF-1D785BCB7118}"/>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6900210" y="1879029"/>
            <a:ext cx="336014" cy="336014"/>
          </a:xfrm>
          <a:prstGeom prst="rect">
            <a:avLst/>
          </a:prstGeom>
        </p:spPr>
      </p:pic>
      <p:pic>
        <p:nvPicPr>
          <p:cNvPr id="14" name="Imagem 13" descr="Uma imagem contendo Interface gráfica do usuário&#10;&#10;Descrição gerada automaticamente">
            <a:extLst>
              <a:ext uri="{FF2B5EF4-FFF2-40B4-BE49-F238E27FC236}">
                <a16:creationId xmlns:a16="http://schemas.microsoft.com/office/drawing/2014/main" id="{52E97A43-C259-6179-9F79-E933A5541381}"/>
              </a:ext>
            </a:extLst>
          </p:cNvPr>
          <p:cNvPicPr>
            <a:picLocks noChangeAspect="1"/>
          </p:cNvPicPr>
          <p:nvPr/>
        </p:nvPicPr>
        <p:blipFill>
          <a:blip r:embed="rId36"/>
          <a:stretch>
            <a:fillRect/>
          </a:stretch>
        </p:blipFill>
        <p:spPr>
          <a:xfrm>
            <a:off x="8039840" y="60434"/>
            <a:ext cx="920231" cy="509571"/>
          </a:xfrm>
          <a:prstGeom prst="rect">
            <a:avLst/>
          </a:prstGeom>
        </p:spPr>
      </p:pic>
      <p:grpSp>
        <p:nvGrpSpPr>
          <p:cNvPr id="15" name="Agrupar 14">
            <a:extLst>
              <a:ext uri="{FF2B5EF4-FFF2-40B4-BE49-F238E27FC236}">
                <a16:creationId xmlns:a16="http://schemas.microsoft.com/office/drawing/2014/main" id="{750EA42E-3ACA-1F01-1293-9D749C900458}"/>
              </a:ext>
            </a:extLst>
          </p:cNvPr>
          <p:cNvGrpSpPr/>
          <p:nvPr/>
        </p:nvGrpSpPr>
        <p:grpSpPr>
          <a:xfrm>
            <a:off x="489760" y="4118973"/>
            <a:ext cx="2051877" cy="608396"/>
            <a:chOff x="537017" y="3924600"/>
            <a:chExt cx="2051877" cy="608396"/>
          </a:xfrm>
        </p:grpSpPr>
        <p:grpSp>
          <p:nvGrpSpPr>
            <p:cNvPr id="16" name="Agrupar 15">
              <a:extLst>
                <a:ext uri="{FF2B5EF4-FFF2-40B4-BE49-F238E27FC236}">
                  <a16:creationId xmlns:a16="http://schemas.microsoft.com/office/drawing/2014/main" id="{50C2AB91-4B24-279A-3CC8-28DC9470E80C}"/>
                </a:ext>
              </a:extLst>
            </p:cNvPr>
            <p:cNvGrpSpPr/>
            <p:nvPr/>
          </p:nvGrpSpPr>
          <p:grpSpPr>
            <a:xfrm>
              <a:off x="537017" y="3924600"/>
              <a:ext cx="600775" cy="608396"/>
              <a:chOff x="85112" y="3924600"/>
              <a:chExt cx="600775" cy="608396"/>
            </a:xfrm>
          </p:grpSpPr>
          <p:sp>
            <p:nvSpPr>
              <p:cNvPr id="24" name="Elipse 23">
                <a:extLst>
                  <a:ext uri="{FF2B5EF4-FFF2-40B4-BE49-F238E27FC236}">
                    <a16:creationId xmlns:a16="http://schemas.microsoft.com/office/drawing/2014/main" id="{0E77B06B-7F9F-FAB4-BF1A-D74AD840480C}"/>
                  </a:ext>
                </a:extLst>
              </p:cNvPr>
              <p:cNvSpPr/>
              <p:nvPr/>
            </p:nvSpPr>
            <p:spPr>
              <a:xfrm>
                <a:off x="85112" y="3924600"/>
                <a:ext cx="600775" cy="600775"/>
              </a:xfrm>
              <a:prstGeom prst="ellipse">
                <a:avLst/>
              </a:prstGeom>
              <a:solidFill>
                <a:schemeClr val="bg1"/>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pic>
            <p:nvPicPr>
              <p:cNvPr id="25" name="Picture 12">
                <a:extLst>
                  <a:ext uri="{FF2B5EF4-FFF2-40B4-BE49-F238E27FC236}">
                    <a16:creationId xmlns:a16="http://schemas.microsoft.com/office/drawing/2014/main" id="{0B3EB084-38EC-0477-CAB8-9657FD0BBBD9}"/>
                  </a:ext>
                </a:extLst>
              </p:cNvPr>
              <p:cNvPicPr>
                <a:picLocks noChangeAspect="1" noChangeArrowheads="1"/>
              </p:cNvPicPr>
              <p:nvPr/>
            </p:nvPicPr>
            <p:blipFill rotWithShape="1">
              <a:blip r:embed="rId37">
                <a:extLst>
                  <a:ext uri="{28A0092B-C50C-407E-A947-70E740481C1C}">
                    <a14:useLocalDpi xmlns:a14="http://schemas.microsoft.com/office/drawing/2010/main" val="0"/>
                  </a:ext>
                </a:extLst>
              </a:blip>
              <a:srcRect t="-2161" b="-6129"/>
              <a:stretch/>
            </p:blipFill>
            <p:spPr bwMode="auto">
              <a:xfrm>
                <a:off x="98647" y="3932220"/>
                <a:ext cx="554776" cy="6007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Agrupar 16">
              <a:extLst>
                <a:ext uri="{FF2B5EF4-FFF2-40B4-BE49-F238E27FC236}">
                  <a16:creationId xmlns:a16="http://schemas.microsoft.com/office/drawing/2014/main" id="{3939744F-26F4-346C-1A22-3E613BA00895}"/>
                </a:ext>
              </a:extLst>
            </p:cNvPr>
            <p:cNvGrpSpPr/>
            <p:nvPr/>
          </p:nvGrpSpPr>
          <p:grpSpPr>
            <a:xfrm>
              <a:off x="1248403" y="3924600"/>
              <a:ext cx="600775" cy="600775"/>
              <a:chOff x="1031909" y="3924600"/>
              <a:chExt cx="600775" cy="600775"/>
            </a:xfrm>
          </p:grpSpPr>
          <p:sp>
            <p:nvSpPr>
              <p:cNvPr id="21" name="Elipse 20">
                <a:extLst>
                  <a:ext uri="{FF2B5EF4-FFF2-40B4-BE49-F238E27FC236}">
                    <a16:creationId xmlns:a16="http://schemas.microsoft.com/office/drawing/2014/main" id="{8692769E-5B23-804C-88D7-E6D96A6057DA}"/>
                  </a:ext>
                </a:extLst>
              </p:cNvPr>
              <p:cNvSpPr/>
              <p:nvPr/>
            </p:nvSpPr>
            <p:spPr>
              <a:xfrm>
                <a:off x="1031909" y="3924600"/>
                <a:ext cx="600775" cy="600775"/>
              </a:xfrm>
              <a:prstGeom prst="ellipse">
                <a:avLst/>
              </a:prstGeom>
              <a:solidFill>
                <a:schemeClr val="bg1"/>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pic>
            <p:nvPicPr>
              <p:cNvPr id="23" name="Picture 14">
                <a:extLst>
                  <a:ext uri="{FF2B5EF4-FFF2-40B4-BE49-F238E27FC236}">
                    <a16:creationId xmlns:a16="http://schemas.microsoft.com/office/drawing/2014/main" id="{B9593008-520F-5917-EC6A-8B8C69183383}"/>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l="12944" t="12179" r="12944" b="13215"/>
              <a:stretch/>
            </p:blipFill>
            <p:spPr bwMode="auto">
              <a:xfrm>
                <a:off x="1061388" y="3959071"/>
                <a:ext cx="535872" cy="539453"/>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18" name="Agrupar 17">
              <a:extLst>
                <a:ext uri="{FF2B5EF4-FFF2-40B4-BE49-F238E27FC236}">
                  <a16:creationId xmlns:a16="http://schemas.microsoft.com/office/drawing/2014/main" id="{BD59DAA3-C762-B32A-F735-AC8E169DCC02}"/>
                </a:ext>
              </a:extLst>
            </p:cNvPr>
            <p:cNvGrpSpPr/>
            <p:nvPr/>
          </p:nvGrpSpPr>
          <p:grpSpPr>
            <a:xfrm>
              <a:off x="1988119" y="3924600"/>
              <a:ext cx="600775" cy="600775"/>
              <a:chOff x="1988119" y="3924600"/>
              <a:chExt cx="600775" cy="600775"/>
            </a:xfrm>
          </p:grpSpPr>
          <p:sp>
            <p:nvSpPr>
              <p:cNvPr id="19" name="Elipse 18">
                <a:extLst>
                  <a:ext uri="{FF2B5EF4-FFF2-40B4-BE49-F238E27FC236}">
                    <a16:creationId xmlns:a16="http://schemas.microsoft.com/office/drawing/2014/main" id="{7F0859F7-12A6-72A2-3747-7436A89EF1DE}"/>
                  </a:ext>
                </a:extLst>
              </p:cNvPr>
              <p:cNvSpPr/>
              <p:nvPr/>
            </p:nvSpPr>
            <p:spPr>
              <a:xfrm>
                <a:off x="1988119" y="3924600"/>
                <a:ext cx="600775" cy="600775"/>
              </a:xfrm>
              <a:prstGeom prst="ellipse">
                <a:avLst/>
              </a:prstGeom>
              <a:solidFill>
                <a:schemeClr val="bg1"/>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pic>
            <p:nvPicPr>
              <p:cNvPr id="20" name="Imagem 19" descr="Forma&#10;&#10;Descrição gerada automaticamente com confiança média">
                <a:extLst>
                  <a:ext uri="{FF2B5EF4-FFF2-40B4-BE49-F238E27FC236}">
                    <a16:creationId xmlns:a16="http://schemas.microsoft.com/office/drawing/2014/main" id="{AAED6E24-0965-C876-F66A-3D8CC63F73DC}"/>
                  </a:ext>
                </a:extLst>
              </p:cNvPr>
              <p:cNvPicPr>
                <a:picLocks noChangeAspect="1"/>
              </p:cNvPicPr>
              <p:nvPr/>
            </p:nvPicPr>
            <p:blipFill>
              <a:blip r:embed="rId39" cstate="screen">
                <a:extLst>
                  <a:ext uri="{28A0092B-C50C-407E-A947-70E740481C1C}">
                    <a14:useLocalDpi xmlns:a14="http://schemas.microsoft.com/office/drawing/2010/main" val="0"/>
                  </a:ext>
                </a:extLst>
              </a:blip>
              <a:stretch>
                <a:fillRect/>
              </a:stretch>
            </p:blipFill>
            <p:spPr>
              <a:xfrm>
                <a:off x="2024061" y="4146089"/>
                <a:ext cx="545065" cy="159100"/>
              </a:xfrm>
              <a:prstGeom prst="rect">
                <a:avLst/>
              </a:prstGeom>
              <a:solidFill>
                <a:schemeClr val="bg1"/>
              </a:solidFill>
            </p:spPr>
          </p:pic>
        </p:grpSp>
      </p:grpSp>
      <p:grpSp>
        <p:nvGrpSpPr>
          <p:cNvPr id="28" name="Agrupar 27">
            <a:extLst>
              <a:ext uri="{FF2B5EF4-FFF2-40B4-BE49-F238E27FC236}">
                <a16:creationId xmlns:a16="http://schemas.microsoft.com/office/drawing/2014/main" id="{E0F73E10-267D-ABE8-4E86-AAF3525BE57B}"/>
              </a:ext>
            </a:extLst>
          </p:cNvPr>
          <p:cNvGrpSpPr/>
          <p:nvPr/>
        </p:nvGrpSpPr>
        <p:grpSpPr>
          <a:xfrm>
            <a:off x="3872346" y="883876"/>
            <a:ext cx="881954" cy="474408"/>
            <a:chOff x="2903813" y="1120912"/>
            <a:chExt cx="609246" cy="327717"/>
          </a:xfrm>
        </p:grpSpPr>
        <p:sp>
          <p:nvSpPr>
            <p:cNvPr id="29" name="Retângulo: Cantos Arredondados 28">
              <a:extLst>
                <a:ext uri="{FF2B5EF4-FFF2-40B4-BE49-F238E27FC236}">
                  <a16:creationId xmlns:a16="http://schemas.microsoft.com/office/drawing/2014/main" id="{C021FBDF-5276-A78D-2470-76E78226C156}"/>
                </a:ext>
              </a:extLst>
            </p:cNvPr>
            <p:cNvSpPr/>
            <p:nvPr/>
          </p:nvSpPr>
          <p:spPr>
            <a:xfrm>
              <a:off x="2903813" y="1120912"/>
              <a:ext cx="609246" cy="327717"/>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3" name="Imagem 32" descr="Logotipo&#10;&#10;Descrição gerada automaticamente com confiança média">
              <a:extLst>
                <a:ext uri="{FF2B5EF4-FFF2-40B4-BE49-F238E27FC236}">
                  <a16:creationId xmlns:a16="http://schemas.microsoft.com/office/drawing/2014/main" id="{7938CD5C-AB85-E1F6-AA0F-2A792BB3FE42}"/>
                </a:ext>
              </a:extLst>
            </p:cNvPr>
            <p:cNvPicPr>
              <a:picLocks noChangeAspect="1"/>
            </p:cNvPicPr>
            <p:nvPr/>
          </p:nvPicPr>
          <p:blipFill>
            <a:blip r:embed="rId40"/>
            <a:stretch>
              <a:fillRect/>
            </a:stretch>
          </p:blipFill>
          <p:spPr>
            <a:xfrm>
              <a:off x="2937438" y="1173919"/>
              <a:ext cx="541995" cy="220312"/>
            </a:xfrm>
            <a:prstGeom prst="rect">
              <a:avLst/>
            </a:prstGeom>
          </p:spPr>
        </p:pic>
      </p:grpSp>
      <p:grpSp>
        <p:nvGrpSpPr>
          <p:cNvPr id="35" name="Agrupar 34">
            <a:extLst>
              <a:ext uri="{FF2B5EF4-FFF2-40B4-BE49-F238E27FC236}">
                <a16:creationId xmlns:a16="http://schemas.microsoft.com/office/drawing/2014/main" id="{86D8215D-BA1D-3308-DAAB-4FB3DFD42ACC}"/>
              </a:ext>
            </a:extLst>
          </p:cNvPr>
          <p:cNvGrpSpPr/>
          <p:nvPr/>
        </p:nvGrpSpPr>
        <p:grpSpPr>
          <a:xfrm>
            <a:off x="3872346" y="1793260"/>
            <a:ext cx="881954" cy="474408"/>
            <a:chOff x="2578439" y="1882315"/>
            <a:chExt cx="881954" cy="474408"/>
          </a:xfrm>
        </p:grpSpPr>
        <p:sp>
          <p:nvSpPr>
            <p:cNvPr id="38" name="Retângulo: Cantos Arredondados 37">
              <a:extLst>
                <a:ext uri="{FF2B5EF4-FFF2-40B4-BE49-F238E27FC236}">
                  <a16:creationId xmlns:a16="http://schemas.microsoft.com/office/drawing/2014/main" id="{54EE5CD1-9BF8-ECC3-7F9E-8BEBF759DA63}"/>
                </a:ext>
              </a:extLst>
            </p:cNvPr>
            <p:cNvSpPr/>
            <p:nvPr/>
          </p:nvSpPr>
          <p:spPr>
            <a:xfrm>
              <a:off x="2578439" y="1882315"/>
              <a:ext cx="881954" cy="47440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39" name="Imagem 38" descr="Logotipo&#10;&#10;Descrição gerada automaticamente com confiança baixa">
              <a:extLst>
                <a:ext uri="{FF2B5EF4-FFF2-40B4-BE49-F238E27FC236}">
                  <a16:creationId xmlns:a16="http://schemas.microsoft.com/office/drawing/2014/main" id="{AA2B9A0E-A1BC-F940-8A29-E7078661DC84}"/>
                </a:ext>
              </a:extLst>
            </p:cNvPr>
            <p:cNvPicPr>
              <a:picLocks noChangeAspect="1"/>
            </p:cNvPicPr>
            <p:nvPr/>
          </p:nvPicPr>
          <p:blipFill>
            <a:blip r:embed="rId41"/>
            <a:stretch>
              <a:fillRect/>
            </a:stretch>
          </p:blipFill>
          <p:spPr>
            <a:xfrm>
              <a:off x="2644880" y="1927479"/>
              <a:ext cx="741198" cy="367681"/>
            </a:xfrm>
            <a:prstGeom prst="rect">
              <a:avLst/>
            </a:prstGeom>
          </p:spPr>
        </p:pic>
      </p:grpSp>
      <p:grpSp>
        <p:nvGrpSpPr>
          <p:cNvPr id="40" name="Agrupar 39">
            <a:extLst>
              <a:ext uri="{FF2B5EF4-FFF2-40B4-BE49-F238E27FC236}">
                <a16:creationId xmlns:a16="http://schemas.microsoft.com/office/drawing/2014/main" id="{2100D2A6-B763-AB21-3265-6A785317C655}"/>
              </a:ext>
            </a:extLst>
          </p:cNvPr>
          <p:cNvGrpSpPr/>
          <p:nvPr/>
        </p:nvGrpSpPr>
        <p:grpSpPr>
          <a:xfrm>
            <a:off x="6843823" y="883876"/>
            <a:ext cx="881954" cy="474408"/>
            <a:chOff x="5984345" y="993168"/>
            <a:chExt cx="881954" cy="474408"/>
          </a:xfrm>
        </p:grpSpPr>
        <p:sp>
          <p:nvSpPr>
            <p:cNvPr id="53" name="Retângulo: Cantos Arredondados 52">
              <a:extLst>
                <a:ext uri="{FF2B5EF4-FFF2-40B4-BE49-F238E27FC236}">
                  <a16:creationId xmlns:a16="http://schemas.microsoft.com/office/drawing/2014/main" id="{44F1FE45-8A9C-A611-D84D-48C763673962}"/>
                </a:ext>
              </a:extLst>
            </p:cNvPr>
            <p:cNvSpPr/>
            <p:nvPr/>
          </p:nvSpPr>
          <p:spPr>
            <a:xfrm>
              <a:off x="5984345" y="993168"/>
              <a:ext cx="881954" cy="47440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55" name="Imagem 54" descr="Placa vermelha com letras brancas em fundo preto&#10;&#10;Descrição gerada automaticamente com confiança baixa">
              <a:extLst>
                <a:ext uri="{FF2B5EF4-FFF2-40B4-BE49-F238E27FC236}">
                  <a16:creationId xmlns:a16="http://schemas.microsoft.com/office/drawing/2014/main" id="{9437C5AF-BEEE-B712-2799-A7BB123532C2}"/>
                </a:ext>
              </a:extLst>
            </p:cNvPr>
            <p:cNvPicPr>
              <a:picLocks noChangeAspect="1"/>
            </p:cNvPicPr>
            <p:nvPr/>
          </p:nvPicPr>
          <p:blipFill>
            <a:blip r:embed="rId42"/>
            <a:stretch>
              <a:fillRect/>
            </a:stretch>
          </p:blipFill>
          <p:spPr>
            <a:xfrm>
              <a:off x="6016943" y="1172644"/>
              <a:ext cx="829528" cy="140050"/>
            </a:xfrm>
            <a:prstGeom prst="rect">
              <a:avLst/>
            </a:prstGeom>
          </p:spPr>
        </p:pic>
      </p:grpSp>
      <p:grpSp>
        <p:nvGrpSpPr>
          <p:cNvPr id="58" name="Agrupar 57">
            <a:extLst>
              <a:ext uri="{FF2B5EF4-FFF2-40B4-BE49-F238E27FC236}">
                <a16:creationId xmlns:a16="http://schemas.microsoft.com/office/drawing/2014/main" id="{FFA4D908-DB75-8C95-5412-7CEE91680306}"/>
              </a:ext>
            </a:extLst>
          </p:cNvPr>
          <p:cNvGrpSpPr/>
          <p:nvPr/>
        </p:nvGrpSpPr>
        <p:grpSpPr>
          <a:xfrm>
            <a:off x="6843823" y="1793260"/>
            <a:ext cx="881954" cy="474408"/>
            <a:chOff x="7531333" y="993168"/>
            <a:chExt cx="881954" cy="474408"/>
          </a:xfrm>
        </p:grpSpPr>
        <p:sp>
          <p:nvSpPr>
            <p:cNvPr id="59" name="Retângulo: Cantos Arredondados 58">
              <a:extLst>
                <a:ext uri="{FF2B5EF4-FFF2-40B4-BE49-F238E27FC236}">
                  <a16:creationId xmlns:a16="http://schemas.microsoft.com/office/drawing/2014/main" id="{60CAD47A-2103-AD5D-1847-41B66C950E40}"/>
                </a:ext>
              </a:extLst>
            </p:cNvPr>
            <p:cNvSpPr/>
            <p:nvPr/>
          </p:nvSpPr>
          <p:spPr>
            <a:xfrm>
              <a:off x="7531333" y="993168"/>
              <a:ext cx="881954" cy="474408"/>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60" name="Agrupar 59">
              <a:extLst>
                <a:ext uri="{FF2B5EF4-FFF2-40B4-BE49-F238E27FC236}">
                  <a16:creationId xmlns:a16="http://schemas.microsoft.com/office/drawing/2014/main" id="{488B2EDC-E870-45BA-FBD0-D49775BB9D10}"/>
                </a:ext>
              </a:extLst>
            </p:cNvPr>
            <p:cNvGrpSpPr/>
            <p:nvPr/>
          </p:nvGrpSpPr>
          <p:grpSpPr>
            <a:xfrm>
              <a:off x="7587720" y="1021043"/>
              <a:ext cx="769180" cy="387330"/>
              <a:chOff x="7122540" y="1339205"/>
              <a:chExt cx="1394868" cy="702403"/>
            </a:xfrm>
          </p:grpSpPr>
          <p:pic>
            <p:nvPicPr>
              <p:cNvPr id="61" name="Imagem 60" descr="Logotipo, nome da empresa&#10;&#10;Descrição gerada automaticamente">
                <a:extLst>
                  <a:ext uri="{FF2B5EF4-FFF2-40B4-BE49-F238E27FC236}">
                    <a16:creationId xmlns:a16="http://schemas.microsoft.com/office/drawing/2014/main" id="{55DFCC29-3B16-CBA7-DD64-2360F6F23AAE}"/>
                  </a:ext>
                </a:extLst>
              </p:cNvPr>
              <p:cNvPicPr>
                <a:picLocks noChangeAspect="1"/>
              </p:cNvPicPr>
              <p:nvPr/>
            </p:nvPicPr>
            <p:blipFill rotWithShape="1">
              <a:blip r:embed="rId43">
                <a:extLst>
                  <a:ext uri="{28A0092B-C50C-407E-A947-70E740481C1C}">
                    <a14:useLocalDpi xmlns:a14="http://schemas.microsoft.com/office/drawing/2010/main" val="0"/>
                  </a:ext>
                </a:extLst>
              </a:blip>
              <a:srcRect b="2624"/>
              <a:stretch/>
            </p:blipFill>
            <p:spPr>
              <a:xfrm>
                <a:off x="7732478" y="1339205"/>
                <a:ext cx="784930" cy="667091"/>
              </a:xfrm>
              <a:prstGeom prst="rect">
                <a:avLst/>
              </a:prstGeom>
            </p:spPr>
          </p:pic>
          <p:pic>
            <p:nvPicPr>
              <p:cNvPr id="62" name="Gráfico 61" descr="Vizinhança com preenchimento sólido">
                <a:extLst>
                  <a:ext uri="{FF2B5EF4-FFF2-40B4-BE49-F238E27FC236}">
                    <a16:creationId xmlns:a16="http://schemas.microsoft.com/office/drawing/2014/main" id="{1AFFFAD3-B35C-4D56-91B5-3D85B003937D}"/>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7122540" y="1432264"/>
                <a:ext cx="609344" cy="609344"/>
              </a:xfrm>
              <a:prstGeom prst="rect">
                <a:avLst/>
              </a:prstGeom>
            </p:spPr>
          </p:pic>
        </p:grpSp>
      </p:grpSp>
    </p:spTree>
    <p:extLst>
      <p:ext uri="{BB962C8B-B14F-4D97-AF65-F5344CB8AC3E}">
        <p14:creationId xmlns:p14="http://schemas.microsoft.com/office/powerpoint/2010/main" val="380173757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par>
                                <p:cTn id="8" presetID="35" presetClass="path" presetSubtype="0" accel="17000" decel="83000" fill="hold" grpId="1" nodeType="withEffect">
                                  <p:stCondLst>
                                    <p:cond delay="250"/>
                                  </p:stCondLst>
                                  <p:childTnLst>
                                    <p:animMotion origin="layout" path="M 0.02046 2.97899E-07 L 2.72182E-06 2.97899E-07" pathEditMode="relative" rAng="0" ptsTypes="AA">
                                      <p:cBhvr>
                                        <p:cTn id="9" dur="1100" fill="hold"/>
                                        <p:tgtEl>
                                          <p:spTgt spid="31"/>
                                        </p:tgtEl>
                                        <p:attrNameLst>
                                          <p:attrName>ppt_x</p:attrName>
                                          <p:attrName>ppt_y</p:attrName>
                                        </p:attrNameLst>
                                      </p:cBhvr>
                                      <p:rCtr x="-1023" y="0"/>
                                    </p:animMotion>
                                  </p:childTnLst>
                                </p:cTn>
                              </p:par>
                              <p:par>
                                <p:cTn id="10" presetID="10"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childTnLst>
                                </p:cTn>
                              </p:par>
                              <p:par>
                                <p:cTn id="13" presetID="10" presetClass="entr" presetSubtype="0" fill="hold" nodeType="withEffect">
                                  <p:stCondLst>
                                    <p:cond delay="50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35" presetClass="path" presetSubtype="0" accel="17000" decel="83000" fill="hold" nodeType="withEffect">
                                  <p:stCondLst>
                                    <p:cond delay="500"/>
                                  </p:stCondLst>
                                  <p:childTnLst>
                                    <p:animMotion origin="layout" path="M -0.00106 0.06177 L -3.24043E-06 5.6444E-08" pathEditMode="relative" rAng="0" ptsTypes="AA">
                                      <p:cBhvr>
                                        <p:cTn id="17" dur="1100" fill="hold"/>
                                        <p:tgtEl>
                                          <p:spTgt spid="34"/>
                                        </p:tgtEl>
                                        <p:attrNameLst>
                                          <p:attrName>ppt_x</p:attrName>
                                          <p:attrName>ppt_y</p:attrName>
                                        </p:attrNameLst>
                                      </p:cBhvr>
                                      <p:rCtr x="53" y="-3104"/>
                                    </p:animMotion>
                                  </p:childTnLst>
                                </p:cTn>
                              </p:par>
                              <p:par>
                                <p:cTn id="18" presetID="10" presetClass="entr" presetSubtype="0" fill="hold" nodeType="withEffect">
                                  <p:stCondLst>
                                    <p:cond delay="750"/>
                                  </p:st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par>
                                <p:cTn id="21" presetID="35" presetClass="path" presetSubtype="0" accel="17000" decel="83000" fill="hold" nodeType="withEffect">
                                  <p:stCondLst>
                                    <p:cond delay="750"/>
                                  </p:stCondLst>
                                  <p:childTnLst>
                                    <p:animMotion origin="layout" path="M -0.00106 0.06178 L 2.72888E-06 -2.93823E-06" pathEditMode="relative" rAng="0" ptsTypes="AA">
                                      <p:cBhvr>
                                        <p:cTn id="22" dur="1100" fill="hold"/>
                                        <p:tgtEl>
                                          <p:spTgt spid="41"/>
                                        </p:tgtEl>
                                        <p:attrNameLst>
                                          <p:attrName>ppt_x</p:attrName>
                                          <p:attrName>ppt_y</p:attrName>
                                        </p:attrNameLst>
                                      </p:cBhvr>
                                      <p:rCtr x="53" y="-3104"/>
                                    </p:animMotion>
                                  </p:childTnLst>
                                </p:cTn>
                              </p:par>
                              <p:par>
                                <p:cTn id="23" presetID="10" presetClass="entr" presetSubtype="0" fill="hold" nodeType="withEffect">
                                  <p:stCondLst>
                                    <p:cond delay="1000"/>
                                  </p:stCondLst>
                                  <p:childTnLst>
                                    <p:set>
                                      <p:cBhvr>
                                        <p:cTn id="24" dur="1" fill="hold">
                                          <p:stCondLst>
                                            <p:cond delay="0"/>
                                          </p:stCondLst>
                                        </p:cTn>
                                        <p:tgtEl>
                                          <p:spTgt spid="44"/>
                                        </p:tgtEl>
                                        <p:attrNameLst>
                                          <p:attrName>style.visibility</p:attrName>
                                        </p:attrNameLst>
                                      </p:cBhvr>
                                      <p:to>
                                        <p:strVal val="visible"/>
                                      </p:to>
                                    </p:set>
                                    <p:animEffect transition="in" filter="fade">
                                      <p:cBhvr>
                                        <p:cTn id="25" dur="500"/>
                                        <p:tgtEl>
                                          <p:spTgt spid="44"/>
                                        </p:tgtEl>
                                      </p:cBhvr>
                                    </p:animEffect>
                                  </p:childTnLst>
                                </p:cTn>
                              </p:par>
                              <p:par>
                                <p:cTn id="26" presetID="35" presetClass="path" presetSubtype="0" accel="17000" decel="83000" fill="hold" nodeType="withEffect">
                                  <p:stCondLst>
                                    <p:cond delay="1000"/>
                                  </p:stCondLst>
                                  <p:childTnLst>
                                    <p:animMotion origin="layout" path="M -0.00106 0.06177 L -2.09914E-07 5.6444E-08" pathEditMode="relative" rAng="0" ptsTypes="AA">
                                      <p:cBhvr>
                                        <p:cTn id="27" dur="1100" fill="hold"/>
                                        <p:tgtEl>
                                          <p:spTgt spid="44"/>
                                        </p:tgtEl>
                                        <p:attrNameLst>
                                          <p:attrName>ppt_x</p:attrName>
                                          <p:attrName>ppt_y</p:attrName>
                                        </p:attrNameLst>
                                      </p:cBhvr>
                                      <p:rCtr x="53" y="-3104"/>
                                    </p:animMotion>
                                  </p:childTnLst>
                                </p:cTn>
                              </p:par>
                              <p:par>
                                <p:cTn id="28" presetID="10" presetClass="entr" presetSubtype="0" fill="hold" nodeType="withEffect">
                                  <p:stCondLst>
                                    <p:cond delay="1250"/>
                                  </p:stCondLst>
                                  <p:childTnLst>
                                    <p:set>
                                      <p:cBhvr>
                                        <p:cTn id="29" dur="1" fill="hold">
                                          <p:stCondLst>
                                            <p:cond delay="0"/>
                                          </p:stCondLst>
                                        </p:cTn>
                                        <p:tgtEl>
                                          <p:spTgt spid="47"/>
                                        </p:tgtEl>
                                        <p:attrNameLst>
                                          <p:attrName>style.visibility</p:attrName>
                                        </p:attrNameLst>
                                      </p:cBhvr>
                                      <p:to>
                                        <p:strVal val="visible"/>
                                      </p:to>
                                    </p:set>
                                    <p:animEffect transition="in" filter="fade">
                                      <p:cBhvr>
                                        <p:cTn id="30" dur="500"/>
                                        <p:tgtEl>
                                          <p:spTgt spid="47"/>
                                        </p:tgtEl>
                                      </p:cBhvr>
                                    </p:animEffect>
                                  </p:childTnLst>
                                </p:cTn>
                              </p:par>
                              <p:par>
                                <p:cTn id="31" presetID="35" presetClass="path" presetSubtype="0" accel="17000" decel="83000" fill="hold" nodeType="withEffect">
                                  <p:stCondLst>
                                    <p:cond delay="1250"/>
                                  </p:stCondLst>
                                  <p:childTnLst>
                                    <p:animMotion origin="layout" path="M -0.00105 0.06178 L -3.81196E-06 -2.93823E-06" pathEditMode="relative" rAng="0" ptsTypes="AA">
                                      <p:cBhvr>
                                        <p:cTn id="32" dur="1100" fill="hold"/>
                                        <p:tgtEl>
                                          <p:spTgt spid="47"/>
                                        </p:tgtEl>
                                        <p:attrNameLst>
                                          <p:attrName>ppt_x</p:attrName>
                                          <p:attrName>ppt_y</p:attrName>
                                        </p:attrNameLst>
                                      </p:cBhvr>
                                      <p:rCtr x="53" y="-3104"/>
                                    </p:animMotion>
                                  </p:childTnLst>
                                </p:cTn>
                              </p:par>
                              <p:par>
                                <p:cTn id="33" presetID="10" presetClass="entr" presetSubtype="0" fill="hold" grpId="0" nodeType="withEffect">
                                  <p:stCondLst>
                                    <p:cond delay="1500"/>
                                  </p:stCondLst>
                                  <p:childTnLst>
                                    <p:set>
                                      <p:cBhvr>
                                        <p:cTn id="34" dur="1" fill="hold">
                                          <p:stCondLst>
                                            <p:cond delay="0"/>
                                          </p:stCondLst>
                                        </p:cTn>
                                        <p:tgtEl>
                                          <p:spTgt spid="76"/>
                                        </p:tgtEl>
                                        <p:attrNameLst>
                                          <p:attrName>style.visibility</p:attrName>
                                        </p:attrNameLst>
                                      </p:cBhvr>
                                      <p:to>
                                        <p:strVal val="visible"/>
                                      </p:to>
                                    </p:set>
                                    <p:animEffect transition="in" filter="fade">
                                      <p:cBhvr>
                                        <p:cTn id="35" dur="500"/>
                                        <p:tgtEl>
                                          <p:spTgt spid="76"/>
                                        </p:tgtEl>
                                      </p:cBhvr>
                                    </p:animEffect>
                                  </p:childTnLst>
                                </p:cTn>
                              </p:par>
                              <p:par>
                                <p:cTn id="36" presetID="10" presetClass="entr" presetSubtype="0" fill="hold" grpId="0" nodeType="withEffect">
                                  <p:stCondLst>
                                    <p:cond delay="1750"/>
                                  </p:stCondLst>
                                  <p:childTnLst>
                                    <p:set>
                                      <p:cBhvr>
                                        <p:cTn id="37" dur="1" fill="hold">
                                          <p:stCondLst>
                                            <p:cond delay="0"/>
                                          </p:stCondLst>
                                        </p:cTn>
                                        <p:tgtEl>
                                          <p:spTgt spid="78"/>
                                        </p:tgtEl>
                                        <p:attrNameLst>
                                          <p:attrName>style.visibility</p:attrName>
                                        </p:attrNameLst>
                                      </p:cBhvr>
                                      <p:to>
                                        <p:strVal val="visible"/>
                                      </p:to>
                                    </p:set>
                                    <p:animEffect transition="in" filter="fade">
                                      <p:cBhvr>
                                        <p:cTn id="38" dur="500"/>
                                        <p:tgtEl>
                                          <p:spTgt spid="78"/>
                                        </p:tgtEl>
                                      </p:cBhvr>
                                    </p:animEffect>
                                  </p:childTnLst>
                                </p:cTn>
                              </p:par>
                              <p:par>
                                <p:cTn id="39" presetID="35" presetClass="path" presetSubtype="0" accel="17000" decel="83000" fill="hold" grpId="1" nodeType="withEffect">
                                  <p:stCondLst>
                                    <p:cond delay="1750"/>
                                  </p:stCondLst>
                                  <p:childTnLst>
                                    <p:animMotion origin="layout" path="M -4.93032E-6 -0.03418 L -4.93032E-6 7.74537E-7 " pathEditMode="relative" rAng="0" ptsTypes="AA">
                                      <p:cBhvr>
                                        <p:cTn id="40" dur="1100" fill="hold"/>
                                        <p:tgtEl>
                                          <p:spTgt spid="78"/>
                                        </p:tgtEl>
                                        <p:attrNameLst>
                                          <p:attrName>ppt_x</p:attrName>
                                          <p:attrName>ppt_y</p:attrName>
                                        </p:attrNameLst>
                                      </p:cBhvr>
                                      <p:rCtr x="0" y="1693"/>
                                    </p:animMotion>
                                  </p:childTnLst>
                                </p:cTn>
                              </p:par>
                              <p:par>
                                <p:cTn id="41" presetID="10" presetClass="entr" presetSubtype="0" fill="hold" grpId="0" nodeType="withEffect">
                                  <p:stCondLst>
                                    <p:cond delay="2500"/>
                                  </p:stCondLst>
                                  <p:childTnLst>
                                    <p:set>
                                      <p:cBhvr>
                                        <p:cTn id="42" dur="1" fill="hold">
                                          <p:stCondLst>
                                            <p:cond delay="0"/>
                                          </p:stCondLst>
                                        </p:cTn>
                                        <p:tgtEl>
                                          <p:spTgt spid="80"/>
                                        </p:tgtEl>
                                        <p:attrNameLst>
                                          <p:attrName>style.visibility</p:attrName>
                                        </p:attrNameLst>
                                      </p:cBhvr>
                                      <p:to>
                                        <p:strVal val="visible"/>
                                      </p:to>
                                    </p:set>
                                    <p:animEffect transition="in" filter="fade">
                                      <p:cBhvr>
                                        <p:cTn id="43" dur="500"/>
                                        <p:tgtEl>
                                          <p:spTgt spid="80"/>
                                        </p:tgtEl>
                                      </p:cBhvr>
                                    </p:animEffect>
                                  </p:childTnLst>
                                </p:cTn>
                              </p:par>
                              <p:par>
                                <p:cTn id="44" presetID="10" presetClass="entr" presetSubtype="0" fill="hold" nodeType="withEffect">
                                  <p:stCondLst>
                                    <p:cond delay="0"/>
                                  </p:stCondLst>
                                  <p:childTnLst>
                                    <p:set>
                                      <p:cBhvr>
                                        <p:cTn id="45" dur="1" fill="hold">
                                          <p:stCondLst>
                                            <p:cond delay="0"/>
                                          </p:stCondLst>
                                        </p:cTn>
                                        <p:tgtEl>
                                          <p:spTgt spid="2"/>
                                        </p:tgtEl>
                                        <p:attrNameLst>
                                          <p:attrName>style.visibility</p:attrName>
                                        </p:attrNameLst>
                                      </p:cBhvr>
                                      <p:to>
                                        <p:strVal val="visible"/>
                                      </p:to>
                                    </p:set>
                                    <p:animEffect transition="in" filter="fade">
                                      <p:cBhvr>
                                        <p:cTn id="46" dur="500"/>
                                        <p:tgtEl>
                                          <p:spTgt spid="2"/>
                                        </p:tgtEl>
                                      </p:cBhvr>
                                    </p:animEffect>
                                  </p:childTnLst>
                                </p:cTn>
                              </p:par>
                              <p:par>
                                <p:cTn id="47" presetID="35" presetClass="path" presetSubtype="0" accel="17000" decel="83000" fill="hold" nodeType="withEffect">
                                  <p:stCondLst>
                                    <p:cond delay="0"/>
                                  </p:stCondLst>
                                  <p:childTnLst>
                                    <p:animMotion origin="layout" path="M -0.00141 0.07024 L -3.33921E-06 1.455E-06" pathEditMode="relative" rAng="0" ptsTypes="AA">
                                      <p:cBhvr>
                                        <p:cTn id="48" dur="1100" fill="hold"/>
                                        <p:tgtEl>
                                          <p:spTgt spid="2"/>
                                        </p:tgtEl>
                                        <p:attrNameLst>
                                          <p:attrName>ppt_x</p:attrName>
                                          <p:attrName>ppt_y</p:attrName>
                                        </p:attrNameLst>
                                      </p:cBhvr>
                                      <p:rCtr x="71" y="-3512"/>
                                    </p:animMotion>
                                  </p:childTnLst>
                                </p:cTn>
                              </p:par>
                              <p:par>
                                <p:cTn id="49" presetID="2" presetClass="entr" presetSubtype="4" decel="100000" fill="hold" nodeType="withEffect">
                                  <p:stCondLst>
                                    <p:cond delay="225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750" fill="hold"/>
                                        <p:tgtEl>
                                          <p:spTgt spid="15"/>
                                        </p:tgtEl>
                                        <p:attrNameLst>
                                          <p:attrName>ppt_x</p:attrName>
                                        </p:attrNameLst>
                                      </p:cBhvr>
                                      <p:tavLst>
                                        <p:tav tm="0">
                                          <p:val>
                                            <p:strVal val="#ppt_x"/>
                                          </p:val>
                                        </p:tav>
                                        <p:tav tm="100000">
                                          <p:val>
                                            <p:strVal val="#ppt_x"/>
                                          </p:val>
                                        </p:tav>
                                      </p:tavLst>
                                    </p:anim>
                                    <p:anim calcmode="lin" valueType="num">
                                      <p:cBhvr additive="base">
                                        <p:cTn id="52" dur="750" fill="hold"/>
                                        <p:tgtEl>
                                          <p:spTgt spid="15"/>
                                        </p:tgtEl>
                                        <p:attrNameLst>
                                          <p:attrName>ppt_y</p:attrName>
                                        </p:attrNameLst>
                                      </p:cBhvr>
                                      <p:tavLst>
                                        <p:tav tm="0">
                                          <p:val>
                                            <p:strVal val="1+#ppt_h/2"/>
                                          </p:val>
                                        </p:tav>
                                        <p:tav tm="100000">
                                          <p:val>
                                            <p:strVal val="#ppt_y"/>
                                          </p:val>
                                        </p:tav>
                                      </p:tavLst>
                                    </p:anim>
                                  </p:childTnLst>
                                </p:cTn>
                              </p:par>
                              <p:par>
                                <p:cTn id="53" presetID="10" presetClass="entr" presetSubtype="0" fill="hold" nodeType="withEffect">
                                  <p:stCondLst>
                                    <p:cond delay="500"/>
                                  </p:stCondLst>
                                  <p:childTnLst>
                                    <p:set>
                                      <p:cBhvr>
                                        <p:cTn id="54" dur="1" fill="hold">
                                          <p:stCondLst>
                                            <p:cond delay="0"/>
                                          </p:stCondLst>
                                        </p:cTn>
                                        <p:tgtEl>
                                          <p:spTgt spid="28"/>
                                        </p:tgtEl>
                                        <p:attrNameLst>
                                          <p:attrName>style.visibility</p:attrName>
                                        </p:attrNameLst>
                                      </p:cBhvr>
                                      <p:to>
                                        <p:strVal val="visible"/>
                                      </p:to>
                                    </p:set>
                                    <p:animEffect transition="in" filter="fade">
                                      <p:cBhvr>
                                        <p:cTn id="55" dur="500"/>
                                        <p:tgtEl>
                                          <p:spTgt spid="28"/>
                                        </p:tgtEl>
                                      </p:cBhvr>
                                    </p:animEffect>
                                  </p:childTnLst>
                                </p:cTn>
                              </p:par>
                              <p:par>
                                <p:cTn id="56" presetID="35" presetClass="path" presetSubtype="0" accel="17000" decel="83000" fill="hold" nodeType="withEffect">
                                  <p:stCondLst>
                                    <p:cond delay="500"/>
                                  </p:stCondLst>
                                  <p:childTnLst>
                                    <p:animMotion origin="layout" path="M -0.00106 0.06177 L -3.24043E-6 3.98558E-6 " pathEditMode="relative" rAng="0" ptsTypes="AA">
                                      <p:cBhvr>
                                        <p:cTn id="57" dur="1100" fill="hold"/>
                                        <p:tgtEl>
                                          <p:spTgt spid="28"/>
                                        </p:tgtEl>
                                        <p:attrNameLst>
                                          <p:attrName>ppt_x</p:attrName>
                                          <p:attrName>ppt_y</p:attrName>
                                        </p:attrNameLst>
                                      </p:cBhvr>
                                      <p:rCtr x="53" y="-3104"/>
                                    </p:animMotion>
                                  </p:childTnLst>
                                </p:cTn>
                              </p:par>
                              <p:par>
                                <p:cTn id="58" presetID="10" presetClass="entr" presetSubtype="0" fill="hold" nodeType="withEffect">
                                  <p:stCondLst>
                                    <p:cond delay="75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par>
                                <p:cTn id="61" presetID="35" presetClass="path" presetSubtype="0" accel="17000" decel="83000" fill="hold" nodeType="withEffect">
                                  <p:stCondLst>
                                    <p:cond delay="750"/>
                                  </p:stCondLst>
                                  <p:childTnLst>
                                    <p:animMotion origin="layout" path="M -0.00106 0.06177 L -3.24043E-6 3.83506E-6 " pathEditMode="relative" rAng="0" ptsTypes="AA">
                                      <p:cBhvr>
                                        <p:cTn id="62" dur="1100" fill="hold"/>
                                        <p:tgtEl>
                                          <p:spTgt spid="35"/>
                                        </p:tgtEl>
                                        <p:attrNameLst>
                                          <p:attrName>ppt_x</p:attrName>
                                          <p:attrName>ppt_y</p:attrName>
                                        </p:attrNameLst>
                                      </p:cBhvr>
                                      <p:rCtr x="53" y="-3104"/>
                                    </p:animMotion>
                                  </p:childTnLst>
                                </p:cTn>
                              </p:par>
                              <p:par>
                                <p:cTn id="63" presetID="10" presetClass="entr" presetSubtype="0" fill="hold" nodeType="withEffect">
                                  <p:stCondLst>
                                    <p:cond delay="1000"/>
                                  </p:stCondLst>
                                  <p:childTnLst>
                                    <p:set>
                                      <p:cBhvr>
                                        <p:cTn id="64" dur="1" fill="hold">
                                          <p:stCondLst>
                                            <p:cond delay="0"/>
                                          </p:stCondLst>
                                        </p:cTn>
                                        <p:tgtEl>
                                          <p:spTgt spid="40"/>
                                        </p:tgtEl>
                                        <p:attrNameLst>
                                          <p:attrName>style.visibility</p:attrName>
                                        </p:attrNameLst>
                                      </p:cBhvr>
                                      <p:to>
                                        <p:strVal val="visible"/>
                                      </p:to>
                                    </p:set>
                                    <p:animEffect transition="in" filter="fade">
                                      <p:cBhvr>
                                        <p:cTn id="65" dur="500"/>
                                        <p:tgtEl>
                                          <p:spTgt spid="40"/>
                                        </p:tgtEl>
                                      </p:cBhvr>
                                    </p:animEffect>
                                  </p:childTnLst>
                                </p:cTn>
                              </p:par>
                              <p:par>
                                <p:cTn id="66" presetID="35" presetClass="path" presetSubtype="0" accel="17000" decel="83000" fill="hold" nodeType="withEffect">
                                  <p:stCondLst>
                                    <p:cond delay="1000"/>
                                  </p:stCondLst>
                                  <p:childTnLst>
                                    <p:animMotion origin="layout" path="M -0.00106 0.06177 L -2.09914E-7 3.98558E-6 " pathEditMode="relative" rAng="0" ptsTypes="AA">
                                      <p:cBhvr>
                                        <p:cTn id="67" dur="1100" fill="hold"/>
                                        <p:tgtEl>
                                          <p:spTgt spid="40"/>
                                        </p:tgtEl>
                                        <p:attrNameLst>
                                          <p:attrName>ppt_x</p:attrName>
                                          <p:attrName>ppt_y</p:attrName>
                                        </p:attrNameLst>
                                      </p:cBhvr>
                                      <p:rCtr x="53" y="-3104"/>
                                    </p:animMotion>
                                  </p:childTnLst>
                                </p:cTn>
                              </p:par>
                              <p:par>
                                <p:cTn id="68" presetID="10" presetClass="entr" presetSubtype="0" fill="hold" nodeType="withEffect">
                                  <p:stCondLst>
                                    <p:cond delay="125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par>
                                <p:cTn id="71" presetID="35" presetClass="path" presetSubtype="0" accel="17000" decel="83000" fill="hold" nodeType="withEffect">
                                  <p:stCondLst>
                                    <p:cond delay="1250"/>
                                  </p:stCondLst>
                                  <p:childTnLst>
                                    <p:animMotion origin="layout" path="M -0.00106 0.06177 L -2.09914E-7 3.83506E-6 " pathEditMode="relative" rAng="0" ptsTypes="AA">
                                      <p:cBhvr>
                                        <p:cTn id="72" dur="1100" fill="hold"/>
                                        <p:tgtEl>
                                          <p:spTgt spid="58"/>
                                        </p:tgtEl>
                                        <p:attrNameLst>
                                          <p:attrName>ppt_x</p:attrName>
                                          <p:attrName>ppt_y</p:attrName>
                                        </p:attrNameLst>
                                      </p:cBhvr>
                                      <p:rCtr x="53" y="-310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1" grpId="1"/>
      <p:bldP spid="76" grpId="0" animBg="1"/>
      <p:bldP spid="78" grpId="0"/>
      <p:bldP spid="78" grpId="1"/>
      <p:bldP spid="8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2241631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1822" y="298"/>
            <a:ext cx="8999538" cy="5062240"/>
          </a:xfrm>
          <a:prstGeom prst="rect">
            <a:avLst/>
          </a:prstGeom>
        </p:spPr>
      </p:pic>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F8681E"/>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spTree>
    <p:extLst>
      <p:ext uri="{BB962C8B-B14F-4D97-AF65-F5344CB8AC3E}">
        <p14:creationId xmlns:p14="http://schemas.microsoft.com/office/powerpoint/2010/main" val="1041265007"/>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4" grpId="0"/>
      <p:bldP spid="14" grpId="1"/>
      <p:bldP spid="15" grpId="0"/>
      <p:bldP spid="15" grpId="1"/>
      <p:bldP spid="17" grpId="0"/>
      <p:bldP spid="17" grpId="1"/>
      <p:bldP spid="28" grpId="0"/>
      <p:bldP spid="28" grpId="1"/>
      <p:bldP spid="2" grpId="0"/>
      <p:bldP spid="2" grpId="1"/>
      <p:bldP spid="5" grpId="0"/>
      <p:bldP spid="5" grpId="1"/>
      <p:bldP spid="7" grpId="0"/>
      <p:bldP spid="7" grpId="1"/>
      <p:bldP spid="6" grpId="0"/>
      <p:bldP spid="6" grpId="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Imagem em branco e azul&#10;&#10;Descrição gerada automaticamente com confiança média">
            <a:extLst>
              <a:ext uri="{FF2B5EF4-FFF2-40B4-BE49-F238E27FC236}">
                <a16:creationId xmlns:a16="http://schemas.microsoft.com/office/drawing/2014/main" id="{03BE6589-4793-D345-907B-90F199800075}"/>
              </a:ext>
            </a:extLst>
          </p:cNvPr>
          <p:cNvPicPr>
            <a:picLocks noChangeAspect="1"/>
          </p:cNvPicPr>
          <p:nvPr>
            <p:custDataLst>
              <p:tags r:id="rId1"/>
            </p:custDataLst>
          </p:nvPr>
        </p:nvPicPr>
        <p:blipFill>
          <a:blip r:embed="rId4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grpSp>
        <p:nvGrpSpPr>
          <p:cNvPr id="13" name="Agrupar 12">
            <a:extLst>
              <a:ext uri="{FF2B5EF4-FFF2-40B4-BE49-F238E27FC236}">
                <a16:creationId xmlns:a16="http://schemas.microsoft.com/office/drawing/2014/main" id="{E37B466C-3489-93B0-2B4A-54AAFEFE2DD4}"/>
              </a:ext>
            </a:extLst>
          </p:cNvPr>
          <p:cNvGrpSpPr/>
          <p:nvPr>
            <p:custDataLst>
              <p:tags r:id="rId2"/>
            </p:custDataLst>
          </p:nvPr>
        </p:nvGrpSpPr>
        <p:grpSpPr>
          <a:xfrm>
            <a:off x="0" y="513585"/>
            <a:ext cx="8999538" cy="4548953"/>
            <a:chOff x="0" y="513585"/>
            <a:chExt cx="8999538" cy="4548953"/>
          </a:xfrm>
        </p:grpSpPr>
        <p:pic>
          <p:nvPicPr>
            <p:cNvPr id="9" name="Imagem 8" descr="Padrão do plano de fundo&#10;&#10;Descrição gerada automaticamente">
              <a:extLst>
                <a:ext uri="{FF2B5EF4-FFF2-40B4-BE49-F238E27FC236}">
                  <a16:creationId xmlns:a16="http://schemas.microsoft.com/office/drawing/2014/main" id="{976EB60C-A5A0-6EB1-9944-2E14B8411511}"/>
                </a:ext>
              </a:extLst>
            </p:cNvPr>
            <p:cNvPicPr>
              <a:picLocks noChangeAspect="1"/>
            </p:cNvPicPr>
            <p:nvPr>
              <p:custDataLst>
                <p:tags r:id="rId37"/>
              </p:custDataLst>
            </p:nvPr>
          </p:nvPicPr>
          <p:blipFill>
            <a:blip r:embed="rId42">
              <a:extLst>
                <a:ext uri="{28A0092B-C50C-407E-A947-70E740481C1C}">
                  <a14:useLocalDpi xmlns:a14="http://schemas.microsoft.com/office/drawing/2010/main"/>
                </a:ext>
              </a:extLst>
            </a:blip>
            <a:stretch>
              <a:fillRect/>
            </a:stretch>
          </p:blipFill>
          <p:spPr>
            <a:xfrm flipV="1">
              <a:off x="0" y="513585"/>
              <a:ext cx="8999538" cy="2137390"/>
            </a:xfrm>
            <a:prstGeom prst="rect">
              <a:avLst/>
            </a:prstGeom>
          </p:spPr>
        </p:pic>
        <p:pic>
          <p:nvPicPr>
            <p:cNvPr id="12" name="Imagem 11" descr="Fundo preto com letras brancas&#10;&#10;Descrição gerada automaticamente com confiança média">
              <a:extLst>
                <a:ext uri="{FF2B5EF4-FFF2-40B4-BE49-F238E27FC236}">
                  <a16:creationId xmlns:a16="http://schemas.microsoft.com/office/drawing/2014/main" id="{649B5EE7-444D-6251-CF53-2FAF494E19A9}"/>
                </a:ext>
              </a:extLst>
            </p:cNvPr>
            <p:cNvPicPr>
              <a:picLocks noChangeAspect="1"/>
            </p:cNvPicPr>
            <p:nvPr>
              <p:custDataLst>
                <p:tags r:id="rId38"/>
              </p:custDataLst>
            </p:nvPr>
          </p:nvPicPr>
          <p:blipFill>
            <a:blip r:embed="rId43">
              <a:extLst>
                <a:ext uri="{28A0092B-C50C-407E-A947-70E740481C1C}">
                  <a14:useLocalDpi xmlns:a14="http://schemas.microsoft.com/office/drawing/2010/main"/>
                </a:ext>
              </a:extLst>
            </a:blip>
            <a:srcRect t="39033" r="33957"/>
            <a:stretch>
              <a:fillRect/>
            </a:stretch>
          </p:blipFill>
          <p:spPr>
            <a:xfrm>
              <a:off x="5048835" y="1397434"/>
              <a:ext cx="3950703" cy="3665104"/>
            </a:xfrm>
            <a:prstGeom prst="rect">
              <a:avLst/>
            </a:prstGeom>
          </p:spPr>
        </p:pic>
      </p:grpSp>
      <p:sp>
        <p:nvSpPr>
          <p:cNvPr id="6" name="Retângulo 5">
            <a:extLst>
              <a:ext uri="{FF2B5EF4-FFF2-40B4-BE49-F238E27FC236}">
                <a16:creationId xmlns:a16="http://schemas.microsoft.com/office/drawing/2014/main" id="{2DE24A9E-F5D0-3BE0-625A-1CD787310AA0}"/>
              </a:ext>
            </a:extLst>
          </p:cNvPr>
          <p:cNvSpPr/>
          <p:nvPr>
            <p:custDataLst>
              <p:tags r:id="rId3"/>
            </p:custDataLst>
          </p:nvPr>
        </p:nvSpPr>
        <p:spPr>
          <a:xfrm>
            <a:off x="0" y="1552304"/>
            <a:ext cx="8999538" cy="20100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CaixaDeTexto 4">
            <a:extLst>
              <a:ext uri="{FF2B5EF4-FFF2-40B4-BE49-F238E27FC236}">
                <a16:creationId xmlns:a16="http://schemas.microsoft.com/office/drawing/2014/main" id="{62F42022-46C8-E713-01F2-CB54CF01D5F3}"/>
              </a:ext>
            </a:extLst>
          </p:cNvPr>
          <p:cNvSpPr txBox="1"/>
          <p:nvPr>
            <p:custDataLst>
              <p:tags r:id="rId4"/>
            </p:custDataLst>
          </p:nvPr>
        </p:nvSpPr>
        <p:spPr>
          <a:xfrm>
            <a:off x="721948" y="777715"/>
            <a:ext cx="8662429" cy="402738"/>
          </a:xfrm>
          <a:prstGeom prst="rect">
            <a:avLst/>
          </a:prstGeom>
          <a:noFill/>
        </p:spPr>
        <p:txBody>
          <a:bodyPr wrap="square" rtlCol="0">
            <a:spAutoFit/>
          </a:bodyPr>
          <a:lstStyle/>
          <a:p>
            <a:pPr marL="0" marR="0" lvl="0" indent="0" defTabSz="675010" rtl="0" eaLnBrk="1" fontAlgn="auto" latinLnBrk="0" hangingPunct="1">
              <a:lnSpc>
                <a:spcPct val="85000"/>
              </a:lnSpc>
              <a:spcBef>
                <a:spcPts val="148"/>
              </a:spcBef>
              <a:spcAft>
                <a:spcPts val="148"/>
              </a:spcAft>
              <a:buClrTx/>
              <a:buSzTx/>
              <a:buFontTx/>
              <a:buNone/>
              <a:defRPr/>
            </a:pPr>
            <a:r>
              <a:rPr lang="en-US" sz="2400" b="1" i="0" u="none" strike="noStrike" cap="none" baseline="0" dirty="0">
                <a:solidFill>
                  <a:srgbClr val="002581"/>
                </a:solidFill>
                <a:effectLst/>
                <a:uFillTx/>
                <a:latin typeface="Segoe UI Black"/>
              </a:rPr>
              <a:t>OPERATIONAL FLEXIBILITY AND MODERNIZATION</a:t>
            </a:r>
          </a:p>
        </p:txBody>
      </p:sp>
      <p:grpSp>
        <p:nvGrpSpPr>
          <p:cNvPr id="16" name="Agrupar 15">
            <a:extLst>
              <a:ext uri="{FF2B5EF4-FFF2-40B4-BE49-F238E27FC236}">
                <a16:creationId xmlns:a16="http://schemas.microsoft.com/office/drawing/2014/main" id="{14E1612F-52CC-ECCB-1634-7625C6039875}"/>
              </a:ext>
            </a:extLst>
          </p:cNvPr>
          <p:cNvGrpSpPr/>
          <p:nvPr>
            <p:custDataLst>
              <p:tags r:id="rId5"/>
            </p:custDataLst>
          </p:nvPr>
        </p:nvGrpSpPr>
        <p:grpSpPr>
          <a:xfrm>
            <a:off x="503231" y="2093671"/>
            <a:ext cx="3602557" cy="1429336"/>
            <a:chOff x="626007" y="2173134"/>
            <a:chExt cx="4880515" cy="1936374"/>
          </a:xfrm>
        </p:grpSpPr>
        <p:pic>
          <p:nvPicPr>
            <p:cNvPr id="17" name="Imagem 16">
              <a:extLst>
                <a:ext uri="{FF2B5EF4-FFF2-40B4-BE49-F238E27FC236}">
                  <a16:creationId xmlns:a16="http://schemas.microsoft.com/office/drawing/2014/main" id="{1143FF94-9059-19CB-4CA0-66F4561327A8}"/>
                </a:ext>
              </a:extLst>
            </p:cNvPr>
            <p:cNvPicPr>
              <a:picLocks noChangeAspect="1"/>
            </p:cNvPicPr>
            <p:nvPr>
              <p:custDataLst>
                <p:tags r:id="rId32"/>
              </p:custDataLst>
            </p:nvPr>
          </p:nvPicPr>
          <p:blipFill>
            <a:blip r:embed="rId44">
              <a:extLst>
                <a:ext uri="{28A0092B-C50C-407E-A947-70E740481C1C}">
                  <a14:useLocalDpi xmlns:a14="http://schemas.microsoft.com/office/drawing/2010/main"/>
                </a:ext>
              </a:extLst>
            </a:blip>
            <a:srcRect l="3095" t="48943" r="49246" b="9224"/>
            <a:stretch>
              <a:fillRect/>
            </a:stretch>
          </p:blipFill>
          <p:spPr>
            <a:xfrm>
              <a:off x="626007" y="2173134"/>
              <a:ext cx="4496663" cy="1936374"/>
            </a:xfrm>
            <a:prstGeom prst="rect">
              <a:avLst/>
            </a:prstGeom>
          </p:spPr>
        </p:pic>
        <p:sp>
          <p:nvSpPr>
            <p:cNvPr id="18" name="Retângulo 17">
              <a:extLst>
                <a:ext uri="{FF2B5EF4-FFF2-40B4-BE49-F238E27FC236}">
                  <a16:creationId xmlns:a16="http://schemas.microsoft.com/office/drawing/2014/main" id="{965EDB14-4251-8840-EBB3-8FBFC9FDCFDD}"/>
                </a:ext>
              </a:extLst>
            </p:cNvPr>
            <p:cNvSpPr/>
            <p:nvPr>
              <p:custDataLst>
                <p:tags r:id="rId33"/>
              </p:custDataLst>
            </p:nvPr>
          </p:nvSpPr>
          <p:spPr>
            <a:xfrm>
              <a:off x="772718" y="3734779"/>
              <a:ext cx="1288720" cy="189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Generation </a:t>
              </a:r>
            </a:p>
          </p:txBody>
        </p:sp>
        <p:sp>
          <p:nvSpPr>
            <p:cNvPr id="19" name="Retângulo 18">
              <a:extLst>
                <a:ext uri="{FF2B5EF4-FFF2-40B4-BE49-F238E27FC236}">
                  <a16:creationId xmlns:a16="http://schemas.microsoft.com/office/drawing/2014/main" id="{BFE07BBF-91EB-BE3D-D8B3-0BF824F82C8C}"/>
                </a:ext>
              </a:extLst>
            </p:cNvPr>
            <p:cNvSpPr/>
            <p:nvPr>
              <p:custDataLst>
                <p:tags r:id="rId34"/>
              </p:custDataLst>
            </p:nvPr>
          </p:nvSpPr>
          <p:spPr>
            <a:xfrm>
              <a:off x="2013396" y="3734779"/>
              <a:ext cx="1433576" cy="189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Transmission</a:t>
              </a:r>
            </a:p>
          </p:txBody>
        </p:sp>
        <p:sp>
          <p:nvSpPr>
            <p:cNvPr id="20" name="Retângulo 19">
              <a:extLst>
                <a:ext uri="{FF2B5EF4-FFF2-40B4-BE49-F238E27FC236}">
                  <a16:creationId xmlns:a16="http://schemas.microsoft.com/office/drawing/2014/main" id="{078F02B0-BCDF-C9CD-AB4E-ECF89376C38B}"/>
                </a:ext>
              </a:extLst>
            </p:cNvPr>
            <p:cNvSpPr/>
            <p:nvPr>
              <p:custDataLst>
                <p:tags r:id="rId35"/>
              </p:custDataLst>
            </p:nvPr>
          </p:nvSpPr>
          <p:spPr>
            <a:xfrm>
              <a:off x="4321748" y="3734779"/>
              <a:ext cx="1184774" cy="189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Consumers</a:t>
              </a:r>
            </a:p>
          </p:txBody>
        </p:sp>
        <p:sp>
          <p:nvSpPr>
            <p:cNvPr id="21" name="Retângulo 20">
              <a:extLst>
                <a:ext uri="{FF2B5EF4-FFF2-40B4-BE49-F238E27FC236}">
                  <a16:creationId xmlns:a16="http://schemas.microsoft.com/office/drawing/2014/main" id="{E2C11D50-4C75-C570-6B9E-FAC14A46ECF4}"/>
                </a:ext>
              </a:extLst>
            </p:cNvPr>
            <p:cNvSpPr/>
            <p:nvPr>
              <p:custDataLst>
                <p:tags r:id="rId36"/>
              </p:custDataLst>
            </p:nvPr>
          </p:nvSpPr>
          <p:spPr>
            <a:xfrm>
              <a:off x="3345031" y="3734779"/>
              <a:ext cx="1077067" cy="1897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Distribution</a:t>
              </a:r>
            </a:p>
          </p:txBody>
        </p:sp>
      </p:grpSp>
      <p:grpSp>
        <p:nvGrpSpPr>
          <p:cNvPr id="22" name="Agrupar 21">
            <a:extLst>
              <a:ext uri="{FF2B5EF4-FFF2-40B4-BE49-F238E27FC236}">
                <a16:creationId xmlns:a16="http://schemas.microsoft.com/office/drawing/2014/main" id="{283DEDEA-46B0-A85C-F8FD-DC8524A4714F}"/>
              </a:ext>
            </a:extLst>
          </p:cNvPr>
          <p:cNvGrpSpPr/>
          <p:nvPr>
            <p:custDataLst>
              <p:tags r:id="rId6"/>
            </p:custDataLst>
          </p:nvPr>
        </p:nvGrpSpPr>
        <p:grpSpPr>
          <a:xfrm>
            <a:off x="4312941" y="1742336"/>
            <a:ext cx="4686597" cy="1658055"/>
            <a:chOff x="4063579" y="1260303"/>
            <a:chExt cx="4686597" cy="1658055"/>
          </a:xfrm>
        </p:grpSpPr>
        <p:pic>
          <p:nvPicPr>
            <p:cNvPr id="23" name="Imagem 22">
              <a:extLst>
                <a:ext uri="{FF2B5EF4-FFF2-40B4-BE49-F238E27FC236}">
                  <a16:creationId xmlns:a16="http://schemas.microsoft.com/office/drawing/2014/main" id="{857A332A-5286-42BE-3B49-C6E5E6FEA84B}"/>
                </a:ext>
              </a:extLst>
            </p:cNvPr>
            <p:cNvPicPr>
              <a:picLocks noChangeAspect="1"/>
            </p:cNvPicPr>
            <p:nvPr>
              <p:custDataLst>
                <p:tags r:id="rId20"/>
              </p:custDataLst>
            </p:nvPr>
          </p:nvPicPr>
          <p:blipFill>
            <a:blip r:embed="rId45">
              <a:extLst>
                <a:ext uri="{28A0092B-C50C-407E-A947-70E740481C1C}">
                  <a14:useLocalDpi xmlns:a14="http://schemas.microsoft.com/office/drawing/2010/main"/>
                </a:ext>
              </a:extLst>
            </a:blip>
            <a:srcRect t="9752" b="24591"/>
            <a:stretch>
              <a:fillRect/>
            </a:stretch>
          </p:blipFill>
          <p:spPr>
            <a:xfrm>
              <a:off x="4112710" y="1260303"/>
              <a:ext cx="3934598" cy="1533453"/>
            </a:xfrm>
            <a:prstGeom prst="rect">
              <a:avLst/>
            </a:prstGeom>
          </p:spPr>
        </p:pic>
        <p:sp>
          <p:nvSpPr>
            <p:cNvPr id="24" name="Retângulo 23">
              <a:extLst>
                <a:ext uri="{FF2B5EF4-FFF2-40B4-BE49-F238E27FC236}">
                  <a16:creationId xmlns:a16="http://schemas.microsoft.com/office/drawing/2014/main" id="{B7F04771-A532-32E7-90CA-6BCC332680CD}"/>
                </a:ext>
              </a:extLst>
            </p:cNvPr>
            <p:cNvSpPr/>
            <p:nvPr>
              <p:custDataLst>
                <p:tags r:id="rId21"/>
              </p:custDataLst>
            </p:nvPr>
          </p:nvSpPr>
          <p:spPr>
            <a:xfrm>
              <a:off x="4063579" y="1678779"/>
              <a:ext cx="934685" cy="140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Interconnections</a:t>
              </a:r>
            </a:p>
          </p:txBody>
        </p:sp>
        <p:sp>
          <p:nvSpPr>
            <p:cNvPr id="25" name="Retângulo 24">
              <a:extLst>
                <a:ext uri="{FF2B5EF4-FFF2-40B4-BE49-F238E27FC236}">
                  <a16:creationId xmlns:a16="http://schemas.microsoft.com/office/drawing/2014/main" id="{673037D1-58F5-D11E-5D85-CB729B7A48D2}"/>
                </a:ext>
              </a:extLst>
            </p:cNvPr>
            <p:cNvSpPr/>
            <p:nvPr>
              <p:custDataLst>
                <p:tags r:id="rId22"/>
              </p:custDataLst>
            </p:nvPr>
          </p:nvSpPr>
          <p:spPr>
            <a:xfrm>
              <a:off x="4176533" y="2778267"/>
              <a:ext cx="951270" cy="140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Generation </a:t>
              </a:r>
            </a:p>
          </p:txBody>
        </p:sp>
        <p:sp>
          <p:nvSpPr>
            <p:cNvPr id="26" name="Retângulo 25">
              <a:extLst>
                <a:ext uri="{FF2B5EF4-FFF2-40B4-BE49-F238E27FC236}">
                  <a16:creationId xmlns:a16="http://schemas.microsoft.com/office/drawing/2014/main" id="{80944C7D-D7D2-0AC8-23A6-C0B5AF6072A4}"/>
                </a:ext>
              </a:extLst>
            </p:cNvPr>
            <p:cNvSpPr/>
            <p:nvPr>
              <p:custDataLst>
                <p:tags r:id="rId23"/>
              </p:custDataLst>
            </p:nvPr>
          </p:nvSpPr>
          <p:spPr>
            <a:xfrm>
              <a:off x="5092341" y="2778267"/>
              <a:ext cx="1058196" cy="140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Transmission</a:t>
              </a:r>
            </a:p>
          </p:txBody>
        </p:sp>
        <p:sp>
          <p:nvSpPr>
            <p:cNvPr id="27" name="Retângulo 26">
              <a:extLst>
                <a:ext uri="{FF2B5EF4-FFF2-40B4-BE49-F238E27FC236}">
                  <a16:creationId xmlns:a16="http://schemas.microsoft.com/office/drawing/2014/main" id="{7A94C6C3-458B-5FB7-053C-F9D07FA3DF15}"/>
                </a:ext>
              </a:extLst>
            </p:cNvPr>
            <p:cNvSpPr/>
            <p:nvPr>
              <p:custDataLst>
                <p:tags r:id="rId24"/>
              </p:custDataLst>
            </p:nvPr>
          </p:nvSpPr>
          <p:spPr>
            <a:xfrm>
              <a:off x="7197147" y="2778267"/>
              <a:ext cx="874542" cy="140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Prosumers</a:t>
              </a:r>
            </a:p>
          </p:txBody>
        </p:sp>
        <p:sp>
          <p:nvSpPr>
            <p:cNvPr id="28" name="Retângulo 27">
              <a:extLst>
                <a:ext uri="{FF2B5EF4-FFF2-40B4-BE49-F238E27FC236}">
                  <a16:creationId xmlns:a16="http://schemas.microsoft.com/office/drawing/2014/main" id="{3FB6B0FA-DBC3-332F-E190-6687F8C679DC}"/>
                </a:ext>
              </a:extLst>
            </p:cNvPr>
            <p:cNvSpPr/>
            <p:nvPr>
              <p:custDataLst>
                <p:tags r:id="rId25"/>
              </p:custDataLst>
            </p:nvPr>
          </p:nvSpPr>
          <p:spPr>
            <a:xfrm>
              <a:off x="6137079" y="2778267"/>
              <a:ext cx="795038" cy="1400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r>
                <a:rPr lang="en-US" sz="812" b="0" i="0" u="none" strike="noStrike" cap="none" baseline="0" dirty="0">
                  <a:solidFill>
                    <a:srgbClr val="011F57"/>
                  </a:solidFill>
                  <a:effectLst/>
                  <a:uFillTx/>
                  <a:latin typeface="Segoe UI"/>
                </a:rPr>
                <a:t>Distribution</a:t>
              </a:r>
            </a:p>
          </p:txBody>
        </p:sp>
        <p:sp>
          <p:nvSpPr>
            <p:cNvPr id="29" name="Retângulo 28">
              <a:extLst>
                <a:ext uri="{FF2B5EF4-FFF2-40B4-BE49-F238E27FC236}">
                  <a16:creationId xmlns:a16="http://schemas.microsoft.com/office/drawing/2014/main" id="{72A6241A-143E-F70B-1276-D1F691D42B41}"/>
                </a:ext>
              </a:extLst>
            </p:cNvPr>
            <p:cNvSpPr/>
            <p:nvPr>
              <p:custDataLst>
                <p:tags r:id="rId26"/>
              </p:custDataLst>
            </p:nvPr>
          </p:nvSpPr>
          <p:spPr>
            <a:xfrm>
              <a:off x="6023176" y="1317845"/>
              <a:ext cx="1287916" cy="1291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Information flow</a:t>
              </a:r>
            </a:p>
          </p:txBody>
        </p:sp>
        <p:sp>
          <p:nvSpPr>
            <p:cNvPr id="30" name="Retângulo 29">
              <a:extLst>
                <a:ext uri="{FF2B5EF4-FFF2-40B4-BE49-F238E27FC236}">
                  <a16:creationId xmlns:a16="http://schemas.microsoft.com/office/drawing/2014/main" id="{1E8000A3-6BF4-7D40-C482-6DBFE55B334C}"/>
                </a:ext>
              </a:extLst>
            </p:cNvPr>
            <p:cNvSpPr/>
            <p:nvPr>
              <p:custDataLst>
                <p:tags r:id="rId27"/>
              </p:custDataLst>
            </p:nvPr>
          </p:nvSpPr>
          <p:spPr>
            <a:xfrm>
              <a:off x="6875043" y="1704000"/>
              <a:ext cx="823893" cy="145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Aggregators</a:t>
              </a:r>
            </a:p>
          </p:txBody>
        </p:sp>
        <p:sp>
          <p:nvSpPr>
            <p:cNvPr id="31" name="Retângulo 30">
              <a:extLst>
                <a:ext uri="{FF2B5EF4-FFF2-40B4-BE49-F238E27FC236}">
                  <a16:creationId xmlns:a16="http://schemas.microsoft.com/office/drawing/2014/main" id="{7157A1E8-B351-5368-05FA-518B7EC946F8}"/>
                </a:ext>
              </a:extLst>
            </p:cNvPr>
            <p:cNvSpPr/>
            <p:nvPr>
              <p:custDataLst>
                <p:tags r:id="rId28"/>
              </p:custDataLst>
            </p:nvPr>
          </p:nvSpPr>
          <p:spPr>
            <a:xfrm>
              <a:off x="7603975" y="1830882"/>
              <a:ext cx="1130096" cy="1296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Distributed generation</a:t>
              </a:r>
            </a:p>
          </p:txBody>
        </p:sp>
        <p:sp>
          <p:nvSpPr>
            <p:cNvPr id="32" name="Retângulo 31">
              <a:extLst>
                <a:ext uri="{FF2B5EF4-FFF2-40B4-BE49-F238E27FC236}">
                  <a16:creationId xmlns:a16="http://schemas.microsoft.com/office/drawing/2014/main" id="{BDF56189-BFCD-F190-D69C-64606D2F3C10}"/>
                </a:ext>
              </a:extLst>
            </p:cNvPr>
            <p:cNvSpPr/>
            <p:nvPr>
              <p:custDataLst>
                <p:tags r:id="rId29"/>
              </p:custDataLst>
            </p:nvPr>
          </p:nvSpPr>
          <p:spPr>
            <a:xfrm>
              <a:off x="7596475" y="1985768"/>
              <a:ext cx="1153701" cy="152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Batteries </a:t>
              </a:r>
            </a:p>
          </p:txBody>
        </p:sp>
        <p:sp>
          <p:nvSpPr>
            <p:cNvPr id="33" name="Retângulo 32">
              <a:extLst>
                <a:ext uri="{FF2B5EF4-FFF2-40B4-BE49-F238E27FC236}">
                  <a16:creationId xmlns:a16="http://schemas.microsoft.com/office/drawing/2014/main" id="{D343D739-B29D-38AF-4C4B-F81FEE05A0A8}"/>
                </a:ext>
              </a:extLst>
            </p:cNvPr>
            <p:cNvSpPr/>
            <p:nvPr>
              <p:custDataLst>
                <p:tags r:id="rId30"/>
              </p:custDataLst>
            </p:nvPr>
          </p:nvSpPr>
          <p:spPr>
            <a:xfrm>
              <a:off x="7596475" y="2147883"/>
              <a:ext cx="1153701" cy="152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Smart meters</a:t>
              </a:r>
            </a:p>
          </p:txBody>
        </p:sp>
        <p:sp>
          <p:nvSpPr>
            <p:cNvPr id="34" name="Retângulo 33">
              <a:extLst>
                <a:ext uri="{FF2B5EF4-FFF2-40B4-BE49-F238E27FC236}">
                  <a16:creationId xmlns:a16="http://schemas.microsoft.com/office/drawing/2014/main" id="{5583875F-5F3C-35BC-E350-12C872360A9F}"/>
                </a:ext>
              </a:extLst>
            </p:cNvPr>
            <p:cNvSpPr/>
            <p:nvPr>
              <p:custDataLst>
                <p:tags r:id="rId31"/>
              </p:custDataLst>
            </p:nvPr>
          </p:nvSpPr>
          <p:spPr>
            <a:xfrm>
              <a:off x="7603975" y="2332151"/>
              <a:ext cx="1146201" cy="152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r>
                <a:rPr lang="en-US" sz="738" b="0" i="0" u="none" strike="noStrike" cap="none" baseline="0" dirty="0">
                  <a:solidFill>
                    <a:srgbClr val="011F57"/>
                  </a:solidFill>
                  <a:effectLst/>
                  <a:uFillTx/>
                  <a:latin typeface="Segoe UI"/>
                </a:rPr>
                <a:t>Electric vehicle chargers</a:t>
              </a:r>
            </a:p>
          </p:txBody>
        </p:sp>
      </p:grpSp>
      <p:grpSp>
        <p:nvGrpSpPr>
          <p:cNvPr id="43" name="Agrupar 42">
            <a:extLst>
              <a:ext uri="{FF2B5EF4-FFF2-40B4-BE49-F238E27FC236}">
                <a16:creationId xmlns:a16="http://schemas.microsoft.com/office/drawing/2014/main" id="{C632F581-87C7-B765-F142-0BE29F3F1506}"/>
              </a:ext>
            </a:extLst>
          </p:cNvPr>
          <p:cNvGrpSpPr/>
          <p:nvPr>
            <p:custDataLst>
              <p:tags r:id="rId7"/>
            </p:custDataLst>
          </p:nvPr>
        </p:nvGrpSpPr>
        <p:grpSpPr>
          <a:xfrm>
            <a:off x="391319" y="1397434"/>
            <a:ext cx="3949177" cy="298349"/>
            <a:chOff x="391319" y="1212813"/>
            <a:chExt cx="3949177" cy="298349"/>
          </a:xfrm>
        </p:grpSpPr>
        <p:sp>
          <p:nvSpPr>
            <p:cNvPr id="15" name="Retângulo: Cantos Arredondados 14">
              <a:extLst>
                <a:ext uri="{FF2B5EF4-FFF2-40B4-BE49-F238E27FC236}">
                  <a16:creationId xmlns:a16="http://schemas.microsoft.com/office/drawing/2014/main" id="{E94CF056-832C-71EE-3992-3A0DB7898046}"/>
                </a:ext>
              </a:extLst>
            </p:cNvPr>
            <p:cNvSpPr/>
            <p:nvPr>
              <p:custDataLst>
                <p:tags r:id="rId18"/>
              </p:custDataLst>
            </p:nvPr>
          </p:nvSpPr>
          <p:spPr>
            <a:xfrm>
              <a:off x="391319" y="1212813"/>
              <a:ext cx="3949177"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CaixaDeTexto 37">
              <a:extLst>
                <a:ext uri="{FF2B5EF4-FFF2-40B4-BE49-F238E27FC236}">
                  <a16:creationId xmlns:a16="http://schemas.microsoft.com/office/drawing/2014/main" id="{72BB509E-FE0A-313E-DCA0-99AD41E85F87}"/>
                </a:ext>
              </a:extLst>
            </p:cNvPr>
            <p:cNvSpPr txBox="1"/>
            <p:nvPr>
              <p:custDataLst>
                <p:tags r:id="rId19"/>
              </p:custDataLst>
            </p:nvPr>
          </p:nvSpPr>
          <p:spPr>
            <a:xfrm>
              <a:off x="868762" y="1247623"/>
              <a:ext cx="2998728"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FFFFFF"/>
                  </a:solidFill>
                  <a:effectLst/>
                  <a:uFillTx/>
                  <a:latin typeface="Segoe UI Light"/>
                </a:rPr>
                <a:t>OLD SCENARIO</a:t>
              </a:r>
            </a:p>
          </p:txBody>
        </p:sp>
      </p:grpSp>
      <p:grpSp>
        <p:nvGrpSpPr>
          <p:cNvPr id="40" name="Agrupar 39">
            <a:extLst>
              <a:ext uri="{FF2B5EF4-FFF2-40B4-BE49-F238E27FC236}">
                <a16:creationId xmlns:a16="http://schemas.microsoft.com/office/drawing/2014/main" id="{AE5DEE84-B0A1-34EF-631E-EB9DA47AE853}"/>
              </a:ext>
            </a:extLst>
          </p:cNvPr>
          <p:cNvGrpSpPr/>
          <p:nvPr>
            <p:custDataLst>
              <p:tags r:id="rId8"/>
            </p:custDataLst>
          </p:nvPr>
        </p:nvGrpSpPr>
        <p:grpSpPr>
          <a:xfrm>
            <a:off x="4659042" y="1397434"/>
            <a:ext cx="3949177" cy="298349"/>
            <a:chOff x="4659042" y="1212813"/>
            <a:chExt cx="3949177" cy="298349"/>
          </a:xfrm>
        </p:grpSpPr>
        <p:sp>
          <p:nvSpPr>
            <p:cNvPr id="35" name="Retângulo: Cantos Arredondados 34">
              <a:extLst>
                <a:ext uri="{FF2B5EF4-FFF2-40B4-BE49-F238E27FC236}">
                  <a16:creationId xmlns:a16="http://schemas.microsoft.com/office/drawing/2014/main" id="{AEB8F88E-C488-A830-6180-F7B164ADF478}"/>
                </a:ext>
              </a:extLst>
            </p:cNvPr>
            <p:cNvSpPr/>
            <p:nvPr>
              <p:custDataLst>
                <p:tags r:id="rId16"/>
              </p:custDataLst>
            </p:nvPr>
          </p:nvSpPr>
          <p:spPr>
            <a:xfrm>
              <a:off x="4659042" y="1212813"/>
              <a:ext cx="3949177"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CaixaDeTexto 38">
              <a:extLst>
                <a:ext uri="{FF2B5EF4-FFF2-40B4-BE49-F238E27FC236}">
                  <a16:creationId xmlns:a16="http://schemas.microsoft.com/office/drawing/2014/main" id="{32788C1C-F639-BD4F-AFC8-F1E1408E1907}"/>
                </a:ext>
              </a:extLst>
            </p:cNvPr>
            <p:cNvSpPr txBox="1"/>
            <p:nvPr>
              <p:custDataLst>
                <p:tags r:id="rId17"/>
              </p:custDataLst>
            </p:nvPr>
          </p:nvSpPr>
          <p:spPr>
            <a:xfrm>
              <a:off x="5209259" y="1247623"/>
              <a:ext cx="2998728"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0" i="0" u="none" strike="noStrike" cap="none" baseline="0" dirty="0">
                  <a:solidFill>
                    <a:srgbClr val="FFFFFF"/>
                  </a:solidFill>
                  <a:effectLst/>
                  <a:uFillTx/>
                  <a:latin typeface="Segoe UI Light"/>
                </a:rPr>
                <a:t>NEW SCENARIO</a:t>
              </a:r>
            </a:p>
          </p:txBody>
        </p:sp>
      </p:grpSp>
      <p:sp>
        <p:nvSpPr>
          <p:cNvPr id="48" name="CaixaDeTexto 47">
            <a:extLst>
              <a:ext uri="{FF2B5EF4-FFF2-40B4-BE49-F238E27FC236}">
                <a16:creationId xmlns:a16="http://schemas.microsoft.com/office/drawing/2014/main" id="{140CE737-EFE7-38FF-CE86-52C2A7CF1D9F}"/>
              </a:ext>
            </a:extLst>
          </p:cNvPr>
          <p:cNvSpPr txBox="1"/>
          <p:nvPr>
            <p:custDataLst>
              <p:tags r:id="rId9"/>
            </p:custDataLst>
          </p:nvPr>
        </p:nvSpPr>
        <p:spPr>
          <a:xfrm>
            <a:off x="1010525" y="3570702"/>
            <a:ext cx="2710764"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E5000"/>
                </a:solidFill>
                <a:effectLst/>
                <a:uFillTx/>
                <a:latin typeface="Segoe UI"/>
              </a:rPr>
              <a:t>Energy flow</a:t>
            </a:r>
          </a:p>
        </p:txBody>
      </p:sp>
      <p:sp>
        <p:nvSpPr>
          <p:cNvPr id="50" name="CaixaDeTexto 49">
            <a:extLst>
              <a:ext uri="{FF2B5EF4-FFF2-40B4-BE49-F238E27FC236}">
                <a16:creationId xmlns:a16="http://schemas.microsoft.com/office/drawing/2014/main" id="{E40B216C-91E0-43F5-19A4-56DACF12A9DD}"/>
              </a:ext>
            </a:extLst>
          </p:cNvPr>
          <p:cNvSpPr txBox="1"/>
          <p:nvPr>
            <p:custDataLst>
              <p:tags r:id="rId10"/>
            </p:custDataLst>
          </p:nvPr>
        </p:nvSpPr>
        <p:spPr>
          <a:xfrm>
            <a:off x="273124" y="3857434"/>
            <a:ext cx="3457821" cy="1136721"/>
          </a:xfrm>
          <a:prstGeom prst="rect">
            <a:avLst/>
          </a:prstGeom>
          <a:noFill/>
        </p:spPr>
        <p:txBody>
          <a:bodyPr wrap="square" rtlCol="0">
            <a:spAutoFit/>
          </a:bodyPr>
          <a:lstStyle/>
          <a:p>
            <a:pPr marL="171450" indent="-171450" defTabSz="675010">
              <a:lnSpc>
                <a:spcPct val="85000"/>
              </a:lnSpc>
              <a:spcBef>
                <a:spcPts val="148"/>
              </a:spcBef>
              <a:spcAft>
                <a:spcPts val="148"/>
              </a:spcAft>
              <a:buClr>
                <a:srgbClr val="005FD7"/>
              </a:buClr>
              <a:buFont typeface="Courier New" panose="02070309020205020404" pitchFamily="49" charset="0"/>
              <a:buChar char="o"/>
              <a:defRPr/>
            </a:pPr>
            <a:r>
              <a:rPr lang="en-US" sz="1200" b="0" i="0" u="none" strike="noStrike" cap="none" baseline="0" dirty="0">
                <a:solidFill>
                  <a:srgbClr val="011F57"/>
                </a:solidFill>
                <a:effectLst/>
                <a:uFillTx/>
                <a:latin typeface="Segoe UI"/>
              </a:rPr>
              <a:t>Predominance of </a:t>
            </a:r>
            <a:r>
              <a:rPr lang="en-US" sz="1200" b="1" i="0" u="none" strike="noStrike" cap="none" baseline="0">
                <a:solidFill>
                  <a:srgbClr val="005FD7"/>
                </a:solidFill>
                <a:effectLst/>
                <a:uFillTx/>
                <a:latin typeface="Segoe UI"/>
              </a:rPr>
              <a:t>conventional </a:t>
            </a:r>
            <a:r>
              <a:rPr lang="en-US" sz="1200" b="1">
                <a:solidFill>
                  <a:srgbClr val="005FD7"/>
                </a:solidFill>
                <a:latin typeface="Segoe UI"/>
              </a:rPr>
              <a:t>sources</a:t>
            </a:r>
          </a:p>
          <a:p>
            <a:pPr marL="171450" indent="-171450" defTabSz="675010">
              <a:lnSpc>
                <a:spcPct val="85000"/>
              </a:lnSpc>
              <a:spcBef>
                <a:spcPts val="148"/>
              </a:spcBef>
              <a:spcAft>
                <a:spcPts val="148"/>
              </a:spcAft>
              <a:buClr>
                <a:srgbClr val="005FD7"/>
              </a:buClr>
              <a:buFont typeface="Courier New" panose="02070309020205020404" pitchFamily="49" charset="0"/>
              <a:buChar char="o"/>
              <a:defRPr/>
            </a:pPr>
            <a:r>
              <a:rPr lang="en-US" sz="1200" b="1">
                <a:solidFill>
                  <a:srgbClr val="005FD7"/>
                </a:solidFill>
                <a:latin typeface="Segoe UI"/>
              </a:rPr>
              <a:t>Passive</a:t>
            </a:r>
            <a:r>
              <a:rPr lang="en-US" sz="1200">
                <a:solidFill>
                  <a:srgbClr val="005FD7"/>
                </a:solidFill>
                <a:latin typeface="Segoe UI"/>
              </a:rPr>
              <a:t> </a:t>
            </a:r>
            <a:r>
              <a:rPr lang="en-US" sz="1200">
                <a:solidFill>
                  <a:srgbClr val="011F57"/>
                </a:solidFill>
                <a:latin typeface="Segoe UI"/>
              </a:rPr>
              <a:t>consumers </a:t>
            </a:r>
          </a:p>
          <a:p>
            <a:pPr marL="171450" marR="0" lvl="0" indent="-171450" algn="l" defTabSz="675010" rtl="0" eaLnBrk="1" fontAlgn="auto" latinLnBrk="0" hangingPunct="1">
              <a:lnSpc>
                <a:spcPct val="85000"/>
              </a:lnSpc>
              <a:spcBef>
                <a:spcPts val="148"/>
              </a:spcBef>
              <a:spcAft>
                <a:spcPts val="148"/>
              </a:spcAft>
              <a:buClr>
                <a:srgbClr val="005FD7"/>
              </a:buClr>
              <a:buSzTx/>
              <a:buFont typeface="Courier New" panose="02070309020205020404" pitchFamily="49" charset="0"/>
              <a:buChar char="o"/>
              <a:defRPr/>
            </a:pPr>
            <a:r>
              <a:rPr lang="en-US" sz="1200" b="0" i="0" u="none" strike="noStrike" cap="none" baseline="0">
                <a:solidFill>
                  <a:srgbClr val="011F57"/>
                </a:solidFill>
                <a:effectLst/>
                <a:uFillTx/>
                <a:latin typeface="Segoe UI"/>
              </a:rPr>
              <a:t>Solutions </a:t>
            </a:r>
            <a:r>
              <a:rPr lang="en-US" sz="1200" b="0" i="0" u="none" strike="noStrike" cap="none" baseline="0" dirty="0">
                <a:solidFill>
                  <a:srgbClr val="011F57"/>
                </a:solidFill>
                <a:effectLst/>
                <a:uFillTx/>
                <a:latin typeface="Segoe UI"/>
              </a:rPr>
              <a:t>adopted </a:t>
            </a:r>
            <a:r>
              <a:rPr lang="en-US" sz="1200" b="1" i="0" u="none" strike="noStrike" cap="none" baseline="0" dirty="0">
                <a:solidFill>
                  <a:srgbClr val="005FD7"/>
                </a:solidFill>
                <a:effectLst/>
                <a:uFillTx/>
                <a:latin typeface="Segoe UI"/>
              </a:rPr>
              <a:t>do not eliminate idleness </a:t>
            </a:r>
            <a:r>
              <a:rPr lang="en-US" sz="1200" b="0" i="0" u="none" strike="noStrike" cap="none" baseline="0" dirty="0">
                <a:solidFill>
                  <a:srgbClr val="011F57"/>
                </a:solidFill>
                <a:effectLst/>
                <a:uFillTx/>
                <a:latin typeface="Segoe UI"/>
              </a:rPr>
              <a:t> of </a:t>
            </a:r>
            <a:r>
              <a:rPr lang="en-US" sz="1200" b="0" i="0" u="none" strike="noStrike" cap="none" baseline="0">
                <a:solidFill>
                  <a:srgbClr val="011F57"/>
                </a:solidFill>
                <a:effectLst/>
                <a:uFillTx/>
                <a:latin typeface="Segoe UI"/>
              </a:rPr>
              <a:t>the system</a:t>
            </a:r>
          </a:p>
          <a:p>
            <a:pPr marL="171450" indent="-171450" defTabSz="675010">
              <a:lnSpc>
                <a:spcPct val="85000"/>
              </a:lnSpc>
              <a:spcBef>
                <a:spcPts val="148"/>
              </a:spcBef>
              <a:spcAft>
                <a:spcPts val="148"/>
              </a:spcAft>
              <a:buClr>
                <a:srgbClr val="005FD7"/>
              </a:buClr>
              <a:buFont typeface="Courier New" panose="02070309020205020404" pitchFamily="49" charset="0"/>
              <a:buChar char="o"/>
              <a:defRPr/>
            </a:pPr>
            <a:r>
              <a:rPr lang="en-US" sz="1200" b="1">
                <a:solidFill>
                  <a:srgbClr val="005FD7"/>
                </a:solidFill>
                <a:latin typeface="Segoe UI"/>
              </a:rPr>
              <a:t>Predictable and stable </a:t>
            </a:r>
            <a:r>
              <a:rPr lang="en-US" sz="1200">
                <a:solidFill>
                  <a:srgbClr val="011F57"/>
                </a:solidFill>
                <a:latin typeface="Segoe UI"/>
              </a:rPr>
              <a:t>environment </a:t>
            </a:r>
          </a:p>
          <a:p>
            <a:pPr marL="171450" marR="0" lvl="0" indent="-171450" algn="l" defTabSz="675010" rtl="0" eaLnBrk="1" fontAlgn="auto" latinLnBrk="0" hangingPunct="1">
              <a:lnSpc>
                <a:spcPct val="85000"/>
              </a:lnSpc>
              <a:spcBef>
                <a:spcPts val="148"/>
              </a:spcBef>
              <a:spcAft>
                <a:spcPts val="148"/>
              </a:spcAft>
              <a:buClr>
                <a:srgbClr val="005FD7"/>
              </a:buClr>
              <a:buSzTx/>
              <a:buFont typeface="Courier New" panose="02070309020205020404" pitchFamily="49" charset="0"/>
              <a:buChar char="o"/>
              <a:defRPr/>
            </a:pPr>
            <a:r>
              <a:rPr lang="en-US" sz="1200" b="1" i="0" u="none" strike="noStrike" cap="none" baseline="0">
                <a:solidFill>
                  <a:srgbClr val="005FD7"/>
                </a:solidFill>
                <a:effectLst/>
                <a:uFillTx/>
                <a:latin typeface="Segoe UI"/>
              </a:rPr>
              <a:t>Low </a:t>
            </a:r>
            <a:r>
              <a:rPr lang="en-US" sz="1200" b="1" i="0" u="none" strike="noStrike" cap="none" baseline="0" dirty="0">
                <a:solidFill>
                  <a:srgbClr val="005FD7"/>
                </a:solidFill>
                <a:effectLst/>
                <a:uFillTx/>
                <a:latin typeface="Segoe UI"/>
              </a:rPr>
              <a:t>use </a:t>
            </a:r>
            <a:r>
              <a:rPr lang="en-US" sz="1200" b="0" i="0" u="none" strike="noStrike" cap="none" baseline="0" dirty="0">
                <a:solidFill>
                  <a:srgbClr val="011F57"/>
                </a:solidFill>
                <a:effectLst/>
                <a:uFillTx/>
                <a:latin typeface="Segoe UI"/>
              </a:rPr>
              <a:t>of </a:t>
            </a:r>
            <a:r>
              <a:rPr lang="en-US" sz="1200" b="0" i="0" u="none" strike="noStrike" cap="none" baseline="0">
                <a:solidFill>
                  <a:srgbClr val="011F57"/>
                </a:solidFill>
                <a:effectLst/>
                <a:uFillTx/>
                <a:latin typeface="Segoe UI"/>
              </a:rPr>
              <a:t>technological innovation</a:t>
            </a:r>
            <a:endParaRPr lang="en-US" sz="1200" b="0" i="0" u="none" strike="noStrike" cap="none" baseline="0" dirty="0">
              <a:solidFill>
                <a:srgbClr val="011F57"/>
              </a:solidFill>
              <a:effectLst/>
              <a:uFillTx/>
              <a:latin typeface="Segoe UI"/>
            </a:endParaRPr>
          </a:p>
        </p:txBody>
      </p:sp>
      <p:grpSp>
        <p:nvGrpSpPr>
          <p:cNvPr id="55" name="Agrupar 54">
            <a:extLst>
              <a:ext uri="{FF2B5EF4-FFF2-40B4-BE49-F238E27FC236}">
                <a16:creationId xmlns:a16="http://schemas.microsoft.com/office/drawing/2014/main" id="{8A44483A-039B-6FF0-6646-0B67869C9E55}"/>
              </a:ext>
            </a:extLst>
          </p:cNvPr>
          <p:cNvGrpSpPr/>
          <p:nvPr>
            <p:custDataLst>
              <p:tags r:id="rId11"/>
            </p:custDataLst>
          </p:nvPr>
        </p:nvGrpSpPr>
        <p:grpSpPr>
          <a:xfrm>
            <a:off x="4659042" y="3562392"/>
            <a:ext cx="3949177" cy="247334"/>
            <a:chOff x="4659042" y="3377771"/>
            <a:chExt cx="3949177" cy="247334"/>
          </a:xfrm>
        </p:grpSpPr>
        <p:sp>
          <p:nvSpPr>
            <p:cNvPr id="49" name="CaixaDeTexto 48">
              <a:extLst>
                <a:ext uri="{FF2B5EF4-FFF2-40B4-BE49-F238E27FC236}">
                  <a16:creationId xmlns:a16="http://schemas.microsoft.com/office/drawing/2014/main" id="{6D59CA6F-1335-CB3D-B812-0D35774DD8DA}"/>
                </a:ext>
              </a:extLst>
            </p:cNvPr>
            <p:cNvSpPr txBox="1"/>
            <p:nvPr>
              <p:custDataLst>
                <p:tags r:id="rId14"/>
              </p:custDataLst>
            </p:nvPr>
          </p:nvSpPr>
          <p:spPr>
            <a:xfrm>
              <a:off x="5278248" y="3386081"/>
              <a:ext cx="2710764"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E5000"/>
                  </a:solidFill>
                  <a:effectLst/>
                  <a:uFillTx/>
                  <a:latin typeface="Segoe UI"/>
                </a:rPr>
                <a:t>Energy flow</a:t>
              </a:r>
            </a:p>
          </p:txBody>
        </p:sp>
        <p:cxnSp>
          <p:nvCxnSpPr>
            <p:cNvPr id="53" name="Conector reto 52">
              <a:extLst>
                <a:ext uri="{FF2B5EF4-FFF2-40B4-BE49-F238E27FC236}">
                  <a16:creationId xmlns:a16="http://schemas.microsoft.com/office/drawing/2014/main" id="{C7BE9E21-7B60-A32D-9277-425B713AEE46}"/>
                </a:ext>
              </a:extLst>
            </p:cNvPr>
            <p:cNvCxnSpPr/>
            <p:nvPr>
              <p:custDataLst>
                <p:tags r:id="rId15"/>
              </p:custDataLst>
            </p:nvPr>
          </p:nvCxnSpPr>
          <p:spPr>
            <a:xfrm>
              <a:off x="4659042" y="3377771"/>
              <a:ext cx="3949177" cy="0"/>
            </a:xfrm>
            <a:prstGeom prst="line">
              <a:avLst/>
            </a:prstGeom>
            <a:gradFill>
              <a:gsLst>
                <a:gs pos="0">
                  <a:srgbClr val="006BEF">
                    <a:alpha val="50000"/>
                  </a:srgbClr>
                </a:gs>
                <a:gs pos="100000">
                  <a:srgbClr val="0067EE"/>
                </a:gs>
              </a:gsLst>
              <a:lin ang="2700000" scaled="0"/>
            </a:gradFill>
            <a:ln w="19050">
              <a:solidFill>
                <a:srgbClr val="FE5000"/>
              </a:solidFill>
              <a:headEnd type="arrow"/>
              <a:tailEnd type="arrow"/>
            </a:ln>
            <a:effectLst/>
          </p:spPr>
          <p:style>
            <a:lnRef idx="2">
              <a:schemeClr val="accent1">
                <a:shade val="15000"/>
              </a:schemeClr>
            </a:lnRef>
            <a:fillRef idx="1">
              <a:schemeClr val="accent1"/>
            </a:fillRef>
            <a:effectRef idx="0">
              <a:schemeClr val="accent1"/>
            </a:effectRef>
            <a:fontRef idx="minor">
              <a:schemeClr val="lt1"/>
            </a:fontRef>
          </p:style>
        </p:cxnSp>
      </p:grpSp>
      <p:sp>
        <p:nvSpPr>
          <p:cNvPr id="56" name="CaixaDeTexto 55">
            <a:extLst>
              <a:ext uri="{FF2B5EF4-FFF2-40B4-BE49-F238E27FC236}">
                <a16:creationId xmlns:a16="http://schemas.microsoft.com/office/drawing/2014/main" id="{679EFB1C-F83F-0246-53D1-E1D100F4FAD6}"/>
              </a:ext>
            </a:extLst>
          </p:cNvPr>
          <p:cNvSpPr txBox="1"/>
          <p:nvPr>
            <p:custDataLst>
              <p:tags r:id="rId12"/>
            </p:custDataLst>
          </p:nvPr>
        </p:nvSpPr>
        <p:spPr>
          <a:xfrm>
            <a:off x="4543433" y="3857434"/>
            <a:ext cx="4236347" cy="1136721"/>
          </a:xfrm>
          <a:prstGeom prst="rect">
            <a:avLst/>
          </a:prstGeom>
          <a:noFill/>
        </p:spPr>
        <p:txBody>
          <a:bodyPr wrap="square" rtlCol="0">
            <a:spAutoFit/>
          </a:bodyPr>
          <a:lstStyle/>
          <a:p>
            <a:pPr marL="171450" marR="0" lvl="0" indent="-171450" algn="l" defTabSz="675010" rtl="0" eaLnBrk="1" fontAlgn="auto" latinLnBrk="0" hangingPunct="1">
              <a:lnSpc>
                <a:spcPct val="85000"/>
              </a:lnSpc>
              <a:spcBef>
                <a:spcPts val="148"/>
              </a:spcBef>
              <a:spcAft>
                <a:spcPts val="148"/>
              </a:spcAft>
              <a:buClr>
                <a:srgbClr val="005FD7"/>
              </a:buClr>
              <a:buSzTx/>
              <a:buFont typeface="Courier New" panose="02070309020205020404" pitchFamily="49" charset="0"/>
              <a:buChar char="o"/>
              <a:defRPr/>
            </a:pPr>
            <a:r>
              <a:rPr lang="en-US" sz="1200" b="1" i="0" u="none" strike="noStrike" cap="none" baseline="0" dirty="0">
                <a:solidFill>
                  <a:srgbClr val="005FD7"/>
                </a:solidFill>
                <a:effectLst/>
                <a:uFillTx/>
                <a:latin typeface="Segoe UI"/>
              </a:rPr>
              <a:t>Renewable and </a:t>
            </a:r>
            <a:r>
              <a:rPr lang="en-US" sz="1200" b="1" i="0" u="none" strike="noStrike" cap="none" baseline="0">
                <a:solidFill>
                  <a:srgbClr val="005FD7"/>
                </a:solidFill>
                <a:effectLst/>
                <a:uFillTx/>
                <a:latin typeface="Segoe UI"/>
              </a:rPr>
              <a:t>variable sources</a:t>
            </a:r>
          </a:p>
          <a:p>
            <a:pPr marL="171450" indent="-171450" defTabSz="675010">
              <a:lnSpc>
                <a:spcPct val="85000"/>
              </a:lnSpc>
              <a:spcBef>
                <a:spcPts val="148"/>
              </a:spcBef>
              <a:spcAft>
                <a:spcPts val="148"/>
              </a:spcAft>
              <a:buClr>
                <a:srgbClr val="005FD7"/>
              </a:buClr>
              <a:buFont typeface="Courier New" panose="02070309020205020404" pitchFamily="49" charset="0"/>
              <a:buChar char="o"/>
              <a:defRPr/>
            </a:pPr>
            <a:r>
              <a:rPr lang="en-US" sz="1200" b="1">
                <a:solidFill>
                  <a:srgbClr val="005FD7"/>
                </a:solidFill>
                <a:latin typeface="Segoe UI"/>
              </a:rPr>
              <a:t>Active</a:t>
            </a:r>
            <a:r>
              <a:rPr lang="en-US" sz="1200">
                <a:solidFill>
                  <a:srgbClr val="011F57"/>
                </a:solidFill>
                <a:latin typeface="Segoe UI"/>
              </a:rPr>
              <a:t> consumers (Prosumer)</a:t>
            </a:r>
          </a:p>
          <a:p>
            <a:pPr marL="171450" marR="0" lvl="0" indent="-171450" algn="l" defTabSz="675010" rtl="0" eaLnBrk="1" fontAlgn="auto" latinLnBrk="0" hangingPunct="1">
              <a:lnSpc>
                <a:spcPct val="85000"/>
              </a:lnSpc>
              <a:spcBef>
                <a:spcPts val="148"/>
              </a:spcBef>
              <a:spcAft>
                <a:spcPts val="148"/>
              </a:spcAft>
              <a:buClr>
                <a:srgbClr val="005FD7"/>
              </a:buClr>
              <a:buSzTx/>
              <a:buFont typeface="Courier New" panose="02070309020205020404" pitchFamily="49" charset="0"/>
              <a:buChar char="o"/>
              <a:defRPr/>
            </a:pPr>
            <a:r>
              <a:rPr lang="en-US" sz="1200" b="0" i="0" u="none" strike="noStrike" cap="none" baseline="0">
                <a:solidFill>
                  <a:srgbClr val="011F57"/>
                </a:solidFill>
                <a:effectLst/>
                <a:uFillTx/>
                <a:latin typeface="Segoe UI"/>
              </a:rPr>
              <a:t>Adoption </a:t>
            </a:r>
            <a:r>
              <a:rPr lang="en-US" sz="1200" b="0" i="0" u="none" strike="noStrike" cap="none" baseline="0" dirty="0">
                <a:solidFill>
                  <a:srgbClr val="011F57"/>
                </a:solidFill>
                <a:effectLst/>
                <a:uFillTx/>
                <a:latin typeface="Segoe UI"/>
              </a:rPr>
              <a:t>of solutions that </a:t>
            </a:r>
            <a:r>
              <a:rPr lang="en-US" sz="1200" b="1" i="0" u="none" strike="noStrike" cap="none" baseline="0" dirty="0">
                <a:solidFill>
                  <a:srgbClr val="005FD7"/>
                </a:solidFill>
                <a:effectLst/>
                <a:uFillTx/>
                <a:latin typeface="Segoe UI"/>
              </a:rPr>
              <a:t>eliminate idleness </a:t>
            </a:r>
            <a:r>
              <a:rPr lang="en-US" sz="1200" b="0" i="0" u="none" strike="noStrike" cap="none" baseline="0" dirty="0">
                <a:solidFill>
                  <a:srgbClr val="011F57"/>
                </a:solidFill>
                <a:effectLst/>
                <a:uFillTx/>
                <a:latin typeface="Segoe UI"/>
              </a:rPr>
              <a:t>of the system</a:t>
            </a:r>
          </a:p>
          <a:p>
            <a:pPr marL="171450" indent="-171450" defTabSz="675010">
              <a:lnSpc>
                <a:spcPct val="85000"/>
              </a:lnSpc>
              <a:spcBef>
                <a:spcPts val="148"/>
              </a:spcBef>
              <a:spcAft>
                <a:spcPts val="148"/>
              </a:spcAft>
              <a:buClr>
                <a:srgbClr val="005FD7"/>
              </a:buClr>
              <a:buFont typeface="Courier New" panose="02070309020205020404" pitchFamily="49" charset="0"/>
              <a:buChar char="o"/>
              <a:defRPr/>
            </a:pPr>
            <a:r>
              <a:rPr lang="en-US" sz="1200" b="1">
                <a:solidFill>
                  <a:srgbClr val="005FD7"/>
                </a:solidFill>
                <a:latin typeface="Segoe UI"/>
              </a:rPr>
              <a:t>Dynamic and less predictable </a:t>
            </a:r>
            <a:r>
              <a:rPr lang="en-US" sz="1200">
                <a:solidFill>
                  <a:srgbClr val="011F57"/>
                </a:solidFill>
                <a:latin typeface="Segoe UI"/>
              </a:rPr>
              <a:t>environment</a:t>
            </a:r>
          </a:p>
          <a:p>
            <a:pPr marL="171450" marR="0" lvl="0" indent="-171450" algn="l" defTabSz="675010" rtl="0" eaLnBrk="1" fontAlgn="auto" latinLnBrk="0" hangingPunct="1">
              <a:lnSpc>
                <a:spcPct val="85000"/>
              </a:lnSpc>
              <a:spcBef>
                <a:spcPts val="148"/>
              </a:spcBef>
              <a:spcAft>
                <a:spcPts val="148"/>
              </a:spcAft>
              <a:buClr>
                <a:srgbClr val="005FD7"/>
              </a:buClr>
              <a:buSzTx/>
              <a:buFont typeface="Courier New" panose="02070309020205020404" pitchFamily="49" charset="0"/>
              <a:buChar char="o"/>
              <a:defRPr/>
            </a:pPr>
            <a:r>
              <a:rPr lang="en-US" sz="1200" b="1" i="0" u="none" strike="noStrike" cap="none" baseline="0">
                <a:solidFill>
                  <a:srgbClr val="005FD7"/>
                </a:solidFill>
                <a:effectLst/>
                <a:uFillTx/>
                <a:latin typeface="Segoe UI"/>
              </a:rPr>
              <a:t>Intensification</a:t>
            </a:r>
            <a:r>
              <a:rPr lang="en-US" sz="1200" b="0" i="0" u="none" strike="noStrike" cap="none" baseline="0">
                <a:solidFill>
                  <a:srgbClr val="011F57"/>
                </a:solidFill>
                <a:effectLst/>
                <a:uFillTx/>
                <a:latin typeface="Segoe UI"/>
              </a:rPr>
              <a:t> </a:t>
            </a:r>
            <a:r>
              <a:rPr lang="en-US" sz="1200" b="0" i="0" u="none" strike="noStrike" cap="none" baseline="0" dirty="0">
                <a:solidFill>
                  <a:srgbClr val="011F57"/>
                </a:solidFill>
                <a:effectLst/>
                <a:uFillTx/>
                <a:latin typeface="Segoe UI"/>
              </a:rPr>
              <a:t>of technological </a:t>
            </a:r>
            <a:r>
              <a:rPr lang="en-US" sz="1200" b="0" i="0" u="none" strike="noStrike" cap="none" baseline="0">
                <a:solidFill>
                  <a:srgbClr val="011F57"/>
                </a:solidFill>
                <a:effectLst/>
                <a:uFillTx/>
                <a:latin typeface="Segoe UI"/>
              </a:rPr>
              <a:t>innovation </a:t>
            </a:r>
            <a:endParaRPr lang="en-US" sz="1200" b="0" i="0" u="none" strike="noStrike" cap="none" baseline="0" dirty="0">
              <a:solidFill>
                <a:srgbClr val="011F57"/>
              </a:solidFill>
              <a:effectLst/>
              <a:uFillTx/>
              <a:latin typeface="Segoe UI"/>
            </a:endParaRPr>
          </a:p>
        </p:txBody>
      </p:sp>
      <p:sp>
        <p:nvSpPr>
          <p:cNvPr id="36" name="CaixaDeTexto 35">
            <a:extLst>
              <a:ext uri="{FF2B5EF4-FFF2-40B4-BE49-F238E27FC236}">
                <a16:creationId xmlns:a16="http://schemas.microsoft.com/office/drawing/2014/main" id="{46F4D836-E1B7-60B5-0B0B-0373EED20406}"/>
              </a:ext>
            </a:extLst>
          </p:cNvPr>
          <p:cNvSpPr txBox="1"/>
          <p:nvPr>
            <p:custDataLst>
              <p:tags r:id="rId13"/>
            </p:custDataLst>
          </p:nvPr>
        </p:nvSpPr>
        <p:spPr>
          <a:xfrm>
            <a:off x="646910" y="79095"/>
            <a:ext cx="1805032" cy="4616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02581"/>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4" name="Forma Livre: Forma 3">
            <a:extLst>
              <a:ext uri="{FF2B5EF4-FFF2-40B4-BE49-F238E27FC236}">
                <a16:creationId xmlns:a16="http://schemas.microsoft.com/office/drawing/2014/main" id="{029FEE01-909F-7546-2DA7-7309E5CCBBD6}"/>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37" name="CaixaDeTexto 36">
            <a:extLst>
              <a:ext uri="{FF2B5EF4-FFF2-40B4-BE49-F238E27FC236}">
                <a16:creationId xmlns:a16="http://schemas.microsoft.com/office/drawing/2014/main" id="{5DDDE791-05E6-9D00-457C-13EE25924CE5}"/>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7" name="Imagem 6" descr="Uma imagem contendo Interface gráfica do usuário&#10;&#10;Descrição gerada automaticamente">
            <a:extLst>
              <a:ext uri="{FF2B5EF4-FFF2-40B4-BE49-F238E27FC236}">
                <a16:creationId xmlns:a16="http://schemas.microsoft.com/office/drawing/2014/main" id="{D22276A1-A1E1-497A-DE57-92C076D1AB11}"/>
              </a:ext>
            </a:extLst>
          </p:cNvPr>
          <p:cNvPicPr>
            <a:picLocks noChangeAspect="1"/>
          </p:cNvPicPr>
          <p:nvPr/>
        </p:nvPicPr>
        <p:blipFill>
          <a:blip r:embed="rId46"/>
          <a:stretch>
            <a:fillRect/>
          </a:stretch>
        </p:blipFill>
        <p:spPr>
          <a:xfrm>
            <a:off x="8039840" y="60434"/>
            <a:ext cx="920231" cy="509571"/>
          </a:xfrm>
          <a:prstGeom prst="rect">
            <a:avLst/>
          </a:prstGeom>
        </p:spPr>
      </p:pic>
      <p:cxnSp>
        <p:nvCxnSpPr>
          <p:cNvPr id="3" name="Conector reto 2">
            <a:extLst>
              <a:ext uri="{FF2B5EF4-FFF2-40B4-BE49-F238E27FC236}">
                <a16:creationId xmlns:a16="http://schemas.microsoft.com/office/drawing/2014/main" id="{D088AF9F-4C41-1ECB-71A5-4E195B4D5CDA}"/>
              </a:ext>
            </a:extLst>
          </p:cNvPr>
          <p:cNvCxnSpPr>
            <a:cxnSpLocks/>
          </p:cNvCxnSpPr>
          <p:nvPr/>
        </p:nvCxnSpPr>
        <p:spPr>
          <a:xfrm>
            <a:off x="391320" y="3562392"/>
            <a:ext cx="3921622" cy="0"/>
          </a:xfrm>
          <a:prstGeom prst="line">
            <a:avLst/>
          </a:prstGeom>
          <a:ln w="19050" cap="flat" cmpd="sng" algn="ctr">
            <a:solidFill>
              <a:srgbClr val="FE5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1592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35" presetClass="path" presetSubtype="0" accel="17000" decel="83000" fill="hold" grpId="1" nodeType="withEffect">
                                  <p:stCondLst>
                                    <p:cond delay="0"/>
                                  </p:stCondLst>
                                  <p:childTnLst>
                                    <p:animMotion origin="layout" path="M -0.03211 -4.44967E-06 L 2.28788E-06 -4.44967E-06" pathEditMode="relative" rAng="0" ptsTypes="AA">
                                      <p:cBhvr>
                                        <p:cTn id="9" dur="1100" fill="hold"/>
                                        <p:tgtEl>
                                          <p:spTgt spid="5"/>
                                        </p:tgtEl>
                                        <p:attrNameLst>
                                          <p:attrName>ppt_x</p:attrName>
                                          <p:attrName>ppt_y</p:attrName>
                                        </p:attrNameLst>
                                      </p:cBhvr>
                                      <p:rCtr x="1605" y="0"/>
                                    </p:animMotion>
                                  </p:childTnLst>
                                </p:cTn>
                              </p:par>
                              <p:par>
                                <p:cTn id="10" presetID="2" presetClass="entr" presetSubtype="2" decel="100000" fill="hold" grpId="0" nodeType="withEffect">
                                  <p:stCondLst>
                                    <p:cond delay="25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1+#ppt_w/2"/>
                                          </p:val>
                                        </p:tav>
                                        <p:tav tm="100000">
                                          <p:val>
                                            <p:strVal val="#ppt_x"/>
                                          </p:val>
                                        </p:tav>
                                      </p:tavLst>
                                    </p:anim>
                                    <p:anim calcmode="lin" valueType="num">
                                      <p:cBhvr additive="base">
                                        <p:cTn id="13" dur="500" fill="hold"/>
                                        <p:tgtEl>
                                          <p:spTgt spid="6"/>
                                        </p:tgtEl>
                                        <p:attrNameLst>
                                          <p:attrName>ppt_y</p:attrName>
                                        </p:attrNameLst>
                                      </p:cBhvr>
                                      <p:tavLst>
                                        <p:tav tm="0">
                                          <p:val>
                                            <p:strVal val="#ppt_y"/>
                                          </p:val>
                                        </p:tav>
                                        <p:tav tm="100000">
                                          <p:val>
                                            <p:strVal val="#ppt_y"/>
                                          </p:val>
                                        </p:tav>
                                      </p:tavLst>
                                    </p:anim>
                                  </p:childTnLst>
                                </p:cTn>
                              </p:par>
                              <p:par>
                                <p:cTn id="14" presetID="10" presetClass="entr" presetSubtype="0" fill="hold" nodeType="withEffect">
                                  <p:stCondLst>
                                    <p:cond delay="500"/>
                                  </p:stCondLst>
                                  <p:childTnLst>
                                    <p:set>
                                      <p:cBhvr>
                                        <p:cTn id="15" dur="1" fill="hold">
                                          <p:stCondLst>
                                            <p:cond delay="0"/>
                                          </p:stCondLst>
                                        </p:cTn>
                                        <p:tgtEl>
                                          <p:spTgt spid="43"/>
                                        </p:tgtEl>
                                        <p:attrNameLst>
                                          <p:attrName>style.visibility</p:attrName>
                                        </p:attrNameLst>
                                      </p:cBhvr>
                                      <p:to>
                                        <p:strVal val="visible"/>
                                      </p:to>
                                    </p:set>
                                    <p:animEffect transition="in" filter="fade">
                                      <p:cBhvr>
                                        <p:cTn id="16" dur="500"/>
                                        <p:tgtEl>
                                          <p:spTgt spid="43"/>
                                        </p:tgtEl>
                                      </p:cBhvr>
                                    </p:animEffect>
                                  </p:childTnLst>
                                </p:cTn>
                              </p:par>
                              <p:par>
                                <p:cTn id="17" presetID="23" presetClass="entr" presetSubtype="288" fill="hold" nodeType="withEffect">
                                  <p:stCondLst>
                                    <p:cond delay="500"/>
                                  </p:stCondLst>
                                  <p:childTnLst>
                                    <p:set>
                                      <p:cBhvr>
                                        <p:cTn id="18" dur="1" fill="hold">
                                          <p:stCondLst>
                                            <p:cond delay="0"/>
                                          </p:stCondLst>
                                        </p:cTn>
                                        <p:tgtEl>
                                          <p:spTgt spid="43"/>
                                        </p:tgtEl>
                                        <p:attrNameLst>
                                          <p:attrName>style.visibility</p:attrName>
                                        </p:attrNameLst>
                                      </p:cBhvr>
                                      <p:to>
                                        <p:strVal val="visible"/>
                                      </p:to>
                                    </p:set>
                                    <p:anim calcmode="lin" valueType="num">
                                      <p:cBhvr>
                                        <p:cTn id="19" dur="500" fill="hold"/>
                                        <p:tgtEl>
                                          <p:spTgt spid="43"/>
                                        </p:tgtEl>
                                        <p:attrNameLst>
                                          <p:attrName>ppt_w</p:attrName>
                                        </p:attrNameLst>
                                      </p:cBhvr>
                                      <p:tavLst>
                                        <p:tav tm="0">
                                          <p:val>
                                            <p:strVal val="4/3*#ppt_w"/>
                                          </p:val>
                                        </p:tav>
                                        <p:tav tm="100000">
                                          <p:val>
                                            <p:strVal val="#ppt_w"/>
                                          </p:val>
                                        </p:tav>
                                      </p:tavLst>
                                    </p:anim>
                                    <p:anim calcmode="lin" valueType="num">
                                      <p:cBhvr>
                                        <p:cTn id="20" dur="500" fill="hold"/>
                                        <p:tgtEl>
                                          <p:spTgt spid="43"/>
                                        </p:tgtEl>
                                        <p:attrNameLst>
                                          <p:attrName>ppt_h</p:attrName>
                                        </p:attrNameLst>
                                      </p:cBhvr>
                                      <p:tavLst>
                                        <p:tav tm="0">
                                          <p:val>
                                            <p:strVal val="4/3*#ppt_h"/>
                                          </p:val>
                                        </p:tav>
                                        <p:tav tm="100000">
                                          <p:val>
                                            <p:strVal val="#ppt_h"/>
                                          </p:val>
                                        </p:tav>
                                      </p:tavLst>
                                    </p:anim>
                                  </p:childTnLst>
                                </p:cTn>
                              </p:par>
                              <p:par>
                                <p:cTn id="21" presetID="10" presetClass="entr" presetSubtype="0" fill="hold" nodeType="withEffect">
                                  <p:stCondLst>
                                    <p:cond delay="75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10" presetClass="entr" presetSubtype="0" fill="hold" nodeType="withEffect">
                                  <p:stCondLst>
                                    <p:cond delay="10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500"/>
                                        <p:tgtEl>
                                          <p:spTgt spid="16"/>
                                        </p:tgtEl>
                                      </p:cBhvr>
                                    </p:animEffect>
                                  </p:childTnLst>
                                </p:cTn>
                              </p:par>
                              <p:par>
                                <p:cTn id="27" presetID="10" presetClass="entr" presetSubtype="0" fill="hold" grpId="0" nodeType="withEffect">
                                  <p:stCondLst>
                                    <p:cond delay="1000"/>
                                  </p:stCondLst>
                                  <p:childTnLst>
                                    <p:set>
                                      <p:cBhvr>
                                        <p:cTn id="28" dur="1" fill="hold">
                                          <p:stCondLst>
                                            <p:cond delay="0"/>
                                          </p:stCondLst>
                                        </p:cTn>
                                        <p:tgtEl>
                                          <p:spTgt spid="50"/>
                                        </p:tgtEl>
                                        <p:attrNameLst>
                                          <p:attrName>style.visibility</p:attrName>
                                        </p:attrNameLst>
                                      </p:cBhvr>
                                      <p:to>
                                        <p:strVal val="visible"/>
                                      </p:to>
                                    </p:set>
                                    <p:animEffect transition="in" filter="fade">
                                      <p:cBhvr>
                                        <p:cTn id="29" dur="500"/>
                                        <p:tgtEl>
                                          <p:spTgt spid="50"/>
                                        </p:tgtEl>
                                      </p:cBhvr>
                                    </p:animEffect>
                                  </p:childTnLst>
                                </p:cTn>
                              </p:par>
                              <p:par>
                                <p:cTn id="30" presetID="35" presetClass="path" presetSubtype="0" accel="17000" decel="83000" fill="hold" grpId="1" nodeType="withEffect">
                                  <p:stCondLst>
                                    <p:cond delay="1000"/>
                                  </p:stCondLst>
                                  <p:childTnLst>
                                    <p:animMotion origin="layout" path="M 0.00053 -0.04485 L 2.18028E-6 4.74757E-6 " pathEditMode="relative" rAng="0" ptsTypes="AA">
                                      <p:cBhvr>
                                        <p:cTn id="31" dur="1100" fill="hold"/>
                                        <p:tgtEl>
                                          <p:spTgt spid="50"/>
                                        </p:tgtEl>
                                        <p:attrNameLst>
                                          <p:attrName>ppt_x</p:attrName>
                                          <p:attrName>ppt_y</p:attrName>
                                        </p:attrNameLst>
                                      </p:cBhvr>
                                      <p:rCtr x="-35" y="2226"/>
                                    </p:animMotion>
                                  </p:childTnLst>
                                </p:cTn>
                              </p:par>
                              <p:par>
                                <p:cTn id="32" presetID="10" presetClass="entr" presetSubtype="0" fill="hold" nodeType="withEffect">
                                  <p:stCondLst>
                                    <p:cond delay="150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par>
                                <p:cTn id="35" presetID="23" presetClass="entr" presetSubtype="288" fill="hold" nodeType="withEffect">
                                  <p:stCondLst>
                                    <p:cond delay="1500"/>
                                  </p:stCondLst>
                                  <p:childTnLst>
                                    <p:set>
                                      <p:cBhvr>
                                        <p:cTn id="36" dur="1" fill="hold">
                                          <p:stCondLst>
                                            <p:cond delay="0"/>
                                          </p:stCondLst>
                                        </p:cTn>
                                        <p:tgtEl>
                                          <p:spTgt spid="40"/>
                                        </p:tgtEl>
                                        <p:attrNameLst>
                                          <p:attrName>style.visibility</p:attrName>
                                        </p:attrNameLst>
                                      </p:cBhvr>
                                      <p:to>
                                        <p:strVal val="visible"/>
                                      </p:to>
                                    </p:set>
                                    <p:anim calcmode="lin" valueType="num">
                                      <p:cBhvr>
                                        <p:cTn id="37" dur="500" fill="hold"/>
                                        <p:tgtEl>
                                          <p:spTgt spid="40"/>
                                        </p:tgtEl>
                                        <p:attrNameLst>
                                          <p:attrName>ppt_w</p:attrName>
                                        </p:attrNameLst>
                                      </p:cBhvr>
                                      <p:tavLst>
                                        <p:tav tm="0">
                                          <p:val>
                                            <p:strVal val="4/3*#ppt_w"/>
                                          </p:val>
                                        </p:tav>
                                        <p:tav tm="100000">
                                          <p:val>
                                            <p:strVal val="#ppt_w"/>
                                          </p:val>
                                        </p:tav>
                                      </p:tavLst>
                                    </p:anim>
                                    <p:anim calcmode="lin" valueType="num">
                                      <p:cBhvr>
                                        <p:cTn id="38" dur="500" fill="hold"/>
                                        <p:tgtEl>
                                          <p:spTgt spid="40"/>
                                        </p:tgtEl>
                                        <p:attrNameLst>
                                          <p:attrName>ppt_h</p:attrName>
                                        </p:attrNameLst>
                                      </p:cBhvr>
                                      <p:tavLst>
                                        <p:tav tm="0">
                                          <p:val>
                                            <p:strVal val="4/3*#ppt_h"/>
                                          </p:val>
                                        </p:tav>
                                        <p:tav tm="100000">
                                          <p:val>
                                            <p:strVal val="#ppt_h"/>
                                          </p:val>
                                        </p:tav>
                                      </p:tavLst>
                                    </p:anim>
                                  </p:childTnLst>
                                </p:cTn>
                              </p:par>
                              <p:par>
                                <p:cTn id="39" presetID="10" presetClass="entr" presetSubtype="0" fill="hold" nodeType="withEffect">
                                  <p:stCondLst>
                                    <p:cond delay="2000"/>
                                  </p:stCondLst>
                                  <p:childTnLst>
                                    <p:set>
                                      <p:cBhvr>
                                        <p:cTn id="40" dur="1" fill="hold">
                                          <p:stCondLst>
                                            <p:cond delay="0"/>
                                          </p:stCondLst>
                                        </p:cTn>
                                        <p:tgtEl>
                                          <p:spTgt spid="22"/>
                                        </p:tgtEl>
                                        <p:attrNameLst>
                                          <p:attrName>style.visibility</p:attrName>
                                        </p:attrNameLst>
                                      </p:cBhvr>
                                      <p:to>
                                        <p:strVal val="visible"/>
                                      </p:to>
                                    </p:set>
                                    <p:animEffect transition="in" filter="fade">
                                      <p:cBhvr>
                                        <p:cTn id="41" dur="500"/>
                                        <p:tgtEl>
                                          <p:spTgt spid="22"/>
                                        </p:tgtEl>
                                      </p:cBhvr>
                                    </p:animEffect>
                                  </p:childTnLst>
                                </p:cTn>
                              </p:par>
                              <p:par>
                                <p:cTn id="42" presetID="16" presetClass="entr" presetSubtype="37" fill="hold" nodeType="withEffect">
                                  <p:stCondLst>
                                    <p:cond delay="2000"/>
                                  </p:stCondLst>
                                  <p:childTnLst>
                                    <p:set>
                                      <p:cBhvr>
                                        <p:cTn id="43" dur="1" fill="hold">
                                          <p:stCondLst>
                                            <p:cond delay="0"/>
                                          </p:stCondLst>
                                        </p:cTn>
                                        <p:tgtEl>
                                          <p:spTgt spid="55"/>
                                        </p:tgtEl>
                                        <p:attrNameLst>
                                          <p:attrName>style.visibility</p:attrName>
                                        </p:attrNameLst>
                                      </p:cBhvr>
                                      <p:to>
                                        <p:strVal val="visible"/>
                                      </p:to>
                                    </p:set>
                                    <p:animEffect transition="in" filter="barn(outVertical)">
                                      <p:cBhvr>
                                        <p:cTn id="44" dur="500"/>
                                        <p:tgtEl>
                                          <p:spTgt spid="55"/>
                                        </p:tgtEl>
                                      </p:cBhvr>
                                    </p:animEffect>
                                  </p:childTnLst>
                                </p:cTn>
                              </p:par>
                              <p:par>
                                <p:cTn id="45" presetID="10" presetClass="entr" presetSubtype="0" fill="hold" grpId="0" nodeType="withEffect">
                                  <p:stCondLst>
                                    <p:cond delay="2250"/>
                                  </p:stCondLst>
                                  <p:childTnLst>
                                    <p:set>
                                      <p:cBhvr>
                                        <p:cTn id="46" dur="1" fill="hold">
                                          <p:stCondLst>
                                            <p:cond delay="0"/>
                                          </p:stCondLst>
                                        </p:cTn>
                                        <p:tgtEl>
                                          <p:spTgt spid="56"/>
                                        </p:tgtEl>
                                        <p:attrNameLst>
                                          <p:attrName>style.visibility</p:attrName>
                                        </p:attrNameLst>
                                      </p:cBhvr>
                                      <p:to>
                                        <p:strVal val="visible"/>
                                      </p:to>
                                    </p:set>
                                    <p:animEffect transition="in" filter="fade">
                                      <p:cBhvr>
                                        <p:cTn id="47" dur="500"/>
                                        <p:tgtEl>
                                          <p:spTgt spid="56"/>
                                        </p:tgtEl>
                                      </p:cBhvr>
                                    </p:animEffect>
                                  </p:childTnLst>
                                </p:cTn>
                              </p:par>
                              <p:par>
                                <p:cTn id="48" presetID="35" presetClass="path" presetSubtype="0" accel="17000" decel="83000" fill="hold" grpId="1" nodeType="withEffect">
                                  <p:stCondLst>
                                    <p:cond delay="2250"/>
                                  </p:stCondLst>
                                  <p:childTnLst>
                                    <p:animMotion origin="layout" path="M 0.00053 -0.04485 L 4.18592E-6 4.74757E-6 " pathEditMode="relative" rAng="0" ptsTypes="AA">
                                      <p:cBhvr>
                                        <p:cTn id="49" dur="1100" fill="hold"/>
                                        <p:tgtEl>
                                          <p:spTgt spid="56"/>
                                        </p:tgtEl>
                                        <p:attrNameLst>
                                          <p:attrName>ppt_x</p:attrName>
                                          <p:attrName>ppt_y</p:attrName>
                                        </p:attrNameLst>
                                      </p:cBhvr>
                                      <p:rCtr x="-35" y="222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p:bldP spid="5" grpId="1"/>
      <p:bldP spid="50" grpId="0"/>
      <p:bldP spid="50" grpId="1"/>
      <p:bldP spid="56" grpId="0"/>
      <p:bldP spid="56"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descr="Imagem em branco e azul&#10;&#10;Descrição gerada automaticamente com confiança média">
            <a:extLst>
              <a:ext uri="{FF2B5EF4-FFF2-40B4-BE49-F238E27FC236}">
                <a16:creationId xmlns:a16="http://schemas.microsoft.com/office/drawing/2014/main" id="{E88E354D-46D4-F741-FC20-4DA4F799B66D}"/>
              </a:ext>
            </a:extLst>
          </p:cNvPr>
          <p:cNvPicPr>
            <a:picLocks noChangeAspect="1"/>
          </p:cNvPicPr>
          <p:nvPr>
            <p:custDataLst>
              <p:tags r:id="rId1"/>
            </p:custDataLst>
          </p:nvPr>
        </p:nvPicPr>
        <p:blipFill>
          <a:blip r:embed="rId9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248" name="Imagem 247" descr="Desenho de uma pessoa&#10;&#10;Descrição gerada automaticamente com confiança baixa">
            <a:extLst>
              <a:ext uri="{FF2B5EF4-FFF2-40B4-BE49-F238E27FC236}">
                <a16:creationId xmlns:a16="http://schemas.microsoft.com/office/drawing/2014/main" id="{7B4ADB2A-24BF-2CA6-43A5-78266B2992E1}"/>
              </a:ext>
            </a:extLst>
          </p:cNvPr>
          <p:cNvPicPr>
            <a:picLocks noChangeAspect="1"/>
          </p:cNvPicPr>
          <p:nvPr>
            <p:custDataLst>
              <p:tags r:id="rId2"/>
            </p:custDataLst>
          </p:nvPr>
        </p:nvPicPr>
        <p:blipFill>
          <a:blip r:embed="rId92">
            <a:extLst>
              <a:ext uri="{28A0092B-C50C-407E-A947-70E740481C1C}">
                <a14:useLocalDpi xmlns:a14="http://schemas.microsoft.com/office/drawing/2010/main"/>
              </a:ext>
            </a:extLst>
          </a:blip>
          <a:srcRect t="3605"/>
          <a:stretch>
            <a:fillRect/>
          </a:stretch>
        </p:blipFill>
        <p:spPr>
          <a:xfrm>
            <a:off x="0" y="0"/>
            <a:ext cx="8999538" cy="4879741"/>
          </a:xfrm>
          <a:prstGeom prst="rect">
            <a:avLst/>
          </a:prstGeom>
        </p:spPr>
      </p:pic>
      <p:graphicFrame>
        <p:nvGraphicFramePr>
          <p:cNvPr id="23" name="think-cell data - do not delete" hidden="1">
            <a:extLst>
              <a:ext uri="{FF2B5EF4-FFF2-40B4-BE49-F238E27FC236}">
                <a16:creationId xmlns:a16="http://schemas.microsoft.com/office/drawing/2014/main" id="{1D92E1B4-AE2E-3499-D7EA-6D6FD26DC6C4}"/>
              </a:ext>
            </a:extLst>
          </p:cNvPr>
          <p:cNvGraphicFramePr>
            <a:graphicFrameLocks noChangeAspect="1"/>
          </p:cNvGraphicFramePr>
          <p:nvPr>
            <p:custDataLst>
              <p:tags r:id="rId3"/>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93" imgW="0" imgH="0" progId="TCLayout.ActiveDocument.1">
                  <p:embed/>
                </p:oleObj>
              </mc:Choice>
              <mc:Fallback>
                <p:oleObj name="Slide do think-cell" r:id="rId93" imgW="0" imgH="0" progId="TCLayout.ActiveDocument.1">
                  <p:embed/>
                  <p:pic>
                    <p:nvPicPr>
                      <p:cNvPr id="0" name="OLE substitute image"/>
                      <p:cNvPicPr/>
                      <p:nvPr/>
                    </p:nvPicPr>
                    <p:blipFill>
                      <a:blip r:embed="rId94"/>
                      <a:stretch>
                        <a:fillRect/>
                      </a:stretch>
                    </p:blipFill>
                    <p:spPr>
                      <a:xfrm>
                        <a:off x="1173" y="1321"/>
                        <a:ext cx="1172" cy="1172"/>
                      </a:xfrm>
                      <a:prstGeom prst="rect">
                        <a:avLst/>
                      </a:prstGeom>
                    </p:spPr>
                  </p:pic>
                </p:oleObj>
              </mc:Fallback>
            </mc:AlternateContent>
          </a:graphicData>
        </a:graphic>
      </p:graphicFrame>
      <p:grpSp>
        <p:nvGrpSpPr>
          <p:cNvPr id="64" name="Agrupar 63">
            <a:extLst>
              <a:ext uri="{FF2B5EF4-FFF2-40B4-BE49-F238E27FC236}">
                <a16:creationId xmlns:a16="http://schemas.microsoft.com/office/drawing/2014/main" id="{8CF34D12-6804-CEEF-201A-B3644E3E3B00}"/>
              </a:ext>
            </a:extLst>
          </p:cNvPr>
          <p:cNvGrpSpPr/>
          <p:nvPr>
            <p:custDataLst>
              <p:tags r:id="rId4"/>
            </p:custDataLst>
          </p:nvPr>
        </p:nvGrpSpPr>
        <p:grpSpPr>
          <a:xfrm>
            <a:off x="829651" y="1224502"/>
            <a:ext cx="7002207" cy="402738"/>
            <a:chOff x="857661" y="1827595"/>
            <a:chExt cx="7002207" cy="402738"/>
          </a:xfrm>
        </p:grpSpPr>
        <p:sp>
          <p:nvSpPr>
            <p:cNvPr id="41" name="CaixaDeTexto 40">
              <a:extLst>
                <a:ext uri="{FF2B5EF4-FFF2-40B4-BE49-F238E27FC236}">
                  <a16:creationId xmlns:a16="http://schemas.microsoft.com/office/drawing/2014/main" id="{A85C3448-433F-7B31-7681-7AEB1C54C37F}"/>
                </a:ext>
              </a:extLst>
            </p:cNvPr>
            <p:cNvSpPr txBox="1"/>
            <p:nvPr>
              <p:custDataLst>
                <p:tags r:id="rId87"/>
              </p:custDataLst>
            </p:nvPr>
          </p:nvSpPr>
          <p:spPr>
            <a:xfrm>
              <a:off x="3595797" y="1827595"/>
              <a:ext cx="4264071" cy="402738"/>
            </a:xfrm>
            <a:prstGeom prst="rect">
              <a:avLst/>
            </a:prstGeom>
            <a:noFill/>
          </p:spPr>
          <p:txBody>
            <a:bodyPr wrap="square" rtlCol="0">
              <a:spAutoFit/>
            </a:bodyPr>
            <a:lstStyle/>
            <a:p>
              <a:pPr lvl="0" defTabSz="675010">
                <a:lnSpc>
                  <a:spcPct val="85000"/>
                </a:lnSpc>
                <a:spcBef>
                  <a:spcPts val="148"/>
                </a:spcBef>
                <a:spcAft>
                  <a:spcPts val="148"/>
                </a:spcAft>
                <a:defRPr/>
              </a:pPr>
              <a:r>
                <a:rPr lang="en-US" sz="2400" b="1" i="0" u="none" strike="noStrike" cap="none" baseline="0" dirty="0">
                  <a:solidFill>
                    <a:srgbClr val="002581"/>
                  </a:solidFill>
                  <a:effectLst/>
                  <a:uFillTx/>
                  <a:latin typeface="Segoe UI Black"/>
                </a:rPr>
                <a:t>SOLUTIONS PROVIDER </a:t>
              </a:r>
            </a:p>
          </p:txBody>
        </p:sp>
        <p:sp>
          <p:nvSpPr>
            <p:cNvPr id="42" name="CaixaDeTexto 41">
              <a:extLst>
                <a:ext uri="{FF2B5EF4-FFF2-40B4-BE49-F238E27FC236}">
                  <a16:creationId xmlns:a16="http://schemas.microsoft.com/office/drawing/2014/main" id="{66FA475F-639C-C549-BA85-A54FC6544CEC}"/>
                </a:ext>
              </a:extLst>
            </p:cNvPr>
            <p:cNvSpPr txBox="1"/>
            <p:nvPr>
              <p:custDataLst>
                <p:tags r:id="rId88"/>
              </p:custDataLst>
            </p:nvPr>
          </p:nvSpPr>
          <p:spPr>
            <a:xfrm>
              <a:off x="857661" y="1891792"/>
              <a:ext cx="3336199" cy="311207"/>
            </a:xfrm>
            <a:prstGeom prst="rect">
              <a:avLst/>
            </a:prstGeom>
            <a:noFill/>
          </p:spPr>
          <p:txBody>
            <a:bodyPr wrap="square" rtlCol="0" anchor="ctr">
              <a:spAutoFit/>
            </a:bodyPr>
            <a:lstStyle/>
            <a:p>
              <a:pPr lvl="0" defTabSz="449931">
                <a:lnSpc>
                  <a:spcPct val="80000"/>
                </a:lnSpc>
                <a:spcBef>
                  <a:spcPts val="148"/>
                </a:spcBef>
                <a:spcAft>
                  <a:spcPts val="148"/>
                </a:spcAft>
                <a:defRPr/>
              </a:pPr>
              <a:r>
                <a:rPr lang="en-US" sz="1800" b="0" i="0" u="none" strike="noStrike" cap="none" spc="300" baseline="0" dirty="0">
                  <a:solidFill>
                    <a:srgbClr val="002581"/>
                  </a:solidFill>
                  <a:effectLst/>
                  <a:uFillTx/>
                  <a:latin typeface="Segoe UI Light"/>
                </a:rPr>
                <a:t>WE ARE A COMPANY</a:t>
              </a:r>
            </a:p>
          </p:txBody>
        </p:sp>
      </p:grpSp>
      <p:sp>
        <p:nvSpPr>
          <p:cNvPr id="44" name="CaixaDeTexto 43">
            <a:extLst>
              <a:ext uri="{FF2B5EF4-FFF2-40B4-BE49-F238E27FC236}">
                <a16:creationId xmlns:a16="http://schemas.microsoft.com/office/drawing/2014/main" id="{F3064D0E-B8FF-DCF8-2602-6A522842988A}"/>
              </a:ext>
            </a:extLst>
          </p:cNvPr>
          <p:cNvSpPr txBox="1"/>
          <p:nvPr>
            <p:custDataLst>
              <p:tags r:id="rId5"/>
            </p:custDataLst>
          </p:nvPr>
        </p:nvSpPr>
        <p:spPr>
          <a:xfrm>
            <a:off x="3255705" y="1508555"/>
            <a:ext cx="5859444" cy="387798"/>
          </a:xfrm>
          <a:prstGeom prst="rect">
            <a:avLst/>
          </a:prstGeom>
          <a:noFill/>
        </p:spPr>
        <p:txBody>
          <a:bodyPr wrap="square" rtlCol="0" anchor="ctr">
            <a:spAutoFit/>
          </a:bodyPr>
          <a:lstStyle/>
          <a:p>
            <a:pPr lvl="0" algn="ctr" defTabSz="449931">
              <a:lnSpc>
                <a:spcPct val="80000"/>
              </a:lnSpc>
              <a:spcBef>
                <a:spcPts val="148"/>
              </a:spcBef>
              <a:spcAft>
                <a:spcPts val="148"/>
              </a:spcAft>
              <a:defRPr/>
            </a:pPr>
            <a:r>
              <a:rPr lang="en-US" sz="1600" b="0" i="0" u="none" strike="noStrike" cap="none" spc="300" baseline="0" dirty="0">
                <a:solidFill>
                  <a:srgbClr val="002581"/>
                </a:solidFill>
                <a:effectLst/>
                <a:uFillTx/>
                <a:latin typeface="Segoe UI Light"/>
              </a:rPr>
              <a:t>FOR </a:t>
            </a:r>
            <a:r>
              <a:rPr lang="en-US" sz="2400" b="1">
                <a:solidFill>
                  <a:srgbClr val="002581"/>
                </a:solidFill>
                <a:latin typeface="Segoe UI Black"/>
              </a:rPr>
              <a:t>ENERGY</a:t>
            </a:r>
            <a:r>
              <a:rPr lang="en-US" sz="1600" b="0" i="0" u="none" strike="noStrike" cap="none" spc="300" baseline="0">
                <a:solidFill>
                  <a:srgbClr val="002581"/>
                </a:solidFill>
                <a:effectLst/>
                <a:uFillTx/>
                <a:latin typeface="Segoe UI Light"/>
              </a:rPr>
              <a:t> </a:t>
            </a:r>
            <a:r>
              <a:rPr lang="en-US" sz="2400" b="1">
                <a:solidFill>
                  <a:srgbClr val="002581"/>
                </a:solidFill>
                <a:latin typeface="Segoe UI Black"/>
              </a:rPr>
              <a:t>TRANSITION</a:t>
            </a:r>
            <a:endParaRPr lang="en-US" sz="2400" b="1" dirty="0">
              <a:solidFill>
                <a:srgbClr val="002581"/>
              </a:solidFill>
              <a:latin typeface="Segoe UI Black"/>
            </a:endParaRPr>
          </a:p>
        </p:txBody>
      </p:sp>
      <p:grpSp>
        <p:nvGrpSpPr>
          <p:cNvPr id="53" name="Agrupar 52">
            <a:extLst>
              <a:ext uri="{FF2B5EF4-FFF2-40B4-BE49-F238E27FC236}">
                <a16:creationId xmlns:a16="http://schemas.microsoft.com/office/drawing/2014/main" id="{7BF0C417-E73E-9643-C21E-AE4B62C605CD}"/>
              </a:ext>
            </a:extLst>
          </p:cNvPr>
          <p:cNvGrpSpPr/>
          <p:nvPr>
            <p:custDataLst>
              <p:tags r:id="rId6"/>
            </p:custDataLst>
          </p:nvPr>
        </p:nvGrpSpPr>
        <p:grpSpPr>
          <a:xfrm>
            <a:off x="1066335" y="1920599"/>
            <a:ext cx="2274036" cy="360978"/>
            <a:chOff x="391319" y="1212813"/>
            <a:chExt cx="2829238" cy="286497"/>
          </a:xfrm>
        </p:grpSpPr>
        <p:sp>
          <p:nvSpPr>
            <p:cNvPr id="54" name="Retângulo: Cantos Arredondados 53">
              <a:extLst>
                <a:ext uri="{FF2B5EF4-FFF2-40B4-BE49-F238E27FC236}">
                  <a16:creationId xmlns:a16="http://schemas.microsoft.com/office/drawing/2014/main" id="{22F4DE99-4C46-B85D-0978-A7AB9BFEA686}"/>
                </a:ext>
              </a:extLst>
            </p:cNvPr>
            <p:cNvSpPr/>
            <p:nvPr>
              <p:custDataLst>
                <p:tags r:id="rId85"/>
              </p:custDataLst>
            </p:nvPr>
          </p:nvSpPr>
          <p:spPr>
            <a:xfrm>
              <a:off x="391319" y="1212813"/>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schemeClr val="bg1"/>
                </a:solidFill>
                <a:effectLst/>
                <a:uLnTx/>
                <a:uFillTx/>
                <a:latin typeface="Calibri" panose="020F0502020204030204"/>
                <a:ea typeface="+mn-ea"/>
                <a:cs typeface="+mn-cs"/>
              </a:endParaRPr>
            </a:p>
          </p:txBody>
        </p:sp>
        <p:sp>
          <p:nvSpPr>
            <p:cNvPr id="55" name="CaixaDeTexto 54">
              <a:extLst>
                <a:ext uri="{FF2B5EF4-FFF2-40B4-BE49-F238E27FC236}">
                  <a16:creationId xmlns:a16="http://schemas.microsoft.com/office/drawing/2014/main" id="{161A5C4E-C38A-6BC4-0626-F60C1C28FE65}"/>
                </a:ext>
              </a:extLst>
            </p:cNvPr>
            <p:cNvSpPr txBox="1"/>
            <p:nvPr>
              <p:custDataLst>
                <p:tags r:id="rId86"/>
              </p:custDataLst>
            </p:nvPr>
          </p:nvSpPr>
          <p:spPr>
            <a:xfrm>
              <a:off x="421906" y="1276177"/>
              <a:ext cx="2744976" cy="19053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1" i="0" u="none" strike="noStrike" cap="none" spc="0" baseline="0" dirty="0">
                  <a:solidFill>
                    <a:srgbClr val="FFFFFF"/>
                  </a:solidFill>
                  <a:effectLst/>
                  <a:uFillTx/>
                  <a:latin typeface="Segoe UI"/>
                </a:rPr>
                <a:t>We observe the trends</a:t>
              </a:r>
            </a:p>
          </p:txBody>
        </p:sp>
      </p:grpSp>
      <p:grpSp>
        <p:nvGrpSpPr>
          <p:cNvPr id="56" name="Agrupar 55">
            <a:extLst>
              <a:ext uri="{FF2B5EF4-FFF2-40B4-BE49-F238E27FC236}">
                <a16:creationId xmlns:a16="http://schemas.microsoft.com/office/drawing/2014/main" id="{447072C4-603F-6689-E0F2-0F6A3BE698A8}"/>
              </a:ext>
            </a:extLst>
          </p:cNvPr>
          <p:cNvGrpSpPr/>
          <p:nvPr>
            <p:custDataLst>
              <p:tags r:id="rId7"/>
            </p:custDataLst>
          </p:nvPr>
        </p:nvGrpSpPr>
        <p:grpSpPr>
          <a:xfrm>
            <a:off x="1066335" y="3574280"/>
            <a:ext cx="2274036" cy="387798"/>
            <a:chOff x="391319" y="1199409"/>
            <a:chExt cx="2829238" cy="307782"/>
          </a:xfrm>
        </p:grpSpPr>
        <p:sp>
          <p:nvSpPr>
            <p:cNvPr id="57" name="Retângulo: Cantos Arredondados 56">
              <a:extLst>
                <a:ext uri="{FF2B5EF4-FFF2-40B4-BE49-F238E27FC236}">
                  <a16:creationId xmlns:a16="http://schemas.microsoft.com/office/drawing/2014/main" id="{DBC9A3DD-524F-D188-F7A5-E5F297341FBF}"/>
                </a:ext>
              </a:extLst>
            </p:cNvPr>
            <p:cNvSpPr/>
            <p:nvPr>
              <p:custDataLst>
                <p:tags r:id="rId83"/>
              </p:custDataLst>
            </p:nvPr>
          </p:nvSpPr>
          <p:spPr>
            <a:xfrm>
              <a:off x="391319" y="1212813"/>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58" name="CaixaDeTexto 57">
              <a:extLst>
                <a:ext uri="{FF2B5EF4-FFF2-40B4-BE49-F238E27FC236}">
                  <a16:creationId xmlns:a16="http://schemas.microsoft.com/office/drawing/2014/main" id="{14B35F02-E8D3-8B0D-A8A2-96EB08820E00}"/>
                </a:ext>
              </a:extLst>
            </p:cNvPr>
            <p:cNvSpPr txBox="1"/>
            <p:nvPr>
              <p:custDataLst>
                <p:tags r:id="rId84"/>
              </p:custDataLst>
            </p:nvPr>
          </p:nvSpPr>
          <p:spPr>
            <a:xfrm>
              <a:off x="440255" y="1200744"/>
              <a:ext cx="2744976" cy="30511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1" i="0" u="none" strike="noStrike" cap="none" spc="0" baseline="0" dirty="0">
                  <a:solidFill>
                    <a:srgbClr val="FFFFFF"/>
                  </a:solidFill>
                  <a:effectLst/>
                  <a:uFillTx/>
                  <a:latin typeface="Segoe UI"/>
                </a:rPr>
                <a:t>We align with</a:t>
              </a:r>
              <a:br>
                <a:rPr sz="1200" spc="0"/>
              </a:br>
              <a:r>
                <a:rPr lang="en-US" sz="1200" b="1" i="0" u="none" strike="noStrike" cap="none" spc="0" baseline="0">
                  <a:solidFill>
                    <a:srgbClr val="FFFFFF"/>
                  </a:solidFill>
                  <a:effectLst/>
                  <a:uFillTx/>
                  <a:latin typeface="Segoe UI"/>
                </a:rPr>
                <a:t>2030 </a:t>
              </a:r>
              <a:r>
                <a:rPr lang="en-US" sz="1200" b="1" i="0" u="none" strike="noStrike" cap="none" spc="0" baseline="0" dirty="0">
                  <a:solidFill>
                    <a:srgbClr val="FFFFFF"/>
                  </a:solidFill>
                  <a:effectLst/>
                  <a:uFillTx/>
                  <a:latin typeface="Segoe UI"/>
                </a:rPr>
                <a:t>Strategy</a:t>
              </a:r>
            </a:p>
          </p:txBody>
        </p:sp>
      </p:grpSp>
      <p:grpSp>
        <p:nvGrpSpPr>
          <p:cNvPr id="74" name="Agrupar 73">
            <a:extLst>
              <a:ext uri="{FF2B5EF4-FFF2-40B4-BE49-F238E27FC236}">
                <a16:creationId xmlns:a16="http://schemas.microsoft.com/office/drawing/2014/main" id="{2831785B-5E84-BD0A-D449-791C1CC18A98}"/>
              </a:ext>
            </a:extLst>
          </p:cNvPr>
          <p:cNvGrpSpPr/>
          <p:nvPr>
            <p:custDataLst>
              <p:tags r:id="rId8"/>
            </p:custDataLst>
          </p:nvPr>
        </p:nvGrpSpPr>
        <p:grpSpPr>
          <a:xfrm>
            <a:off x="3572142" y="1920599"/>
            <a:ext cx="4973004" cy="360978"/>
            <a:chOff x="3572142" y="1997513"/>
            <a:chExt cx="4973004" cy="360978"/>
          </a:xfrm>
        </p:grpSpPr>
        <p:sp>
          <p:nvSpPr>
            <p:cNvPr id="60" name="Retângulo: Cantos Arredondados 59">
              <a:extLst>
                <a:ext uri="{FF2B5EF4-FFF2-40B4-BE49-F238E27FC236}">
                  <a16:creationId xmlns:a16="http://schemas.microsoft.com/office/drawing/2014/main" id="{4533C434-AA8E-7368-3627-DF61CB156E06}"/>
                </a:ext>
              </a:extLst>
            </p:cNvPr>
            <p:cNvSpPr/>
            <p:nvPr>
              <p:custDataLst>
                <p:tags r:id="rId81"/>
              </p:custDataLst>
            </p:nvPr>
          </p:nvSpPr>
          <p:spPr>
            <a:xfrm>
              <a:off x="3572142" y="1997513"/>
              <a:ext cx="4973004" cy="36097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61" name="CaixaDeTexto 60">
              <a:extLst>
                <a:ext uri="{FF2B5EF4-FFF2-40B4-BE49-F238E27FC236}">
                  <a16:creationId xmlns:a16="http://schemas.microsoft.com/office/drawing/2014/main" id="{D703226E-848F-7648-9070-6C3252FCE0A3}"/>
                </a:ext>
              </a:extLst>
            </p:cNvPr>
            <p:cNvSpPr txBox="1"/>
            <p:nvPr>
              <p:custDataLst>
                <p:tags r:id="rId82"/>
              </p:custDataLst>
            </p:nvPr>
          </p:nvSpPr>
          <p:spPr>
            <a:xfrm>
              <a:off x="3674285" y="2068118"/>
              <a:ext cx="4824894" cy="23798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1" i="0" u="none" strike="noStrike" cap="none" spc="0" baseline="0" dirty="0">
                  <a:solidFill>
                    <a:srgbClr val="FFFFFF"/>
                  </a:solidFill>
                  <a:effectLst/>
                  <a:uFillTx/>
                  <a:latin typeface="Segoe UI"/>
                </a:rPr>
                <a:t>And we create opportunities</a:t>
              </a:r>
            </a:p>
          </p:txBody>
        </p:sp>
      </p:grpSp>
      <p:grpSp>
        <p:nvGrpSpPr>
          <p:cNvPr id="49" name="Agrupar 48">
            <a:extLst>
              <a:ext uri="{FF2B5EF4-FFF2-40B4-BE49-F238E27FC236}">
                <a16:creationId xmlns:a16="http://schemas.microsoft.com/office/drawing/2014/main" id="{2A6BE7B1-197B-3BBC-4CBB-6D0EA2FA8ABB}"/>
              </a:ext>
            </a:extLst>
          </p:cNvPr>
          <p:cNvGrpSpPr/>
          <p:nvPr>
            <p:custDataLst>
              <p:tags r:id="rId9"/>
            </p:custDataLst>
          </p:nvPr>
        </p:nvGrpSpPr>
        <p:grpSpPr>
          <a:xfrm>
            <a:off x="475212" y="3557695"/>
            <a:ext cx="466686" cy="466686"/>
            <a:chOff x="475212" y="3513378"/>
            <a:chExt cx="466686" cy="466686"/>
          </a:xfrm>
        </p:grpSpPr>
        <p:sp>
          <p:nvSpPr>
            <p:cNvPr id="2" name="Elipse 1">
              <a:extLst>
                <a:ext uri="{FF2B5EF4-FFF2-40B4-BE49-F238E27FC236}">
                  <a16:creationId xmlns:a16="http://schemas.microsoft.com/office/drawing/2014/main" id="{CF8E4C84-A5F5-36B9-A88E-28B76A3E19FE}"/>
                </a:ext>
              </a:extLst>
            </p:cNvPr>
            <p:cNvSpPr/>
            <p:nvPr>
              <p:custDataLst>
                <p:tags r:id="rId63"/>
              </p:custDataLst>
            </p:nvPr>
          </p:nvSpPr>
          <p:spPr>
            <a:xfrm>
              <a:off x="475212" y="3513378"/>
              <a:ext cx="466686" cy="466686"/>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48" name="Agrupar 47">
              <a:extLst>
                <a:ext uri="{FF2B5EF4-FFF2-40B4-BE49-F238E27FC236}">
                  <a16:creationId xmlns:a16="http://schemas.microsoft.com/office/drawing/2014/main" id="{7E7B33C6-344B-9FC8-CF60-44D410A83E3D}"/>
                </a:ext>
              </a:extLst>
            </p:cNvPr>
            <p:cNvGrpSpPr/>
            <p:nvPr>
              <p:custDataLst>
                <p:tags r:id="rId64"/>
              </p:custDataLst>
            </p:nvPr>
          </p:nvGrpSpPr>
          <p:grpSpPr>
            <a:xfrm>
              <a:off x="561190" y="3570630"/>
              <a:ext cx="298092" cy="297866"/>
              <a:chOff x="-160366" y="1997406"/>
              <a:chExt cx="590763" cy="590315"/>
            </a:xfrm>
            <a:solidFill>
              <a:schemeClr val="bg1"/>
            </a:solidFill>
          </p:grpSpPr>
          <p:sp>
            <p:nvSpPr>
              <p:cNvPr id="17" name="Forma Livre: Forma 16">
                <a:extLst>
                  <a:ext uri="{FF2B5EF4-FFF2-40B4-BE49-F238E27FC236}">
                    <a16:creationId xmlns:a16="http://schemas.microsoft.com/office/drawing/2014/main" id="{44826EA7-4EFE-EC08-2F3F-E4AEFAE0AFB7}"/>
                  </a:ext>
                </a:extLst>
              </p:cNvPr>
              <p:cNvSpPr/>
              <p:nvPr>
                <p:custDataLst>
                  <p:tags r:id="rId65"/>
                </p:custDataLst>
              </p:nvPr>
            </p:nvSpPr>
            <p:spPr>
              <a:xfrm>
                <a:off x="106535" y="2159093"/>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 name="Forma Livre: Forma 17">
                <a:extLst>
                  <a:ext uri="{FF2B5EF4-FFF2-40B4-BE49-F238E27FC236}">
                    <a16:creationId xmlns:a16="http://schemas.microsoft.com/office/drawing/2014/main" id="{DBB8532D-A07A-4789-AACC-92FE0793014B}"/>
                  </a:ext>
                </a:extLst>
              </p:cNvPr>
              <p:cNvSpPr/>
              <p:nvPr>
                <p:custDataLst>
                  <p:tags r:id="rId66"/>
                </p:custDataLst>
              </p:nvPr>
            </p:nvSpPr>
            <p:spPr>
              <a:xfrm>
                <a:off x="144635" y="2159093"/>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9" name="Forma Livre: Forma 18">
                <a:extLst>
                  <a:ext uri="{FF2B5EF4-FFF2-40B4-BE49-F238E27FC236}">
                    <a16:creationId xmlns:a16="http://schemas.microsoft.com/office/drawing/2014/main" id="{29DF1463-3B91-176C-9F4B-B1D98CF26382}"/>
                  </a:ext>
                </a:extLst>
              </p:cNvPr>
              <p:cNvSpPr/>
              <p:nvPr>
                <p:custDataLst>
                  <p:tags r:id="rId67"/>
                </p:custDataLst>
              </p:nvPr>
            </p:nvSpPr>
            <p:spPr>
              <a:xfrm>
                <a:off x="106535" y="2120993"/>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0" name="Forma Livre: Forma 19">
                <a:extLst>
                  <a:ext uri="{FF2B5EF4-FFF2-40B4-BE49-F238E27FC236}">
                    <a16:creationId xmlns:a16="http://schemas.microsoft.com/office/drawing/2014/main" id="{97E756E7-4310-EB84-D0DD-608622FC548D}"/>
                  </a:ext>
                </a:extLst>
              </p:cNvPr>
              <p:cNvSpPr/>
              <p:nvPr>
                <p:custDataLst>
                  <p:tags r:id="rId68"/>
                </p:custDataLst>
              </p:nvPr>
            </p:nvSpPr>
            <p:spPr>
              <a:xfrm>
                <a:off x="144635" y="2120993"/>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1" name="Forma Livre: Forma 20">
                <a:extLst>
                  <a:ext uri="{FF2B5EF4-FFF2-40B4-BE49-F238E27FC236}">
                    <a16:creationId xmlns:a16="http://schemas.microsoft.com/office/drawing/2014/main" id="{F0B94088-16FC-2F51-E3AB-1F997D9320D7}"/>
                  </a:ext>
                </a:extLst>
              </p:cNvPr>
              <p:cNvSpPr/>
              <p:nvPr>
                <p:custDataLst>
                  <p:tags r:id="rId69"/>
                </p:custDataLst>
              </p:nvPr>
            </p:nvSpPr>
            <p:spPr>
              <a:xfrm>
                <a:off x="68450" y="1997406"/>
                <a:ext cx="133249" cy="104536"/>
              </a:xfrm>
              <a:custGeom>
                <a:avLst/>
                <a:gdLst>
                  <a:gd name="connsiteX0" fmla="*/ 95235 w 133249"/>
                  <a:gd name="connsiteY0" fmla="*/ 95012 h 104536"/>
                  <a:gd name="connsiteX1" fmla="*/ 123810 w 133249"/>
                  <a:gd name="connsiteY1" fmla="*/ 95012 h 104536"/>
                  <a:gd name="connsiteX2" fmla="*/ 132287 w 133249"/>
                  <a:gd name="connsiteY2" fmla="*/ 89773 h 104536"/>
                  <a:gd name="connsiteX3" fmla="*/ 131430 w 133249"/>
                  <a:gd name="connsiteY3" fmla="*/ 79772 h 104536"/>
                  <a:gd name="connsiteX4" fmla="*/ 74280 w 133249"/>
                  <a:gd name="connsiteY4" fmla="*/ 3572 h 104536"/>
                  <a:gd name="connsiteX5" fmla="*/ 59040 w 133249"/>
                  <a:gd name="connsiteY5" fmla="*/ 3572 h 104536"/>
                  <a:gd name="connsiteX6" fmla="*/ 1890 w 133249"/>
                  <a:gd name="connsiteY6" fmla="*/ 79772 h 104536"/>
                  <a:gd name="connsiteX7" fmla="*/ 1032 w 133249"/>
                  <a:gd name="connsiteY7" fmla="*/ 89773 h 104536"/>
                  <a:gd name="connsiteX8" fmla="*/ 9510 w 133249"/>
                  <a:gd name="connsiteY8" fmla="*/ 95012 h 104536"/>
                  <a:gd name="connsiteX9" fmla="*/ 38085 w 133249"/>
                  <a:gd name="connsiteY9" fmla="*/ 95012 h 104536"/>
                  <a:gd name="connsiteX10" fmla="*/ 38085 w 133249"/>
                  <a:gd name="connsiteY10" fmla="*/ 104537 h 104536"/>
                  <a:gd name="connsiteX11" fmla="*/ 57135 w 133249"/>
                  <a:gd name="connsiteY11" fmla="*/ 104537 h 104536"/>
                  <a:gd name="connsiteX12" fmla="*/ 57135 w 133249"/>
                  <a:gd name="connsiteY12" fmla="*/ 95012 h 104536"/>
                  <a:gd name="connsiteX13" fmla="*/ 76185 w 133249"/>
                  <a:gd name="connsiteY13" fmla="*/ 95012 h 104536"/>
                  <a:gd name="connsiteX14" fmla="*/ 76185 w 133249"/>
                  <a:gd name="connsiteY14" fmla="*/ 104537 h 104536"/>
                  <a:gd name="connsiteX15" fmla="*/ 95235 w 133249"/>
                  <a:gd name="connsiteY15" fmla="*/ 104537 h 104536"/>
                  <a:gd name="connsiteX16" fmla="*/ 95235 w 133249"/>
                  <a:gd name="connsiteY16" fmla="*/ 95012 h 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249" h="104536">
                    <a:moveTo>
                      <a:pt x="95235" y="95012"/>
                    </a:moveTo>
                    <a:lnTo>
                      <a:pt x="123810" y="95012"/>
                    </a:lnTo>
                    <a:cubicBezTo>
                      <a:pt x="127429" y="95012"/>
                      <a:pt x="130763" y="93012"/>
                      <a:pt x="132287" y="89773"/>
                    </a:cubicBezTo>
                    <a:cubicBezTo>
                      <a:pt x="133811" y="86535"/>
                      <a:pt x="133525" y="82725"/>
                      <a:pt x="131430" y="79772"/>
                    </a:cubicBezTo>
                    <a:lnTo>
                      <a:pt x="74280" y="3572"/>
                    </a:lnTo>
                    <a:cubicBezTo>
                      <a:pt x="70660" y="-1191"/>
                      <a:pt x="62659" y="-1191"/>
                      <a:pt x="59040" y="3572"/>
                    </a:cubicBezTo>
                    <a:lnTo>
                      <a:pt x="1890" y="79772"/>
                    </a:lnTo>
                    <a:cubicBezTo>
                      <a:pt x="-301" y="82629"/>
                      <a:pt x="-587" y="86535"/>
                      <a:pt x="1032" y="89773"/>
                    </a:cubicBezTo>
                    <a:cubicBezTo>
                      <a:pt x="2652" y="93012"/>
                      <a:pt x="5985" y="95012"/>
                      <a:pt x="9510" y="95012"/>
                    </a:cubicBezTo>
                    <a:lnTo>
                      <a:pt x="38085" y="95012"/>
                    </a:lnTo>
                    <a:lnTo>
                      <a:pt x="38085" y="104537"/>
                    </a:lnTo>
                    <a:lnTo>
                      <a:pt x="57135" y="104537"/>
                    </a:lnTo>
                    <a:lnTo>
                      <a:pt x="57135" y="95012"/>
                    </a:lnTo>
                    <a:lnTo>
                      <a:pt x="76185" y="95012"/>
                    </a:lnTo>
                    <a:lnTo>
                      <a:pt x="76185" y="104537"/>
                    </a:lnTo>
                    <a:lnTo>
                      <a:pt x="95235" y="104537"/>
                    </a:lnTo>
                    <a:lnTo>
                      <a:pt x="95235" y="95012"/>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2" name="Forma Livre: Forma 21">
                <a:extLst>
                  <a:ext uri="{FF2B5EF4-FFF2-40B4-BE49-F238E27FC236}">
                    <a16:creationId xmlns:a16="http://schemas.microsoft.com/office/drawing/2014/main" id="{AF7D9DE1-F7F7-FD5B-9FC5-BDA4018C2994}"/>
                  </a:ext>
                </a:extLst>
              </p:cNvPr>
              <p:cNvSpPr/>
              <p:nvPr>
                <p:custDataLst>
                  <p:tags r:id="rId70"/>
                </p:custDataLst>
              </p:nvPr>
            </p:nvSpPr>
            <p:spPr>
              <a:xfrm>
                <a:off x="316085" y="23781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4" name="Forma Livre: Forma 23">
                <a:extLst>
                  <a:ext uri="{FF2B5EF4-FFF2-40B4-BE49-F238E27FC236}">
                    <a16:creationId xmlns:a16="http://schemas.microsoft.com/office/drawing/2014/main" id="{85E37A17-253D-BA7E-A438-F5F3C469BA8D}"/>
                  </a:ext>
                </a:extLst>
              </p:cNvPr>
              <p:cNvSpPr/>
              <p:nvPr>
                <p:custDataLst>
                  <p:tags r:id="rId71"/>
                </p:custDataLst>
              </p:nvPr>
            </p:nvSpPr>
            <p:spPr>
              <a:xfrm>
                <a:off x="354185" y="23781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5" name="Forma Livre: Forma 24">
                <a:extLst>
                  <a:ext uri="{FF2B5EF4-FFF2-40B4-BE49-F238E27FC236}">
                    <a16:creationId xmlns:a16="http://schemas.microsoft.com/office/drawing/2014/main" id="{452899A2-E191-9CBD-67A0-7322D89C327B}"/>
                  </a:ext>
                </a:extLst>
              </p:cNvPr>
              <p:cNvSpPr/>
              <p:nvPr>
                <p:custDataLst>
                  <p:tags r:id="rId72"/>
                </p:custDataLst>
              </p:nvPr>
            </p:nvSpPr>
            <p:spPr>
              <a:xfrm>
                <a:off x="316085" y="23400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6" name="Forma Livre: Forma 25">
                <a:extLst>
                  <a:ext uri="{FF2B5EF4-FFF2-40B4-BE49-F238E27FC236}">
                    <a16:creationId xmlns:a16="http://schemas.microsoft.com/office/drawing/2014/main" id="{F21F713A-AA05-30A5-C112-98D5D2C8EEFE}"/>
                  </a:ext>
                </a:extLst>
              </p:cNvPr>
              <p:cNvSpPr/>
              <p:nvPr>
                <p:custDataLst>
                  <p:tags r:id="rId73"/>
                </p:custDataLst>
              </p:nvPr>
            </p:nvSpPr>
            <p:spPr>
              <a:xfrm>
                <a:off x="354185" y="23400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7" name="Forma Livre: Forma 26">
                <a:extLst>
                  <a:ext uri="{FF2B5EF4-FFF2-40B4-BE49-F238E27FC236}">
                    <a16:creationId xmlns:a16="http://schemas.microsoft.com/office/drawing/2014/main" id="{B7C6DFB1-49D6-EF87-0491-B4511FC0A5ED}"/>
                  </a:ext>
                </a:extLst>
              </p:cNvPr>
              <p:cNvSpPr/>
              <p:nvPr>
                <p:custDataLst>
                  <p:tags r:id="rId74"/>
                </p:custDataLst>
              </p:nvPr>
            </p:nvSpPr>
            <p:spPr>
              <a:xfrm>
                <a:off x="278000" y="2216481"/>
                <a:ext cx="133249" cy="104536"/>
              </a:xfrm>
              <a:custGeom>
                <a:avLst/>
                <a:gdLst>
                  <a:gd name="connsiteX0" fmla="*/ 95235 w 133249"/>
                  <a:gd name="connsiteY0" fmla="*/ 95012 h 104536"/>
                  <a:gd name="connsiteX1" fmla="*/ 123810 w 133249"/>
                  <a:gd name="connsiteY1" fmla="*/ 95012 h 104536"/>
                  <a:gd name="connsiteX2" fmla="*/ 132287 w 133249"/>
                  <a:gd name="connsiteY2" fmla="*/ 89773 h 104536"/>
                  <a:gd name="connsiteX3" fmla="*/ 131430 w 133249"/>
                  <a:gd name="connsiteY3" fmla="*/ 79772 h 104536"/>
                  <a:gd name="connsiteX4" fmla="*/ 74280 w 133249"/>
                  <a:gd name="connsiteY4" fmla="*/ 3572 h 104536"/>
                  <a:gd name="connsiteX5" fmla="*/ 59040 w 133249"/>
                  <a:gd name="connsiteY5" fmla="*/ 3572 h 104536"/>
                  <a:gd name="connsiteX6" fmla="*/ 1890 w 133249"/>
                  <a:gd name="connsiteY6" fmla="*/ 79772 h 104536"/>
                  <a:gd name="connsiteX7" fmla="*/ 1032 w 133249"/>
                  <a:gd name="connsiteY7" fmla="*/ 89773 h 104536"/>
                  <a:gd name="connsiteX8" fmla="*/ 9510 w 133249"/>
                  <a:gd name="connsiteY8" fmla="*/ 95012 h 104536"/>
                  <a:gd name="connsiteX9" fmla="*/ 38085 w 133249"/>
                  <a:gd name="connsiteY9" fmla="*/ 95012 h 104536"/>
                  <a:gd name="connsiteX10" fmla="*/ 38085 w 133249"/>
                  <a:gd name="connsiteY10" fmla="*/ 104537 h 104536"/>
                  <a:gd name="connsiteX11" fmla="*/ 57135 w 133249"/>
                  <a:gd name="connsiteY11" fmla="*/ 104537 h 104536"/>
                  <a:gd name="connsiteX12" fmla="*/ 57135 w 133249"/>
                  <a:gd name="connsiteY12" fmla="*/ 95012 h 104536"/>
                  <a:gd name="connsiteX13" fmla="*/ 76185 w 133249"/>
                  <a:gd name="connsiteY13" fmla="*/ 95012 h 104536"/>
                  <a:gd name="connsiteX14" fmla="*/ 76185 w 133249"/>
                  <a:gd name="connsiteY14" fmla="*/ 104537 h 104536"/>
                  <a:gd name="connsiteX15" fmla="*/ 95235 w 133249"/>
                  <a:gd name="connsiteY15" fmla="*/ 104537 h 104536"/>
                  <a:gd name="connsiteX16" fmla="*/ 95235 w 133249"/>
                  <a:gd name="connsiteY16" fmla="*/ 95012 h 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249" h="104536">
                    <a:moveTo>
                      <a:pt x="95235" y="95012"/>
                    </a:moveTo>
                    <a:lnTo>
                      <a:pt x="123810" y="95012"/>
                    </a:lnTo>
                    <a:cubicBezTo>
                      <a:pt x="127429" y="95012"/>
                      <a:pt x="130763" y="93012"/>
                      <a:pt x="132287" y="89773"/>
                    </a:cubicBezTo>
                    <a:cubicBezTo>
                      <a:pt x="133811" y="86535"/>
                      <a:pt x="133525" y="82725"/>
                      <a:pt x="131430" y="79772"/>
                    </a:cubicBezTo>
                    <a:lnTo>
                      <a:pt x="74280" y="3572"/>
                    </a:lnTo>
                    <a:cubicBezTo>
                      <a:pt x="70660" y="-1191"/>
                      <a:pt x="62659" y="-1191"/>
                      <a:pt x="59040" y="3572"/>
                    </a:cubicBezTo>
                    <a:lnTo>
                      <a:pt x="1890" y="79772"/>
                    </a:lnTo>
                    <a:cubicBezTo>
                      <a:pt x="-301" y="82629"/>
                      <a:pt x="-587" y="86535"/>
                      <a:pt x="1032" y="89773"/>
                    </a:cubicBezTo>
                    <a:cubicBezTo>
                      <a:pt x="2652" y="93012"/>
                      <a:pt x="5985" y="95012"/>
                      <a:pt x="9510" y="95012"/>
                    </a:cubicBezTo>
                    <a:lnTo>
                      <a:pt x="38085" y="95012"/>
                    </a:lnTo>
                    <a:lnTo>
                      <a:pt x="38085" y="104537"/>
                    </a:lnTo>
                    <a:lnTo>
                      <a:pt x="57135" y="104537"/>
                    </a:lnTo>
                    <a:lnTo>
                      <a:pt x="57135" y="95012"/>
                    </a:lnTo>
                    <a:lnTo>
                      <a:pt x="76185" y="95012"/>
                    </a:lnTo>
                    <a:lnTo>
                      <a:pt x="76185" y="104537"/>
                    </a:lnTo>
                    <a:lnTo>
                      <a:pt x="95235" y="104537"/>
                    </a:lnTo>
                    <a:lnTo>
                      <a:pt x="95235" y="95012"/>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8" name="Forma Livre: Forma 27">
                <a:extLst>
                  <a:ext uri="{FF2B5EF4-FFF2-40B4-BE49-F238E27FC236}">
                    <a16:creationId xmlns:a16="http://schemas.microsoft.com/office/drawing/2014/main" id="{AA3953F4-7FD6-817C-CD1A-732D082BD3FA}"/>
                  </a:ext>
                </a:extLst>
              </p:cNvPr>
              <p:cNvSpPr/>
              <p:nvPr>
                <p:custDataLst>
                  <p:tags r:id="rId75"/>
                </p:custDataLst>
              </p:nvPr>
            </p:nvSpPr>
            <p:spPr>
              <a:xfrm>
                <a:off x="-103015" y="23781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9" name="Forma Livre: Forma 28">
                <a:extLst>
                  <a:ext uri="{FF2B5EF4-FFF2-40B4-BE49-F238E27FC236}">
                    <a16:creationId xmlns:a16="http://schemas.microsoft.com/office/drawing/2014/main" id="{57882DFA-4ABE-1586-08E4-EBDBC90D937F}"/>
                  </a:ext>
                </a:extLst>
              </p:cNvPr>
              <p:cNvSpPr/>
              <p:nvPr>
                <p:custDataLst>
                  <p:tags r:id="rId76"/>
                </p:custDataLst>
              </p:nvPr>
            </p:nvSpPr>
            <p:spPr>
              <a:xfrm>
                <a:off x="-64915" y="23781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30" name="Forma Livre: Forma 29">
                <a:extLst>
                  <a:ext uri="{FF2B5EF4-FFF2-40B4-BE49-F238E27FC236}">
                    <a16:creationId xmlns:a16="http://schemas.microsoft.com/office/drawing/2014/main" id="{F3411BF2-5DD9-F5B6-2789-F1ADE8E3CD27}"/>
                  </a:ext>
                </a:extLst>
              </p:cNvPr>
              <p:cNvSpPr/>
              <p:nvPr>
                <p:custDataLst>
                  <p:tags r:id="rId77"/>
                </p:custDataLst>
              </p:nvPr>
            </p:nvSpPr>
            <p:spPr>
              <a:xfrm>
                <a:off x="-103015" y="23400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31" name="Forma Livre: Forma 30">
                <a:extLst>
                  <a:ext uri="{FF2B5EF4-FFF2-40B4-BE49-F238E27FC236}">
                    <a16:creationId xmlns:a16="http://schemas.microsoft.com/office/drawing/2014/main" id="{B4F83AA9-0425-0706-0207-D61BB9869866}"/>
                  </a:ext>
                </a:extLst>
              </p:cNvPr>
              <p:cNvSpPr/>
              <p:nvPr>
                <p:custDataLst>
                  <p:tags r:id="rId78"/>
                </p:custDataLst>
              </p:nvPr>
            </p:nvSpPr>
            <p:spPr>
              <a:xfrm>
                <a:off x="-64915" y="2340068"/>
                <a:ext cx="19050" cy="19050"/>
              </a:xfrm>
              <a:custGeom>
                <a:avLst/>
                <a:gdLst>
                  <a:gd name="connsiteX0" fmla="*/ 0 w 19050"/>
                  <a:gd name="connsiteY0" fmla="*/ 0 h 19050"/>
                  <a:gd name="connsiteX1" fmla="*/ 19050 w 19050"/>
                  <a:gd name="connsiteY1" fmla="*/ 0 h 19050"/>
                  <a:gd name="connsiteX2" fmla="*/ 19050 w 19050"/>
                  <a:gd name="connsiteY2" fmla="*/ 19050 h 19050"/>
                  <a:gd name="connsiteX3" fmla="*/ 0 w 19050"/>
                  <a:gd name="connsiteY3" fmla="*/ 19050 h 19050"/>
                </a:gdLst>
                <a:ahLst/>
                <a:cxnLst>
                  <a:cxn ang="0">
                    <a:pos x="connsiteX0" y="connsiteY0"/>
                  </a:cxn>
                  <a:cxn ang="0">
                    <a:pos x="connsiteX1" y="connsiteY1"/>
                  </a:cxn>
                  <a:cxn ang="0">
                    <a:pos x="connsiteX2" y="connsiteY2"/>
                  </a:cxn>
                  <a:cxn ang="0">
                    <a:pos x="connsiteX3" y="connsiteY3"/>
                  </a:cxn>
                </a:cxnLst>
                <a:rect l="l" t="t" r="r" b="b"/>
                <a:pathLst>
                  <a:path w="19050" h="19050">
                    <a:moveTo>
                      <a:pt x="0" y="0"/>
                    </a:moveTo>
                    <a:lnTo>
                      <a:pt x="19050" y="0"/>
                    </a:lnTo>
                    <a:lnTo>
                      <a:pt x="19050" y="19050"/>
                    </a:lnTo>
                    <a:lnTo>
                      <a:pt x="0" y="19050"/>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43" name="Forma Livre: Forma 42">
                <a:extLst>
                  <a:ext uri="{FF2B5EF4-FFF2-40B4-BE49-F238E27FC236}">
                    <a16:creationId xmlns:a16="http://schemas.microsoft.com/office/drawing/2014/main" id="{D7F3092B-6A6B-6E54-FD59-220FBE46E1ED}"/>
                  </a:ext>
                </a:extLst>
              </p:cNvPr>
              <p:cNvSpPr/>
              <p:nvPr>
                <p:custDataLst>
                  <p:tags r:id="rId79"/>
                </p:custDataLst>
              </p:nvPr>
            </p:nvSpPr>
            <p:spPr>
              <a:xfrm>
                <a:off x="-141099" y="2216481"/>
                <a:ext cx="133249" cy="104536"/>
              </a:xfrm>
              <a:custGeom>
                <a:avLst/>
                <a:gdLst>
                  <a:gd name="connsiteX0" fmla="*/ 95235 w 133249"/>
                  <a:gd name="connsiteY0" fmla="*/ 95012 h 104536"/>
                  <a:gd name="connsiteX1" fmla="*/ 123810 w 133249"/>
                  <a:gd name="connsiteY1" fmla="*/ 95012 h 104536"/>
                  <a:gd name="connsiteX2" fmla="*/ 132287 w 133249"/>
                  <a:gd name="connsiteY2" fmla="*/ 89773 h 104536"/>
                  <a:gd name="connsiteX3" fmla="*/ 131430 w 133249"/>
                  <a:gd name="connsiteY3" fmla="*/ 79772 h 104536"/>
                  <a:gd name="connsiteX4" fmla="*/ 74280 w 133249"/>
                  <a:gd name="connsiteY4" fmla="*/ 3572 h 104536"/>
                  <a:gd name="connsiteX5" fmla="*/ 59040 w 133249"/>
                  <a:gd name="connsiteY5" fmla="*/ 3572 h 104536"/>
                  <a:gd name="connsiteX6" fmla="*/ 1890 w 133249"/>
                  <a:gd name="connsiteY6" fmla="*/ 79772 h 104536"/>
                  <a:gd name="connsiteX7" fmla="*/ 1032 w 133249"/>
                  <a:gd name="connsiteY7" fmla="*/ 89773 h 104536"/>
                  <a:gd name="connsiteX8" fmla="*/ 9510 w 133249"/>
                  <a:gd name="connsiteY8" fmla="*/ 95012 h 104536"/>
                  <a:gd name="connsiteX9" fmla="*/ 38085 w 133249"/>
                  <a:gd name="connsiteY9" fmla="*/ 95012 h 104536"/>
                  <a:gd name="connsiteX10" fmla="*/ 38085 w 133249"/>
                  <a:gd name="connsiteY10" fmla="*/ 104537 h 104536"/>
                  <a:gd name="connsiteX11" fmla="*/ 57135 w 133249"/>
                  <a:gd name="connsiteY11" fmla="*/ 104537 h 104536"/>
                  <a:gd name="connsiteX12" fmla="*/ 57135 w 133249"/>
                  <a:gd name="connsiteY12" fmla="*/ 95012 h 104536"/>
                  <a:gd name="connsiteX13" fmla="*/ 76185 w 133249"/>
                  <a:gd name="connsiteY13" fmla="*/ 95012 h 104536"/>
                  <a:gd name="connsiteX14" fmla="*/ 76185 w 133249"/>
                  <a:gd name="connsiteY14" fmla="*/ 104537 h 104536"/>
                  <a:gd name="connsiteX15" fmla="*/ 95235 w 133249"/>
                  <a:gd name="connsiteY15" fmla="*/ 104537 h 104536"/>
                  <a:gd name="connsiteX16" fmla="*/ 95235 w 133249"/>
                  <a:gd name="connsiteY16" fmla="*/ 95012 h 104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3249" h="104536">
                    <a:moveTo>
                      <a:pt x="95235" y="95012"/>
                    </a:moveTo>
                    <a:lnTo>
                      <a:pt x="123810" y="95012"/>
                    </a:lnTo>
                    <a:cubicBezTo>
                      <a:pt x="127429" y="95012"/>
                      <a:pt x="130763" y="93012"/>
                      <a:pt x="132287" y="89773"/>
                    </a:cubicBezTo>
                    <a:cubicBezTo>
                      <a:pt x="133811" y="86535"/>
                      <a:pt x="133525" y="82725"/>
                      <a:pt x="131430" y="79772"/>
                    </a:cubicBezTo>
                    <a:lnTo>
                      <a:pt x="74280" y="3572"/>
                    </a:lnTo>
                    <a:cubicBezTo>
                      <a:pt x="70660" y="-1191"/>
                      <a:pt x="62659" y="-1191"/>
                      <a:pt x="59040" y="3572"/>
                    </a:cubicBezTo>
                    <a:lnTo>
                      <a:pt x="1890" y="79772"/>
                    </a:lnTo>
                    <a:cubicBezTo>
                      <a:pt x="-301" y="82629"/>
                      <a:pt x="-587" y="86535"/>
                      <a:pt x="1032" y="89773"/>
                    </a:cubicBezTo>
                    <a:cubicBezTo>
                      <a:pt x="2652" y="93012"/>
                      <a:pt x="5985" y="95012"/>
                      <a:pt x="9510" y="95012"/>
                    </a:cubicBezTo>
                    <a:lnTo>
                      <a:pt x="38085" y="95012"/>
                    </a:lnTo>
                    <a:lnTo>
                      <a:pt x="38085" y="104537"/>
                    </a:lnTo>
                    <a:lnTo>
                      <a:pt x="57135" y="104537"/>
                    </a:lnTo>
                    <a:lnTo>
                      <a:pt x="57135" y="95012"/>
                    </a:lnTo>
                    <a:lnTo>
                      <a:pt x="76185" y="95012"/>
                    </a:lnTo>
                    <a:lnTo>
                      <a:pt x="76185" y="104537"/>
                    </a:lnTo>
                    <a:lnTo>
                      <a:pt x="95235" y="104537"/>
                    </a:lnTo>
                    <a:lnTo>
                      <a:pt x="95235" y="95012"/>
                    </a:ln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45" name="Forma Livre: Forma 44">
                <a:extLst>
                  <a:ext uri="{FF2B5EF4-FFF2-40B4-BE49-F238E27FC236}">
                    <a16:creationId xmlns:a16="http://schemas.microsoft.com/office/drawing/2014/main" id="{DAB59736-0389-C44E-FDCA-931640EF45E7}"/>
                  </a:ext>
                </a:extLst>
              </p:cNvPr>
              <p:cNvSpPr/>
              <p:nvPr>
                <p:custDataLst>
                  <p:tags r:id="rId80"/>
                </p:custDataLst>
              </p:nvPr>
            </p:nvSpPr>
            <p:spPr>
              <a:xfrm>
                <a:off x="-160366" y="2206801"/>
                <a:ext cx="590763" cy="380920"/>
              </a:xfrm>
              <a:custGeom>
                <a:avLst/>
                <a:gdLst>
                  <a:gd name="connsiteX0" fmla="*/ 586847 w 590763"/>
                  <a:gd name="connsiteY0" fmla="*/ 287190 h 380920"/>
                  <a:gd name="connsiteX1" fmla="*/ 590561 w 590763"/>
                  <a:gd name="connsiteY1" fmla="*/ 277570 h 380920"/>
                  <a:gd name="connsiteX2" fmla="*/ 577988 w 590763"/>
                  <a:gd name="connsiteY2" fmla="*/ 247185 h 380920"/>
                  <a:gd name="connsiteX3" fmla="*/ 568463 w 590763"/>
                  <a:gd name="connsiteY3" fmla="*/ 242994 h 380920"/>
                  <a:gd name="connsiteX4" fmla="*/ 559891 w 590763"/>
                  <a:gd name="connsiteY4" fmla="*/ 240422 h 380920"/>
                  <a:gd name="connsiteX5" fmla="*/ 557129 w 590763"/>
                  <a:gd name="connsiteY5" fmla="*/ 231755 h 380920"/>
                  <a:gd name="connsiteX6" fmla="*/ 552938 w 590763"/>
                  <a:gd name="connsiteY6" fmla="*/ 222325 h 380920"/>
                  <a:gd name="connsiteX7" fmla="*/ 522553 w 590763"/>
                  <a:gd name="connsiteY7" fmla="*/ 209752 h 380920"/>
                  <a:gd name="connsiteX8" fmla="*/ 512933 w 590763"/>
                  <a:gd name="connsiteY8" fmla="*/ 213467 h 380920"/>
                  <a:gd name="connsiteX9" fmla="*/ 496931 w 590763"/>
                  <a:gd name="connsiteY9" fmla="*/ 213467 h 380920"/>
                  <a:gd name="connsiteX10" fmla="*/ 487406 w 590763"/>
                  <a:gd name="connsiteY10" fmla="*/ 209752 h 380920"/>
                  <a:gd name="connsiteX11" fmla="*/ 466832 w 590763"/>
                  <a:gd name="connsiteY11" fmla="*/ 216705 h 380920"/>
                  <a:gd name="connsiteX12" fmla="*/ 373868 w 590763"/>
                  <a:gd name="connsiteY12" fmla="*/ 123741 h 380920"/>
                  <a:gd name="connsiteX13" fmla="*/ 380916 w 590763"/>
                  <a:gd name="connsiteY13" fmla="*/ 103262 h 380920"/>
                  <a:gd name="connsiteX14" fmla="*/ 377201 w 590763"/>
                  <a:gd name="connsiteY14" fmla="*/ 93642 h 380920"/>
                  <a:gd name="connsiteX15" fmla="*/ 373010 w 590763"/>
                  <a:gd name="connsiteY15" fmla="*/ 85641 h 380920"/>
                  <a:gd name="connsiteX16" fmla="*/ 377201 w 590763"/>
                  <a:gd name="connsiteY16" fmla="*/ 77640 h 380920"/>
                  <a:gd name="connsiteX17" fmla="*/ 380916 w 590763"/>
                  <a:gd name="connsiteY17" fmla="*/ 68020 h 380920"/>
                  <a:gd name="connsiteX18" fmla="*/ 368343 w 590763"/>
                  <a:gd name="connsiteY18" fmla="*/ 37635 h 380920"/>
                  <a:gd name="connsiteX19" fmla="*/ 358818 w 590763"/>
                  <a:gd name="connsiteY19" fmla="*/ 33444 h 380920"/>
                  <a:gd name="connsiteX20" fmla="*/ 350246 w 590763"/>
                  <a:gd name="connsiteY20" fmla="*/ 30872 h 380920"/>
                  <a:gd name="connsiteX21" fmla="*/ 347483 w 590763"/>
                  <a:gd name="connsiteY21" fmla="*/ 22205 h 380920"/>
                  <a:gd name="connsiteX22" fmla="*/ 343292 w 590763"/>
                  <a:gd name="connsiteY22" fmla="*/ 12775 h 380920"/>
                  <a:gd name="connsiteX23" fmla="*/ 312908 w 590763"/>
                  <a:gd name="connsiteY23" fmla="*/ 202 h 380920"/>
                  <a:gd name="connsiteX24" fmla="*/ 303287 w 590763"/>
                  <a:gd name="connsiteY24" fmla="*/ 3917 h 380920"/>
                  <a:gd name="connsiteX25" fmla="*/ 287285 w 590763"/>
                  <a:gd name="connsiteY25" fmla="*/ 3917 h 380920"/>
                  <a:gd name="connsiteX26" fmla="*/ 277665 w 590763"/>
                  <a:gd name="connsiteY26" fmla="*/ 202 h 380920"/>
                  <a:gd name="connsiteX27" fmla="*/ 247280 w 590763"/>
                  <a:gd name="connsiteY27" fmla="*/ 12775 h 380920"/>
                  <a:gd name="connsiteX28" fmla="*/ 243089 w 590763"/>
                  <a:gd name="connsiteY28" fmla="*/ 22205 h 380920"/>
                  <a:gd name="connsiteX29" fmla="*/ 240518 w 590763"/>
                  <a:gd name="connsiteY29" fmla="*/ 30777 h 380920"/>
                  <a:gd name="connsiteX30" fmla="*/ 231850 w 590763"/>
                  <a:gd name="connsiteY30" fmla="*/ 33539 h 380920"/>
                  <a:gd name="connsiteX31" fmla="*/ 222325 w 590763"/>
                  <a:gd name="connsiteY31" fmla="*/ 37730 h 380920"/>
                  <a:gd name="connsiteX32" fmla="*/ 209752 w 590763"/>
                  <a:gd name="connsiteY32" fmla="*/ 68115 h 380920"/>
                  <a:gd name="connsiteX33" fmla="*/ 213467 w 590763"/>
                  <a:gd name="connsiteY33" fmla="*/ 77735 h 380920"/>
                  <a:gd name="connsiteX34" fmla="*/ 217658 w 590763"/>
                  <a:gd name="connsiteY34" fmla="*/ 85736 h 380920"/>
                  <a:gd name="connsiteX35" fmla="*/ 213467 w 590763"/>
                  <a:gd name="connsiteY35" fmla="*/ 93737 h 380920"/>
                  <a:gd name="connsiteX36" fmla="*/ 209752 w 590763"/>
                  <a:gd name="connsiteY36" fmla="*/ 103262 h 380920"/>
                  <a:gd name="connsiteX37" fmla="*/ 216705 w 590763"/>
                  <a:gd name="connsiteY37" fmla="*/ 123836 h 380920"/>
                  <a:gd name="connsiteX38" fmla="*/ 123741 w 590763"/>
                  <a:gd name="connsiteY38" fmla="*/ 216800 h 380920"/>
                  <a:gd name="connsiteX39" fmla="*/ 103358 w 590763"/>
                  <a:gd name="connsiteY39" fmla="*/ 209752 h 380920"/>
                  <a:gd name="connsiteX40" fmla="*/ 93737 w 590763"/>
                  <a:gd name="connsiteY40" fmla="*/ 213467 h 380920"/>
                  <a:gd name="connsiteX41" fmla="*/ 77640 w 590763"/>
                  <a:gd name="connsiteY41" fmla="*/ 213467 h 380920"/>
                  <a:gd name="connsiteX42" fmla="*/ 68020 w 590763"/>
                  <a:gd name="connsiteY42" fmla="*/ 209752 h 380920"/>
                  <a:gd name="connsiteX43" fmla="*/ 37730 w 590763"/>
                  <a:gd name="connsiteY43" fmla="*/ 222325 h 380920"/>
                  <a:gd name="connsiteX44" fmla="*/ 33539 w 590763"/>
                  <a:gd name="connsiteY44" fmla="*/ 231755 h 380920"/>
                  <a:gd name="connsiteX45" fmla="*/ 30777 w 590763"/>
                  <a:gd name="connsiteY45" fmla="*/ 240327 h 380920"/>
                  <a:gd name="connsiteX46" fmla="*/ 22205 w 590763"/>
                  <a:gd name="connsiteY46" fmla="*/ 243089 h 380920"/>
                  <a:gd name="connsiteX47" fmla="*/ 12775 w 590763"/>
                  <a:gd name="connsiteY47" fmla="*/ 247280 h 380920"/>
                  <a:gd name="connsiteX48" fmla="*/ 202 w 590763"/>
                  <a:gd name="connsiteY48" fmla="*/ 277570 h 380920"/>
                  <a:gd name="connsiteX49" fmla="*/ 3917 w 590763"/>
                  <a:gd name="connsiteY49" fmla="*/ 287190 h 380920"/>
                  <a:gd name="connsiteX50" fmla="*/ 8108 w 590763"/>
                  <a:gd name="connsiteY50" fmla="*/ 295191 h 380920"/>
                  <a:gd name="connsiteX51" fmla="*/ 3917 w 590763"/>
                  <a:gd name="connsiteY51" fmla="*/ 303192 h 380920"/>
                  <a:gd name="connsiteX52" fmla="*/ 202 w 590763"/>
                  <a:gd name="connsiteY52" fmla="*/ 312812 h 380920"/>
                  <a:gd name="connsiteX53" fmla="*/ 12775 w 590763"/>
                  <a:gd name="connsiteY53" fmla="*/ 343102 h 380920"/>
                  <a:gd name="connsiteX54" fmla="*/ 22205 w 590763"/>
                  <a:gd name="connsiteY54" fmla="*/ 347293 h 380920"/>
                  <a:gd name="connsiteX55" fmla="*/ 30777 w 590763"/>
                  <a:gd name="connsiteY55" fmla="*/ 350055 h 380920"/>
                  <a:gd name="connsiteX56" fmla="*/ 33539 w 590763"/>
                  <a:gd name="connsiteY56" fmla="*/ 358628 h 380920"/>
                  <a:gd name="connsiteX57" fmla="*/ 37730 w 590763"/>
                  <a:gd name="connsiteY57" fmla="*/ 368057 h 380920"/>
                  <a:gd name="connsiteX58" fmla="*/ 68020 w 590763"/>
                  <a:gd name="connsiteY58" fmla="*/ 380630 h 380920"/>
                  <a:gd name="connsiteX59" fmla="*/ 77640 w 590763"/>
                  <a:gd name="connsiteY59" fmla="*/ 376916 h 380920"/>
                  <a:gd name="connsiteX60" fmla="*/ 93737 w 590763"/>
                  <a:gd name="connsiteY60" fmla="*/ 376916 h 380920"/>
                  <a:gd name="connsiteX61" fmla="*/ 101453 w 590763"/>
                  <a:gd name="connsiteY61" fmla="*/ 380916 h 380920"/>
                  <a:gd name="connsiteX62" fmla="*/ 103358 w 590763"/>
                  <a:gd name="connsiteY62" fmla="*/ 380726 h 380920"/>
                  <a:gd name="connsiteX63" fmla="*/ 133647 w 590763"/>
                  <a:gd name="connsiteY63" fmla="*/ 368153 h 380920"/>
                  <a:gd name="connsiteX64" fmla="*/ 137838 w 590763"/>
                  <a:gd name="connsiteY64" fmla="*/ 358723 h 380920"/>
                  <a:gd name="connsiteX65" fmla="*/ 140600 w 590763"/>
                  <a:gd name="connsiteY65" fmla="*/ 350150 h 380920"/>
                  <a:gd name="connsiteX66" fmla="*/ 149173 w 590763"/>
                  <a:gd name="connsiteY66" fmla="*/ 347388 h 380920"/>
                  <a:gd name="connsiteX67" fmla="*/ 158603 w 590763"/>
                  <a:gd name="connsiteY67" fmla="*/ 343197 h 380920"/>
                  <a:gd name="connsiteX68" fmla="*/ 171176 w 590763"/>
                  <a:gd name="connsiteY68" fmla="*/ 312908 h 380920"/>
                  <a:gd name="connsiteX69" fmla="*/ 167461 w 590763"/>
                  <a:gd name="connsiteY69" fmla="*/ 303287 h 380920"/>
                  <a:gd name="connsiteX70" fmla="*/ 163270 w 590763"/>
                  <a:gd name="connsiteY70" fmla="*/ 295286 h 380920"/>
                  <a:gd name="connsiteX71" fmla="*/ 167461 w 590763"/>
                  <a:gd name="connsiteY71" fmla="*/ 287285 h 380920"/>
                  <a:gd name="connsiteX72" fmla="*/ 171176 w 590763"/>
                  <a:gd name="connsiteY72" fmla="*/ 277665 h 380920"/>
                  <a:gd name="connsiteX73" fmla="*/ 164127 w 590763"/>
                  <a:gd name="connsiteY73" fmla="*/ 257282 h 380920"/>
                  <a:gd name="connsiteX74" fmla="*/ 257091 w 590763"/>
                  <a:gd name="connsiteY74" fmla="*/ 164318 h 380920"/>
                  <a:gd name="connsiteX75" fmla="*/ 277665 w 590763"/>
                  <a:gd name="connsiteY75" fmla="*/ 171271 h 380920"/>
                  <a:gd name="connsiteX76" fmla="*/ 287190 w 590763"/>
                  <a:gd name="connsiteY76" fmla="*/ 167556 h 380920"/>
                  <a:gd name="connsiteX77" fmla="*/ 303192 w 590763"/>
                  <a:gd name="connsiteY77" fmla="*/ 167556 h 380920"/>
                  <a:gd name="connsiteX78" fmla="*/ 310907 w 590763"/>
                  <a:gd name="connsiteY78" fmla="*/ 171461 h 380920"/>
                  <a:gd name="connsiteX79" fmla="*/ 312812 w 590763"/>
                  <a:gd name="connsiteY79" fmla="*/ 171271 h 380920"/>
                  <a:gd name="connsiteX80" fmla="*/ 333291 w 590763"/>
                  <a:gd name="connsiteY80" fmla="*/ 164222 h 380920"/>
                  <a:gd name="connsiteX81" fmla="*/ 426255 w 590763"/>
                  <a:gd name="connsiteY81" fmla="*/ 257186 h 380920"/>
                  <a:gd name="connsiteX82" fmla="*/ 419302 w 590763"/>
                  <a:gd name="connsiteY82" fmla="*/ 277760 h 380920"/>
                  <a:gd name="connsiteX83" fmla="*/ 423017 w 590763"/>
                  <a:gd name="connsiteY83" fmla="*/ 287285 h 380920"/>
                  <a:gd name="connsiteX84" fmla="*/ 427208 w 590763"/>
                  <a:gd name="connsiteY84" fmla="*/ 295286 h 380920"/>
                  <a:gd name="connsiteX85" fmla="*/ 423017 w 590763"/>
                  <a:gd name="connsiteY85" fmla="*/ 303287 h 380920"/>
                  <a:gd name="connsiteX86" fmla="*/ 419302 w 590763"/>
                  <a:gd name="connsiteY86" fmla="*/ 312908 h 380920"/>
                  <a:gd name="connsiteX87" fmla="*/ 431875 w 590763"/>
                  <a:gd name="connsiteY87" fmla="*/ 343292 h 380920"/>
                  <a:gd name="connsiteX88" fmla="*/ 441400 w 590763"/>
                  <a:gd name="connsiteY88" fmla="*/ 347483 h 380920"/>
                  <a:gd name="connsiteX89" fmla="*/ 449972 w 590763"/>
                  <a:gd name="connsiteY89" fmla="*/ 350055 h 380920"/>
                  <a:gd name="connsiteX90" fmla="*/ 452735 w 590763"/>
                  <a:gd name="connsiteY90" fmla="*/ 358723 h 380920"/>
                  <a:gd name="connsiteX91" fmla="*/ 456926 w 590763"/>
                  <a:gd name="connsiteY91" fmla="*/ 368153 h 380920"/>
                  <a:gd name="connsiteX92" fmla="*/ 487310 w 590763"/>
                  <a:gd name="connsiteY92" fmla="*/ 380726 h 380920"/>
                  <a:gd name="connsiteX93" fmla="*/ 496931 w 590763"/>
                  <a:gd name="connsiteY93" fmla="*/ 377011 h 380920"/>
                  <a:gd name="connsiteX94" fmla="*/ 512933 w 590763"/>
                  <a:gd name="connsiteY94" fmla="*/ 377011 h 380920"/>
                  <a:gd name="connsiteX95" fmla="*/ 520648 w 590763"/>
                  <a:gd name="connsiteY95" fmla="*/ 380916 h 380920"/>
                  <a:gd name="connsiteX96" fmla="*/ 522553 w 590763"/>
                  <a:gd name="connsiteY96" fmla="*/ 380726 h 380920"/>
                  <a:gd name="connsiteX97" fmla="*/ 552938 w 590763"/>
                  <a:gd name="connsiteY97" fmla="*/ 368153 h 380920"/>
                  <a:gd name="connsiteX98" fmla="*/ 557129 w 590763"/>
                  <a:gd name="connsiteY98" fmla="*/ 358723 h 380920"/>
                  <a:gd name="connsiteX99" fmla="*/ 559700 w 590763"/>
                  <a:gd name="connsiteY99" fmla="*/ 350150 h 380920"/>
                  <a:gd name="connsiteX100" fmla="*/ 568368 w 590763"/>
                  <a:gd name="connsiteY100" fmla="*/ 347388 h 380920"/>
                  <a:gd name="connsiteX101" fmla="*/ 577893 w 590763"/>
                  <a:gd name="connsiteY101" fmla="*/ 343197 h 380920"/>
                  <a:gd name="connsiteX102" fmla="*/ 590466 w 590763"/>
                  <a:gd name="connsiteY102" fmla="*/ 312812 h 380920"/>
                  <a:gd name="connsiteX103" fmla="*/ 586751 w 590763"/>
                  <a:gd name="connsiteY103" fmla="*/ 303192 h 380920"/>
                  <a:gd name="connsiteX104" fmla="*/ 582560 w 590763"/>
                  <a:gd name="connsiteY104" fmla="*/ 295191 h 380920"/>
                  <a:gd name="connsiteX105" fmla="*/ 586751 w 590763"/>
                  <a:gd name="connsiteY105" fmla="*/ 287190 h 380920"/>
                  <a:gd name="connsiteX106" fmla="*/ 85927 w 590763"/>
                  <a:gd name="connsiteY106" fmla="*/ 323766 h 380920"/>
                  <a:gd name="connsiteX107" fmla="*/ 57352 w 590763"/>
                  <a:gd name="connsiteY107" fmla="*/ 295191 h 380920"/>
                  <a:gd name="connsiteX108" fmla="*/ 85927 w 590763"/>
                  <a:gd name="connsiteY108" fmla="*/ 266616 h 380920"/>
                  <a:gd name="connsiteX109" fmla="*/ 114502 w 590763"/>
                  <a:gd name="connsiteY109" fmla="*/ 295191 h 380920"/>
                  <a:gd name="connsiteX110" fmla="*/ 85927 w 590763"/>
                  <a:gd name="connsiteY110" fmla="*/ 323766 h 380920"/>
                  <a:gd name="connsiteX111" fmla="*/ 275284 w 590763"/>
                  <a:gd name="connsiteY111" fmla="*/ 119264 h 380920"/>
                  <a:gd name="connsiteX112" fmla="*/ 151554 w 590763"/>
                  <a:gd name="connsiteY112" fmla="*/ 242994 h 380920"/>
                  <a:gd name="connsiteX113" fmla="*/ 149363 w 590763"/>
                  <a:gd name="connsiteY113" fmla="*/ 242994 h 380920"/>
                  <a:gd name="connsiteX114" fmla="*/ 140791 w 590763"/>
                  <a:gd name="connsiteY114" fmla="*/ 240232 h 380920"/>
                  <a:gd name="connsiteX115" fmla="*/ 138029 w 590763"/>
                  <a:gd name="connsiteY115" fmla="*/ 231659 h 380920"/>
                  <a:gd name="connsiteX116" fmla="*/ 138029 w 590763"/>
                  <a:gd name="connsiteY116" fmla="*/ 229469 h 380920"/>
                  <a:gd name="connsiteX117" fmla="*/ 261758 w 590763"/>
                  <a:gd name="connsiteY117" fmla="*/ 105739 h 380920"/>
                  <a:gd name="connsiteX118" fmla="*/ 275284 w 590763"/>
                  <a:gd name="connsiteY118" fmla="*/ 105739 h 380920"/>
                  <a:gd name="connsiteX119" fmla="*/ 278141 w 590763"/>
                  <a:gd name="connsiteY119" fmla="*/ 112502 h 380920"/>
                  <a:gd name="connsiteX120" fmla="*/ 275284 w 590763"/>
                  <a:gd name="connsiteY120" fmla="*/ 119169 h 380920"/>
                  <a:gd name="connsiteX121" fmla="*/ 297001 w 590763"/>
                  <a:gd name="connsiteY121" fmla="*/ 114026 h 380920"/>
                  <a:gd name="connsiteX122" fmla="*/ 297191 w 590763"/>
                  <a:gd name="connsiteY122" fmla="*/ 112597 h 380920"/>
                  <a:gd name="connsiteX123" fmla="*/ 288714 w 590763"/>
                  <a:gd name="connsiteY123" fmla="*/ 92309 h 380920"/>
                  <a:gd name="connsiteX124" fmla="*/ 266997 w 590763"/>
                  <a:gd name="connsiteY124" fmla="*/ 84212 h 380920"/>
                  <a:gd name="connsiteX125" fmla="*/ 295382 w 590763"/>
                  <a:gd name="connsiteY125" fmla="*/ 57161 h 380920"/>
                  <a:gd name="connsiteX126" fmla="*/ 323957 w 590763"/>
                  <a:gd name="connsiteY126" fmla="*/ 85736 h 380920"/>
                  <a:gd name="connsiteX127" fmla="*/ 297001 w 590763"/>
                  <a:gd name="connsiteY127" fmla="*/ 114121 h 380920"/>
                  <a:gd name="connsiteX128" fmla="*/ 347674 w 590763"/>
                  <a:gd name="connsiteY128" fmla="*/ 151268 h 380920"/>
                  <a:gd name="connsiteX129" fmla="*/ 347674 w 590763"/>
                  <a:gd name="connsiteY129" fmla="*/ 148982 h 380920"/>
                  <a:gd name="connsiteX130" fmla="*/ 350246 w 590763"/>
                  <a:gd name="connsiteY130" fmla="*/ 140410 h 380920"/>
                  <a:gd name="connsiteX131" fmla="*/ 358913 w 590763"/>
                  <a:gd name="connsiteY131" fmla="*/ 137648 h 380920"/>
                  <a:gd name="connsiteX132" fmla="*/ 361199 w 590763"/>
                  <a:gd name="connsiteY132" fmla="*/ 137648 h 380920"/>
                  <a:gd name="connsiteX133" fmla="*/ 492168 w 590763"/>
                  <a:gd name="connsiteY133" fmla="*/ 268712 h 380920"/>
                  <a:gd name="connsiteX134" fmla="*/ 492168 w 590763"/>
                  <a:gd name="connsiteY134" fmla="*/ 282142 h 380920"/>
                  <a:gd name="connsiteX135" fmla="*/ 478643 w 590763"/>
                  <a:gd name="connsiteY135" fmla="*/ 282142 h 380920"/>
                  <a:gd name="connsiteX136" fmla="*/ 347579 w 590763"/>
                  <a:gd name="connsiteY136" fmla="*/ 151078 h 380920"/>
                  <a:gd name="connsiteX137" fmla="*/ 505027 w 590763"/>
                  <a:gd name="connsiteY137" fmla="*/ 323671 h 380920"/>
                  <a:gd name="connsiteX138" fmla="*/ 477690 w 590763"/>
                  <a:gd name="connsiteY138" fmla="*/ 302811 h 380920"/>
                  <a:gd name="connsiteX139" fmla="*/ 485405 w 590763"/>
                  <a:gd name="connsiteY139" fmla="*/ 303954 h 380920"/>
                  <a:gd name="connsiteX140" fmla="*/ 505694 w 590763"/>
                  <a:gd name="connsiteY140" fmla="*/ 295572 h 380920"/>
                  <a:gd name="connsiteX141" fmla="*/ 512837 w 590763"/>
                  <a:gd name="connsiteY141" fmla="*/ 267664 h 380920"/>
                  <a:gd name="connsiteX142" fmla="*/ 533602 w 590763"/>
                  <a:gd name="connsiteY142" fmla="*/ 295001 h 380920"/>
                  <a:gd name="connsiteX143" fmla="*/ 505027 w 590763"/>
                  <a:gd name="connsiteY143" fmla="*/ 323576 h 380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590763" h="380920">
                    <a:moveTo>
                      <a:pt x="586847" y="287190"/>
                    </a:moveTo>
                    <a:cubicBezTo>
                      <a:pt x="589895" y="284999"/>
                      <a:pt x="591323" y="281285"/>
                      <a:pt x="590561" y="277570"/>
                    </a:cubicBezTo>
                    <a:cubicBezTo>
                      <a:pt x="588371" y="266807"/>
                      <a:pt x="584084" y="256520"/>
                      <a:pt x="577988" y="247185"/>
                    </a:cubicBezTo>
                    <a:cubicBezTo>
                      <a:pt x="575893" y="244042"/>
                      <a:pt x="572178" y="242423"/>
                      <a:pt x="568463" y="242994"/>
                    </a:cubicBezTo>
                    <a:cubicBezTo>
                      <a:pt x="565225" y="243566"/>
                      <a:pt x="562082" y="242518"/>
                      <a:pt x="559891" y="240422"/>
                    </a:cubicBezTo>
                    <a:cubicBezTo>
                      <a:pt x="557605" y="238136"/>
                      <a:pt x="556652" y="234993"/>
                      <a:pt x="557129" y="231755"/>
                    </a:cubicBezTo>
                    <a:cubicBezTo>
                      <a:pt x="557700" y="228040"/>
                      <a:pt x="556081" y="224325"/>
                      <a:pt x="552938" y="222325"/>
                    </a:cubicBezTo>
                    <a:cubicBezTo>
                      <a:pt x="543603" y="216134"/>
                      <a:pt x="533316" y="211943"/>
                      <a:pt x="522553" y="209752"/>
                    </a:cubicBezTo>
                    <a:cubicBezTo>
                      <a:pt x="518933" y="208990"/>
                      <a:pt x="515123" y="210514"/>
                      <a:pt x="512933" y="213467"/>
                    </a:cubicBezTo>
                    <a:cubicBezTo>
                      <a:pt x="509123" y="218705"/>
                      <a:pt x="500741" y="218705"/>
                      <a:pt x="496931" y="213467"/>
                    </a:cubicBezTo>
                    <a:cubicBezTo>
                      <a:pt x="494740" y="210419"/>
                      <a:pt x="491025" y="208990"/>
                      <a:pt x="487406" y="209752"/>
                    </a:cubicBezTo>
                    <a:cubicBezTo>
                      <a:pt x="480262" y="211181"/>
                      <a:pt x="473404" y="213467"/>
                      <a:pt x="466832" y="216705"/>
                    </a:cubicBezTo>
                    <a:lnTo>
                      <a:pt x="373868" y="123741"/>
                    </a:lnTo>
                    <a:cubicBezTo>
                      <a:pt x="377011" y="117169"/>
                      <a:pt x="379487" y="110406"/>
                      <a:pt x="380916" y="103262"/>
                    </a:cubicBezTo>
                    <a:cubicBezTo>
                      <a:pt x="381678" y="99643"/>
                      <a:pt x="380154" y="95833"/>
                      <a:pt x="377201" y="93642"/>
                    </a:cubicBezTo>
                    <a:cubicBezTo>
                      <a:pt x="374630" y="91737"/>
                      <a:pt x="373010" y="88784"/>
                      <a:pt x="373010" y="85641"/>
                    </a:cubicBezTo>
                    <a:cubicBezTo>
                      <a:pt x="373010" y="82498"/>
                      <a:pt x="374534" y="79545"/>
                      <a:pt x="377201" y="77640"/>
                    </a:cubicBezTo>
                    <a:cubicBezTo>
                      <a:pt x="380249" y="75449"/>
                      <a:pt x="381678" y="71735"/>
                      <a:pt x="380916" y="68020"/>
                    </a:cubicBezTo>
                    <a:cubicBezTo>
                      <a:pt x="378725" y="57257"/>
                      <a:pt x="374439" y="46970"/>
                      <a:pt x="368343" y="37635"/>
                    </a:cubicBezTo>
                    <a:cubicBezTo>
                      <a:pt x="366248" y="34492"/>
                      <a:pt x="362628" y="32873"/>
                      <a:pt x="358818" y="33444"/>
                    </a:cubicBezTo>
                    <a:cubicBezTo>
                      <a:pt x="355580" y="34016"/>
                      <a:pt x="352436" y="32968"/>
                      <a:pt x="350246" y="30872"/>
                    </a:cubicBezTo>
                    <a:cubicBezTo>
                      <a:pt x="347960" y="28586"/>
                      <a:pt x="347007" y="25443"/>
                      <a:pt x="347483" y="22205"/>
                    </a:cubicBezTo>
                    <a:cubicBezTo>
                      <a:pt x="348055" y="18490"/>
                      <a:pt x="346436" y="14775"/>
                      <a:pt x="343292" y="12775"/>
                    </a:cubicBezTo>
                    <a:cubicBezTo>
                      <a:pt x="333958" y="6584"/>
                      <a:pt x="323671" y="2393"/>
                      <a:pt x="312908" y="202"/>
                    </a:cubicBezTo>
                    <a:cubicBezTo>
                      <a:pt x="309288" y="-560"/>
                      <a:pt x="305478" y="964"/>
                      <a:pt x="303287" y="3917"/>
                    </a:cubicBezTo>
                    <a:cubicBezTo>
                      <a:pt x="299477" y="9155"/>
                      <a:pt x="291095" y="9155"/>
                      <a:pt x="287285" y="3917"/>
                    </a:cubicBezTo>
                    <a:cubicBezTo>
                      <a:pt x="285095" y="869"/>
                      <a:pt x="281285" y="-560"/>
                      <a:pt x="277665" y="202"/>
                    </a:cubicBezTo>
                    <a:cubicBezTo>
                      <a:pt x="266902" y="2393"/>
                      <a:pt x="256615" y="6679"/>
                      <a:pt x="247280" y="12775"/>
                    </a:cubicBezTo>
                    <a:cubicBezTo>
                      <a:pt x="244137" y="14870"/>
                      <a:pt x="242518" y="18585"/>
                      <a:pt x="243089" y="22205"/>
                    </a:cubicBezTo>
                    <a:cubicBezTo>
                      <a:pt x="243566" y="25443"/>
                      <a:pt x="242613" y="28586"/>
                      <a:pt x="240518" y="30777"/>
                    </a:cubicBezTo>
                    <a:cubicBezTo>
                      <a:pt x="238232" y="33063"/>
                      <a:pt x="235088" y="34016"/>
                      <a:pt x="231850" y="33539"/>
                    </a:cubicBezTo>
                    <a:cubicBezTo>
                      <a:pt x="228135" y="32968"/>
                      <a:pt x="224420" y="34587"/>
                      <a:pt x="222325" y="37730"/>
                    </a:cubicBezTo>
                    <a:cubicBezTo>
                      <a:pt x="216134" y="47065"/>
                      <a:pt x="211943" y="57352"/>
                      <a:pt x="209752" y="68115"/>
                    </a:cubicBezTo>
                    <a:cubicBezTo>
                      <a:pt x="208990" y="71735"/>
                      <a:pt x="210514" y="75545"/>
                      <a:pt x="213467" y="77735"/>
                    </a:cubicBezTo>
                    <a:cubicBezTo>
                      <a:pt x="216038" y="79640"/>
                      <a:pt x="217658" y="82593"/>
                      <a:pt x="217658" y="85736"/>
                    </a:cubicBezTo>
                    <a:cubicBezTo>
                      <a:pt x="217658" y="88880"/>
                      <a:pt x="216134" y="91832"/>
                      <a:pt x="213467" y="93737"/>
                    </a:cubicBezTo>
                    <a:cubicBezTo>
                      <a:pt x="210419" y="95928"/>
                      <a:pt x="208990" y="99643"/>
                      <a:pt x="209752" y="103262"/>
                    </a:cubicBezTo>
                    <a:cubicBezTo>
                      <a:pt x="211181" y="110406"/>
                      <a:pt x="213562" y="117264"/>
                      <a:pt x="216705" y="123836"/>
                    </a:cubicBezTo>
                    <a:lnTo>
                      <a:pt x="123741" y="216800"/>
                    </a:lnTo>
                    <a:cubicBezTo>
                      <a:pt x="117264" y="213657"/>
                      <a:pt x="110406" y="211181"/>
                      <a:pt x="103358" y="209752"/>
                    </a:cubicBezTo>
                    <a:cubicBezTo>
                      <a:pt x="99738" y="208990"/>
                      <a:pt x="95928" y="210514"/>
                      <a:pt x="93737" y="213467"/>
                    </a:cubicBezTo>
                    <a:cubicBezTo>
                      <a:pt x="89927" y="218801"/>
                      <a:pt x="81450" y="218801"/>
                      <a:pt x="77640" y="213467"/>
                    </a:cubicBezTo>
                    <a:cubicBezTo>
                      <a:pt x="75449" y="210419"/>
                      <a:pt x="71639" y="208990"/>
                      <a:pt x="68020" y="209752"/>
                    </a:cubicBezTo>
                    <a:cubicBezTo>
                      <a:pt x="57257" y="211943"/>
                      <a:pt x="46970" y="216229"/>
                      <a:pt x="37730" y="222325"/>
                    </a:cubicBezTo>
                    <a:cubicBezTo>
                      <a:pt x="34587" y="224420"/>
                      <a:pt x="32968" y="228135"/>
                      <a:pt x="33539" y="231755"/>
                    </a:cubicBezTo>
                    <a:cubicBezTo>
                      <a:pt x="34016" y="234993"/>
                      <a:pt x="33063" y="238136"/>
                      <a:pt x="30777" y="240327"/>
                    </a:cubicBezTo>
                    <a:cubicBezTo>
                      <a:pt x="28491" y="242613"/>
                      <a:pt x="25443" y="243566"/>
                      <a:pt x="22205" y="243089"/>
                    </a:cubicBezTo>
                    <a:cubicBezTo>
                      <a:pt x="18490" y="242518"/>
                      <a:pt x="14775" y="244137"/>
                      <a:pt x="12775" y="247280"/>
                    </a:cubicBezTo>
                    <a:cubicBezTo>
                      <a:pt x="6584" y="256615"/>
                      <a:pt x="2393" y="266807"/>
                      <a:pt x="202" y="277570"/>
                    </a:cubicBezTo>
                    <a:cubicBezTo>
                      <a:pt x="-560" y="281285"/>
                      <a:pt x="964" y="284999"/>
                      <a:pt x="3917" y="287190"/>
                    </a:cubicBezTo>
                    <a:cubicBezTo>
                      <a:pt x="6584" y="289095"/>
                      <a:pt x="8108" y="292048"/>
                      <a:pt x="8108" y="295191"/>
                    </a:cubicBezTo>
                    <a:cubicBezTo>
                      <a:pt x="8108" y="298334"/>
                      <a:pt x="6584" y="301287"/>
                      <a:pt x="3917" y="303192"/>
                    </a:cubicBezTo>
                    <a:cubicBezTo>
                      <a:pt x="869" y="305383"/>
                      <a:pt x="-560" y="309193"/>
                      <a:pt x="202" y="312812"/>
                    </a:cubicBezTo>
                    <a:cubicBezTo>
                      <a:pt x="2393" y="323576"/>
                      <a:pt x="6679" y="333767"/>
                      <a:pt x="12775" y="343102"/>
                    </a:cubicBezTo>
                    <a:cubicBezTo>
                      <a:pt x="14870" y="346245"/>
                      <a:pt x="18490" y="347864"/>
                      <a:pt x="22205" y="347293"/>
                    </a:cubicBezTo>
                    <a:cubicBezTo>
                      <a:pt x="25443" y="346817"/>
                      <a:pt x="28586" y="347769"/>
                      <a:pt x="30777" y="350055"/>
                    </a:cubicBezTo>
                    <a:cubicBezTo>
                      <a:pt x="32968" y="352341"/>
                      <a:pt x="34016" y="355484"/>
                      <a:pt x="33539" y="358628"/>
                    </a:cubicBezTo>
                    <a:cubicBezTo>
                      <a:pt x="32968" y="362342"/>
                      <a:pt x="34587" y="366057"/>
                      <a:pt x="37730" y="368057"/>
                    </a:cubicBezTo>
                    <a:cubicBezTo>
                      <a:pt x="47065" y="374153"/>
                      <a:pt x="57257" y="378440"/>
                      <a:pt x="68020" y="380630"/>
                    </a:cubicBezTo>
                    <a:cubicBezTo>
                      <a:pt x="71735" y="381392"/>
                      <a:pt x="75449" y="379868"/>
                      <a:pt x="77640" y="376916"/>
                    </a:cubicBezTo>
                    <a:cubicBezTo>
                      <a:pt x="81450" y="371582"/>
                      <a:pt x="89927" y="371582"/>
                      <a:pt x="93737" y="376916"/>
                    </a:cubicBezTo>
                    <a:cubicBezTo>
                      <a:pt x="95547" y="379392"/>
                      <a:pt x="98405" y="380916"/>
                      <a:pt x="101453" y="380916"/>
                    </a:cubicBezTo>
                    <a:cubicBezTo>
                      <a:pt x="102119" y="380916"/>
                      <a:pt x="102691" y="380916"/>
                      <a:pt x="103358" y="380726"/>
                    </a:cubicBezTo>
                    <a:cubicBezTo>
                      <a:pt x="114121" y="378535"/>
                      <a:pt x="124313" y="374249"/>
                      <a:pt x="133647" y="368153"/>
                    </a:cubicBezTo>
                    <a:cubicBezTo>
                      <a:pt x="136790" y="366057"/>
                      <a:pt x="138410" y="362342"/>
                      <a:pt x="137838" y="358723"/>
                    </a:cubicBezTo>
                    <a:cubicBezTo>
                      <a:pt x="137362" y="355484"/>
                      <a:pt x="138314" y="352341"/>
                      <a:pt x="140600" y="350150"/>
                    </a:cubicBezTo>
                    <a:cubicBezTo>
                      <a:pt x="142886" y="347960"/>
                      <a:pt x="145934" y="346912"/>
                      <a:pt x="149173" y="347388"/>
                    </a:cubicBezTo>
                    <a:cubicBezTo>
                      <a:pt x="152888" y="347960"/>
                      <a:pt x="156602" y="346340"/>
                      <a:pt x="158603" y="343197"/>
                    </a:cubicBezTo>
                    <a:cubicBezTo>
                      <a:pt x="164794" y="333863"/>
                      <a:pt x="168985" y="323671"/>
                      <a:pt x="171176" y="312908"/>
                    </a:cubicBezTo>
                    <a:cubicBezTo>
                      <a:pt x="171938" y="309193"/>
                      <a:pt x="170414" y="305478"/>
                      <a:pt x="167461" y="303287"/>
                    </a:cubicBezTo>
                    <a:cubicBezTo>
                      <a:pt x="164794" y="301382"/>
                      <a:pt x="163270" y="298430"/>
                      <a:pt x="163270" y="295286"/>
                    </a:cubicBezTo>
                    <a:cubicBezTo>
                      <a:pt x="163270" y="292143"/>
                      <a:pt x="164794" y="289190"/>
                      <a:pt x="167461" y="287285"/>
                    </a:cubicBezTo>
                    <a:cubicBezTo>
                      <a:pt x="170509" y="285095"/>
                      <a:pt x="171938" y="281285"/>
                      <a:pt x="171176" y="277665"/>
                    </a:cubicBezTo>
                    <a:cubicBezTo>
                      <a:pt x="169747" y="270617"/>
                      <a:pt x="167270" y="263759"/>
                      <a:pt x="164127" y="257282"/>
                    </a:cubicBezTo>
                    <a:lnTo>
                      <a:pt x="257091" y="164318"/>
                    </a:lnTo>
                    <a:cubicBezTo>
                      <a:pt x="263663" y="167556"/>
                      <a:pt x="270521" y="169937"/>
                      <a:pt x="277665" y="171271"/>
                    </a:cubicBezTo>
                    <a:cubicBezTo>
                      <a:pt x="281285" y="171938"/>
                      <a:pt x="284999" y="170509"/>
                      <a:pt x="287190" y="167556"/>
                    </a:cubicBezTo>
                    <a:cubicBezTo>
                      <a:pt x="291000" y="162317"/>
                      <a:pt x="299382" y="162317"/>
                      <a:pt x="303192" y="167556"/>
                    </a:cubicBezTo>
                    <a:cubicBezTo>
                      <a:pt x="305002" y="170033"/>
                      <a:pt x="307859" y="171461"/>
                      <a:pt x="310907" y="171461"/>
                    </a:cubicBezTo>
                    <a:cubicBezTo>
                      <a:pt x="311574" y="171461"/>
                      <a:pt x="312146" y="171461"/>
                      <a:pt x="312812" y="171271"/>
                    </a:cubicBezTo>
                    <a:cubicBezTo>
                      <a:pt x="319956" y="169842"/>
                      <a:pt x="326719" y="167366"/>
                      <a:pt x="333291" y="164222"/>
                    </a:cubicBezTo>
                    <a:lnTo>
                      <a:pt x="426255" y="257186"/>
                    </a:lnTo>
                    <a:cubicBezTo>
                      <a:pt x="423017" y="263759"/>
                      <a:pt x="420635" y="270617"/>
                      <a:pt x="419302" y="277760"/>
                    </a:cubicBezTo>
                    <a:cubicBezTo>
                      <a:pt x="418540" y="281380"/>
                      <a:pt x="420064" y="285095"/>
                      <a:pt x="423017" y="287285"/>
                    </a:cubicBezTo>
                    <a:cubicBezTo>
                      <a:pt x="425588" y="289190"/>
                      <a:pt x="427208" y="292143"/>
                      <a:pt x="427208" y="295286"/>
                    </a:cubicBezTo>
                    <a:cubicBezTo>
                      <a:pt x="427208" y="298430"/>
                      <a:pt x="425684" y="301382"/>
                      <a:pt x="423017" y="303287"/>
                    </a:cubicBezTo>
                    <a:cubicBezTo>
                      <a:pt x="419969" y="305478"/>
                      <a:pt x="418540" y="309193"/>
                      <a:pt x="419302" y="312908"/>
                    </a:cubicBezTo>
                    <a:cubicBezTo>
                      <a:pt x="421493" y="323671"/>
                      <a:pt x="425779" y="333958"/>
                      <a:pt x="431875" y="343292"/>
                    </a:cubicBezTo>
                    <a:cubicBezTo>
                      <a:pt x="433970" y="346436"/>
                      <a:pt x="437685" y="348055"/>
                      <a:pt x="441400" y="347483"/>
                    </a:cubicBezTo>
                    <a:cubicBezTo>
                      <a:pt x="444638" y="346912"/>
                      <a:pt x="447782" y="347960"/>
                      <a:pt x="449972" y="350055"/>
                    </a:cubicBezTo>
                    <a:cubicBezTo>
                      <a:pt x="452258" y="352341"/>
                      <a:pt x="453211" y="355484"/>
                      <a:pt x="452735" y="358723"/>
                    </a:cubicBezTo>
                    <a:cubicBezTo>
                      <a:pt x="452163" y="362438"/>
                      <a:pt x="453782" y="366152"/>
                      <a:pt x="456926" y="368153"/>
                    </a:cubicBezTo>
                    <a:cubicBezTo>
                      <a:pt x="466260" y="374344"/>
                      <a:pt x="476547" y="378535"/>
                      <a:pt x="487310" y="380726"/>
                    </a:cubicBezTo>
                    <a:cubicBezTo>
                      <a:pt x="490930" y="381488"/>
                      <a:pt x="494740" y="379964"/>
                      <a:pt x="496931" y="377011"/>
                    </a:cubicBezTo>
                    <a:cubicBezTo>
                      <a:pt x="500741" y="371772"/>
                      <a:pt x="509123" y="371772"/>
                      <a:pt x="512933" y="377011"/>
                    </a:cubicBezTo>
                    <a:cubicBezTo>
                      <a:pt x="514742" y="379487"/>
                      <a:pt x="517600" y="380916"/>
                      <a:pt x="520648" y="380916"/>
                    </a:cubicBezTo>
                    <a:cubicBezTo>
                      <a:pt x="521315" y="380916"/>
                      <a:pt x="521886" y="380916"/>
                      <a:pt x="522553" y="380726"/>
                    </a:cubicBezTo>
                    <a:cubicBezTo>
                      <a:pt x="533316" y="378535"/>
                      <a:pt x="543603" y="374249"/>
                      <a:pt x="552938" y="368153"/>
                    </a:cubicBezTo>
                    <a:cubicBezTo>
                      <a:pt x="556081" y="366057"/>
                      <a:pt x="557700" y="362342"/>
                      <a:pt x="557129" y="358723"/>
                    </a:cubicBezTo>
                    <a:cubicBezTo>
                      <a:pt x="556652" y="355484"/>
                      <a:pt x="557605" y="352341"/>
                      <a:pt x="559700" y="350150"/>
                    </a:cubicBezTo>
                    <a:cubicBezTo>
                      <a:pt x="561986" y="347864"/>
                      <a:pt x="565130" y="346912"/>
                      <a:pt x="568368" y="347388"/>
                    </a:cubicBezTo>
                    <a:cubicBezTo>
                      <a:pt x="572083" y="347960"/>
                      <a:pt x="575798" y="346340"/>
                      <a:pt x="577893" y="343197"/>
                    </a:cubicBezTo>
                    <a:cubicBezTo>
                      <a:pt x="584084" y="333863"/>
                      <a:pt x="588275" y="323576"/>
                      <a:pt x="590466" y="312812"/>
                    </a:cubicBezTo>
                    <a:cubicBezTo>
                      <a:pt x="591228" y="309193"/>
                      <a:pt x="589704" y="305383"/>
                      <a:pt x="586751" y="303192"/>
                    </a:cubicBezTo>
                    <a:cubicBezTo>
                      <a:pt x="584180" y="301287"/>
                      <a:pt x="582560" y="298334"/>
                      <a:pt x="582560" y="295191"/>
                    </a:cubicBezTo>
                    <a:cubicBezTo>
                      <a:pt x="582560" y="292048"/>
                      <a:pt x="584084" y="289095"/>
                      <a:pt x="586751" y="287190"/>
                    </a:cubicBezTo>
                    <a:close/>
                    <a:moveTo>
                      <a:pt x="85927" y="323766"/>
                    </a:moveTo>
                    <a:cubicBezTo>
                      <a:pt x="70211" y="323766"/>
                      <a:pt x="57352" y="310907"/>
                      <a:pt x="57352" y="295191"/>
                    </a:cubicBezTo>
                    <a:cubicBezTo>
                      <a:pt x="57352" y="279475"/>
                      <a:pt x="70211" y="266616"/>
                      <a:pt x="85927" y="266616"/>
                    </a:cubicBezTo>
                    <a:cubicBezTo>
                      <a:pt x="101643" y="266616"/>
                      <a:pt x="114502" y="279475"/>
                      <a:pt x="114502" y="295191"/>
                    </a:cubicBezTo>
                    <a:cubicBezTo>
                      <a:pt x="114502" y="310907"/>
                      <a:pt x="101643" y="323766"/>
                      <a:pt x="85927" y="323766"/>
                    </a:cubicBezTo>
                    <a:close/>
                    <a:moveTo>
                      <a:pt x="275284" y="119264"/>
                    </a:moveTo>
                    <a:lnTo>
                      <a:pt x="151554" y="242994"/>
                    </a:lnTo>
                    <a:cubicBezTo>
                      <a:pt x="150792" y="242994"/>
                      <a:pt x="150125" y="242994"/>
                      <a:pt x="149363" y="242994"/>
                    </a:cubicBezTo>
                    <a:cubicBezTo>
                      <a:pt x="146125" y="243470"/>
                      <a:pt x="142982" y="242518"/>
                      <a:pt x="140791" y="240232"/>
                    </a:cubicBezTo>
                    <a:cubicBezTo>
                      <a:pt x="138505" y="237946"/>
                      <a:pt x="137552" y="234803"/>
                      <a:pt x="138029" y="231659"/>
                    </a:cubicBezTo>
                    <a:cubicBezTo>
                      <a:pt x="138124" y="230897"/>
                      <a:pt x="138029" y="230231"/>
                      <a:pt x="138029" y="229469"/>
                    </a:cubicBezTo>
                    <a:lnTo>
                      <a:pt x="261758" y="105739"/>
                    </a:lnTo>
                    <a:cubicBezTo>
                      <a:pt x="265568" y="101929"/>
                      <a:pt x="271474" y="102024"/>
                      <a:pt x="275284" y="105739"/>
                    </a:cubicBezTo>
                    <a:cubicBezTo>
                      <a:pt x="277094" y="107549"/>
                      <a:pt x="278141" y="110025"/>
                      <a:pt x="278141" y="112502"/>
                    </a:cubicBezTo>
                    <a:cubicBezTo>
                      <a:pt x="278141" y="114978"/>
                      <a:pt x="277094" y="117359"/>
                      <a:pt x="275284" y="119169"/>
                    </a:cubicBezTo>
                    <a:close/>
                    <a:moveTo>
                      <a:pt x="297001" y="114026"/>
                    </a:moveTo>
                    <a:cubicBezTo>
                      <a:pt x="297001" y="113549"/>
                      <a:pt x="297191" y="113073"/>
                      <a:pt x="297191" y="112597"/>
                    </a:cubicBezTo>
                    <a:cubicBezTo>
                      <a:pt x="297191" y="105072"/>
                      <a:pt x="294143" y="97643"/>
                      <a:pt x="288714" y="92309"/>
                    </a:cubicBezTo>
                    <a:cubicBezTo>
                      <a:pt x="282713" y="86403"/>
                      <a:pt x="274808" y="83736"/>
                      <a:pt x="266997" y="84212"/>
                    </a:cubicBezTo>
                    <a:cubicBezTo>
                      <a:pt x="267759" y="69163"/>
                      <a:pt x="280142" y="57161"/>
                      <a:pt x="295382" y="57161"/>
                    </a:cubicBezTo>
                    <a:cubicBezTo>
                      <a:pt x="310622" y="57161"/>
                      <a:pt x="323957" y="70020"/>
                      <a:pt x="323957" y="85736"/>
                    </a:cubicBezTo>
                    <a:cubicBezTo>
                      <a:pt x="323957" y="101453"/>
                      <a:pt x="311955" y="113359"/>
                      <a:pt x="297001" y="114121"/>
                    </a:cubicBezTo>
                    <a:close/>
                    <a:moveTo>
                      <a:pt x="347674" y="151268"/>
                    </a:moveTo>
                    <a:cubicBezTo>
                      <a:pt x="347674" y="150506"/>
                      <a:pt x="347674" y="149744"/>
                      <a:pt x="347674" y="148982"/>
                    </a:cubicBezTo>
                    <a:cubicBezTo>
                      <a:pt x="347198" y="145744"/>
                      <a:pt x="348150" y="142601"/>
                      <a:pt x="350246" y="140410"/>
                    </a:cubicBezTo>
                    <a:cubicBezTo>
                      <a:pt x="352532" y="138124"/>
                      <a:pt x="355675" y="137076"/>
                      <a:pt x="358913" y="137648"/>
                    </a:cubicBezTo>
                    <a:cubicBezTo>
                      <a:pt x="359675" y="137743"/>
                      <a:pt x="360437" y="137743"/>
                      <a:pt x="361199" y="137648"/>
                    </a:cubicBezTo>
                    <a:lnTo>
                      <a:pt x="492168" y="268712"/>
                    </a:lnTo>
                    <a:cubicBezTo>
                      <a:pt x="495883" y="272426"/>
                      <a:pt x="495883" y="278427"/>
                      <a:pt x="492168" y="282142"/>
                    </a:cubicBezTo>
                    <a:cubicBezTo>
                      <a:pt x="488358" y="285952"/>
                      <a:pt x="482357" y="285952"/>
                      <a:pt x="478643" y="282142"/>
                    </a:cubicBezTo>
                    <a:lnTo>
                      <a:pt x="347579" y="151078"/>
                    </a:lnTo>
                    <a:close/>
                    <a:moveTo>
                      <a:pt x="505027" y="323671"/>
                    </a:moveTo>
                    <a:cubicBezTo>
                      <a:pt x="491978" y="323671"/>
                      <a:pt x="481024" y="314813"/>
                      <a:pt x="477690" y="302811"/>
                    </a:cubicBezTo>
                    <a:cubicBezTo>
                      <a:pt x="480262" y="303478"/>
                      <a:pt x="482834" y="303954"/>
                      <a:pt x="485405" y="303954"/>
                    </a:cubicBezTo>
                    <a:cubicBezTo>
                      <a:pt x="492740" y="303954"/>
                      <a:pt x="500074" y="301192"/>
                      <a:pt x="505694" y="295572"/>
                    </a:cubicBezTo>
                    <a:cubicBezTo>
                      <a:pt x="513218" y="287952"/>
                      <a:pt x="515504" y="277284"/>
                      <a:pt x="512837" y="267664"/>
                    </a:cubicBezTo>
                    <a:cubicBezTo>
                      <a:pt x="524553" y="271093"/>
                      <a:pt x="533602" y="281951"/>
                      <a:pt x="533602" y="295001"/>
                    </a:cubicBezTo>
                    <a:cubicBezTo>
                      <a:pt x="533602" y="310717"/>
                      <a:pt x="520743" y="323576"/>
                      <a:pt x="505027" y="323576"/>
                    </a:cubicBez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grpSp>
      </p:grpSp>
      <p:grpSp>
        <p:nvGrpSpPr>
          <p:cNvPr id="73" name="Agrupar 72">
            <a:extLst>
              <a:ext uri="{FF2B5EF4-FFF2-40B4-BE49-F238E27FC236}">
                <a16:creationId xmlns:a16="http://schemas.microsoft.com/office/drawing/2014/main" id="{53934EB3-9693-B6AD-CB50-BA1108CF9970}"/>
              </a:ext>
            </a:extLst>
          </p:cNvPr>
          <p:cNvGrpSpPr/>
          <p:nvPr>
            <p:custDataLst>
              <p:tags r:id="rId10"/>
            </p:custDataLst>
          </p:nvPr>
        </p:nvGrpSpPr>
        <p:grpSpPr>
          <a:xfrm>
            <a:off x="475212" y="1867745"/>
            <a:ext cx="466686" cy="466686"/>
            <a:chOff x="475212" y="1944659"/>
            <a:chExt cx="466686" cy="466686"/>
          </a:xfrm>
        </p:grpSpPr>
        <p:sp>
          <p:nvSpPr>
            <p:cNvPr id="69" name="Elipse 68">
              <a:extLst>
                <a:ext uri="{FF2B5EF4-FFF2-40B4-BE49-F238E27FC236}">
                  <a16:creationId xmlns:a16="http://schemas.microsoft.com/office/drawing/2014/main" id="{085D9D3F-E687-E065-8F67-FABDB0051C81}"/>
                </a:ext>
              </a:extLst>
            </p:cNvPr>
            <p:cNvSpPr/>
            <p:nvPr>
              <p:custDataLst>
                <p:tags r:id="rId58"/>
              </p:custDataLst>
            </p:nvPr>
          </p:nvSpPr>
          <p:spPr>
            <a:xfrm>
              <a:off x="475212" y="1944659"/>
              <a:ext cx="466686" cy="466686"/>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grpSp>
          <p:nvGrpSpPr>
            <p:cNvPr id="62" name="Gráfico 50">
              <a:extLst>
                <a:ext uri="{FF2B5EF4-FFF2-40B4-BE49-F238E27FC236}">
                  <a16:creationId xmlns:a16="http://schemas.microsoft.com/office/drawing/2014/main" id="{0CD047B6-001C-8819-0D56-97EEF2920EE1}"/>
                </a:ext>
              </a:extLst>
            </p:cNvPr>
            <p:cNvGrpSpPr/>
            <p:nvPr>
              <p:custDataLst>
                <p:tags r:id="rId59"/>
              </p:custDataLst>
            </p:nvPr>
          </p:nvGrpSpPr>
          <p:grpSpPr>
            <a:xfrm>
              <a:off x="553681" y="2042162"/>
              <a:ext cx="273559" cy="261678"/>
              <a:chOff x="-347153" y="2077358"/>
              <a:chExt cx="904636" cy="865346"/>
            </a:xfrm>
            <a:solidFill>
              <a:schemeClr val="bg1"/>
            </a:solidFill>
          </p:grpSpPr>
          <p:sp>
            <p:nvSpPr>
              <p:cNvPr id="65" name="Forma Livre: Forma 64">
                <a:extLst>
                  <a:ext uri="{FF2B5EF4-FFF2-40B4-BE49-F238E27FC236}">
                    <a16:creationId xmlns:a16="http://schemas.microsoft.com/office/drawing/2014/main" id="{EA38D416-BA95-2601-3338-2F44F8F12B44}"/>
                  </a:ext>
                </a:extLst>
              </p:cNvPr>
              <p:cNvSpPr/>
              <p:nvPr>
                <p:custDataLst>
                  <p:tags r:id="rId60"/>
                </p:custDataLst>
              </p:nvPr>
            </p:nvSpPr>
            <p:spPr>
              <a:xfrm>
                <a:off x="-191896" y="2433593"/>
                <a:ext cx="749379" cy="509111"/>
              </a:xfrm>
              <a:custGeom>
                <a:avLst/>
                <a:gdLst>
                  <a:gd name="connsiteX0" fmla="*/ 731520 w 749379"/>
                  <a:gd name="connsiteY0" fmla="*/ 401003 h 509111"/>
                  <a:gd name="connsiteX1" fmla="*/ 526733 w 749379"/>
                  <a:gd name="connsiteY1" fmla="*/ 197167 h 509111"/>
                  <a:gd name="connsiteX2" fmla="*/ 588645 w 749379"/>
                  <a:gd name="connsiteY2" fmla="*/ 20002 h 509111"/>
                  <a:gd name="connsiteX3" fmla="*/ 541020 w 749379"/>
                  <a:gd name="connsiteY3" fmla="*/ 0 h 509111"/>
                  <a:gd name="connsiteX4" fmla="*/ 474345 w 749379"/>
                  <a:gd name="connsiteY4" fmla="*/ 66675 h 509111"/>
                  <a:gd name="connsiteX5" fmla="*/ 237173 w 749379"/>
                  <a:gd name="connsiteY5" fmla="*/ 243840 h 509111"/>
                  <a:gd name="connsiteX6" fmla="*/ 74295 w 749379"/>
                  <a:gd name="connsiteY6" fmla="*/ 181927 h 509111"/>
                  <a:gd name="connsiteX7" fmla="*/ 0 w 749379"/>
                  <a:gd name="connsiteY7" fmla="*/ 256223 h 509111"/>
                  <a:gd name="connsiteX8" fmla="*/ 237173 w 749379"/>
                  <a:gd name="connsiteY8" fmla="*/ 348615 h 509111"/>
                  <a:gd name="connsiteX9" fmla="*/ 437197 w 749379"/>
                  <a:gd name="connsiteY9" fmla="*/ 285750 h 509111"/>
                  <a:gd name="connsiteX10" fmla="*/ 641985 w 749379"/>
                  <a:gd name="connsiteY10" fmla="*/ 490538 h 509111"/>
                  <a:gd name="connsiteX11" fmla="*/ 731520 w 749379"/>
                  <a:gd name="connsiteY11" fmla="*/ 490538 h 509111"/>
                  <a:gd name="connsiteX12" fmla="*/ 731520 w 749379"/>
                  <a:gd name="connsiteY12" fmla="*/ 401003 h 50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9379" h="509111">
                    <a:moveTo>
                      <a:pt x="731520" y="401003"/>
                    </a:moveTo>
                    <a:lnTo>
                      <a:pt x="526733" y="197167"/>
                    </a:lnTo>
                    <a:cubicBezTo>
                      <a:pt x="561975" y="146685"/>
                      <a:pt x="584835" y="85725"/>
                      <a:pt x="588645" y="20002"/>
                    </a:cubicBezTo>
                    <a:cubicBezTo>
                      <a:pt x="571500" y="18097"/>
                      <a:pt x="555308" y="11430"/>
                      <a:pt x="541020" y="0"/>
                    </a:cubicBezTo>
                    <a:lnTo>
                      <a:pt x="474345" y="66675"/>
                    </a:lnTo>
                    <a:cubicBezTo>
                      <a:pt x="443865" y="169545"/>
                      <a:pt x="349568" y="243840"/>
                      <a:pt x="237173" y="243840"/>
                    </a:cubicBezTo>
                    <a:cubicBezTo>
                      <a:pt x="175260" y="243840"/>
                      <a:pt x="118110" y="220980"/>
                      <a:pt x="74295" y="181927"/>
                    </a:cubicBezTo>
                    <a:lnTo>
                      <a:pt x="0" y="256223"/>
                    </a:lnTo>
                    <a:cubicBezTo>
                      <a:pt x="62865" y="313373"/>
                      <a:pt x="145733" y="348615"/>
                      <a:pt x="237173" y="348615"/>
                    </a:cubicBezTo>
                    <a:cubicBezTo>
                      <a:pt x="311468" y="348615"/>
                      <a:pt x="380048" y="325755"/>
                      <a:pt x="437197" y="285750"/>
                    </a:cubicBezTo>
                    <a:lnTo>
                      <a:pt x="641985" y="490538"/>
                    </a:lnTo>
                    <a:cubicBezTo>
                      <a:pt x="666750" y="515303"/>
                      <a:pt x="706755" y="515303"/>
                      <a:pt x="731520" y="490538"/>
                    </a:cubicBezTo>
                    <a:cubicBezTo>
                      <a:pt x="755333" y="465773"/>
                      <a:pt x="755333" y="425767"/>
                      <a:pt x="731520" y="401003"/>
                    </a:cubicBezTo>
                    <a:close/>
                  </a:path>
                </a:pathLst>
              </a:custGeom>
              <a:grpFill/>
              <a:ln w="9525" cap="flat">
                <a:noFill/>
                <a:prstDash val="solid"/>
                <a:miter/>
              </a:ln>
            </p:spPr>
            <p:txBody>
              <a:bodyPr rtlCol="0" anchor="ctr"/>
              <a:lstStyle/>
              <a:p>
                <a:endParaRPr lang="pt-BR" dirty="0"/>
              </a:p>
            </p:txBody>
          </p:sp>
          <p:sp>
            <p:nvSpPr>
              <p:cNvPr id="68" name="Forma Livre: Forma 67">
                <a:extLst>
                  <a:ext uri="{FF2B5EF4-FFF2-40B4-BE49-F238E27FC236}">
                    <a16:creationId xmlns:a16="http://schemas.microsoft.com/office/drawing/2014/main" id="{33E84264-1A14-5C70-7DD6-7FBA53088982}"/>
                  </a:ext>
                </a:extLst>
              </p:cNvPr>
              <p:cNvSpPr/>
              <p:nvPr>
                <p:custDataLst>
                  <p:tags r:id="rId61"/>
                </p:custDataLst>
              </p:nvPr>
            </p:nvSpPr>
            <p:spPr>
              <a:xfrm>
                <a:off x="-307148" y="2077358"/>
                <a:ext cx="524827" cy="394335"/>
              </a:xfrm>
              <a:custGeom>
                <a:avLst/>
                <a:gdLst>
                  <a:gd name="connsiteX0" fmla="*/ 115252 w 524827"/>
                  <a:gd name="connsiteY0" fmla="*/ 282893 h 394335"/>
                  <a:gd name="connsiteX1" fmla="*/ 352425 w 524827"/>
                  <a:gd name="connsiteY1" fmla="*/ 105728 h 394335"/>
                  <a:gd name="connsiteX2" fmla="*/ 470535 w 524827"/>
                  <a:gd name="connsiteY2" fmla="*/ 135255 h 394335"/>
                  <a:gd name="connsiteX3" fmla="*/ 475298 w 524827"/>
                  <a:gd name="connsiteY3" fmla="*/ 102870 h 394335"/>
                  <a:gd name="connsiteX4" fmla="*/ 524828 w 524827"/>
                  <a:gd name="connsiteY4" fmla="*/ 44768 h 394335"/>
                  <a:gd name="connsiteX5" fmla="*/ 352425 w 524827"/>
                  <a:gd name="connsiteY5" fmla="*/ 0 h 394335"/>
                  <a:gd name="connsiteX6" fmla="*/ 0 w 524827"/>
                  <a:gd name="connsiteY6" fmla="*/ 352425 h 394335"/>
                  <a:gd name="connsiteX7" fmla="*/ 2858 w 524827"/>
                  <a:gd name="connsiteY7" fmla="*/ 394335 h 394335"/>
                  <a:gd name="connsiteX8" fmla="*/ 115252 w 524827"/>
                  <a:gd name="connsiteY8" fmla="*/ 282893 h 39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4827" h="394335">
                    <a:moveTo>
                      <a:pt x="115252" y="282893"/>
                    </a:moveTo>
                    <a:cubicBezTo>
                      <a:pt x="145733" y="180975"/>
                      <a:pt x="240030" y="105728"/>
                      <a:pt x="352425" y="105728"/>
                    </a:cubicBezTo>
                    <a:cubicBezTo>
                      <a:pt x="395288" y="105728"/>
                      <a:pt x="435293" y="116205"/>
                      <a:pt x="470535" y="135255"/>
                    </a:cubicBezTo>
                    <a:cubicBezTo>
                      <a:pt x="470535" y="124778"/>
                      <a:pt x="471488" y="114300"/>
                      <a:pt x="475298" y="102870"/>
                    </a:cubicBezTo>
                    <a:cubicBezTo>
                      <a:pt x="482918" y="77153"/>
                      <a:pt x="501968" y="56197"/>
                      <a:pt x="524828" y="44768"/>
                    </a:cubicBezTo>
                    <a:cubicBezTo>
                      <a:pt x="473393" y="16192"/>
                      <a:pt x="415290" y="0"/>
                      <a:pt x="352425" y="0"/>
                    </a:cubicBezTo>
                    <a:cubicBezTo>
                      <a:pt x="158115" y="0"/>
                      <a:pt x="0" y="157163"/>
                      <a:pt x="0" y="352425"/>
                    </a:cubicBezTo>
                    <a:cubicBezTo>
                      <a:pt x="0" y="366713"/>
                      <a:pt x="953" y="381000"/>
                      <a:pt x="2858" y="394335"/>
                    </a:cubicBezTo>
                    <a:lnTo>
                      <a:pt x="115252" y="282893"/>
                    </a:lnTo>
                    <a:close/>
                  </a:path>
                </a:pathLst>
              </a:custGeom>
              <a:grpFill/>
              <a:ln w="9525" cap="flat">
                <a:noFill/>
                <a:prstDash val="solid"/>
                <a:miter/>
              </a:ln>
            </p:spPr>
            <p:txBody>
              <a:bodyPr rtlCol="0" anchor="ctr"/>
              <a:lstStyle/>
              <a:p>
                <a:endParaRPr lang="pt-BR" dirty="0"/>
              </a:p>
            </p:txBody>
          </p:sp>
          <p:sp>
            <p:nvSpPr>
              <p:cNvPr id="70" name="Forma Livre: Forma 69">
                <a:extLst>
                  <a:ext uri="{FF2B5EF4-FFF2-40B4-BE49-F238E27FC236}">
                    <a16:creationId xmlns:a16="http://schemas.microsoft.com/office/drawing/2014/main" id="{0975A8A3-ABA6-C15A-61CB-8F5ED6972B04}"/>
                  </a:ext>
                </a:extLst>
              </p:cNvPr>
              <p:cNvSpPr/>
              <p:nvPr>
                <p:custDataLst>
                  <p:tags r:id="rId62"/>
                </p:custDataLst>
              </p:nvPr>
            </p:nvSpPr>
            <p:spPr>
              <a:xfrm>
                <a:off x="-347153" y="2146356"/>
                <a:ext cx="818732" cy="533934"/>
              </a:xfrm>
              <a:custGeom>
                <a:avLst/>
                <a:gdLst>
                  <a:gd name="connsiteX0" fmla="*/ 427673 w 818732"/>
                  <a:gd name="connsiteY0" fmla="*/ 392012 h 533934"/>
                  <a:gd name="connsiteX1" fmla="*/ 498158 w 818732"/>
                  <a:gd name="connsiteY1" fmla="*/ 392012 h 533934"/>
                  <a:gd name="connsiteX2" fmla="*/ 696278 w 818732"/>
                  <a:gd name="connsiteY2" fmla="*/ 192940 h 533934"/>
                  <a:gd name="connsiteX3" fmla="*/ 736283 w 818732"/>
                  <a:gd name="connsiteY3" fmla="*/ 232945 h 533934"/>
                  <a:gd name="connsiteX4" fmla="*/ 783908 w 818732"/>
                  <a:gd name="connsiteY4" fmla="*/ 218657 h 533934"/>
                  <a:gd name="connsiteX5" fmla="*/ 818198 w 818732"/>
                  <a:gd name="connsiteY5" fmla="*/ 32920 h 533934"/>
                  <a:gd name="connsiteX6" fmla="*/ 785813 w 818732"/>
                  <a:gd name="connsiteY6" fmla="*/ 535 h 533934"/>
                  <a:gd name="connsiteX7" fmla="*/ 600075 w 818732"/>
                  <a:gd name="connsiteY7" fmla="*/ 34825 h 533934"/>
                  <a:gd name="connsiteX8" fmla="*/ 585788 w 818732"/>
                  <a:gd name="connsiteY8" fmla="*/ 82450 h 533934"/>
                  <a:gd name="connsiteX9" fmla="*/ 625793 w 818732"/>
                  <a:gd name="connsiteY9" fmla="*/ 122455 h 533934"/>
                  <a:gd name="connsiteX10" fmla="*/ 462915 w 818732"/>
                  <a:gd name="connsiteY10" fmla="*/ 285332 h 533934"/>
                  <a:gd name="connsiteX11" fmla="*/ 355283 w 818732"/>
                  <a:gd name="connsiteY11" fmla="*/ 178652 h 533934"/>
                  <a:gd name="connsiteX12" fmla="*/ 284798 w 818732"/>
                  <a:gd name="connsiteY12" fmla="*/ 178652 h 533934"/>
                  <a:gd name="connsiteX13" fmla="*/ 14288 w 818732"/>
                  <a:gd name="connsiteY13" fmla="*/ 449162 h 533934"/>
                  <a:gd name="connsiteX14" fmla="*/ 14288 w 818732"/>
                  <a:gd name="connsiteY14" fmla="*/ 519647 h 533934"/>
                  <a:gd name="connsiteX15" fmla="*/ 84773 w 818732"/>
                  <a:gd name="connsiteY15" fmla="*/ 519647 h 533934"/>
                  <a:gd name="connsiteX16" fmla="*/ 320040 w 818732"/>
                  <a:gd name="connsiteY16" fmla="*/ 284380 h 533934"/>
                  <a:gd name="connsiteX17" fmla="*/ 427673 w 818732"/>
                  <a:gd name="connsiteY17" fmla="*/ 392012 h 53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8732" h="533934">
                    <a:moveTo>
                      <a:pt x="427673" y="392012"/>
                    </a:moveTo>
                    <a:cubicBezTo>
                      <a:pt x="446723" y="411062"/>
                      <a:pt x="479108" y="411062"/>
                      <a:pt x="498158" y="392012"/>
                    </a:cubicBezTo>
                    <a:lnTo>
                      <a:pt x="696278" y="192940"/>
                    </a:lnTo>
                    <a:lnTo>
                      <a:pt x="736283" y="232945"/>
                    </a:lnTo>
                    <a:cubicBezTo>
                      <a:pt x="752475" y="249137"/>
                      <a:pt x="779145" y="240565"/>
                      <a:pt x="783908" y="218657"/>
                    </a:cubicBezTo>
                    <a:lnTo>
                      <a:pt x="818198" y="32920"/>
                    </a:lnTo>
                    <a:cubicBezTo>
                      <a:pt x="822008" y="13870"/>
                      <a:pt x="804863" y="-3275"/>
                      <a:pt x="785813" y="535"/>
                    </a:cubicBezTo>
                    <a:lnTo>
                      <a:pt x="600075" y="34825"/>
                    </a:lnTo>
                    <a:cubicBezTo>
                      <a:pt x="578168" y="38635"/>
                      <a:pt x="569595" y="66257"/>
                      <a:pt x="585788" y="82450"/>
                    </a:cubicBezTo>
                    <a:lnTo>
                      <a:pt x="625793" y="122455"/>
                    </a:lnTo>
                    <a:lnTo>
                      <a:pt x="462915" y="285332"/>
                    </a:lnTo>
                    <a:lnTo>
                      <a:pt x="355283" y="178652"/>
                    </a:lnTo>
                    <a:cubicBezTo>
                      <a:pt x="336233" y="159602"/>
                      <a:pt x="303848" y="159602"/>
                      <a:pt x="284798" y="178652"/>
                    </a:cubicBezTo>
                    <a:lnTo>
                      <a:pt x="14288" y="449162"/>
                    </a:lnTo>
                    <a:cubicBezTo>
                      <a:pt x="-4763" y="468212"/>
                      <a:pt x="-4763" y="500597"/>
                      <a:pt x="14288" y="519647"/>
                    </a:cubicBezTo>
                    <a:cubicBezTo>
                      <a:pt x="33338" y="538697"/>
                      <a:pt x="65723" y="538697"/>
                      <a:pt x="84773" y="519647"/>
                    </a:cubicBezTo>
                    <a:lnTo>
                      <a:pt x="320040" y="284380"/>
                    </a:lnTo>
                    <a:lnTo>
                      <a:pt x="427673" y="392012"/>
                    </a:lnTo>
                    <a:close/>
                  </a:path>
                </a:pathLst>
              </a:custGeom>
              <a:grpFill/>
              <a:ln w="9525" cap="flat">
                <a:noFill/>
                <a:prstDash val="solid"/>
                <a:miter/>
              </a:ln>
            </p:spPr>
            <p:txBody>
              <a:bodyPr rtlCol="0" anchor="ctr"/>
              <a:lstStyle/>
              <a:p>
                <a:endParaRPr lang="pt-BR" dirty="0"/>
              </a:p>
            </p:txBody>
          </p:sp>
        </p:grpSp>
      </p:grpSp>
      <p:sp>
        <p:nvSpPr>
          <p:cNvPr id="66" name="CaixaDeTexto 65">
            <a:extLst>
              <a:ext uri="{FF2B5EF4-FFF2-40B4-BE49-F238E27FC236}">
                <a16:creationId xmlns:a16="http://schemas.microsoft.com/office/drawing/2014/main" id="{E262A25A-8161-FA4C-2CFF-0107D9B716CD}"/>
              </a:ext>
            </a:extLst>
          </p:cNvPr>
          <p:cNvSpPr txBox="1"/>
          <p:nvPr>
            <p:custDataLst>
              <p:tags r:id="rId11"/>
            </p:custDataLst>
          </p:nvPr>
        </p:nvSpPr>
        <p:spPr>
          <a:xfrm>
            <a:off x="980332" y="2371112"/>
            <a:ext cx="1527208" cy="1027186"/>
          </a:xfrm>
          <a:prstGeom prst="rect">
            <a:avLst/>
          </a:prstGeom>
          <a:noFill/>
        </p:spPr>
        <p:txBody>
          <a:bodyPr wrap="square">
            <a:spAutoFit/>
          </a:bodyPr>
          <a:lstStyle/>
          <a:p>
            <a:pPr marL="182563" marR="0" lvl="0" indent="-182563" algn="l" defTabSz="457200" rtl="0" eaLnBrk="1" fontAlgn="auto" latinLnBrk="0" hangingPunct="1">
              <a:lnSpc>
                <a:spcPct val="80000"/>
              </a:lnSpc>
              <a:spcBef>
                <a:spcPts val="200"/>
              </a:spcBef>
              <a:spcAft>
                <a:spcPts val="200"/>
              </a:spcAft>
              <a:buClr>
                <a:srgbClr val="00FFFF"/>
              </a:buClr>
              <a:buSzTx/>
              <a:buFont typeface="Courier New" panose="02070309020205020404" pitchFamily="49" charset="0"/>
              <a:buChar char="o"/>
              <a:defRPr/>
            </a:pPr>
            <a:r>
              <a:rPr lang="en-US" sz="1200" b="0" i="0" u="none" strike="noStrike" cap="none" baseline="0" dirty="0">
                <a:solidFill>
                  <a:srgbClr val="011F57"/>
                </a:solidFill>
                <a:effectLst/>
                <a:uFillTx/>
                <a:latin typeface="Segoe UI"/>
              </a:rPr>
              <a:t>Technologies</a:t>
            </a:r>
          </a:p>
          <a:p>
            <a:pPr marL="182563" marR="0" lvl="0" indent="-182563" algn="l" defTabSz="457200" rtl="0" eaLnBrk="1" fontAlgn="auto" latinLnBrk="0" hangingPunct="1">
              <a:lnSpc>
                <a:spcPct val="80000"/>
              </a:lnSpc>
              <a:spcBef>
                <a:spcPts val="200"/>
              </a:spcBef>
              <a:spcAft>
                <a:spcPts val="200"/>
              </a:spcAft>
              <a:buClr>
                <a:srgbClr val="00FFFF"/>
              </a:buClr>
              <a:buSzTx/>
              <a:buFont typeface="Courier New" panose="02070309020205020404" pitchFamily="49" charset="0"/>
              <a:buChar char="o"/>
              <a:defRPr/>
            </a:pPr>
            <a:r>
              <a:rPr lang="en-US" sz="1200" b="0" i="0" u="none" strike="noStrike" cap="none" baseline="0" dirty="0">
                <a:solidFill>
                  <a:srgbClr val="011F57"/>
                </a:solidFill>
                <a:effectLst/>
                <a:uFillTx/>
                <a:latin typeface="Segoe UI"/>
              </a:rPr>
              <a:t>Market</a:t>
            </a:r>
          </a:p>
          <a:p>
            <a:pPr marL="182563" marR="0" lvl="0" indent="-182563" algn="l" defTabSz="457200" rtl="0" eaLnBrk="1" fontAlgn="auto" latinLnBrk="0" hangingPunct="1">
              <a:lnSpc>
                <a:spcPct val="80000"/>
              </a:lnSpc>
              <a:spcBef>
                <a:spcPts val="200"/>
              </a:spcBef>
              <a:spcAft>
                <a:spcPts val="200"/>
              </a:spcAft>
              <a:buClr>
                <a:srgbClr val="00FFFF"/>
              </a:buClr>
              <a:buSzTx/>
              <a:buFont typeface="Courier New" panose="02070309020205020404" pitchFamily="49" charset="0"/>
              <a:buChar char="o"/>
              <a:defRPr/>
            </a:pPr>
            <a:r>
              <a:rPr lang="en-US" sz="1200" b="0" i="0" u="none" strike="noStrike" cap="none" baseline="0" dirty="0">
                <a:solidFill>
                  <a:srgbClr val="011F57"/>
                </a:solidFill>
                <a:effectLst/>
                <a:uFillTx/>
                <a:latin typeface="Segoe UI"/>
              </a:rPr>
              <a:t>Sector players </a:t>
            </a:r>
          </a:p>
          <a:p>
            <a:pPr marL="182563" marR="0" lvl="0" indent="-182563" algn="l" defTabSz="457200" rtl="0" eaLnBrk="1" fontAlgn="auto" latinLnBrk="0" hangingPunct="1">
              <a:lnSpc>
                <a:spcPct val="80000"/>
              </a:lnSpc>
              <a:spcBef>
                <a:spcPts val="200"/>
              </a:spcBef>
              <a:spcAft>
                <a:spcPts val="200"/>
              </a:spcAft>
              <a:buClr>
                <a:srgbClr val="00FFFF"/>
              </a:buClr>
              <a:buSzTx/>
              <a:buFont typeface="Courier New" panose="02070309020205020404" pitchFamily="49" charset="0"/>
              <a:buChar char="o"/>
              <a:defRPr/>
            </a:pPr>
            <a:r>
              <a:rPr lang="en-US" sz="1200" b="0" i="0" u="none" strike="noStrike" cap="none" baseline="0" dirty="0">
                <a:solidFill>
                  <a:srgbClr val="011F57"/>
                </a:solidFill>
                <a:effectLst/>
                <a:uFillTx/>
                <a:latin typeface="Segoe UI"/>
              </a:rPr>
              <a:t>Startups </a:t>
            </a:r>
          </a:p>
          <a:p>
            <a:pPr marL="182563" marR="0" lvl="0" indent="-182563" algn="l" defTabSz="457200" rtl="0" eaLnBrk="1" fontAlgn="auto" latinLnBrk="0" hangingPunct="1">
              <a:lnSpc>
                <a:spcPct val="80000"/>
              </a:lnSpc>
              <a:spcBef>
                <a:spcPts val="200"/>
              </a:spcBef>
              <a:spcAft>
                <a:spcPts val="200"/>
              </a:spcAft>
              <a:buClr>
                <a:srgbClr val="00FFFF"/>
              </a:buClr>
              <a:buSzTx/>
              <a:buFont typeface="Courier New" panose="02070309020205020404" pitchFamily="49" charset="0"/>
              <a:buChar char="o"/>
              <a:defRPr/>
            </a:pPr>
            <a:r>
              <a:rPr lang="en-US" sz="1200" b="0" i="0" u="none" strike="noStrike" cap="none" baseline="0" dirty="0">
                <a:solidFill>
                  <a:srgbClr val="011F57"/>
                </a:solidFill>
                <a:effectLst/>
                <a:uFillTx/>
                <a:latin typeface="Segoe UI"/>
              </a:rPr>
              <a:t>Regulation</a:t>
            </a:r>
          </a:p>
        </p:txBody>
      </p:sp>
      <p:sp>
        <p:nvSpPr>
          <p:cNvPr id="67" name="CaixaDeTexto 66">
            <a:extLst>
              <a:ext uri="{FF2B5EF4-FFF2-40B4-BE49-F238E27FC236}">
                <a16:creationId xmlns:a16="http://schemas.microsoft.com/office/drawing/2014/main" id="{D4BA0244-6B2C-596C-CD88-46E2285259B7}"/>
              </a:ext>
            </a:extLst>
          </p:cNvPr>
          <p:cNvSpPr txBox="1"/>
          <p:nvPr>
            <p:custDataLst>
              <p:tags r:id="rId12"/>
            </p:custDataLst>
          </p:nvPr>
        </p:nvSpPr>
        <p:spPr>
          <a:xfrm>
            <a:off x="998124" y="3993190"/>
            <a:ext cx="2404213" cy="1081322"/>
          </a:xfrm>
          <a:prstGeom prst="rect">
            <a:avLst/>
          </a:prstGeom>
          <a:noFill/>
        </p:spPr>
        <p:txBody>
          <a:bodyPr wrap="square">
            <a:spAutoFit/>
          </a:bodyPr>
          <a:lstStyle/>
          <a:p>
            <a:pPr marL="182563" lvl="0" indent="-182563">
              <a:lnSpc>
                <a:spcPct val="80000"/>
              </a:lnSpc>
              <a:spcBef>
                <a:spcPts val="200"/>
              </a:spcBef>
              <a:spcAft>
                <a:spcPts val="200"/>
              </a:spcAft>
              <a:buClr>
                <a:srgbClr val="00FFFF"/>
              </a:buClr>
              <a:buFont typeface="Courier New" panose="02070309020205020404" pitchFamily="49" charset="0"/>
              <a:buChar char="o"/>
              <a:defRPr/>
            </a:pPr>
            <a:r>
              <a:rPr lang="en-US" sz="1200">
                <a:solidFill>
                  <a:srgbClr val="011F57"/>
                </a:solidFill>
                <a:latin typeface="Segoe UI"/>
              </a:rPr>
              <a:t>Innovation governance</a:t>
            </a:r>
          </a:p>
          <a:p>
            <a:pPr marL="182563" lvl="0" indent="-182563">
              <a:lnSpc>
                <a:spcPct val="80000"/>
              </a:lnSpc>
              <a:spcBef>
                <a:spcPts val="200"/>
              </a:spcBef>
              <a:spcAft>
                <a:spcPts val="200"/>
              </a:spcAft>
              <a:buClr>
                <a:srgbClr val="00FFFF"/>
              </a:buClr>
              <a:buFont typeface="Courier New" panose="02070309020205020404" pitchFamily="49" charset="0"/>
              <a:buChar char="o"/>
              <a:defRPr/>
            </a:pPr>
            <a:r>
              <a:rPr lang="en-US" sz="1200">
                <a:solidFill>
                  <a:srgbClr val="011F57"/>
                </a:solidFill>
                <a:latin typeface="Segoe UI"/>
              </a:rPr>
              <a:t>Initiative portfolio management</a:t>
            </a:r>
          </a:p>
          <a:p>
            <a:pPr marL="182563" lvl="0" indent="-182563">
              <a:lnSpc>
                <a:spcPct val="80000"/>
              </a:lnSpc>
              <a:spcBef>
                <a:spcPts val="200"/>
              </a:spcBef>
              <a:spcAft>
                <a:spcPts val="200"/>
              </a:spcAft>
              <a:buClr>
                <a:srgbClr val="00FFFF"/>
              </a:buClr>
              <a:buFont typeface="Courier New" panose="02070309020205020404" pitchFamily="49" charset="0"/>
              <a:buChar char="o"/>
              <a:defRPr/>
            </a:pPr>
            <a:r>
              <a:rPr lang="en-US" sz="1200">
                <a:solidFill>
                  <a:srgbClr val="011F57"/>
                </a:solidFill>
                <a:latin typeface="Segoe UI"/>
              </a:rPr>
              <a:t>R&amp;D, open innovation, intrapreneurship, training and culture</a:t>
            </a:r>
            <a:endParaRPr lang="en-US" sz="1200" b="0" i="0" u="none" strike="noStrike" cap="none" baseline="0" dirty="0">
              <a:solidFill>
                <a:srgbClr val="011F57"/>
              </a:solidFill>
              <a:effectLst/>
              <a:uFillTx/>
              <a:latin typeface="Segoe UI"/>
            </a:endParaRPr>
          </a:p>
        </p:txBody>
      </p:sp>
      <p:grpSp>
        <p:nvGrpSpPr>
          <p:cNvPr id="107" name="Agrupar 106">
            <a:extLst>
              <a:ext uri="{FF2B5EF4-FFF2-40B4-BE49-F238E27FC236}">
                <a16:creationId xmlns:a16="http://schemas.microsoft.com/office/drawing/2014/main" id="{BC951BDB-5ECC-3344-54A8-EAD13E6AE2F7}"/>
              </a:ext>
            </a:extLst>
          </p:cNvPr>
          <p:cNvGrpSpPr/>
          <p:nvPr>
            <p:custDataLst>
              <p:tags r:id="rId13"/>
            </p:custDataLst>
          </p:nvPr>
        </p:nvGrpSpPr>
        <p:grpSpPr>
          <a:xfrm>
            <a:off x="3733529" y="3071416"/>
            <a:ext cx="1414070" cy="271970"/>
            <a:chOff x="3567787" y="3188196"/>
            <a:chExt cx="1414070" cy="271970"/>
          </a:xfrm>
        </p:grpSpPr>
        <p:sp>
          <p:nvSpPr>
            <p:cNvPr id="91" name="Forma Livre: Forma 90">
              <a:extLst>
                <a:ext uri="{FF2B5EF4-FFF2-40B4-BE49-F238E27FC236}">
                  <a16:creationId xmlns:a16="http://schemas.microsoft.com/office/drawing/2014/main" id="{E1C82547-933C-C1B1-9052-7CE0DBB498B4}"/>
                </a:ext>
              </a:extLst>
            </p:cNvPr>
            <p:cNvSpPr/>
            <p:nvPr>
              <p:custDataLst>
                <p:tags r:id="rId56"/>
              </p:custDataLst>
            </p:nvPr>
          </p:nvSpPr>
          <p:spPr>
            <a:xfrm>
              <a:off x="3567787" y="3188196"/>
              <a:ext cx="152339" cy="262542"/>
            </a:xfrm>
            <a:custGeom>
              <a:avLst/>
              <a:gdLst>
                <a:gd name="connsiteX0" fmla="*/ 114789 w 447675"/>
                <a:gd name="connsiteY0" fmla="*/ 34546 h 771525"/>
                <a:gd name="connsiteX1" fmla="*/ 149225 w 447675"/>
                <a:gd name="connsiteY1" fmla="*/ 0 h 771525"/>
                <a:gd name="connsiteX2" fmla="*/ 309929 w 447675"/>
                <a:gd name="connsiteY2" fmla="*/ 0 h 771525"/>
                <a:gd name="connsiteX3" fmla="*/ 344365 w 447675"/>
                <a:gd name="connsiteY3" fmla="*/ 34546 h 771525"/>
                <a:gd name="connsiteX4" fmla="*/ 344365 w 447675"/>
                <a:gd name="connsiteY4" fmla="*/ 80607 h 771525"/>
                <a:gd name="connsiteX5" fmla="*/ 378802 w 447675"/>
                <a:gd name="connsiteY5" fmla="*/ 80607 h 771525"/>
                <a:gd name="connsiteX6" fmla="*/ 447675 w 447675"/>
                <a:gd name="connsiteY6" fmla="*/ 149699 h 771525"/>
                <a:gd name="connsiteX7" fmla="*/ 447675 w 447675"/>
                <a:gd name="connsiteY7" fmla="*/ 702434 h 771525"/>
                <a:gd name="connsiteX8" fmla="*/ 378802 w 447675"/>
                <a:gd name="connsiteY8" fmla="*/ 771525 h 771525"/>
                <a:gd name="connsiteX9" fmla="*/ 68873 w 447675"/>
                <a:gd name="connsiteY9" fmla="*/ 771525 h 771525"/>
                <a:gd name="connsiteX10" fmla="*/ 0 w 447675"/>
                <a:gd name="connsiteY10" fmla="*/ 702434 h 771525"/>
                <a:gd name="connsiteX11" fmla="*/ 0 w 447675"/>
                <a:gd name="connsiteY11" fmla="*/ 149699 h 771525"/>
                <a:gd name="connsiteX12" fmla="*/ 68873 w 447675"/>
                <a:gd name="connsiteY12" fmla="*/ 80607 h 771525"/>
                <a:gd name="connsiteX13" fmla="*/ 114789 w 447675"/>
                <a:gd name="connsiteY13" fmla="*/ 80607 h 771525"/>
                <a:gd name="connsiteX14" fmla="*/ 114789 w 447675"/>
                <a:gd name="connsiteY14" fmla="*/ 34546 h 771525"/>
                <a:gd name="connsiteX15" fmla="*/ 97152 w 447675"/>
                <a:gd name="connsiteY15" fmla="*/ 432056 h 771525"/>
                <a:gd name="connsiteX16" fmla="*/ 119587 w 447675"/>
                <a:gd name="connsiteY16" fmla="*/ 472867 h 771525"/>
                <a:gd name="connsiteX17" fmla="*/ 171012 w 447675"/>
                <a:gd name="connsiteY17" fmla="*/ 467679 h 771525"/>
                <a:gd name="connsiteX18" fmla="*/ 180217 w 447675"/>
                <a:gd name="connsiteY18" fmla="*/ 476506 h 771525"/>
                <a:gd name="connsiteX19" fmla="*/ 176132 w 447675"/>
                <a:gd name="connsiteY19" fmla="*/ 560572 h 771525"/>
                <a:gd name="connsiteX20" fmla="*/ 221215 w 447675"/>
                <a:gd name="connsiteY20" fmla="*/ 577348 h 771525"/>
                <a:gd name="connsiteX21" fmla="*/ 350523 w 447675"/>
                <a:gd name="connsiteY21" fmla="*/ 408561 h 771525"/>
                <a:gd name="connsiteX22" fmla="*/ 328088 w 447675"/>
                <a:gd name="connsiteY22" fmla="*/ 367750 h 771525"/>
                <a:gd name="connsiteX23" fmla="*/ 276663 w 447675"/>
                <a:gd name="connsiteY23" fmla="*/ 372937 h 771525"/>
                <a:gd name="connsiteX24" fmla="*/ 267458 w 447675"/>
                <a:gd name="connsiteY24" fmla="*/ 364110 h 771525"/>
                <a:gd name="connsiteX25" fmla="*/ 271543 w 447675"/>
                <a:gd name="connsiteY25" fmla="*/ 280045 h 771525"/>
                <a:gd name="connsiteX26" fmla="*/ 226459 w 447675"/>
                <a:gd name="connsiteY26" fmla="*/ 263268 h 771525"/>
                <a:gd name="connsiteX27" fmla="*/ 97152 w 447675"/>
                <a:gd name="connsiteY27" fmla="*/ 432056 h 77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7675" h="771525">
                  <a:moveTo>
                    <a:pt x="114789" y="34546"/>
                  </a:moveTo>
                  <a:cubicBezTo>
                    <a:pt x="114789" y="15467"/>
                    <a:pt x="130206" y="0"/>
                    <a:pt x="149225" y="0"/>
                  </a:cubicBezTo>
                  <a:lnTo>
                    <a:pt x="309929" y="0"/>
                  </a:lnTo>
                  <a:cubicBezTo>
                    <a:pt x="328948" y="0"/>
                    <a:pt x="344365" y="15467"/>
                    <a:pt x="344365" y="34546"/>
                  </a:cubicBezTo>
                  <a:lnTo>
                    <a:pt x="344365" y="80607"/>
                  </a:lnTo>
                  <a:lnTo>
                    <a:pt x="378802" y="80607"/>
                  </a:lnTo>
                  <a:cubicBezTo>
                    <a:pt x="416840" y="80607"/>
                    <a:pt x="447675" y="111541"/>
                    <a:pt x="447675" y="149699"/>
                  </a:cubicBezTo>
                  <a:lnTo>
                    <a:pt x="447675" y="702434"/>
                  </a:lnTo>
                  <a:cubicBezTo>
                    <a:pt x="447675" y="740592"/>
                    <a:pt x="416840" y="771525"/>
                    <a:pt x="378802" y="771525"/>
                  </a:cubicBezTo>
                  <a:lnTo>
                    <a:pt x="68873" y="771525"/>
                  </a:lnTo>
                  <a:cubicBezTo>
                    <a:pt x="30835" y="771525"/>
                    <a:pt x="0" y="740592"/>
                    <a:pt x="0" y="702434"/>
                  </a:cubicBezTo>
                  <a:lnTo>
                    <a:pt x="0" y="149699"/>
                  </a:lnTo>
                  <a:cubicBezTo>
                    <a:pt x="0" y="111541"/>
                    <a:pt x="30835" y="80607"/>
                    <a:pt x="68873" y="80607"/>
                  </a:cubicBezTo>
                  <a:lnTo>
                    <a:pt x="114789" y="80607"/>
                  </a:lnTo>
                  <a:lnTo>
                    <a:pt x="114789" y="34546"/>
                  </a:lnTo>
                  <a:close/>
                  <a:moveTo>
                    <a:pt x="97152" y="432056"/>
                  </a:moveTo>
                  <a:cubicBezTo>
                    <a:pt x="83638" y="449696"/>
                    <a:pt x="97595" y="475085"/>
                    <a:pt x="119587" y="472867"/>
                  </a:cubicBezTo>
                  <a:lnTo>
                    <a:pt x="171012" y="467679"/>
                  </a:lnTo>
                  <a:cubicBezTo>
                    <a:pt x="176110" y="467166"/>
                    <a:pt x="180467" y="471345"/>
                    <a:pt x="180217" y="476506"/>
                  </a:cubicBezTo>
                  <a:lnTo>
                    <a:pt x="176132" y="560572"/>
                  </a:lnTo>
                  <a:cubicBezTo>
                    <a:pt x="174925" y="585403"/>
                    <a:pt x="206145" y="597020"/>
                    <a:pt x="221215" y="577348"/>
                  </a:cubicBezTo>
                  <a:lnTo>
                    <a:pt x="350523" y="408561"/>
                  </a:lnTo>
                  <a:cubicBezTo>
                    <a:pt x="364037" y="390920"/>
                    <a:pt x="350080" y="365531"/>
                    <a:pt x="328088" y="367750"/>
                  </a:cubicBezTo>
                  <a:lnTo>
                    <a:pt x="276663" y="372937"/>
                  </a:lnTo>
                  <a:cubicBezTo>
                    <a:pt x="271565" y="373451"/>
                    <a:pt x="267208" y="369272"/>
                    <a:pt x="267458" y="364110"/>
                  </a:cubicBezTo>
                  <a:lnTo>
                    <a:pt x="271543" y="280045"/>
                  </a:lnTo>
                  <a:cubicBezTo>
                    <a:pt x="272750" y="255214"/>
                    <a:pt x="241530" y="243596"/>
                    <a:pt x="226459" y="263268"/>
                  </a:cubicBezTo>
                  <a:lnTo>
                    <a:pt x="97152" y="432056"/>
                  </a:lnTo>
                  <a:close/>
                </a:path>
              </a:pathLst>
            </a:custGeom>
            <a:solidFill>
              <a:srgbClr val="011F57"/>
            </a:solid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sp>
          <p:nvSpPr>
            <p:cNvPr id="106" name="CaixaDeTexto 105">
              <a:extLst>
                <a:ext uri="{FF2B5EF4-FFF2-40B4-BE49-F238E27FC236}">
                  <a16:creationId xmlns:a16="http://schemas.microsoft.com/office/drawing/2014/main" id="{AFB9895A-5A0B-A376-1026-28DDFCD18A49}"/>
                </a:ext>
              </a:extLst>
            </p:cNvPr>
            <p:cNvSpPr txBox="1"/>
            <p:nvPr>
              <p:custDataLst>
                <p:tags r:id="rId57"/>
              </p:custDataLst>
            </p:nvPr>
          </p:nvSpPr>
          <p:spPr>
            <a:xfrm>
              <a:off x="3682262" y="3234388"/>
              <a:ext cx="1299595" cy="225778"/>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Energy storage</a:t>
              </a:r>
            </a:p>
          </p:txBody>
        </p:sp>
      </p:grpSp>
      <p:grpSp>
        <p:nvGrpSpPr>
          <p:cNvPr id="173" name="Agrupar 172">
            <a:extLst>
              <a:ext uri="{FF2B5EF4-FFF2-40B4-BE49-F238E27FC236}">
                <a16:creationId xmlns:a16="http://schemas.microsoft.com/office/drawing/2014/main" id="{BADA57AD-35B4-628F-9946-BDC7DE8B9137}"/>
              </a:ext>
            </a:extLst>
          </p:cNvPr>
          <p:cNvGrpSpPr/>
          <p:nvPr>
            <p:custDataLst>
              <p:tags r:id="rId14"/>
            </p:custDataLst>
          </p:nvPr>
        </p:nvGrpSpPr>
        <p:grpSpPr>
          <a:xfrm>
            <a:off x="3572142" y="2393703"/>
            <a:ext cx="1490920" cy="502901"/>
            <a:chOff x="3572142" y="2521893"/>
            <a:chExt cx="1490920" cy="502901"/>
          </a:xfrm>
        </p:grpSpPr>
        <p:sp>
          <p:nvSpPr>
            <p:cNvPr id="75" name="Elipse 74">
              <a:extLst>
                <a:ext uri="{FF2B5EF4-FFF2-40B4-BE49-F238E27FC236}">
                  <a16:creationId xmlns:a16="http://schemas.microsoft.com/office/drawing/2014/main" id="{90693C40-BAE0-C82B-9117-368BEAD7D9FB}"/>
                </a:ext>
              </a:extLst>
            </p:cNvPr>
            <p:cNvSpPr/>
            <p:nvPr>
              <p:custDataLst>
                <p:tags r:id="rId54"/>
              </p:custDataLst>
            </p:nvPr>
          </p:nvSpPr>
          <p:spPr>
            <a:xfrm>
              <a:off x="3572142" y="2521893"/>
              <a:ext cx="502901" cy="502901"/>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108" name="CaixaDeTexto 107">
              <a:extLst>
                <a:ext uri="{FF2B5EF4-FFF2-40B4-BE49-F238E27FC236}">
                  <a16:creationId xmlns:a16="http://schemas.microsoft.com/office/drawing/2014/main" id="{95ECDBF5-DE50-F181-A3BF-BA7C2E566FE0}"/>
                </a:ext>
              </a:extLst>
            </p:cNvPr>
            <p:cNvSpPr txBox="1"/>
            <p:nvPr>
              <p:custDataLst>
                <p:tags r:id="rId55"/>
              </p:custDataLst>
            </p:nvPr>
          </p:nvSpPr>
          <p:spPr>
            <a:xfrm>
              <a:off x="4084696" y="2584305"/>
              <a:ext cx="978366" cy="387798"/>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200" b="1" i="0" u="none" strike="noStrike" cap="none" baseline="0" dirty="0">
                  <a:solidFill>
                    <a:srgbClr val="F8681E"/>
                  </a:solidFill>
                  <a:effectLst/>
                  <a:uFillTx/>
                  <a:latin typeface="Segoe UI"/>
                </a:rPr>
                <a:t>New businesses</a:t>
              </a:r>
            </a:p>
          </p:txBody>
        </p:sp>
      </p:grpSp>
      <p:grpSp>
        <p:nvGrpSpPr>
          <p:cNvPr id="174" name="Agrupar 173">
            <a:extLst>
              <a:ext uri="{FF2B5EF4-FFF2-40B4-BE49-F238E27FC236}">
                <a16:creationId xmlns:a16="http://schemas.microsoft.com/office/drawing/2014/main" id="{1A969CCC-E105-CE1F-AB74-3D258575F381}"/>
              </a:ext>
            </a:extLst>
          </p:cNvPr>
          <p:cNvGrpSpPr/>
          <p:nvPr>
            <p:custDataLst>
              <p:tags r:id="rId15"/>
            </p:custDataLst>
          </p:nvPr>
        </p:nvGrpSpPr>
        <p:grpSpPr>
          <a:xfrm>
            <a:off x="5296789" y="2393703"/>
            <a:ext cx="1752153" cy="502901"/>
            <a:chOff x="5345028" y="2521893"/>
            <a:chExt cx="1752153" cy="502901"/>
          </a:xfrm>
        </p:grpSpPr>
        <p:sp>
          <p:nvSpPr>
            <p:cNvPr id="113" name="CaixaDeTexto 112">
              <a:extLst>
                <a:ext uri="{FF2B5EF4-FFF2-40B4-BE49-F238E27FC236}">
                  <a16:creationId xmlns:a16="http://schemas.microsoft.com/office/drawing/2014/main" id="{E160CC36-D2DB-B805-8B20-C8BD1D6CA3FF}"/>
                </a:ext>
              </a:extLst>
            </p:cNvPr>
            <p:cNvSpPr txBox="1"/>
            <p:nvPr>
              <p:custDataLst>
                <p:tags r:id="rId52"/>
              </p:custDataLst>
            </p:nvPr>
          </p:nvSpPr>
          <p:spPr>
            <a:xfrm>
              <a:off x="5857581" y="2584305"/>
              <a:ext cx="1239600" cy="384432"/>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200" b="1" i="0" u="none" strike="noStrike" cap="none" baseline="0" dirty="0">
                  <a:solidFill>
                    <a:srgbClr val="F8681E"/>
                  </a:solidFill>
                  <a:effectLst/>
                  <a:uFillTx/>
                  <a:latin typeface="Segoe UI"/>
                </a:rPr>
                <a:t>Energy transmission</a:t>
              </a:r>
            </a:p>
          </p:txBody>
        </p:sp>
        <p:sp>
          <p:nvSpPr>
            <p:cNvPr id="116" name="Elipse 115">
              <a:extLst>
                <a:ext uri="{FF2B5EF4-FFF2-40B4-BE49-F238E27FC236}">
                  <a16:creationId xmlns:a16="http://schemas.microsoft.com/office/drawing/2014/main" id="{32B96EFE-B8AF-0E51-8C25-2D9F420B5267}"/>
                </a:ext>
              </a:extLst>
            </p:cNvPr>
            <p:cNvSpPr/>
            <p:nvPr>
              <p:custDataLst>
                <p:tags r:id="rId53"/>
              </p:custDataLst>
            </p:nvPr>
          </p:nvSpPr>
          <p:spPr>
            <a:xfrm>
              <a:off x="5345028" y="2521893"/>
              <a:ext cx="502901" cy="502901"/>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grpSp>
      <p:grpSp>
        <p:nvGrpSpPr>
          <p:cNvPr id="175" name="Agrupar 174">
            <a:extLst>
              <a:ext uri="{FF2B5EF4-FFF2-40B4-BE49-F238E27FC236}">
                <a16:creationId xmlns:a16="http://schemas.microsoft.com/office/drawing/2014/main" id="{DF8D6C8E-095A-45D3-D581-C203456E7F53}"/>
              </a:ext>
            </a:extLst>
          </p:cNvPr>
          <p:cNvGrpSpPr/>
          <p:nvPr>
            <p:custDataLst>
              <p:tags r:id="rId16"/>
            </p:custDataLst>
          </p:nvPr>
        </p:nvGrpSpPr>
        <p:grpSpPr>
          <a:xfrm>
            <a:off x="7117914" y="2393703"/>
            <a:ext cx="1784794" cy="502901"/>
            <a:chOff x="7117914" y="2521893"/>
            <a:chExt cx="1784794" cy="502901"/>
          </a:xfrm>
        </p:grpSpPr>
        <p:sp>
          <p:nvSpPr>
            <p:cNvPr id="126" name="CaixaDeTexto 125">
              <a:extLst>
                <a:ext uri="{FF2B5EF4-FFF2-40B4-BE49-F238E27FC236}">
                  <a16:creationId xmlns:a16="http://schemas.microsoft.com/office/drawing/2014/main" id="{572F896C-4736-D13F-44C0-74828E71B577}"/>
                </a:ext>
              </a:extLst>
            </p:cNvPr>
            <p:cNvSpPr txBox="1"/>
            <p:nvPr>
              <p:custDataLst>
                <p:tags r:id="rId50"/>
              </p:custDataLst>
            </p:nvPr>
          </p:nvSpPr>
          <p:spPr>
            <a:xfrm>
              <a:off x="7630467" y="2584305"/>
              <a:ext cx="1272241" cy="387798"/>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200" b="1" i="0" u="none" strike="noStrike" cap="none" baseline="0" dirty="0">
                  <a:solidFill>
                    <a:srgbClr val="F8681E"/>
                  </a:solidFill>
                  <a:effectLst/>
                  <a:uFillTx/>
                  <a:latin typeface="Segoe UI"/>
                </a:rPr>
                <a:t>Cross-cutting issues</a:t>
              </a:r>
            </a:p>
          </p:txBody>
        </p:sp>
        <p:sp>
          <p:nvSpPr>
            <p:cNvPr id="129" name="Elipse 128">
              <a:extLst>
                <a:ext uri="{FF2B5EF4-FFF2-40B4-BE49-F238E27FC236}">
                  <a16:creationId xmlns:a16="http://schemas.microsoft.com/office/drawing/2014/main" id="{BB1D46F4-46A3-9832-98F0-95AAE5FD564C}"/>
                </a:ext>
              </a:extLst>
            </p:cNvPr>
            <p:cNvSpPr/>
            <p:nvPr>
              <p:custDataLst>
                <p:tags r:id="rId51"/>
              </p:custDataLst>
            </p:nvPr>
          </p:nvSpPr>
          <p:spPr>
            <a:xfrm>
              <a:off x="7117914" y="2521893"/>
              <a:ext cx="502901" cy="502901"/>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grpSp>
      <p:grpSp>
        <p:nvGrpSpPr>
          <p:cNvPr id="245" name="Agrupar 244">
            <a:extLst>
              <a:ext uri="{FF2B5EF4-FFF2-40B4-BE49-F238E27FC236}">
                <a16:creationId xmlns:a16="http://schemas.microsoft.com/office/drawing/2014/main" id="{CFE4D98A-C2A5-EB17-BDD6-1CEC35D1AD6F}"/>
              </a:ext>
            </a:extLst>
          </p:cNvPr>
          <p:cNvGrpSpPr/>
          <p:nvPr>
            <p:custDataLst>
              <p:tags r:id="rId17"/>
            </p:custDataLst>
          </p:nvPr>
        </p:nvGrpSpPr>
        <p:grpSpPr>
          <a:xfrm>
            <a:off x="5217720" y="2964845"/>
            <a:ext cx="1690438" cy="1876452"/>
            <a:chOff x="5217720" y="3041759"/>
            <a:chExt cx="1690438" cy="1876452"/>
          </a:xfrm>
        </p:grpSpPr>
        <p:sp>
          <p:nvSpPr>
            <p:cNvPr id="115" name="CaixaDeTexto 114">
              <a:extLst>
                <a:ext uri="{FF2B5EF4-FFF2-40B4-BE49-F238E27FC236}">
                  <a16:creationId xmlns:a16="http://schemas.microsoft.com/office/drawing/2014/main" id="{B0047563-C3EC-6927-342D-4A2CC962C15B}"/>
                </a:ext>
              </a:extLst>
            </p:cNvPr>
            <p:cNvSpPr txBox="1"/>
            <p:nvPr>
              <p:custDataLst>
                <p:tags r:id="rId26"/>
              </p:custDataLst>
            </p:nvPr>
          </p:nvSpPr>
          <p:spPr>
            <a:xfrm>
              <a:off x="5558322" y="3256904"/>
              <a:ext cx="1349836" cy="363176"/>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Optimum project management</a:t>
              </a:r>
            </a:p>
          </p:txBody>
        </p:sp>
        <p:grpSp>
          <p:nvGrpSpPr>
            <p:cNvPr id="199" name="Agrupar 198">
              <a:extLst>
                <a:ext uri="{FF2B5EF4-FFF2-40B4-BE49-F238E27FC236}">
                  <a16:creationId xmlns:a16="http://schemas.microsoft.com/office/drawing/2014/main" id="{F0F48094-237D-0E4E-0C36-729F8AA60665}"/>
                </a:ext>
              </a:extLst>
            </p:cNvPr>
            <p:cNvGrpSpPr/>
            <p:nvPr>
              <p:custDataLst>
                <p:tags r:id="rId27"/>
              </p:custDataLst>
            </p:nvPr>
          </p:nvGrpSpPr>
          <p:grpSpPr>
            <a:xfrm>
              <a:off x="5331948" y="3293183"/>
              <a:ext cx="201079" cy="294917"/>
              <a:chOff x="5145801" y="3171952"/>
              <a:chExt cx="313773" cy="460202"/>
            </a:xfrm>
          </p:grpSpPr>
          <p:sp>
            <p:nvSpPr>
              <p:cNvPr id="181" name="Forma Livre: Forma 180">
                <a:extLst>
                  <a:ext uri="{FF2B5EF4-FFF2-40B4-BE49-F238E27FC236}">
                    <a16:creationId xmlns:a16="http://schemas.microsoft.com/office/drawing/2014/main" id="{2E99C080-72F3-1C91-F10C-F957080D57F7}"/>
                  </a:ext>
                </a:extLst>
              </p:cNvPr>
              <p:cNvSpPr/>
              <p:nvPr>
                <p:custDataLst>
                  <p:tags r:id="rId41"/>
                </p:custDataLst>
              </p:nvPr>
            </p:nvSpPr>
            <p:spPr>
              <a:xfrm>
                <a:off x="5342787" y="3401811"/>
                <a:ext cx="43573" cy="42077"/>
              </a:xfrm>
              <a:custGeom>
                <a:avLst/>
                <a:gdLst>
                  <a:gd name="connsiteX0" fmla="*/ 39681 w 39681"/>
                  <a:gd name="connsiteY0" fmla="*/ 19269 h 38319"/>
                  <a:gd name="connsiteX1" fmla="*/ 30766 w 39681"/>
                  <a:gd name="connsiteY1" fmla="*/ 3277 h 38319"/>
                  <a:gd name="connsiteX2" fmla="*/ 26079 w 39681"/>
                  <a:gd name="connsiteY2" fmla="*/ 7963 h 38319"/>
                  <a:gd name="connsiteX3" fmla="*/ 9420 w 39681"/>
                  <a:gd name="connsiteY3" fmla="*/ 0 h 38319"/>
                  <a:gd name="connsiteX4" fmla="*/ 4934 w 39681"/>
                  <a:gd name="connsiteY4" fmla="*/ 1867 h 38319"/>
                  <a:gd name="connsiteX5" fmla="*/ 1486 w 39681"/>
                  <a:gd name="connsiteY5" fmla="*/ 11649 h 38319"/>
                  <a:gd name="connsiteX6" fmla="*/ 0 w 39681"/>
                  <a:gd name="connsiteY6" fmla="*/ 38319 h 38319"/>
                  <a:gd name="connsiteX7" fmla="*/ 20631 w 39681"/>
                  <a:gd name="connsiteY7" fmla="*/ 38319 h 38319"/>
                  <a:gd name="connsiteX8" fmla="*/ 39681 w 39681"/>
                  <a:gd name="connsiteY8" fmla="*/ 19269 h 38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81" h="38319">
                    <a:moveTo>
                      <a:pt x="39681" y="19269"/>
                    </a:moveTo>
                    <a:cubicBezTo>
                      <a:pt x="39681" y="12668"/>
                      <a:pt x="36147" y="6725"/>
                      <a:pt x="30766" y="3277"/>
                    </a:cubicBezTo>
                    <a:lnTo>
                      <a:pt x="26079" y="7963"/>
                    </a:lnTo>
                    <a:lnTo>
                      <a:pt x="9420" y="0"/>
                    </a:lnTo>
                    <a:cubicBezTo>
                      <a:pt x="7934" y="657"/>
                      <a:pt x="6439" y="1286"/>
                      <a:pt x="4934" y="1867"/>
                    </a:cubicBezTo>
                    <a:lnTo>
                      <a:pt x="1486" y="11649"/>
                    </a:lnTo>
                    <a:lnTo>
                      <a:pt x="0" y="38319"/>
                    </a:lnTo>
                    <a:lnTo>
                      <a:pt x="20631" y="38319"/>
                    </a:lnTo>
                    <a:cubicBezTo>
                      <a:pt x="31137" y="38319"/>
                      <a:pt x="39681" y="29775"/>
                      <a:pt x="39681" y="19269"/>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2" name="Forma Livre: Forma 181">
                <a:extLst>
                  <a:ext uri="{FF2B5EF4-FFF2-40B4-BE49-F238E27FC236}">
                    <a16:creationId xmlns:a16="http://schemas.microsoft.com/office/drawing/2014/main" id="{12CADDAB-089B-7B92-4B49-ECBDC677CC4B}"/>
                  </a:ext>
                </a:extLst>
              </p:cNvPr>
              <p:cNvSpPr/>
              <p:nvPr>
                <p:custDataLst>
                  <p:tags r:id="rId42"/>
                </p:custDataLst>
              </p:nvPr>
            </p:nvSpPr>
            <p:spPr>
              <a:xfrm>
                <a:off x="5219015" y="3611236"/>
                <a:ext cx="167346" cy="20918"/>
              </a:xfrm>
              <a:custGeom>
                <a:avLst/>
                <a:gdLst>
                  <a:gd name="connsiteX0" fmla="*/ 0 w 152400"/>
                  <a:gd name="connsiteY0" fmla="*/ 9525 h 19050"/>
                  <a:gd name="connsiteX1" fmla="*/ 9525 w 152400"/>
                  <a:gd name="connsiteY1" fmla="*/ 19050 h 19050"/>
                  <a:gd name="connsiteX2" fmla="*/ 142875 w 152400"/>
                  <a:gd name="connsiteY2" fmla="*/ 19050 h 19050"/>
                  <a:gd name="connsiteX3" fmla="*/ 152400 w 152400"/>
                  <a:gd name="connsiteY3" fmla="*/ 9525 h 19050"/>
                  <a:gd name="connsiteX4" fmla="*/ 142875 w 152400"/>
                  <a:gd name="connsiteY4" fmla="*/ 0 h 19050"/>
                  <a:gd name="connsiteX5" fmla="*/ 9525 w 152400"/>
                  <a:gd name="connsiteY5" fmla="*/ 0 h 19050"/>
                  <a:gd name="connsiteX6" fmla="*/ 0 w 152400"/>
                  <a:gd name="connsiteY6" fmla="*/ 9525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400" h="19050">
                    <a:moveTo>
                      <a:pt x="0" y="9525"/>
                    </a:moveTo>
                    <a:cubicBezTo>
                      <a:pt x="0" y="14783"/>
                      <a:pt x="4267" y="19050"/>
                      <a:pt x="9525" y="19050"/>
                    </a:cubicBezTo>
                    <a:lnTo>
                      <a:pt x="142875" y="19050"/>
                    </a:lnTo>
                    <a:cubicBezTo>
                      <a:pt x="148133" y="19050"/>
                      <a:pt x="152400" y="14783"/>
                      <a:pt x="152400" y="9525"/>
                    </a:cubicBezTo>
                    <a:cubicBezTo>
                      <a:pt x="152400" y="4267"/>
                      <a:pt x="148133" y="0"/>
                      <a:pt x="142875" y="0"/>
                    </a:cubicBezTo>
                    <a:lnTo>
                      <a:pt x="9525" y="0"/>
                    </a:lnTo>
                    <a:cubicBezTo>
                      <a:pt x="4267" y="0"/>
                      <a:pt x="0" y="4267"/>
                      <a:pt x="0" y="9525"/>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3" name="Forma Livre: Forma 182">
                <a:extLst>
                  <a:ext uri="{FF2B5EF4-FFF2-40B4-BE49-F238E27FC236}">
                    <a16:creationId xmlns:a16="http://schemas.microsoft.com/office/drawing/2014/main" id="{22F6AC6F-92CD-35BE-0286-A053BD2421C7}"/>
                  </a:ext>
                </a:extLst>
              </p:cNvPr>
              <p:cNvSpPr/>
              <p:nvPr>
                <p:custDataLst>
                  <p:tags r:id="rId43"/>
                </p:custDataLst>
              </p:nvPr>
            </p:nvSpPr>
            <p:spPr>
              <a:xfrm>
                <a:off x="5284687" y="3464808"/>
                <a:ext cx="36000" cy="125510"/>
              </a:xfrm>
              <a:custGeom>
                <a:avLst/>
                <a:gdLst>
                  <a:gd name="connsiteX0" fmla="*/ 26432 w 32785"/>
                  <a:gd name="connsiteY0" fmla="*/ 114300 h 114300"/>
                  <a:gd name="connsiteX1" fmla="*/ 32785 w 32785"/>
                  <a:gd name="connsiteY1" fmla="*/ 0 h 114300"/>
                  <a:gd name="connsiteX2" fmla="*/ 0 w 32785"/>
                  <a:gd name="connsiteY2" fmla="*/ 0 h 114300"/>
                  <a:gd name="connsiteX3" fmla="*/ 6353 w 32785"/>
                  <a:gd name="connsiteY3" fmla="*/ 114300 h 114300"/>
                </a:gdLst>
                <a:ahLst/>
                <a:cxnLst>
                  <a:cxn ang="0">
                    <a:pos x="connsiteX0" y="connsiteY0"/>
                  </a:cxn>
                  <a:cxn ang="0">
                    <a:pos x="connsiteX1" y="connsiteY1"/>
                  </a:cxn>
                  <a:cxn ang="0">
                    <a:pos x="connsiteX2" y="connsiteY2"/>
                  </a:cxn>
                  <a:cxn ang="0">
                    <a:pos x="connsiteX3" y="connsiteY3"/>
                  </a:cxn>
                </a:cxnLst>
                <a:rect l="l" t="t" r="r" b="b"/>
                <a:pathLst>
                  <a:path w="32785" h="114300">
                    <a:moveTo>
                      <a:pt x="26432" y="114300"/>
                    </a:moveTo>
                    <a:lnTo>
                      <a:pt x="32785" y="0"/>
                    </a:lnTo>
                    <a:lnTo>
                      <a:pt x="0" y="0"/>
                    </a:lnTo>
                    <a:lnTo>
                      <a:pt x="6353" y="114300"/>
                    </a:ln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4" name="Forma Livre: Forma 183">
                <a:extLst>
                  <a:ext uri="{FF2B5EF4-FFF2-40B4-BE49-F238E27FC236}">
                    <a16:creationId xmlns:a16="http://schemas.microsoft.com/office/drawing/2014/main" id="{132209D1-9342-F9A3-1315-EB6E688C77DE}"/>
                  </a:ext>
                </a:extLst>
              </p:cNvPr>
              <p:cNvSpPr/>
              <p:nvPr>
                <p:custDataLst>
                  <p:tags r:id="rId44"/>
                </p:custDataLst>
              </p:nvPr>
            </p:nvSpPr>
            <p:spPr>
              <a:xfrm>
                <a:off x="5282365" y="3422971"/>
                <a:ext cx="40644" cy="20918"/>
              </a:xfrm>
              <a:custGeom>
                <a:avLst/>
                <a:gdLst>
                  <a:gd name="connsiteX0" fmla="*/ 37014 w 37014"/>
                  <a:gd name="connsiteY0" fmla="*/ 0 h 19050"/>
                  <a:gd name="connsiteX1" fmla="*/ 0 w 37014"/>
                  <a:gd name="connsiteY1" fmla="*/ 0 h 19050"/>
                  <a:gd name="connsiteX2" fmla="*/ 1057 w 37014"/>
                  <a:gd name="connsiteY2" fmla="*/ 19050 h 19050"/>
                  <a:gd name="connsiteX3" fmla="*/ 35957 w 37014"/>
                  <a:gd name="connsiteY3" fmla="*/ 19050 h 19050"/>
                </a:gdLst>
                <a:ahLst/>
                <a:cxnLst>
                  <a:cxn ang="0">
                    <a:pos x="connsiteX0" y="connsiteY0"/>
                  </a:cxn>
                  <a:cxn ang="0">
                    <a:pos x="connsiteX1" y="connsiteY1"/>
                  </a:cxn>
                  <a:cxn ang="0">
                    <a:pos x="connsiteX2" y="connsiteY2"/>
                  </a:cxn>
                  <a:cxn ang="0">
                    <a:pos x="connsiteX3" y="connsiteY3"/>
                  </a:cxn>
                </a:cxnLst>
                <a:rect l="l" t="t" r="r" b="b"/>
                <a:pathLst>
                  <a:path w="37014" h="19050">
                    <a:moveTo>
                      <a:pt x="37014" y="0"/>
                    </a:moveTo>
                    <a:lnTo>
                      <a:pt x="0" y="0"/>
                    </a:lnTo>
                    <a:lnTo>
                      <a:pt x="1057" y="19050"/>
                    </a:lnTo>
                    <a:lnTo>
                      <a:pt x="35957" y="19050"/>
                    </a:ln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5" name="Forma Livre: Forma 184">
                <a:extLst>
                  <a:ext uri="{FF2B5EF4-FFF2-40B4-BE49-F238E27FC236}">
                    <a16:creationId xmlns:a16="http://schemas.microsoft.com/office/drawing/2014/main" id="{31E5CBDF-3211-7CDB-010D-935B2E046834}"/>
                  </a:ext>
                </a:extLst>
              </p:cNvPr>
              <p:cNvSpPr/>
              <p:nvPr>
                <p:custDataLst>
                  <p:tags r:id="rId45"/>
                </p:custDataLst>
              </p:nvPr>
            </p:nvSpPr>
            <p:spPr>
              <a:xfrm>
                <a:off x="5334651" y="3326151"/>
                <a:ext cx="124923" cy="264165"/>
              </a:xfrm>
              <a:custGeom>
                <a:avLst/>
                <a:gdLst>
                  <a:gd name="connsiteX0" fmla="*/ 83410 w 113766"/>
                  <a:gd name="connsiteY0" fmla="*/ 26937 h 240572"/>
                  <a:gd name="connsiteX1" fmla="*/ 51787 w 113766"/>
                  <a:gd name="connsiteY1" fmla="*/ 58560 h 240572"/>
                  <a:gd name="connsiteX2" fmla="*/ 66142 w 113766"/>
                  <a:gd name="connsiteY2" fmla="*/ 88173 h 240572"/>
                  <a:gd name="connsiteX3" fmla="*/ 28042 w 113766"/>
                  <a:gd name="connsiteY3" fmla="*/ 126273 h 240572"/>
                  <a:gd name="connsiteX4" fmla="*/ 6353 w 113766"/>
                  <a:gd name="connsiteY4" fmla="*/ 126273 h 240572"/>
                  <a:gd name="connsiteX5" fmla="*/ 0 w 113766"/>
                  <a:gd name="connsiteY5" fmla="*/ 240573 h 240572"/>
                  <a:gd name="connsiteX6" fmla="*/ 19088 w 113766"/>
                  <a:gd name="connsiteY6" fmla="*/ 240573 h 240572"/>
                  <a:gd name="connsiteX7" fmla="*/ 53788 w 113766"/>
                  <a:gd name="connsiteY7" fmla="*/ 182347 h 240572"/>
                  <a:gd name="connsiteX8" fmla="*/ 56369 w 113766"/>
                  <a:gd name="connsiteY8" fmla="*/ 180546 h 240572"/>
                  <a:gd name="connsiteX9" fmla="*/ 113767 w 113766"/>
                  <a:gd name="connsiteY9" fmla="*/ 70314 h 240572"/>
                  <a:gd name="connsiteX10" fmla="*/ 93755 w 113766"/>
                  <a:gd name="connsiteY10" fmla="*/ 0 h 240572"/>
                  <a:gd name="connsiteX11" fmla="*/ 77314 w 113766"/>
                  <a:gd name="connsiteY11" fmla="*/ 5791 h 240572"/>
                  <a:gd name="connsiteX12" fmla="*/ 75448 w 113766"/>
                  <a:gd name="connsiteY12" fmla="*/ 10277 h 240572"/>
                  <a:gd name="connsiteX13" fmla="*/ 83410 w 113766"/>
                  <a:gd name="connsiteY13" fmla="*/ 26937 h 240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765" h="240571">
                    <a:moveTo>
                      <a:pt x="83410" y="26937"/>
                    </a:moveTo>
                    <a:lnTo>
                      <a:pt x="51787" y="58560"/>
                    </a:lnTo>
                    <a:cubicBezTo>
                      <a:pt x="60579" y="65665"/>
                      <a:pt x="66142" y="76448"/>
                      <a:pt x="66142" y="88173"/>
                    </a:cubicBezTo>
                    <a:cubicBezTo>
                      <a:pt x="66142" y="109185"/>
                      <a:pt x="49054" y="126273"/>
                      <a:pt x="28042" y="126273"/>
                    </a:cubicBezTo>
                    <a:lnTo>
                      <a:pt x="6353" y="126273"/>
                    </a:lnTo>
                    <a:lnTo>
                      <a:pt x="0" y="240573"/>
                    </a:lnTo>
                    <a:lnTo>
                      <a:pt x="19088" y="240573"/>
                    </a:lnTo>
                    <a:cubicBezTo>
                      <a:pt x="21793" y="217256"/>
                      <a:pt x="34328" y="195967"/>
                      <a:pt x="53788" y="182347"/>
                    </a:cubicBezTo>
                    <a:lnTo>
                      <a:pt x="56369" y="180546"/>
                    </a:lnTo>
                    <a:cubicBezTo>
                      <a:pt x="92316" y="155381"/>
                      <a:pt x="113767" y="114167"/>
                      <a:pt x="113767" y="70314"/>
                    </a:cubicBezTo>
                    <a:cubicBezTo>
                      <a:pt x="113767" y="45301"/>
                      <a:pt x="106756" y="21060"/>
                      <a:pt x="93755" y="0"/>
                    </a:cubicBezTo>
                    <a:lnTo>
                      <a:pt x="77314" y="5791"/>
                    </a:lnTo>
                    <a:cubicBezTo>
                      <a:pt x="76724" y="7287"/>
                      <a:pt x="76105" y="8782"/>
                      <a:pt x="75448" y="10277"/>
                    </a:cubicBezTo>
                    <a:lnTo>
                      <a:pt x="83410" y="26937"/>
                    </a:ln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89" name="Forma Livre: Forma 188">
                <a:extLst>
                  <a:ext uri="{FF2B5EF4-FFF2-40B4-BE49-F238E27FC236}">
                    <a16:creationId xmlns:a16="http://schemas.microsoft.com/office/drawing/2014/main" id="{7F552909-5F62-5B67-3C4A-431F225F0DD8}"/>
                  </a:ext>
                </a:extLst>
              </p:cNvPr>
              <p:cNvSpPr/>
              <p:nvPr>
                <p:custDataLst>
                  <p:tags r:id="rId46"/>
                </p:custDataLst>
              </p:nvPr>
            </p:nvSpPr>
            <p:spPr>
              <a:xfrm>
                <a:off x="5145801" y="3326151"/>
                <a:ext cx="124902" cy="264156"/>
              </a:xfrm>
              <a:custGeom>
                <a:avLst/>
                <a:gdLst>
                  <a:gd name="connsiteX0" fmla="*/ 57379 w 113747"/>
                  <a:gd name="connsiteY0" fmla="*/ 180527 h 240563"/>
                  <a:gd name="connsiteX1" fmla="*/ 59969 w 113747"/>
                  <a:gd name="connsiteY1" fmla="*/ 182347 h 240563"/>
                  <a:gd name="connsiteX2" fmla="*/ 94659 w 113747"/>
                  <a:gd name="connsiteY2" fmla="*/ 240563 h 240563"/>
                  <a:gd name="connsiteX3" fmla="*/ 113748 w 113747"/>
                  <a:gd name="connsiteY3" fmla="*/ 240563 h 240563"/>
                  <a:gd name="connsiteX4" fmla="*/ 107394 w 113747"/>
                  <a:gd name="connsiteY4" fmla="*/ 126263 h 240563"/>
                  <a:gd name="connsiteX5" fmla="*/ 85725 w 113747"/>
                  <a:gd name="connsiteY5" fmla="*/ 126263 h 240563"/>
                  <a:gd name="connsiteX6" fmla="*/ 47625 w 113747"/>
                  <a:gd name="connsiteY6" fmla="*/ 88163 h 240563"/>
                  <a:gd name="connsiteX7" fmla="*/ 61979 w 113747"/>
                  <a:gd name="connsiteY7" fmla="*/ 58560 h 240563"/>
                  <a:gd name="connsiteX8" fmla="*/ 30356 w 113747"/>
                  <a:gd name="connsiteY8" fmla="*/ 26937 h 240563"/>
                  <a:gd name="connsiteX9" fmla="*/ 38319 w 113747"/>
                  <a:gd name="connsiteY9" fmla="*/ 10277 h 240563"/>
                  <a:gd name="connsiteX10" fmla="*/ 36452 w 113747"/>
                  <a:gd name="connsiteY10" fmla="*/ 5791 h 240563"/>
                  <a:gd name="connsiteX11" fmla="*/ 20012 w 113747"/>
                  <a:gd name="connsiteY11" fmla="*/ 0 h 240563"/>
                  <a:gd name="connsiteX12" fmla="*/ 0 w 113747"/>
                  <a:gd name="connsiteY12" fmla="*/ 70314 h 240563"/>
                  <a:gd name="connsiteX13" fmla="*/ 57379 w 113747"/>
                  <a:gd name="connsiteY13" fmla="*/ 180527 h 24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747" h="240563">
                    <a:moveTo>
                      <a:pt x="57379" y="180527"/>
                    </a:moveTo>
                    <a:lnTo>
                      <a:pt x="59969" y="182347"/>
                    </a:lnTo>
                    <a:cubicBezTo>
                      <a:pt x="79429" y="195958"/>
                      <a:pt x="91954" y="217246"/>
                      <a:pt x="94659" y="240563"/>
                    </a:cubicBezTo>
                    <a:lnTo>
                      <a:pt x="113748" y="240563"/>
                    </a:lnTo>
                    <a:lnTo>
                      <a:pt x="107394" y="126263"/>
                    </a:lnTo>
                    <a:lnTo>
                      <a:pt x="85725" y="126263"/>
                    </a:lnTo>
                    <a:cubicBezTo>
                      <a:pt x="64713" y="126263"/>
                      <a:pt x="47625" y="109176"/>
                      <a:pt x="47625" y="88163"/>
                    </a:cubicBezTo>
                    <a:cubicBezTo>
                      <a:pt x="47625" y="76438"/>
                      <a:pt x="53188" y="65656"/>
                      <a:pt x="61979" y="58560"/>
                    </a:cubicBezTo>
                    <a:lnTo>
                      <a:pt x="30356" y="26937"/>
                    </a:lnTo>
                    <a:lnTo>
                      <a:pt x="38319" y="10277"/>
                    </a:lnTo>
                    <a:cubicBezTo>
                      <a:pt x="37662" y="8792"/>
                      <a:pt x="37033" y="7296"/>
                      <a:pt x="36452" y="5791"/>
                    </a:cubicBezTo>
                    <a:lnTo>
                      <a:pt x="20012" y="0"/>
                    </a:lnTo>
                    <a:cubicBezTo>
                      <a:pt x="7010" y="21060"/>
                      <a:pt x="0" y="45301"/>
                      <a:pt x="0" y="70314"/>
                    </a:cubicBezTo>
                    <a:cubicBezTo>
                      <a:pt x="0" y="114167"/>
                      <a:pt x="21450" y="155381"/>
                      <a:pt x="57379" y="180527"/>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91" name="Forma Livre: Forma 190">
                <a:extLst>
                  <a:ext uri="{FF2B5EF4-FFF2-40B4-BE49-F238E27FC236}">
                    <a16:creationId xmlns:a16="http://schemas.microsoft.com/office/drawing/2014/main" id="{8494E432-EE35-0347-3215-9F5965FED8AC}"/>
                  </a:ext>
                </a:extLst>
              </p:cNvPr>
              <p:cNvSpPr/>
              <p:nvPr>
                <p:custDataLst>
                  <p:tags r:id="rId47"/>
                </p:custDataLst>
              </p:nvPr>
            </p:nvSpPr>
            <p:spPr>
              <a:xfrm>
                <a:off x="5187637" y="3171952"/>
                <a:ext cx="230101" cy="230101"/>
              </a:xfrm>
              <a:custGeom>
                <a:avLst/>
                <a:gdLst>
                  <a:gd name="connsiteX0" fmla="*/ 14754 w 209550"/>
                  <a:gd name="connsiteY0" fmla="*/ 135655 h 209550"/>
                  <a:gd name="connsiteX1" fmla="*/ 19298 w 209550"/>
                  <a:gd name="connsiteY1" fmla="*/ 146561 h 209550"/>
                  <a:gd name="connsiteX2" fmla="*/ 21336 w 209550"/>
                  <a:gd name="connsiteY2" fmla="*/ 150714 h 209550"/>
                  <a:gd name="connsiteX3" fmla="*/ 15250 w 209550"/>
                  <a:gd name="connsiteY3" fmla="*/ 163430 h 209550"/>
                  <a:gd name="connsiteX4" fmla="*/ 46130 w 209550"/>
                  <a:gd name="connsiteY4" fmla="*/ 194310 h 209550"/>
                  <a:gd name="connsiteX5" fmla="*/ 58845 w 209550"/>
                  <a:gd name="connsiteY5" fmla="*/ 188224 h 209550"/>
                  <a:gd name="connsiteX6" fmla="*/ 62998 w 209550"/>
                  <a:gd name="connsiteY6" fmla="*/ 190262 h 209550"/>
                  <a:gd name="connsiteX7" fmla="*/ 73904 w 209550"/>
                  <a:gd name="connsiteY7" fmla="*/ 194805 h 209550"/>
                  <a:gd name="connsiteX8" fmla="*/ 78276 w 209550"/>
                  <a:gd name="connsiteY8" fmla="*/ 196291 h 209550"/>
                  <a:gd name="connsiteX9" fmla="*/ 82944 w 209550"/>
                  <a:gd name="connsiteY9" fmla="*/ 209550 h 209550"/>
                  <a:gd name="connsiteX10" fmla="*/ 126606 w 209550"/>
                  <a:gd name="connsiteY10" fmla="*/ 209550 h 209550"/>
                  <a:gd name="connsiteX11" fmla="*/ 131283 w 209550"/>
                  <a:gd name="connsiteY11" fmla="*/ 196282 h 209550"/>
                  <a:gd name="connsiteX12" fmla="*/ 135655 w 209550"/>
                  <a:gd name="connsiteY12" fmla="*/ 194796 h 209550"/>
                  <a:gd name="connsiteX13" fmla="*/ 146561 w 209550"/>
                  <a:gd name="connsiteY13" fmla="*/ 190252 h 209550"/>
                  <a:gd name="connsiteX14" fmla="*/ 150714 w 209550"/>
                  <a:gd name="connsiteY14" fmla="*/ 188214 h 209550"/>
                  <a:gd name="connsiteX15" fmla="*/ 163430 w 209550"/>
                  <a:gd name="connsiteY15" fmla="*/ 194300 h 209550"/>
                  <a:gd name="connsiteX16" fmla="*/ 194310 w 209550"/>
                  <a:gd name="connsiteY16" fmla="*/ 163420 h 209550"/>
                  <a:gd name="connsiteX17" fmla="*/ 188224 w 209550"/>
                  <a:gd name="connsiteY17" fmla="*/ 150705 h 209550"/>
                  <a:gd name="connsiteX18" fmla="*/ 190262 w 209550"/>
                  <a:gd name="connsiteY18" fmla="*/ 146552 h 209550"/>
                  <a:gd name="connsiteX19" fmla="*/ 194805 w 209550"/>
                  <a:gd name="connsiteY19" fmla="*/ 135646 h 209550"/>
                  <a:gd name="connsiteX20" fmla="*/ 196291 w 209550"/>
                  <a:gd name="connsiteY20" fmla="*/ 131274 h 209550"/>
                  <a:gd name="connsiteX21" fmla="*/ 209550 w 209550"/>
                  <a:gd name="connsiteY21" fmla="*/ 126606 h 209550"/>
                  <a:gd name="connsiteX22" fmla="*/ 209550 w 209550"/>
                  <a:gd name="connsiteY22" fmla="*/ 82944 h 209550"/>
                  <a:gd name="connsiteX23" fmla="*/ 196282 w 209550"/>
                  <a:gd name="connsiteY23" fmla="*/ 78267 h 209550"/>
                  <a:gd name="connsiteX24" fmla="*/ 194796 w 209550"/>
                  <a:gd name="connsiteY24" fmla="*/ 73895 h 209550"/>
                  <a:gd name="connsiteX25" fmla="*/ 190252 w 209550"/>
                  <a:gd name="connsiteY25" fmla="*/ 62989 h 209550"/>
                  <a:gd name="connsiteX26" fmla="*/ 188214 w 209550"/>
                  <a:gd name="connsiteY26" fmla="*/ 58836 h 209550"/>
                  <a:gd name="connsiteX27" fmla="*/ 194300 w 209550"/>
                  <a:gd name="connsiteY27" fmla="*/ 46120 h 209550"/>
                  <a:gd name="connsiteX28" fmla="*/ 163420 w 209550"/>
                  <a:gd name="connsiteY28" fmla="*/ 15240 h 209550"/>
                  <a:gd name="connsiteX29" fmla="*/ 150705 w 209550"/>
                  <a:gd name="connsiteY29" fmla="*/ 21326 h 209550"/>
                  <a:gd name="connsiteX30" fmla="*/ 146552 w 209550"/>
                  <a:gd name="connsiteY30" fmla="*/ 19288 h 209550"/>
                  <a:gd name="connsiteX31" fmla="*/ 135646 w 209550"/>
                  <a:gd name="connsiteY31" fmla="*/ 14745 h 209550"/>
                  <a:gd name="connsiteX32" fmla="*/ 131274 w 209550"/>
                  <a:gd name="connsiteY32" fmla="*/ 13259 h 209550"/>
                  <a:gd name="connsiteX33" fmla="*/ 126606 w 209550"/>
                  <a:gd name="connsiteY33" fmla="*/ 0 h 209550"/>
                  <a:gd name="connsiteX34" fmla="*/ 82944 w 209550"/>
                  <a:gd name="connsiteY34" fmla="*/ 0 h 209550"/>
                  <a:gd name="connsiteX35" fmla="*/ 78267 w 209550"/>
                  <a:gd name="connsiteY35" fmla="*/ 13268 h 209550"/>
                  <a:gd name="connsiteX36" fmla="*/ 73895 w 209550"/>
                  <a:gd name="connsiteY36" fmla="*/ 14754 h 209550"/>
                  <a:gd name="connsiteX37" fmla="*/ 62989 w 209550"/>
                  <a:gd name="connsiteY37" fmla="*/ 19298 h 209550"/>
                  <a:gd name="connsiteX38" fmla="*/ 58836 w 209550"/>
                  <a:gd name="connsiteY38" fmla="*/ 21336 h 209550"/>
                  <a:gd name="connsiteX39" fmla="*/ 46120 w 209550"/>
                  <a:gd name="connsiteY39" fmla="*/ 15250 h 209550"/>
                  <a:gd name="connsiteX40" fmla="*/ 15240 w 209550"/>
                  <a:gd name="connsiteY40" fmla="*/ 46130 h 209550"/>
                  <a:gd name="connsiteX41" fmla="*/ 21326 w 209550"/>
                  <a:gd name="connsiteY41" fmla="*/ 58845 h 209550"/>
                  <a:gd name="connsiteX42" fmla="*/ 19288 w 209550"/>
                  <a:gd name="connsiteY42" fmla="*/ 62998 h 209550"/>
                  <a:gd name="connsiteX43" fmla="*/ 14745 w 209550"/>
                  <a:gd name="connsiteY43" fmla="*/ 73904 h 209550"/>
                  <a:gd name="connsiteX44" fmla="*/ 13259 w 209550"/>
                  <a:gd name="connsiteY44" fmla="*/ 78276 h 209550"/>
                  <a:gd name="connsiteX45" fmla="*/ 0 w 209550"/>
                  <a:gd name="connsiteY45" fmla="*/ 82944 h 209550"/>
                  <a:gd name="connsiteX46" fmla="*/ 0 w 209550"/>
                  <a:gd name="connsiteY46" fmla="*/ 126606 h 209550"/>
                  <a:gd name="connsiteX47" fmla="*/ 13268 w 209550"/>
                  <a:gd name="connsiteY47" fmla="*/ 131283 h 209550"/>
                  <a:gd name="connsiteX48" fmla="*/ 14754 w 209550"/>
                  <a:gd name="connsiteY48" fmla="*/ 135655 h 209550"/>
                  <a:gd name="connsiteX49" fmla="*/ 104775 w 209550"/>
                  <a:gd name="connsiteY49" fmla="*/ 38100 h 209550"/>
                  <a:gd name="connsiteX50" fmla="*/ 171450 w 209550"/>
                  <a:gd name="connsiteY50" fmla="*/ 104775 h 209550"/>
                  <a:gd name="connsiteX51" fmla="*/ 104775 w 209550"/>
                  <a:gd name="connsiteY51" fmla="*/ 171450 h 209550"/>
                  <a:gd name="connsiteX52" fmla="*/ 38100 w 209550"/>
                  <a:gd name="connsiteY52" fmla="*/ 104775 h 209550"/>
                  <a:gd name="connsiteX53" fmla="*/ 104775 w 209550"/>
                  <a:gd name="connsiteY53" fmla="*/ 38100 h 20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09550" h="209550">
                    <a:moveTo>
                      <a:pt x="14754" y="135655"/>
                    </a:moveTo>
                    <a:cubicBezTo>
                      <a:pt x="15992" y="139294"/>
                      <a:pt x="17526" y="142961"/>
                      <a:pt x="19298" y="146561"/>
                    </a:cubicBezTo>
                    <a:lnTo>
                      <a:pt x="21336" y="150714"/>
                    </a:lnTo>
                    <a:lnTo>
                      <a:pt x="15250" y="163430"/>
                    </a:lnTo>
                    <a:lnTo>
                      <a:pt x="46130" y="194310"/>
                    </a:lnTo>
                    <a:lnTo>
                      <a:pt x="58845" y="188224"/>
                    </a:lnTo>
                    <a:lnTo>
                      <a:pt x="62998" y="190262"/>
                    </a:lnTo>
                    <a:cubicBezTo>
                      <a:pt x="66599" y="192034"/>
                      <a:pt x="70266" y="193567"/>
                      <a:pt x="73904" y="194805"/>
                    </a:cubicBezTo>
                    <a:lnTo>
                      <a:pt x="78276" y="196291"/>
                    </a:lnTo>
                    <a:lnTo>
                      <a:pt x="82944" y="209550"/>
                    </a:lnTo>
                    <a:lnTo>
                      <a:pt x="126606" y="209550"/>
                    </a:lnTo>
                    <a:lnTo>
                      <a:pt x="131283" y="196282"/>
                    </a:lnTo>
                    <a:lnTo>
                      <a:pt x="135655" y="194796"/>
                    </a:lnTo>
                    <a:cubicBezTo>
                      <a:pt x="139294" y="193558"/>
                      <a:pt x="142961" y="192024"/>
                      <a:pt x="146561" y="190252"/>
                    </a:cubicBezTo>
                    <a:lnTo>
                      <a:pt x="150714" y="188214"/>
                    </a:lnTo>
                    <a:lnTo>
                      <a:pt x="163430" y="194300"/>
                    </a:lnTo>
                    <a:lnTo>
                      <a:pt x="194310" y="163420"/>
                    </a:lnTo>
                    <a:lnTo>
                      <a:pt x="188224" y="150705"/>
                    </a:lnTo>
                    <a:lnTo>
                      <a:pt x="190262" y="146552"/>
                    </a:lnTo>
                    <a:cubicBezTo>
                      <a:pt x="192034" y="142951"/>
                      <a:pt x="193567" y="139284"/>
                      <a:pt x="194805" y="135646"/>
                    </a:cubicBezTo>
                    <a:lnTo>
                      <a:pt x="196291" y="131274"/>
                    </a:lnTo>
                    <a:lnTo>
                      <a:pt x="209550" y="126606"/>
                    </a:lnTo>
                    <a:lnTo>
                      <a:pt x="209550" y="82944"/>
                    </a:lnTo>
                    <a:lnTo>
                      <a:pt x="196282" y="78267"/>
                    </a:lnTo>
                    <a:lnTo>
                      <a:pt x="194796" y="73895"/>
                    </a:lnTo>
                    <a:cubicBezTo>
                      <a:pt x="193558" y="70256"/>
                      <a:pt x="192024" y="66589"/>
                      <a:pt x="190252" y="62989"/>
                    </a:cubicBezTo>
                    <a:lnTo>
                      <a:pt x="188214" y="58836"/>
                    </a:lnTo>
                    <a:lnTo>
                      <a:pt x="194300" y="46120"/>
                    </a:lnTo>
                    <a:lnTo>
                      <a:pt x="163420" y="15240"/>
                    </a:lnTo>
                    <a:lnTo>
                      <a:pt x="150705" y="21326"/>
                    </a:lnTo>
                    <a:lnTo>
                      <a:pt x="146552" y="19288"/>
                    </a:lnTo>
                    <a:cubicBezTo>
                      <a:pt x="142951" y="17516"/>
                      <a:pt x="139284" y="15983"/>
                      <a:pt x="135646" y="14745"/>
                    </a:cubicBezTo>
                    <a:lnTo>
                      <a:pt x="131274" y="13259"/>
                    </a:lnTo>
                    <a:lnTo>
                      <a:pt x="126606" y="0"/>
                    </a:lnTo>
                    <a:lnTo>
                      <a:pt x="82944" y="0"/>
                    </a:lnTo>
                    <a:lnTo>
                      <a:pt x="78267" y="13268"/>
                    </a:lnTo>
                    <a:lnTo>
                      <a:pt x="73895" y="14754"/>
                    </a:lnTo>
                    <a:cubicBezTo>
                      <a:pt x="70256" y="15992"/>
                      <a:pt x="66589" y="17526"/>
                      <a:pt x="62989" y="19298"/>
                    </a:cubicBezTo>
                    <a:lnTo>
                      <a:pt x="58836" y="21336"/>
                    </a:lnTo>
                    <a:lnTo>
                      <a:pt x="46120" y="15250"/>
                    </a:lnTo>
                    <a:lnTo>
                      <a:pt x="15240" y="46130"/>
                    </a:lnTo>
                    <a:lnTo>
                      <a:pt x="21326" y="58845"/>
                    </a:lnTo>
                    <a:lnTo>
                      <a:pt x="19288" y="62998"/>
                    </a:lnTo>
                    <a:cubicBezTo>
                      <a:pt x="17516" y="66599"/>
                      <a:pt x="15983" y="70266"/>
                      <a:pt x="14745" y="73904"/>
                    </a:cubicBezTo>
                    <a:lnTo>
                      <a:pt x="13259" y="78276"/>
                    </a:lnTo>
                    <a:lnTo>
                      <a:pt x="0" y="82944"/>
                    </a:lnTo>
                    <a:lnTo>
                      <a:pt x="0" y="126606"/>
                    </a:lnTo>
                    <a:lnTo>
                      <a:pt x="13268" y="131283"/>
                    </a:lnTo>
                    <a:lnTo>
                      <a:pt x="14754" y="135655"/>
                    </a:lnTo>
                    <a:close/>
                    <a:moveTo>
                      <a:pt x="104775" y="38100"/>
                    </a:moveTo>
                    <a:cubicBezTo>
                      <a:pt x="141599" y="38100"/>
                      <a:pt x="171450" y="67951"/>
                      <a:pt x="171450" y="104775"/>
                    </a:cubicBezTo>
                    <a:cubicBezTo>
                      <a:pt x="171450" y="141599"/>
                      <a:pt x="141599" y="171450"/>
                      <a:pt x="104775" y="171450"/>
                    </a:cubicBezTo>
                    <a:cubicBezTo>
                      <a:pt x="67951" y="171450"/>
                      <a:pt x="38100" y="141599"/>
                      <a:pt x="38100" y="104775"/>
                    </a:cubicBezTo>
                    <a:cubicBezTo>
                      <a:pt x="38100" y="67951"/>
                      <a:pt x="67951" y="38100"/>
                      <a:pt x="104775" y="38100"/>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92" name="Forma Livre: Forma 191">
                <a:extLst>
                  <a:ext uri="{FF2B5EF4-FFF2-40B4-BE49-F238E27FC236}">
                    <a16:creationId xmlns:a16="http://schemas.microsoft.com/office/drawing/2014/main" id="{0E918BA8-9D53-2882-28B4-EAF3779D7B6A}"/>
                  </a:ext>
                </a:extLst>
              </p:cNvPr>
              <p:cNvSpPr/>
              <p:nvPr>
                <p:custDataLst>
                  <p:tags r:id="rId48"/>
                </p:custDataLst>
              </p:nvPr>
            </p:nvSpPr>
            <p:spPr>
              <a:xfrm>
                <a:off x="5219015" y="3401822"/>
                <a:ext cx="43573" cy="42066"/>
              </a:xfrm>
              <a:custGeom>
                <a:avLst/>
                <a:gdLst>
                  <a:gd name="connsiteX0" fmla="*/ 30270 w 39681"/>
                  <a:gd name="connsiteY0" fmla="*/ 0 h 38309"/>
                  <a:gd name="connsiteX1" fmla="*/ 13611 w 39681"/>
                  <a:gd name="connsiteY1" fmla="*/ 7963 h 38309"/>
                  <a:gd name="connsiteX2" fmla="*/ 8925 w 39681"/>
                  <a:gd name="connsiteY2" fmla="*/ 3277 h 38309"/>
                  <a:gd name="connsiteX3" fmla="*/ 0 w 39681"/>
                  <a:gd name="connsiteY3" fmla="*/ 19260 h 38309"/>
                  <a:gd name="connsiteX4" fmla="*/ 19050 w 39681"/>
                  <a:gd name="connsiteY4" fmla="*/ 38310 h 38309"/>
                  <a:gd name="connsiteX5" fmla="*/ 39681 w 39681"/>
                  <a:gd name="connsiteY5" fmla="*/ 38310 h 38309"/>
                  <a:gd name="connsiteX6" fmla="*/ 38195 w 39681"/>
                  <a:gd name="connsiteY6" fmla="*/ 11640 h 38309"/>
                  <a:gd name="connsiteX7" fmla="*/ 34747 w 39681"/>
                  <a:gd name="connsiteY7" fmla="*/ 1867 h 38309"/>
                  <a:gd name="connsiteX8" fmla="*/ 30270 w 39681"/>
                  <a:gd name="connsiteY8" fmla="*/ 0 h 3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81" h="38309">
                    <a:moveTo>
                      <a:pt x="30270" y="0"/>
                    </a:moveTo>
                    <a:lnTo>
                      <a:pt x="13611" y="7963"/>
                    </a:lnTo>
                    <a:lnTo>
                      <a:pt x="8925" y="3277"/>
                    </a:lnTo>
                    <a:cubicBezTo>
                      <a:pt x="3534" y="6715"/>
                      <a:pt x="0" y="12659"/>
                      <a:pt x="0" y="19260"/>
                    </a:cubicBezTo>
                    <a:cubicBezTo>
                      <a:pt x="0" y="29766"/>
                      <a:pt x="8544" y="38310"/>
                      <a:pt x="19050" y="38310"/>
                    </a:cubicBezTo>
                    <a:lnTo>
                      <a:pt x="39681" y="38310"/>
                    </a:lnTo>
                    <a:lnTo>
                      <a:pt x="38195" y="11640"/>
                    </a:lnTo>
                    <a:lnTo>
                      <a:pt x="34747" y="1867"/>
                    </a:lnTo>
                    <a:cubicBezTo>
                      <a:pt x="33252" y="1276"/>
                      <a:pt x="31756" y="657"/>
                      <a:pt x="30270" y="0"/>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193" name="Forma Livre: Forma 192">
                <a:extLst>
                  <a:ext uri="{FF2B5EF4-FFF2-40B4-BE49-F238E27FC236}">
                    <a16:creationId xmlns:a16="http://schemas.microsoft.com/office/drawing/2014/main" id="{45048213-B599-A0FD-6D0E-3B24B1936D73}"/>
                  </a:ext>
                </a:extLst>
              </p:cNvPr>
              <p:cNvSpPr/>
              <p:nvPr>
                <p:custDataLst>
                  <p:tags r:id="rId49"/>
                </p:custDataLst>
              </p:nvPr>
            </p:nvSpPr>
            <p:spPr>
              <a:xfrm>
                <a:off x="5271311" y="3255625"/>
                <a:ext cx="62755" cy="62755"/>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rgbClr val="011F57"/>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grpSp>
        <p:sp>
          <p:nvSpPr>
            <p:cNvPr id="196" name="CaixaDeTexto 195">
              <a:extLst>
                <a:ext uri="{FF2B5EF4-FFF2-40B4-BE49-F238E27FC236}">
                  <a16:creationId xmlns:a16="http://schemas.microsoft.com/office/drawing/2014/main" id="{8DB57CCB-4926-F711-527D-6C1A394781AA}"/>
                </a:ext>
              </a:extLst>
            </p:cNvPr>
            <p:cNvSpPr txBox="1"/>
            <p:nvPr>
              <p:custDataLst>
                <p:tags r:id="rId28"/>
              </p:custDataLst>
            </p:nvPr>
          </p:nvSpPr>
          <p:spPr>
            <a:xfrm>
              <a:off x="5567218" y="4248019"/>
              <a:ext cx="1267439" cy="360024"/>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Productivity</a:t>
              </a:r>
              <a:br>
                <a:rPr sz="1100" dirty="0"/>
              </a:br>
              <a:r>
                <a:rPr lang="en-US" sz="1100" b="0" i="0" u="none" strike="noStrike" cap="none" baseline="0" dirty="0">
                  <a:solidFill>
                    <a:srgbClr val="011F57"/>
                  </a:solidFill>
                  <a:effectLst/>
                  <a:uFillTx/>
                  <a:latin typeface="Segoe UI"/>
                </a:rPr>
                <a:t>in maintenance</a:t>
              </a:r>
            </a:p>
          </p:txBody>
        </p:sp>
        <p:sp>
          <p:nvSpPr>
            <p:cNvPr id="203" name="Forma Livre: Forma 202">
              <a:extLst>
                <a:ext uri="{FF2B5EF4-FFF2-40B4-BE49-F238E27FC236}">
                  <a16:creationId xmlns:a16="http://schemas.microsoft.com/office/drawing/2014/main" id="{B2523BA0-C0B6-1CF4-688C-ACF002B5BDE2}"/>
                </a:ext>
              </a:extLst>
            </p:cNvPr>
            <p:cNvSpPr/>
            <p:nvPr>
              <p:custDataLst>
                <p:tags r:id="rId29"/>
              </p:custDataLst>
            </p:nvPr>
          </p:nvSpPr>
          <p:spPr>
            <a:xfrm>
              <a:off x="5310806" y="3677996"/>
              <a:ext cx="243363" cy="243363"/>
            </a:xfrm>
            <a:custGeom>
              <a:avLst/>
              <a:gdLst>
                <a:gd name="connsiteX0" fmla="*/ 481851 w 865480"/>
                <a:gd name="connsiteY0" fmla="*/ 118587 h 865480"/>
                <a:gd name="connsiteX1" fmla="*/ 551803 w 865480"/>
                <a:gd name="connsiteY1" fmla="*/ 46540 h 865480"/>
                <a:gd name="connsiteX2" fmla="*/ 572208 w 865480"/>
                <a:gd name="connsiteY2" fmla="*/ 46247 h 865480"/>
                <a:gd name="connsiteX3" fmla="*/ 572501 w 865480"/>
                <a:gd name="connsiteY3" fmla="*/ 46540 h 865480"/>
                <a:gd name="connsiteX4" fmla="*/ 642471 w 865480"/>
                <a:gd name="connsiteY4" fmla="*/ 118587 h 865480"/>
                <a:gd name="connsiteX5" fmla="*/ 642302 w 865480"/>
                <a:gd name="connsiteY5" fmla="*/ 131329 h 865480"/>
                <a:gd name="connsiteX6" fmla="*/ 636004 w 865480"/>
                <a:gd name="connsiteY6" fmla="*/ 133884 h 865480"/>
                <a:gd name="connsiteX7" fmla="*/ 600914 w 865480"/>
                <a:gd name="connsiteY7" fmla="*/ 133884 h 865480"/>
                <a:gd name="connsiteX8" fmla="*/ 600914 w 865480"/>
                <a:gd name="connsiteY8" fmla="*/ 584759 h 865480"/>
                <a:gd name="connsiteX9" fmla="*/ 523428 w 865480"/>
                <a:gd name="connsiteY9" fmla="*/ 640566 h 865480"/>
                <a:gd name="connsiteX10" fmla="*/ 523428 w 865480"/>
                <a:gd name="connsiteY10" fmla="*/ 133836 h 865480"/>
                <a:gd name="connsiteX11" fmla="*/ 488319 w 865480"/>
                <a:gd name="connsiteY11" fmla="*/ 133836 h 865480"/>
                <a:gd name="connsiteX12" fmla="*/ 479296 w 865480"/>
                <a:gd name="connsiteY12" fmla="*/ 124838 h 865480"/>
                <a:gd name="connsiteX13" fmla="*/ 481851 w 865480"/>
                <a:gd name="connsiteY13" fmla="*/ 118539 h 865480"/>
                <a:gd name="connsiteX14" fmla="*/ 292875 w 865480"/>
                <a:gd name="connsiteY14" fmla="*/ 441084 h 865480"/>
                <a:gd name="connsiteX15" fmla="*/ 278435 w 865480"/>
                <a:gd name="connsiteY15" fmla="*/ 455514 h 865480"/>
                <a:gd name="connsiteX16" fmla="*/ 278435 w 865480"/>
                <a:gd name="connsiteY16" fmla="*/ 598828 h 865480"/>
                <a:gd name="connsiteX17" fmla="*/ 355950 w 865480"/>
                <a:gd name="connsiteY17" fmla="*/ 646100 h 865480"/>
                <a:gd name="connsiteX18" fmla="*/ 355950 w 865480"/>
                <a:gd name="connsiteY18" fmla="*/ 455514 h 865480"/>
                <a:gd name="connsiteX19" fmla="*/ 341519 w 865480"/>
                <a:gd name="connsiteY19" fmla="*/ 441084 h 865480"/>
                <a:gd name="connsiteX20" fmla="*/ 851193 w 865480"/>
                <a:gd name="connsiteY20" fmla="*/ 360407 h 865480"/>
                <a:gd name="connsiteX21" fmla="*/ 766496 w 865480"/>
                <a:gd name="connsiteY21" fmla="*/ 342434 h 865480"/>
                <a:gd name="connsiteX22" fmla="*/ 753066 w 865480"/>
                <a:gd name="connsiteY22" fmla="*/ 330289 h 865480"/>
                <a:gd name="connsiteX23" fmla="*/ 731682 w 865480"/>
                <a:gd name="connsiteY23" fmla="*/ 278711 h 865480"/>
                <a:gd name="connsiteX24" fmla="*/ 732578 w 865480"/>
                <a:gd name="connsiteY24" fmla="*/ 260614 h 865480"/>
                <a:gd name="connsiteX25" fmla="*/ 779774 w 865480"/>
                <a:gd name="connsiteY25" fmla="*/ 187986 h 865480"/>
                <a:gd name="connsiteX26" fmla="*/ 777402 w 865480"/>
                <a:gd name="connsiteY26" fmla="*/ 165412 h 865480"/>
                <a:gd name="connsiteX27" fmla="*/ 700059 w 865480"/>
                <a:gd name="connsiteY27" fmla="*/ 88059 h 865480"/>
                <a:gd name="connsiteX28" fmla="*/ 677485 w 865480"/>
                <a:gd name="connsiteY28" fmla="*/ 85697 h 865480"/>
                <a:gd name="connsiteX29" fmla="*/ 654949 w 865480"/>
                <a:gd name="connsiteY29" fmla="*/ 100318 h 865480"/>
                <a:gd name="connsiteX30" fmla="*/ 658016 w 865480"/>
                <a:gd name="connsiteY30" fmla="*/ 103480 h 865480"/>
                <a:gd name="connsiteX31" fmla="*/ 657383 w 865480"/>
                <a:gd name="connsiteY31" fmla="*/ 146823 h 865480"/>
                <a:gd name="connsiteX32" fmla="*/ 636023 w 865480"/>
                <a:gd name="connsiteY32" fmla="*/ 155487 h 865480"/>
                <a:gd name="connsiteX33" fmla="*/ 622554 w 865480"/>
                <a:gd name="connsiteY33" fmla="*/ 155487 h 865480"/>
                <a:gd name="connsiteX34" fmla="*/ 622554 w 865480"/>
                <a:gd name="connsiteY34" fmla="*/ 272606 h 865480"/>
                <a:gd name="connsiteX35" fmla="*/ 592559 w 865480"/>
                <a:gd name="connsiteY35" fmla="*/ 621671 h 865480"/>
                <a:gd name="connsiteX36" fmla="*/ 243494 w 865480"/>
                <a:gd name="connsiteY36" fmla="*/ 591675 h 865480"/>
                <a:gd name="connsiteX37" fmla="*/ 273490 w 865480"/>
                <a:gd name="connsiteY37" fmla="*/ 242610 h 865480"/>
                <a:gd name="connsiteX38" fmla="*/ 501787 w 865480"/>
                <a:gd name="connsiteY38" fmla="*/ 194139 h 865480"/>
                <a:gd name="connsiteX39" fmla="*/ 501787 w 865480"/>
                <a:gd name="connsiteY39" fmla="*/ 155563 h 865480"/>
                <a:gd name="connsiteX40" fmla="*/ 488319 w 865480"/>
                <a:gd name="connsiteY40" fmla="*/ 155563 h 865480"/>
                <a:gd name="connsiteX41" fmla="*/ 457671 w 865480"/>
                <a:gd name="connsiteY41" fmla="*/ 124907 h 865480"/>
                <a:gd name="connsiteX42" fmla="*/ 466335 w 865480"/>
                <a:gd name="connsiteY42" fmla="*/ 103556 h 865480"/>
                <a:gd name="connsiteX43" fmla="*/ 513703 w 865480"/>
                <a:gd name="connsiteY43" fmla="*/ 54779 h 865480"/>
                <a:gd name="connsiteX44" fmla="*/ 505130 w 865480"/>
                <a:gd name="connsiteY44" fmla="*/ 14288 h 865480"/>
                <a:gd name="connsiteX45" fmla="*/ 487490 w 865480"/>
                <a:gd name="connsiteY45" fmla="*/ 0 h 865480"/>
                <a:gd name="connsiteX46" fmla="*/ 378048 w 865480"/>
                <a:gd name="connsiteY46" fmla="*/ 0 h 865480"/>
                <a:gd name="connsiteX47" fmla="*/ 360407 w 865480"/>
                <a:gd name="connsiteY47" fmla="*/ 14288 h 865480"/>
                <a:gd name="connsiteX48" fmla="*/ 342434 w 865480"/>
                <a:gd name="connsiteY48" fmla="*/ 98965 h 865480"/>
                <a:gd name="connsiteX49" fmla="*/ 330289 w 865480"/>
                <a:gd name="connsiteY49" fmla="*/ 112395 h 865480"/>
                <a:gd name="connsiteX50" fmla="*/ 278711 w 865480"/>
                <a:gd name="connsiteY50" fmla="*/ 133798 h 865480"/>
                <a:gd name="connsiteX51" fmla="*/ 260614 w 865480"/>
                <a:gd name="connsiteY51" fmla="*/ 132893 h 865480"/>
                <a:gd name="connsiteX52" fmla="*/ 187995 w 865480"/>
                <a:gd name="connsiteY52" fmla="*/ 85706 h 865480"/>
                <a:gd name="connsiteX53" fmla="*/ 165421 w 865480"/>
                <a:gd name="connsiteY53" fmla="*/ 88078 h 865480"/>
                <a:gd name="connsiteX54" fmla="*/ 88069 w 865480"/>
                <a:gd name="connsiteY54" fmla="*/ 165421 h 865480"/>
                <a:gd name="connsiteX55" fmla="*/ 85706 w 865480"/>
                <a:gd name="connsiteY55" fmla="*/ 187995 h 865480"/>
                <a:gd name="connsiteX56" fmla="*/ 132893 w 865480"/>
                <a:gd name="connsiteY56" fmla="*/ 260614 h 865480"/>
                <a:gd name="connsiteX57" fmla="*/ 133798 w 865480"/>
                <a:gd name="connsiteY57" fmla="*/ 278711 h 865480"/>
                <a:gd name="connsiteX58" fmla="*/ 112405 w 865480"/>
                <a:gd name="connsiteY58" fmla="*/ 330289 h 865480"/>
                <a:gd name="connsiteX59" fmla="*/ 98975 w 865480"/>
                <a:gd name="connsiteY59" fmla="*/ 342434 h 865480"/>
                <a:gd name="connsiteX60" fmla="*/ 14288 w 865480"/>
                <a:gd name="connsiteY60" fmla="*/ 360407 h 865480"/>
                <a:gd name="connsiteX61" fmla="*/ 0 w 865480"/>
                <a:gd name="connsiteY61" fmla="*/ 378048 h 865480"/>
                <a:gd name="connsiteX62" fmla="*/ 0 w 865480"/>
                <a:gd name="connsiteY62" fmla="*/ 487433 h 865480"/>
                <a:gd name="connsiteX63" fmla="*/ 14288 w 865480"/>
                <a:gd name="connsiteY63" fmla="*/ 505073 h 865480"/>
                <a:gd name="connsiteX64" fmla="*/ 98984 w 865480"/>
                <a:gd name="connsiteY64" fmla="*/ 523047 h 865480"/>
                <a:gd name="connsiteX65" fmla="*/ 112414 w 865480"/>
                <a:gd name="connsiteY65" fmla="*/ 535191 h 865480"/>
                <a:gd name="connsiteX66" fmla="*/ 133798 w 865480"/>
                <a:gd name="connsiteY66" fmla="*/ 586769 h 865480"/>
                <a:gd name="connsiteX67" fmla="*/ 132903 w 865480"/>
                <a:gd name="connsiteY67" fmla="*/ 604866 h 865480"/>
                <a:gd name="connsiteX68" fmla="*/ 85706 w 865480"/>
                <a:gd name="connsiteY68" fmla="*/ 677485 h 865480"/>
                <a:gd name="connsiteX69" fmla="*/ 88078 w 865480"/>
                <a:gd name="connsiteY69" fmla="*/ 700059 h 865480"/>
                <a:gd name="connsiteX70" fmla="*/ 165421 w 865480"/>
                <a:gd name="connsiteY70" fmla="*/ 777402 h 865480"/>
                <a:gd name="connsiteX71" fmla="*/ 187995 w 865480"/>
                <a:gd name="connsiteY71" fmla="*/ 779774 h 865480"/>
                <a:gd name="connsiteX72" fmla="*/ 260614 w 865480"/>
                <a:gd name="connsiteY72" fmla="*/ 732587 h 865480"/>
                <a:gd name="connsiteX73" fmla="*/ 278711 w 865480"/>
                <a:gd name="connsiteY73" fmla="*/ 731692 h 865480"/>
                <a:gd name="connsiteX74" fmla="*/ 330289 w 865480"/>
                <a:gd name="connsiteY74" fmla="*/ 753085 h 865480"/>
                <a:gd name="connsiteX75" fmla="*/ 342434 w 865480"/>
                <a:gd name="connsiteY75" fmla="*/ 766515 h 865480"/>
                <a:gd name="connsiteX76" fmla="*/ 360407 w 865480"/>
                <a:gd name="connsiteY76" fmla="*/ 851193 h 865480"/>
                <a:gd name="connsiteX77" fmla="*/ 378048 w 865480"/>
                <a:gd name="connsiteY77" fmla="*/ 865480 h 865480"/>
                <a:gd name="connsiteX78" fmla="*/ 487433 w 865480"/>
                <a:gd name="connsiteY78" fmla="*/ 865480 h 865480"/>
                <a:gd name="connsiteX79" fmla="*/ 505073 w 865480"/>
                <a:gd name="connsiteY79" fmla="*/ 851193 h 865480"/>
                <a:gd name="connsiteX80" fmla="*/ 523047 w 865480"/>
                <a:gd name="connsiteY80" fmla="*/ 766515 h 865480"/>
                <a:gd name="connsiteX81" fmla="*/ 535191 w 865480"/>
                <a:gd name="connsiteY81" fmla="*/ 753085 h 865480"/>
                <a:gd name="connsiteX82" fmla="*/ 586769 w 865480"/>
                <a:gd name="connsiteY82" fmla="*/ 731682 h 865480"/>
                <a:gd name="connsiteX83" fmla="*/ 604866 w 865480"/>
                <a:gd name="connsiteY83" fmla="*/ 732587 h 865480"/>
                <a:gd name="connsiteX84" fmla="*/ 677485 w 865480"/>
                <a:gd name="connsiteY84" fmla="*/ 779774 h 865480"/>
                <a:gd name="connsiteX85" fmla="*/ 700059 w 865480"/>
                <a:gd name="connsiteY85" fmla="*/ 777402 h 865480"/>
                <a:gd name="connsiteX86" fmla="*/ 777412 w 865480"/>
                <a:gd name="connsiteY86" fmla="*/ 700059 h 865480"/>
                <a:gd name="connsiteX87" fmla="*/ 779774 w 865480"/>
                <a:gd name="connsiteY87" fmla="*/ 677485 h 865480"/>
                <a:gd name="connsiteX88" fmla="*/ 732587 w 865480"/>
                <a:gd name="connsiteY88" fmla="*/ 604866 h 865480"/>
                <a:gd name="connsiteX89" fmla="*/ 731682 w 865480"/>
                <a:gd name="connsiteY89" fmla="*/ 586769 h 865480"/>
                <a:gd name="connsiteX90" fmla="*/ 753076 w 865480"/>
                <a:gd name="connsiteY90" fmla="*/ 535191 h 865480"/>
                <a:gd name="connsiteX91" fmla="*/ 766506 w 865480"/>
                <a:gd name="connsiteY91" fmla="*/ 523047 h 865480"/>
                <a:gd name="connsiteX92" fmla="*/ 851193 w 865480"/>
                <a:gd name="connsiteY92" fmla="*/ 505073 h 865480"/>
                <a:gd name="connsiteX93" fmla="*/ 865480 w 865480"/>
                <a:gd name="connsiteY93" fmla="*/ 487433 h 865480"/>
                <a:gd name="connsiteX94" fmla="*/ 865480 w 865480"/>
                <a:gd name="connsiteY94" fmla="*/ 378048 h 865480"/>
                <a:gd name="connsiteX95" fmla="*/ 851193 w 865480"/>
                <a:gd name="connsiteY95" fmla="*/ 360407 h 865480"/>
                <a:gd name="connsiteX96" fmla="*/ 415367 w 865480"/>
                <a:gd name="connsiteY96" fmla="*/ 322517 h 865480"/>
                <a:gd name="connsiteX97" fmla="*/ 400946 w 865480"/>
                <a:gd name="connsiteY97" fmla="*/ 336938 h 865480"/>
                <a:gd name="connsiteX98" fmla="*/ 400946 w 865480"/>
                <a:gd name="connsiteY98" fmla="*/ 657216 h 865480"/>
                <a:gd name="connsiteX99" fmla="*/ 478432 w 865480"/>
                <a:gd name="connsiteY99" fmla="*/ 654825 h 865480"/>
                <a:gd name="connsiteX100" fmla="*/ 478432 w 865480"/>
                <a:gd name="connsiteY100" fmla="*/ 336938 h 865480"/>
                <a:gd name="connsiteX101" fmla="*/ 464011 w 865480"/>
                <a:gd name="connsiteY101" fmla="*/ 322517 h 86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865480" h="865480">
                  <a:moveTo>
                    <a:pt x="481851" y="118587"/>
                  </a:moveTo>
                  <a:lnTo>
                    <a:pt x="551803" y="46540"/>
                  </a:lnTo>
                  <a:cubicBezTo>
                    <a:pt x="557357" y="40824"/>
                    <a:pt x="566493" y="40693"/>
                    <a:pt x="572208" y="46247"/>
                  </a:cubicBezTo>
                  <a:cubicBezTo>
                    <a:pt x="572307" y="46343"/>
                    <a:pt x="572405" y="46441"/>
                    <a:pt x="572501" y="46540"/>
                  </a:cubicBezTo>
                  <a:lnTo>
                    <a:pt x="642471" y="118587"/>
                  </a:lnTo>
                  <a:cubicBezTo>
                    <a:pt x="645943" y="122152"/>
                    <a:pt x="645868" y="127857"/>
                    <a:pt x="642302" y="131329"/>
                  </a:cubicBezTo>
                  <a:cubicBezTo>
                    <a:pt x="640617" y="132970"/>
                    <a:pt x="638356" y="133887"/>
                    <a:pt x="636004" y="133884"/>
                  </a:cubicBezTo>
                  <a:lnTo>
                    <a:pt x="600914" y="133884"/>
                  </a:lnTo>
                  <a:lnTo>
                    <a:pt x="600914" y="584759"/>
                  </a:lnTo>
                  <a:cubicBezTo>
                    <a:pt x="579330" y="608641"/>
                    <a:pt x="552918" y="627663"/>
                    <a:pt x="523428" y="640566"/>
                  </a:cubicBezTo>
                  <a:lnTo>
                    <a:pt x="523428" y="133836"/>
                  </a:lnTo>
                  <a:lnTo>
                    <a:pt x="488319" y="133836"/>
                  </a:lnTo>
                  <a:cubicBezTo>
                    <a:pt x="483342" y="133843"/>
                    <a:pt x="479303" y="129814"/>
                    <a:pt x="479296" y="124838"/>
                  </a:cubicBezTo>
                  <a:cubicBezTo>
                    <a:pt x="479293" y="122485"/>
                    <a:pt x="480210" y="120224"/>
                    <a:pt x="481851" y="118539"/>
                  </a:cubicBezTo>
                  <a:close/>
                  <a:moveTo>
                    <a:pt x="292875" y="441084"/>
                  </a:moveTo>
                  <a:cubicBezTo>
                    <a:pt x="284906" y="441089"/>
                    <a:pt x="278446" y="447545"/>
                    <a:pt x="278435" y="455514"/>
                  </a:cubicBezTo>
                  <a:lnTo>
                    <a:pt x="278435" y="598828"/>
                  </a:lnTo>
                  <a:cubicBezTo>
                    <a:pt x="300823" y="619649"/>
                    <a:pt x="327189" y="635728"/>
                    <a:pt x="355950" y="646100"/>
                  </a:cubicBezTo>
                  <a:lnTo>
                    <a:pt x="355950" y="455514"/>
                  </a:lnTo>
                  <a:cubicBezTo>
                    <a:pt x="355934" y="447551"/>
                    <a:pt x="349482" y="441100"/>
                    <a:pt x="341519" y="441084"/>
                  </a:cubicBezTo>
                  <a:close/>
                  <a:moveTo>
                    <a:pt x="851193" y="360407"/>
                  </a:moveTo>
                  <a:lnTo>
                    <a:pt x="766496" y="342434"/>
                  </a:lnTo>
                  <a:cubicBezTo>
                    <a:pt x="760123" y="341171"/>
                    <a:pt x="754961" y="336504"/>
                    <a:pt x="753066" y="330289"/>
                  </a:cubicBezTo>
                  <a:cubicBezTo>
                    <a:pt x="747388" y="312531"/>
                    <a:pt x="740235" y="295278"/>
                    <a:pt x="731682" y="278711"/>
                  </a:cubicBezTo>
                  <a:cubicBezTo>
                    <a:pt x="728614" y="272977"/>
                    <a:pt x="728959" y="266018"/>
                    <a:pt x="732578" y="260614"/>
                  </a:cubicBezTo>
                  <a:lnTo>
                    <a:pt x="779774" y="187986"/>
                  </a:lnTo>
                  <a:cubicBezTo>
                    <a:pt x="784482" y="180862"/>
                    <a:pt x="783488" y="171402"/>
                    <a:pt x="777402" y="165412"/>
                  </a:cubicBezTo>
                  <a:lnTo>
                    <a:pt x="700059" y="88059"/>
                  </a:lnTo>
                  <a:cubicBezTo>
                    <a:pt x="694065" y="81980"/>
                    <a:pt x="684608" y="80990"/>
                    <a:pt x="677485" y="85697"/>
                  </a:cubicBezTo>
                  <a:lnTo>
                    <a:pt x="654949" y="100318"/>
                  </a:lnTo>
                  <a:lnTo>
                    <a:pt x="658016" y="103480"/>
                  </a:lnTo>
                  <a:cubicBezTo>
                    <a:pt x="669810" y="115624"/>
                    <a:pt x="669527" y="135029"/>
                    <a:pt x="657383" y="146823"/>
                  </a:cubicBezTo>
                  <a:cubicBezTo>
                    <a:pt x="651661" y="152380"/>
                    <a:pt x="643999" y="155488"/>
                    <a:pt x="636023" y="155487"/>
                  </a:cubicBezTo>
                  <a:lnTo>
                    <a:pt x="622554" y="155487"/>
                  </a:lnTo>
                  <a:lnTo>
                    <a:pt x="622554" y="272606"/>
                  </a:lnTo>
                  <a:cubicBezTo>
                    <a:pt x="710663" y="377281"/>
                    <a:pt x="697233" y="533562"/>
                    <a:pt x="592559" y="621671"/>
                  </a:cubicBezTo>
                  <a:cubicBezTo>
                    <a:pt x="487884" y="709779"/>
                    <a:pt x="331602" y="696350"/>
                    <a:pt x="243494" y="591675"/>
                  </a:cubicBezTo>
                  <a:cubicBezTo>
                    <a:pt x="155385" y="487000"/>
                    <a:pt x="168815" y="330718"/>
                    <a:pt x="273490" y="242610"/>
                  </a:cubicBezTo>
                  <a:cubicBezTo>
                    <a:pt x="336735" y="189374"/>
                    <a:pt x="422367" y="171193"/>
                    <a:pt x="501787" y="194139"/>
                  </a:cubicBezTo>
                  <a:lnTo>
                    <a:pt x="501787" y="155563"/>
                  </a:lnTo>
                  <a:lnTo>
                    <a:pt x="488319" y="155563"/>
                  </a:lnTo>
                  <a:cubicBezTo>
                    <a:pt x="471390" y="155560"/>
                    <a:pt x="457669" y="141835"/>
                    <a:pt x="457671" y="124907"/>
                  </a:cubicBezTo>
                  <a:cubicBezTo>
                    <a:pt x="457673" y="116934"/>
                    <a:pt x="460780" y="109276"/>
                    <a:pt x="466335" y="103556"/>
                  </a:cubicBezTo>
                  <a:lnTo>
                    <a:pt x="513703" y="54779"/>
                  </a:lnTo>
                  <a:lnTo>
                    <a:pt x="505130" y="14288"/>
                  </a:lnTo>
                  <a:cubicBezTo>
                    <a:pt x="503412" y="5926"/>
                    <a:pt x="496026" y="-56"/>
                    <a:pt x="487490" y="0"/>
                  </a:cubicBezTo>
                  <a:lnTo>
                    <a:pt x="378048" y="0"/>
                  </a:lnTo>
                  <a:cubicBezTo>
                    <a:pt x="369512" y="-56"/>
                    <a:pt x="362125" y="5926"/>
                    <a:pt x="360407" y="14288"/>
                  </a:cubicBezTo>
                  <a:lnTo>
                    <a:pt x="342434" y="98965"/>
                  </a:lnTo>
                  <a:cubicBezTo>
                    <a:pt x="341177" y="105341"/>
                    <a:pt x="336507" y="110505"/>
                    <a:pt x="330289" y="112395"/>
                  </a:cubicBezTo>
                  <a:cubicBezTo>
                    <a:pt x="312530" y="118080"/>
                    <a:pt x="295278" y="125239"/>
                    <a:pt x="278711" y="133798"/>
                  </a:cubicBezTo>
                  <a:cubicBezTo>
                    <a:pt x="272975" y="136863"/>
                    <a:pt x="266016" y="136515"/>
                    <a:pt x="260614" y="132893"/>
                  </a:cubicBezTo>
                  <a:lnTo>
                    <a:pt x="187995" y="85706"/>
                  </a:lnTo>
                  <a:cubicBezTo>
                    <a:pt x="180871" y="80999"/>
                    <a:pt x="171411" y="81992"/>
                    <a:pt x="165421" y="88078"/>
                  </a:cubicBezTo>
                  <a:lnTo>
                    <a:pt x="88069" y="165421"/>
                  </a:lnTo>
                  <a:cubicBezTo>
                    <a:pt x="81990" y="171415"/>
                    <a:pt x="81000" y="180872"/>
                    <a:pt x="85706" y="187995"/>
                  </a:cubicBezTo>
                  <a:lnTo>
                    <a:pt x="132893" y="260614"/>
                  </a:lnTo>
                  <a:cubicBezTo>
                    <a:pt x="136511" y="266017"/>
                    <a:pt x="136859" y="272974"/>
                    <a:pt x="133798" y="278711"/>
                  </a:cubicBezTo>
                  <a:cubicBezTo>
                    <a:pt x="125238" y="295276"/>
                    <a:pt x="118082" y="312529"/>
                    <a:pt x="112405" y="330289"/>
                  </a:cubicBezTo>
                  <a:cubicBezTo>
                    <a:pt x="110509" y="336504"/>
                    <a:pt x="105348" y="341171"/>
                    <a:pt x="98975" y="342434"/>
                  </a:cubicBezTo>
                  <a:lnTo>
                    <a:pt x="14288" y="360407"/>
                  </a:lnTo>
                  <a:cubicBezTo>
                    <a:pt x="5926" y="362125"/>
                    <a:pt x="-56" y="369512"/>
                    <a:pt x="0" y="378048"/>
                  </a:cubicBezTo>
                  <a:lnTo>
                    <a:pt x="0" y="487433"/>
                  </a:lnTo>
                  <a:cubicBezTo>
                    <a:pt x="-56" y="495969"/>
                    <a:pt x="5926" y="503355"/>
                    <a:pt x="14288" y="505073"/>
                  </a:cubicBezTo>
                  <a:lnTo>
                    <a:pt x="98984" y="523047"/>
                  </a:lnTo>
                  <a:cubicBezTo>
                    <a:pt x="105357" y="524309"/>
                    <a:pt x="110519" y="528977"/>
                    <a:pt x="112414" y="535191"/>
                  </a:cubicBezTo>
                  <a:cubicBezTo>
                    <a:pt x="118093" y="552949"/>
                    <a:pt x="125246" y="570202"/>
                    <a:pt x="133798" y="586769"/>
                  </a:cubicBezTo>
                  <a:cubicBezTo>
                    <a:pt x="136862" y="592505"/>
                    <a:pt x="136517" y="599461"/>
                    <a:pt x="132903" y="604866"/>
                  </a:cubicBezTo>
                  <a:lnTo>
                    <a:pt x="85706" y="677485"/>
                  </a:lnTo>
                  <a:cubicBezTo>
                    <a:pt x="80999" y="684609"/>
                    <a:pt x="81992" y="694069"/>
                    <a:pt x="88078" y="700059"/>
                  </a:cubicBezTo>
                  <a:lnTo>
                    <a:pt x="165421" y="777402"/>
                  </a:lnTo>
                  <a:cubicBezTo>
                    <a:pt x="171411" y="783488"/>
                    <a:pt x="180871" y="784482"/>
                    <a:pt x="187995" y="779774"/>
                  </a:cubicBezTo>
                  <a:lnTo>
                    <a:pt x="260614" y="732587"/>
                  </a:lnTo>
                  <a:cubicBezTo>
                    <a:pt x="266018" y="728968"/>
                    <a:pt x="272977" y="728624"/>
                    <a:pt x="278711" y="731692"/>
                  </a:cubicBezTo>
                  <a:cubicBezTo>
                    <a:pt x="295279" y="740245"/>
                    <a:pt x="312532" y="747401"/>
                    <a:pt x="330289" y="753085"/>
                  </a:cubicBezTo>
                  <a:cubicBezTo>
                    <a:pt x="336507" y="754975"/>
                    <a:pt x="341177" y="760139"/>
                    <a:pt x="342434" y="766515"/>
                  </a:cubicBezTo>
                  <a:lnTo>
                    <a:pt x="360407" y="851193"/>
                  </a:lnTo>
                  <a:cubicBezTo>
                    <a:pt x="362125" y="859554"/>
                    <a:pt x="369512" y="865536"/>
                    <a:pt x="378048" y="865480"/>
                  </a:cubicBezTo>
                  <a:lnTo>
                    <a:pt x="487433" y="865480"/>
                  </a:lnTo>
                  <a:cubicBezTo>
                    <a:pt x="495969" y="865536"/>
                    <a:pt x="503355" y="859554"/>
                    <a:pt x="505073" y="851193"/>
                  </a:cubicBezTo>
                  <a:lnTo>
                    <a:pt x="523047" y="766515"/>
                  </a:lnTo>
                  <a:cubicBezTo>
                    <a:pt x="524303" y="760139"/>
                    <a:pt x="528973" y="754975"/>
                    <a:pt x="535191" y="753085"/>
                  </a:cubicBezTo>
                  <a:cubicBezTo>
                    <a:pt x="552950" y="747400"/>
                    <a:pt x="570203" y="740241"/>
                    <a:pt x="586769" y="731682"/>
                  </a:cubicBezTo>
                  <a:cubicBezTo>
                    <a:pt x="592506" y="728622"/>
                    <a:pt x="599463" y="728969"/>
                    <a:pt x="604866" y="732587"/>
                  </a:cubicBezTo>
                  <a:lnTo>
                    <a:pt x="677485" y="779774"/>
                  </a:lnTo>
                  <a:cubicBezTo>
                    <a:pt x="684609" y="784482"/>
                    <a:pt x="694069" y="783488"/>
                    <a:pt x="700059" y="777402"/>
                  </a:cubicBezTo>
                  <a:lnTo>
                    <a:pt x="777412" y="700059"/>
                  </a:lnTo>
                  <a:cubicBezTo>
                    <a:pt x="783491" y="694065"/>
                    <a:pt x="784480" y="684608"/>
                    <a:pt x="779774" y="677485"/>
                  </a:cubicBezTo>
                  <a:lnTo>
                    <a:pt x="732587" y="604866"/>
                  </a:lnTo>
                  <a:cubicBezTo>
                    <a:pt x="728970" y="599463"/>
                    <a:pt x="728622" y="592506"/>
                    <a:pt x="731682" y="586769"/>
                  </a:cubicBezTo>
                  <a:cubicBezTo>
                    <a:pt x="740242" y="570204"/>
                    <a:pt x="747398" y="552951"/>
                    <a:pt x="753076" y="535191"/>
                  </a:cubicBezTo>
                  <a:cubicBezTo>
                    <a:pt x="754971" y="528977"/>
                    <a:pt x="760133" y="524309"/>
                    <a:pt x="766506" y="523047"/>
                  </a:cubicBezTo>
                  <a:lnTo>
                    <a:pt x="851193" y="505073"/>
                  </a:lnTo>
                  <a:cubicBezTo>
                    <a:pt x="859554" y="503355"/>
                    <a:pt x="865536" y="495969"/>
                    <a:pt x="865480" y="487433"/>
                  </a:cubicBezTo>
                  <a:lnTo>
                    <a:pt x="865480" y="378048"/>
                  </a:lnTo>
                  <a:cubicBezTo>
                    <a:pt x="865536" y="369512"/>
                    <a:pt x="859554" y="362125"/>
                    <a:pt x="851193" y="360407"/>
                  </a:cubicBezTo>
                  <a:close/>
                  <a:moveTo>
                    <a:pt x="415367" y="322517"/>
                  </a:moveTo>
                  <a:cubicBezTo>
                    <a:pt x="407409" y="322533"/>
                    <a:pt x="400961" y="328980"/>
                    <a:pt x="400946" y="336938"/>
                  </a:cubicBezTo>
                  <a:lnTo>
                    <a:pt x="400946" y="657216"/>
                  </a:lnTo>
                  <a:cubicBezTo>
                    <a:pt x="426722" y="660835"/>
                    <a:pt x="452927" y="660026"/>
                    <a:pt x="478432" y="654825"/>
                  </a:cubicBezTo>
                  <a:lnTo>
                    <a:pt x="478432" y="336938"/>
                  </a:lnTo>
                  <a:cubicBezTo>
                    <a:pt x="478416" y="328980"/>
                    <a:pt x="471969" y="322533"/>
                    <a:pt x="464011" y="322517"/>
                  </a:cubicBezTo>
                  <a:close/>
                </a:path>
              </a:pathLst>
            </a:custGeom>
            <a:solidFill>
              <a:srgbClr val="011F57"/>
            </a:solid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sp>
          <p:nvSpPr>
            <p:cNvPr id="197" name="CaixaDeTexto 196">
              <a:extLst>
                <a:ext uri="{FF2B5EF4-FFF2-40B4-BE49-F238E27FC236}">
                  <a16:creationId xmlns:a16="http://schemas.microsoft.com/office/drawing/2014/main" id="{A88B11CC-5D60-BE66-8492-033F3A6A2645}"/>
                </a:ext>
              </a:extLst>
            </p:cNvPr>
            <p:cNvSpPr txBox="1"/>
            <p:nvPr>
              <p:custDataLst>
                <p:tags r:id="rId30"/>
              </p:custDataLst>
            </p:nvPr>
          </p:nvSpPr>
          <p:spPr>
            <a:xfrm>
              <a:off x="5551708" y="3612712"/>
              <a:ext cx="1267439" cy="360024"/>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Structuring</a:t>
              </a:r>
              <a:br>
                <a:rPr sz="1100" dirty="0"/>
              </a:br>
              <a:r>
                <a:rPr lang="en-US" sz="1100" b="0" i="0" u="none" strike="noStrike" cap="none" baseline="0" dirty="0">
                  <a:solidFill>
                    <a:srgbClr val="011F57"/>
                  </a:solidFill>
                  <a:effectLst/>
                  <a:uFillTx/>
                  <a:latin typeface="Segoe UI"/>
                </a:rPr>
                <a:t>of offerings</a:t>
              </a:r>
            </a:p>
          </p:txBody>
        </p:sp>
        <p:sp>
          <p:nvSpPr>
            <p:cNvPr id="198" name="CaixaDeTexto 197">
              <a:extLst>
                <a:ext uri="{FF2B5EF4-FFF2-40B4-BE49-F238E27FC236}">
                  <a16:creationId xmlns:a16="http://schemas.microsoft.com/office/drawing/2014/main" id="{3603495B-CE72-A367-05A3-C92A88F1E204}"/>
                </a:ext>
              </a:extLst>
            </p:cNvPr>
            <p:cNvSpPr txBox="1"/>
            <p:nvPr>
              <p:custDataLst>
                <p:tags r:id="rId31"/>
              </p:custDataLst>
            </p:nvPr>
          </p:nvSpPr>
          <p:spPr>
            <a:xfrm>
              <a:off x="5558322" y="4558187"/>
              <a:ext cx="1267439" cy="360024"/>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Resilience and</a:t>
              </a:r>
              <a:br>
                <a:rPr sz="1100" dirty="0"/>
              </a:br>
              <a:r>
                <a:rPr lang="en-US" sz="1100" b="0" i="0" u="none" strike="noStrike" cap="none" baseline="0" dirty="0">
                  <a:solidFill>
                    <a:srgbClr val="011F57"/>
                  </a:solidFill>
                  <a:effectLst/>
                  <a:uFillTx/>
                  <a:latin typeface="Segoe UI"/>
                </a:rPr>
                <a:t>reliability</a:t>
              </a:r>
            </a:p>
          </p:txBody>
        </p:sp>
        <p:grpSp>
          <p:nvGrpSpPr>
            <p:cNvPr id="209" name="Gráfico 206">
              <a:extLst>
                <a:ext uri="{FF2B5EF4-FFF2-40B4-BE49-F238E27FC236}">
                  <a16:creationId xmlns:a16="http://schemas.microsoft.com/office/drawing/2014/main" id="{C8C40E99-74FF-847C-8855-94ACCF8B5644}"/>
                </a:ext>
              </a:extLst>
            </p:cNvPr>
            <p:cNvGrpSpPr/>
            <p:nvPr>
              <p:custDataLst>
                <p:tags r:id="rId32"/>
              </p:custDataLst>
            </p:nvPr>
          </p:nvGrpSpPr>
          <p:grpSpPr>
            <a:xfrm>
              <a:off x="5325997" y="4331325"/>
              <a:ext cx="224954" cy="226861"/>
              <a:chOff x="4083708" y="4531318"/>
              <a:chExt cx="453299" cy="457143"/>
            </a:xfrm>
            <a:solidFill>
              <a:srgbClr val="011F57"/>
            </a:solidFill>
          </p:grpSpPr>
          <p:sp>
            <p:nvSpPr>
              <p:cNvPr id="210" name="Forma Livre: Forma 209">
                <a:extLst>
                  <a:ext uri="{FF2B5EF4-FFF2-40B4-BE49-F238E27FC236}">
                    <a16:creationId xmlns:a16="http://schemas.microsoft.com/office/drawing/2014/main" id="{13190552-8761-9D33-B1A3-90812E3F8F72}"/>
                  </a:ext>
                </a:extLst>
              </p:cNvPr>
              <p:cNvSpPr/>
              <p:nvPr>
                <p:custDataLst>
                  <p:tags r:id="rId38"/>
                </p:custDataLst>
              </p:nvPr>
            </p:nvSpPr>
            <p:spPr>
              <a:xfrm>
                <a:off x="4254201" y="4531318"/>
                <a:ext cx="167416" cy="194871"/>
              </a:xfrm>
              <a:custGeom>
                <a:avLst/>
                <a:gdLst>
                  <a:gd name="connsiteX0" fmla="*/ 48197 w 167416"/>
                  <a:gd name="connsiteY0" fmla="*/ 186201 h 194871"/>
                  <a:gd name="connsiteX1" fmla="*/ 57722 w 167416"/>
                  <a:gd name="connsiteY1" fmla="*/ 194583 h 194871"/>
                  <a:gd name="connsiteX2" fmla="*/ 62865 w 167416"/>
                  <a:gd name="connsiteY2" fmla="*/ 194583 h 194871"/>
                  <a:gd name="connsiteX3" fmla="*/ 69342 w 167416"/>
                  <a:gd name="connsiteY3" fmla="*/ 189821 h 194871"/>
                  <a:gd name="connsiteX4" fmla="*/ 165354 w 167416"/>
                  <a:gd name="connsiteY4" fmla="*/ 47517 h 194871"/>
                  <a:gd name="connsiteX5" fmla="*/ 167164 w 167416"/>
                  <a:gd name="connsiteY5" fmla="*/ 38659 h 194871"/>
                  <a:gd name="connsiteX6" fmla="*/ 162116 w 167416"/>
                  <a:gd name="connsiteY6" fmla="*/ 31039 h 194871"/>
                  <a:gd name="connsiteX7" fmla="*/ 9716 w 167416"/>
                  <a:gd name="connsiteY7" fmla="*/ 7227 h 194871"/>
                  <a:gd name="connsiteX8" fmla="*/ 8573 w 167416"/>
                  <a:gd name="connsiteY8" fmla="*/ 7417 h 194871"/>
                  <a:gd name="connsiteX9" fmla="*/ 456 w 167416"/>
                  <a:gd name="connsiteY9" fmla="*/ 22016 h 194871"/>
                  <a:gd name="connsiteX10" fmla="*/ 477 w 167416"/>
                  <a:gd name="connsiteY10" fmla="*/ 22086 h 194871"/>
                  <a:gd name="connsiteX11" fmla="*/ 138875 w 167416"/>
                  <a:gd name="connsiteY11" fmla="*/ 44374 h 194871"/>
                  <a:gd name="connsiteX12" fmla="*/ 63913 w 167416"/>
                  <a:gd name="connsiteY12" fmla="*/ 155340 h 194871"/>
                  <a:gd name="connsiteX13" fmla="*/ 26670 w 167416"/>
                  <a:gd name="connsiteY13" fmla="*/ 27229 h 194871"/>
                  <a:gd name="connsiteX14" fmla="*/ 138875 w 167416"/>
                  <a:gd name="connsiteY14" fmla="*/ 44374 h 19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416" h="194871">
                    <a:moveTo>
                      <a:pt x="48197" y="186201"/>
                    </a:moveTo>
                    <a:cubicBezTo>
                      <a:pt x="49534" y="190570"/>
                      <a:pt x="53219" y="193812"/>
                      <a:pt x="57722" y="194583"/>
                    </a:cubicBezTo>
                    <a:cubicBezTo>
                      <a:pt x="59415" y="194968"/>
                      <a:pt x="61172" y="194968"/>
                      <a:pt x="62865" y="194583"/>
                    </a:cubicBezTo>
                    <a:cubicBezTo>
                      <a:pt x="65508" y="193788"/>
                      <a:pt x="67795" y="192106"/>
                      <a:pt x="69342" y="189821"/>
                    </a:cubicBezTo>
                    <a:lnTo>
                      <a:pt x="165354" y="47517"/>
                    </a:lnTo>
                    <a:cubicBezTo>
                      <a:pt x="167171" y="44948"/>
                      <a:pt x="167827" y="41735"/>
                      <a:pt x="167164" y="38659"/>
                    </a:cubicBezTo>
                    <a:cubicBezTo>
                      <a:pt x="166582" y="35540"/>
                      <a:pt x="164761" y="32791"/>
                      <a:pt x="162116" y="31039"/>
                    </a:cubicBezTo>
                    <a:cubicBezTo>
                      <a:pt x="117361" y="893"/>
                      <a:pt x="61533" y="-7830"/>
                      <a:pt x="9716" y="7227"/>
                    </a:cubicBezTo>
                    <a:lnTo>
                      <a:pt x="8573" y="7417"/>
                    </a:lnTo>
                    <a:cubicBezTo>
                      <a:pt x="2300" y="9207"/>
                      <a:pt x="-1334" y="15743"/>
                      <a:pt x="456" y="22016"/>
                    </a:cubicBezTo>
                    <a:cubicBezTo>
                      <a:pt x="463" y="22039"/>
                      <a:pt x="470" y="22062"/>
                      <a:pt x="477" y="22086"/>
                    </a:cubicBezTo>
                    <a:close/>
                    <a:moveTo>
                      <a:pt x="138875" y="44374"/>
                    </a:moveTo>
                    <a:lnTo>
                      <a:pt x="63913" y="155340"/>
                    </a:lnTo>
                    <a:lnTo>
                      <a:pt x="26670" y="27229"/>
                    </a:lnTo>
                    <a:cubicBezTo>
                      <a:pt x="64906" y="18906"/>
                      <a:pt x="104869" y="25012"/>
                      <a:pt x="138875" y="44374"/>
                    </a:cubicBezTo>
                    <a:close/>
                  </a:path>
                </a:pathLst>
              </a:custGeom>
              <a:grp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sp>
            <p:nvSpPr>
              <p:cNvPr id="211" name="Forma Livre: Forma 210">
                <a:extLst>
                  <a:ext uri="{FF2B5EF4-FFF2-40B4-BE49-F238E27FC236}">
                    <a16:creationId xmlns:a16="http://schemas.microsoft.com/office/drawing/2014/main" id="{DA6F4005-6A38-C63E-CFE7-3A8B58074A25}"/>
                  </a:ext>
                </a:extLst>
              </p:cNvPr>
              <p:cNvSpPr/>
              <p:nvPr>
                <p:custDataLst>
                  <p:tags r:id="rId39"/>
                </p:custDataLst>
              </p:nvPr>
            </p:nvSpPr>
            <p:spPr>
              <a:xfrm>
                <a:off x="4316780" y="4576264"/>
                <a:ext cx="220226" cy="311943"/>
              </a:xfrm>
              <a:custGeom>
                <a:avLst/>
                <a:gdLst>
                  <a:gd name="connsiteX0" fmla="*/ 211455 w 220226"/>
                  <a:gd name="connsiteY0" fmla="*/ 121349 h 311943"/>
                  <a:gd name="connsiteX1" fmla="*/ 122682 w 220226"/>
                  <a:gd name="connsiteY1" fmla="*/ 0 h 311943"/>
                  <a:gd name="connsiteX2" fmla="*/ 0 w 220226"/>
                  <a:gd name="connsiteY2" fmla="*/ 182404 h 311943"/>
                  <a:gd name="connsiteX3" fmla="*/ 178213 w 220226"/>
                  <a:gd name="connsiteY3" fmla="*/ 311944 h 311943"/>
                  <a:gd name="connsiteX4" fmla="*/ 211455 w 220226"/>
                  <a:gd name="connsiteY4" fmla="*/ 121349 h 3119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0226" h="311943">
                    <a:moveTo>
                      <a:pt x="211455" y="121349"/>
                    </a:moveTo>
                    <a:cubicBezTo>
                      <a:pt x="197151" y="71671"/>
                      <a:pt x="165696" y="28675"/>
                      <a:pt x="122682" y="0"/>
                    </a:cubicBezTo>
                    <a:lnTo>
                      <a:pt x="0" y="182404"/>
                    </a:lnTo>
                    <a:lnTo>
                      <a:pt x="178213" y="311944"/>
                    </a:lnTo>
                    <a:cubicBezTo>
                      <a:pt x="218198" y="256982"/>
                      <a:pt x="230473" y="186601"/>
                      <a:pt x="211455" y="121349"/>
                    </a:cubicBezTo>
                    <a:close/>
                  </a:path>
                </a:pathLst>
              </a:custGeom>
              <a:grp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sp>
            <p:nvSpPr>
              <p:cNvPr id="212" name="Forma Livre: Forma 211">
                <a:extLst>
                  <a:ext uri="{FF2B5EF4-FFF2-40B4-BE49-F238E27FC236}">
                    <a16:creationId xmlns:a16="http://schemas.microsoft.com/office/drawing/2014/main" id="{E1542860-9340-15E5-AEDB-09817D7E528B}"/>
                  </a:ext>
                </a:extLst>
              </p:cNvPr>
              <p:cNvSpPr/>
              <p:nvPr>
                <p:custDataLst>
                  <p:tags r:id="rId40"/>
                </p:custDataLst>
              </p:nvPr>
            </p:nvSpPr>
            <p:spPr>
              <a:xfrm>
                <a:off x="4083708" y="4557119"/>
                <a:ext cx="398140" cy="431343"/>
              </a:xfrm>
              <a:custGeom>
                <a:avLst/>
                <a:gdLst>
                  <a:gd name="connsiteX0" fmla="*/ 158587 w 398140"/>
                  <a:gd name="connsiteY0" fmla="*/ 0 h 431343"/>
                  <a:gd name="connsiteX1" fmla="*/ 8826 w 398140"/>
                  <a:gd name="connsiteY1" fmla="*/ 272756 h 431343"/>
                  <a:gd name="connsiteX2" fmla="*/ 281583 w 398140"/>
                  <a:gd name="connsiteY2" fmla="*/ 422517 h 431343"/>
                  <a:gd name="connsiteX3" fmla="*/ 398140 w 398140"/>
                  <a:gd name="connsiteY3" fmla="*/ 340519 h 431343"/>
                  <a:gd name="connsiteX4" fmla="*/ 219832 w 398140"/>
                  <a:gd name="connsiteY4" fmla="*/ 210979 h 4313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8140" h="431342">
                    <a:moveTo>
                      <a:pt x="158587" y="0"/>
                    </a:moveTo>
                    <a:cubicBezTo>
                      <a:pt x="41912" y="33964"/>
                      <a:pt x="-25138" y="156082"/>
                      <a:pt x="8826" y="272756"/>
                    </a:cubicBezTo>
                    <a:cubicBezTo>
                      <a:pt x="42791" y="389431"/>
                      <a:pt x="164908" y="456481"/>
                      <a:pt x="281583" y="422517"/>
                    </a:cubicBezTo>
                    <a:cubicBezTo>
                      <a:pt x="328456" y="408872"/>
                      <a:pt x="369461" y="380025"/>
                      <a:pt x="398140" y="340519"/>
                    </a:cubicBezTo>
                    <a:lnTo>
                      <a:pt x="219832" y="210979"/>
                    </a:lnTo>
                    <a:close/>
                  </a:path>
                </a:pathLst>
              </a:custGeom>
              <a:grp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grpSp>
        <p:grpSp>
          <p:nvGrpSpPr>
            <p:cNvPr id="222" name="Agrupar 221">
              <a:extLst>
                <a:ext uri="{FF2B5EF4-FFF2-40B4-BE49-F238E27FC236}">
                  <a16:creationId xmlns:a16="http://schemas.microsoft.com/office/drawing/2014/main" id="{0CD59FD5-8966-47CE-E8CC-A242474E0059}"/>
                </a:ext>
              </a:extLst>
            </p:cNvPr>
            <p:cNvGrpSpPr/>
            <p:nvPr>
              <p:custDataLst>
                <p:tags r:id="rId33"/>
              </p:custDataLst>
            </p:nvPr>
          </p:nvGrpSpPr>
          <p:grpSpPr>
            <a:xfrm>
              <a:off x="5338655" y="4627452"/>
              <a:ext cx="221501" cy="229736"/>
              <a:chOff x="3823135" y="4566080"/>
              <a:chExt cx="826522" cy="857250"/>
            </a:xfrm>
            <a:solidFill>
              <a:srgbClr val="011F57"/>
            </a:solidFill>
          </p:grpSpPr>
          <p:sp>
            <p:nvSpPr>
              <p:cNvPr id="218" name="Forma Livre: Forma 217">
                <a:extLst>
                  <a:ext uri="{FF2B5EF4-FFF2-40B4-BE49-F238E27FC236}">
                    <a16:creationId xmlns:a16="http://schemas.microsoft.com/office/drawing/2014/main" id="{E9D0E8B4-917C-3A4F-2F2E-4303E8558D79}"/>
                  </a:ext>
                </a:extLst>
              </p:cNvPr>
              <p:cNvSpPr/>
              <p:nvPr>
                <p:custDataLst>
                  <p:tags r:id="rId36"/>
                </p:custDataLst>
              </p:nvPr>
            </p:nvSpPr>
            <p:spPr>
              <a:xfrm>
                <a:off x="4097274" y="4566080"/>
                <a:ext cx="552383" cy="857250"/>
              </a:xfrm>
              <a:custGeom>
                <a:avLst/>
                <a:gdLst>
                  <a:gd name="connsiteX0" fmla="*/ 552383 w 552383"/>
                  <a:gd name="connsiteY0" fmla="*/ 390011 h 857250"/>
                  <a:gd name="connsiteX1" fmla="*/ 466801 w 552383"/>
                  <a:gd name="connsiteY1" fmla="*/ 304419 h 857250"/>
                  <a:gd name="connsiteX2" fmla="*/ 230238 w 552383"/>
                  <a:gd name="connsiteY2" fmla="*/ 304895 h 857250"/>
                  <a:gd name="connsiteX3" fmla="*/ 258223 w 552383"/>
                  <a:gd name="connsiteY3" fmla="*/ 191300 h 857250"/>
                  <a:gd name="connsiteX4" fmla="*/ 234105 w 552383"/>
                  <a:gd name="connsiteY4" fmla="*/ 3439 h 857250"/>
                  <a:gd name="connsiteX5" fmla="*/ 207550 w 552383"/>
                  <a:gd name="connsiteY5" fmla="*/ 0 h 857250"/>
                  <a:gd name="connsiteX6" fmla="*/ 131264 w 552383"/>
                  <a:gd name="connsiteY6" fmla="*/ 82039 h 857250"/>
                  <a:gd name="connsiteX7" fmla="*/ 22660 w 552383"/>
                  <a:gd name="connsiteY7" fmla="*/ 350444 h 857250"/>
                  <a:gd name="connsiteX8" fmla="*/ 0 w 552383"/>
                  <a:gd name="connsiteY8" fmla="*/ 387296 h 857250"/>
                  <a:gd name="connsiteX9" fmla="*/ 0 w 552383"/>
                  <a:gd name="connsiteY9" fmla="*/ 801986 h 857250"/>
                  <a:gd name="connsiteX10" fmla="*/ 19441 w 552383"/>
                  <a:gd name="connsiteY10" fmla="*/ 818683 h 857250"/>
                  <a:gd name="connsiteX11" fmla="*/ 120005 w 552383"/>
                  <a:gd name="connsiteY11" fmla="*/ 857250 h 857250"/>
                  <a:gd name="connsiteX12" fmla="*/ 329794 w 552383"/>
                  <a:gd name="connsiteY12" fmla="*/ 857155 h 857250"/>
                  <a:gd name="connsiteX13" fmla="*/ 338842 w 552383"/>
                  <a:gd name="connsiteY13" fmla="*/ 856669 h 857250"/>
                  <a:gd name="connsiteX14" fmla="*/ 347901 w 552383"/>
                  <a:gd name="connsiteY14" fmla="*/ 857250 h 857250"/>
                  <a:gd name="connsiteX15" fmla="*/ 425567 w 552383"/>
                  <a:gd name="connsiteY15" fmla="*/ 779574 h 857250"/>
                  <a:gd name="connsiteX16" fmla="*/ 408556 w 552383"/>
                  <a:gd name="connsiteY16" fmla="*/ 731120 h 857250"/>
                  <a:gd name="connsiteX17" fmla="*/ 408546 w 552383"/>
                  <a:gd name="connsiteY17" fmla="*/ 731101 h 857250"/>
                  <a:gd name="connsiteX18" fmla="*/ 408927 w 552383"/>
                  <a:gd name="connsiteY18" fmla="*/ 730891 h 857250"/>
                  <a:gd name="connsiteX19" fmla="*/ 408956 w 552383"/>
                  <a:gd name="connsiteY19" fmla="*/ 730891 h 857250"/>
                  <a:gd name="connsiteX20" fmla="*/ 486632 w 552383"/>
                  <a:gd name="connsiteY20" fmla="*/ 653215 h 857250"/>
                  <a:gd name="connsiteX21" fmla="*/ 464830 w 552383"/>
                  <a:gd name="connsiteY21" fmla="*/ 599342 h 857250"/>
                  <a:gd name="connsiteX22" fmla="*/ 470173 w 552383"/>
                  <a:gd name="connsiteY22" fmla="*/ 595046 h 857250"/>
                  <a:gd name="connsiteX23" fmla="*/ 521056 w 552383"/>
                  <a:gd name="connsiteY23" fmla="*/ 522218 h 857250"/>
                  <a:gd name="connsiteX24" fmla="*/ 498234 w 552383"/>
                  <a:gd name="connsiteY24" fmla="*/ 467220 h 857250"/>
                  <a:gd name="connsiteX25" fmla="*/ 500158 w 552383"/>
                  <a:gd name="connsiteY25" fmla="*/ 466563 h 857250"/>
                  <a:gd name="connsiteX26" fmla="*/ 552383 w 552383"/>
                  <a:gd name="connsiteY26" fmla="*/ 390011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2383" h="857250">
                    <a:moveTo>
                      <a:pt x="552383" y="390011"/>
                    </a:moveTo>
                    <a:cubicBezTo>
                      <a:pt x="552383" y="342814"/>
                      <a:pt x="513998" y="304419"/>
                      <a:pt x="466801" y="304419"/>
                    </a:cubicBezTo>
                    <a:lnTo>
                      <a:pt x="230238" y="304895"/>
                    </a:lnTo>
                    <a:cubicBezTo>
                      <a:pt x="236249" y="277416"/>
                      <a:pt x="250822" y="234848"/>
                      <a:pt x="258223" y="191300"/>
                    </a:cubicBezTo>
                    <a:cubicBezTo>
                      <a:pt x="266119" y="144799"/>
                      <a:pt x="305057" y="29070"/>
                      <a:pt x="234105" y="3439"/>
                    </a:cubicBezTo>
                    <a:cubicBezTo>
                      <a:pt x="233991" y="3410"/>
                      <a:pt x="222485" y="0"/>
                      <a:pt x="207550" y="0"/>
                    </a:cubicBezTo>
                    <a:cubicBezTo>
                      <a:pt x="146971" y="0"/>
                      <a:pt x="133760" y="51397"/>
                      <a:pt x="131264" y="82039"/>
                    </a:cubicBezTo>
                    <a:cubicBezTo>
                      <a:pt x="119253" y="230162"/>
                      <a:pt x="58179" y="292637"/>
                      <a:pt x="22660" y="350444"/>
                    </a:cubicBezTo>
                    <a:lnTo>
                      <a:pt x="0" y="387296"/>
                    </a:lnTo>
                    <a:lnTo>
                      <a:pt x="0" y="801986"/>
                    </a:lnTo>
                    <a:lnTo>
                      <a:pt x="19441" y="818683"/>
                    </a:lnTo>
                    <a:cubicBezTo>
                      <a:pt x="48339" y="843553"/>
                      <a:pt x="84058" y="857250"/>
                      <a:pt x="120005" y="857250"/>
                    </a:cubicBezTo>
                    <a:lnTo>
                      <a:pt x="329794" y="857155"/>
                    </a:lnTo>
                    <a:cubicBezTo>
                      <a:pt x="332842" y="857155"/>
                      <a:pt x="335871" y="856983"/>
                      <a:pt x="338842" y="856669"/>
                    </a:cubicBezTo>
                    <a:cubicBezTo>
                      <a:pt x="341824" y="857021"/>
                      <a:pt x="344834" y="857250"/>
                      <a:pt x="347901" y="857250"/>
                    </a:cubicBezTo>
                    <a:cubicBezTo>
                      <a:pt x="390801" y="857250"/>
                      <a:pt x="425567" y="822474"/>
                      <a:pt x="425567" y="779574"/>
                    </a:cubicBezTo>
                    <a:cubicBezTo>
                      <a:pt x="425567" y="761238"/>
                      <a:pt x="419176" y="744417"/>
                      <a:pt x="408556" y="731120"/>
                    </a:cubicBezTo>
                    <a:lnTo>
                      <a:pt x="408546" y="731101"/>
                    </a:lnTo>
                    <a:lnTo>
                      <a:pt x="408927" y="730891"/>
                    </a:lnTo>
                    <a:cubicBezTo>
                      <a:pt x="408937" y="730891"/>
                      <a:pt x="408946" y="730891"/>
                      <a:pt x="408956" y="730891"/>
                    </a:cubicBezTo>
                    <a:cubicBezTo>
                      <a:pt x="451856" y="730891"/>
                      <a:pt x="486632" y="696125"/>
                      <a:pt x="486632" y="653215"/>
                    </a:cubicBezTo>
                    <a:cubicBezTo>
                      <a:pt x="486632" y="632279"/>
                      <a:pt x="478298" y="613315"/>
                      <a:pt x="464830" y="599342"/>
                    </a:cubicBezTo>
                    <a:lnTo>
                      <a:pt x="470173" y="595046"/>
                    </a:lnTo>
                    <a:cubicBezTo>
                      <a:pt x="499853" y="584121"/>
                      <a:pt x="521056" y="555679"/>
                      <a:pt x="521056" y="522218"/>
                    </a:cubicBezTo>
                    <a:cubicBezTo>
                      <a:pt x="521056" y="500729"/>
                      <a:pt x="512331" y="481279"/>
                      <a:pt x="498234" y="467220"/>
                    </a:cubicBezTo>
                    <a:lnTo>
                      <a:pt x="500158" y="466563"/>
                    </a:lnTo>
                    <a:cubicBezTo>
                      <a:pt x="533305" y="454000"/>
                      <a:pt x="552383" y="425377"/>
                      <a:pt x="552383" y="390011"/>
                    </a:cubicBezTo>
                    <a:close/>
                  </a:path>
                </a:pathLst>
              </a:custGeom>
              <a:grp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sp>
            <p:nvSpPr>
              <p:cNvPr id="219" name="Forma Livre: Forma 218">
                <a:extLst>
                  <a:ext uri="{FF2B5EF4-FFF2-40B4-BE49-F238E27FC236}">
                    <a16:creationId xmlns:a16="http://schemas.microsoft.com/office/drawing/2014/main" id="{14E88CEA-F246-5476-FB71-34219DCEB355}"/>
                  </a:ext>
                </a:extLst>
              </p:cNvPr>
              <p:cNvSpPr/>
              <p:nvPr>
                <p:custDataLst>
                  <p:tags r:id="rId37"/>
                </p:custDataLst>
              </p:nvPr>
            </p:nvSpPr>
            <p:spPr>
              <a:xfrm>
                <a:off x="3823135" y="4953376"/>
                <a:ext cx="225799" cy="415642"/>
              </a:xfrm>
              <a:custGeom>
                <a:avLst/>
                <a:gdLst>
                  <a:gd name="connsiteX0" fmla="*/ 180003 w 225799"/>
                  <a:gd name="connsiteY0" fmla="*/ 0 h 415642"/>
                  <a:gd name="connsiteX1" fmla="*/ 45796 w 225799"/>
                  <a:gd name="connsiteY1" fmla="*/ 0 h 415642"/>
                  <a:gd name="connsiteX2" fmla="*/ 0 w 225799"/>
                  <a:gd name="connsiteY2" fmla="*/ 45796 h 415642"/>
                  <a:gd name="connsiteX3" fmla="*/ 0 w 225799"/>
                  <a:gd name="connsiteY3" fmla="*/ 369846 h 415642"/>
                  <a:gd name="connsiteX4" fmla="*/ 45796 w 225799"/>
                  <a:gd name="connsiteY4" fmla="*/ 415642 h 415642"/>
                  <a:gd name="connsiteX5" fmla="*/ 180003 w 225799"/>
                  <a:gd name="connsiteY5" fmla="*/ 415642 h 415642"/>
                  <a:gd name="connsiteX6" fmla="*/ 225800 w 225799"/>
                  <a:gd name="connsiteY6" fmla="*/ 369846 h 415642"/>
                  <a:gd name="connsiteX7" fmla="*/ 225800 w 225799"/>
                  <a:gd name="connsiteY7" fmla="*/ 45796 h 415642"/>
                  <a:gd name="connsiteX8" fmla="*/ 180003 w 225799"/>
                  <a:gd name="connsiteY8" fmla="*/ 0 h 41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5799" h="415641">
                    <a:moveTo>
                      <a:pt x="180003" y="0"/>
                    </a:moveTo>
                    <a:lnTo>
                      <a:pt x="45796" y="0"/>
                    </a:lnTo>
                    <a:cubicBezTo>
                      <a:pt x="20507" y="0"/>
                      <a:pt x="0" y="20498"/>
                      <a:pt x="0" y="45796"/>
                    </a:cubicBezTo>
                    <a:lnTo>
                      <a:pt x="0" y="369846"/>
                    </a:lnTo>
                    <a:cubicBezTo>
                      <a:pt x="0" y="395135"/>
                      <a:pt x="20498" y="415642"/>
                      <a:pt x="45796" y="415642"/>
                    </a:cubicBezTo>
                    <a:lnTo>
                      <a:pt x="180003" y="415642"/>
                    </a:lnTo>
                    <a:cubicBezTo>
                      <a:pt x="205292" y="415642"/>
                      <a:pt x="225800" y="395145"/>
                      <a:pt x="225800" y="369846"/>
                    </a:cubicBezTo>
                    <a:lnTo>
                      <a:pt x="225800" y="45796"/>
                    </a:lnTo>
                    <a:cubicBezTo>
                      <a:pt x="225790" y="20498"/>
                      <a:pt x="205292" y="0"/>
                      <a:pt x="180003" y="0"/>
                    </a:cubicBezTo>
                    <a:close/>
                  </a:path>
                </a:pathLst>
              </a:custGeom>
              <a:grpFill/>
              <a:ln w="9525" cap="flat">
                <a:noFill/>
                <a:prstDash val="solid"/>
                <a:miter/>
              </a:ln>
            </p:spPr>
            <p:txBody>
              <a:bodyPr rtlCol="0" anchor="ctr"/>
              <a:lstStyle/>
              <a:p>
                <a:endParaRPr lang="pt-BR" sz="1600" dirty="0">
                  <a:latin typeface="Segoe UI" panose="020B0502040204020203" pitchFamily="34" charset="0"/>
                  <a:cs typeface="Segoe UI" panose="020B0502040204020203" pitchFamily="34" charset="0"/>
                </a:endParaRPr>
              </a:p>
            </p:txBody>
          </p:sp>
        </p:grpSp>
        <p:sp>
          <p:nvSpPr>
            <p:cNvPr id="225" name="CaixaDeTexto 224">
              <a:extLst>
                <a:ext uri="{FF2B5EF4-FFF2-40B4-BE49-F238E27FC236}">
                  <a16:creationId xmlns:a16="http://schemas.microsoft.com/office/drawing/2014/main" id="{C23815F5-51A0-6162-DB84-6213364EF2E7}"/>
                </a:ext>
              </a:extLst>
            </p:cNvPr>
            <p:cNvSpPr txBox="1"/>
            <p:nvPr>
              <p:custDataLst>
                <p:tags r:id="rId34"/>
              </p:custDataLst>
            </p:nvPr>
          </p:nvSpPr>
          <p:spPr>
            <a:xfrm>
              <a:off x="5217720" y="3041759"/>
              <a:ext cx="818185" cy="237982"/>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200" b="1" i="0" u="none" strike="noStrike" cap="none" baseline="0" dirty="0">
                  <a:solidFill>
                    <a:srgbClr val="011F57"/>
                  </a:solidFill>
                  <a:effectLst/>
                  <a:uFillTx/>
                  <a:latin typeface="Segoe UI"/>
                </a:rPr>
                <a:t>Projects</a:t>
              </a:r>
            </a:p>
          </p:txBody>
        </p:sp>
        <p:sp>
          <p:nvSpPr>
            <p:cNvPr id="229" name="CaixaDeTexto 228">
              <a:extLst>
                <a:ext uri="{FF2B5EF4-FFF2-40B4-BE49-F238E27FC236}">
                  <a16:creationId xmlns:a16="http://schemas.microsoft.com/office/drawing/2014/main" id="{BF8DBD12-012D-C4C6-8569-720C8C6F3F5A}"/>
                </a:ext>
              </a:extLst>
            </p:cNvPr>
            <p:cNvSpPr txBox="1"/>
            <p:nvPr>
              <p:custDataLst>
                <p:tags r:id="rId35"/>
              </p:custDataLst>
            </p:nvPr>
          </p:nvSpPr>
          <p:spPr>
            <a:xfrm>
              <a:off x="5217720" y="4041506"/>
              <a:ext cx="1616937" cy="237982"/>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200" b="1" i="0" u="none" strike="noStrike" cap="none" baseline="0" dirty="0">
                  <a:solidFill>
                    <a:srgbClr val="011F57"/>
                  </a:solidFill>
                  <a:effectLst/>
                  <a:uFillTx/>
                  <a:latin typeface="Segoe UI"/>
                </a:rPr>
                <a:t>Excellence in O&amp;M</a:t>
              </a:r>
            </a:p>
          </p:txBody>
        </p:sp>
      </p:grpSp>
      <p:grpSp>
        <p:nvGrpSpPr>
          <p:cNvPr id="246" name="Agrupar 245">
            <a:extLst>
              <a:ext uri="{FF2B5EF4-FFF2-40B4-BE49-F238E27FC236}">
                <a16:creationId xmlns:a16="http://schemas.microsoft.com/office/drawing/2014/main" id="{D6242731-25DD-F1D9-F682-C2F78649A1EC}"/>
              </a:ext>
            </a:extLst>
          </p:cNvPr>
          <p:cNvGrpSpPr/>
          <p:nvPr>
            <p:custDataLst>
              <p:tags r:id="rId18"/>
            </p:custDataLst>
          </p:nvPr>
        </p:nvGrpSpPr>
        <p:grpSpPr>
          <a:xfrm>
            <a:off x="7120585" y="3109884"/>
            <a:ext cx="1486539" cy="625881"/>
            <a:chOff x="7128745" y="3311597"/>
            <a:chExt cx="1486539" cy="625881"/>
          </a:xfrm>
        </p:grpSpPr>
        <p:sp>
          <p:nvSpPr>
            <p:cNvPr id="128" name="CaixaDeTexto 127">
              <a:extLst>
                <a:ext uri="{FF2B5EF4-FFF2-40B4-BE49-F238E27FC236}">
                  <a16:creationId xmlns:a16="http://schemas.microsoft.com/office/drawing/2014/main" id="{9C6C3ED3-3E8B-1F24-63DC-84A878967CC8}"/>
                </a:ext>
              </a:extLst>
            </p:cNvPr>
            <p:cNvSpPr txBox="1"/>
            <p:nvPr>
              <p:custDataLst>
                <p:tags r:id="rId20"/>
              </p:custDataLst>
            </p:nvPr>
          </p:nvSpPr>
          <p:spPr>
            <a:xfrm>
              <a:off x="7315688" y="3322451"/>
              <a:ext cx="1299596" cy="225778"/>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en-US" sz="1100" b="0" i="0" u="none" strike="noStrike" cap="none" baseline="0" dirty="0">
                  <a:solidFill>
                    <a:srgbClr val="011F57"/>
                  </a:solidFill>
                  <a:effectLst/>
                  <a:uFillTx/>
                  <a:latin typeface="Segoe UI"/>
                </a:rPr>
                <a:t>Employee safety</a:t>
              </a:r>
            </a:p>
          </p:txBody>
        </p:sp>
        <p:grpSp>
          <p:nvGrpSpPr>
            <p:cNvPr id="233" name="Gráfico 230">
              <a:extLst>
                <a:ext uri="{FF2B5EF4-FFF2-40B4-BE49-F238E27FC236}">
                  <a16:creationId xmlns:a16="http://schemas.microsoft.com/office/drawing/2014/main" id="{20360738-D0E5-B4C4-3847-86E34F742B77}"/>
                </a:ext>
              </a:extLst>
            </p:cNvPr>
            <p:cNvGrpSpPr/>
            <p:nvPr>
              <p:custDataLst>
                <p:tags r:id="rId21"/>
              </p:custDataLst>
            </p:nvPr>
          </p:nvGrpSpPr>
          <p:grpSpPr>
            <a:xfrm>
              <a:off x="7128745" y="3311597"/>
              <a:ext cx="221107" cy="230570"/>
              <a:chOff x="9589917" y="2942982"/>
              <a:chExt cx="198449" cy="206942"/>
            </a:xfrm>
            <a:solidFill>
              <a:srgbClr val="011F57"/>
            </a:solidFill>
          </p:grpSpPr>
          <p:sp>
            <p:nvSpPr>
              <p:cNvPr id="234" name="Forma Livre: Forma 233">
                <a:extLst>
                  <a:ext uri="{FF2B5EF4-FFF2-40B4-BE49-F238E27FC236}">
                    <a16:creationId xmlns:a16="http://schemas.microsoft.com/office/drawing/2014/main" id="{E9127EC4-F0CF-68B5-6B2A-09FC994443E2}"/>
                  </a:ext>
                </a:extLst>
              </p:cNvPr>
              <p:cNvSpPr/>
              <p:nvPr>
                <p:custDataLst>
                  <p:tags r:id="rId24"/>
                </p:custDataLst>
              </p:nvPr>
            </p:nvSpPr>
            <p:spPr>
              <a:xfrm>
                <a:off x="9589917" y="2942982"/>
                <a:ext cx="198449" cy="206942"/>
              </a:xfrm>
              <a:custGeom>
                <a:avLst/>
                <a:gdLst>
                  <a:gd name="connsiteX0" fmla="*/ 69718 w 198449"/>
                  <a:gd name="connsiteY0" fmla="*/ 196948 h 206942"/>
                  <a:gd name="connsiteX1" fmla="*/ 89835 w 198449"/>
                  <a:gd name="connsiteY1" fmla="*/ 205459 h 206942"/>
                  <a:gd name="connsiteX2" fmla="*/ 103930 w 198449"/>
                  <a:gd name="connsiteY2" fmla="*/ 205750 h 206942"/>
                  <a:gd name="connsiteX3" fmla="*/ 124380 w 198449"/>
                  <a:gd name="connsiteY3" fmla="*/ 198071 h 206942"/>
                  <a:gd name="connsiteX4" fmla="*/ 198257 w 198449"/>
                  <a:gd name="connsiteY4" fmla="*/ 84695 h 206942"/>
                  <a:gd name="connsiteX5" fmla="*/ 196012 w 198449"/>
                  <a:gd name="connsiteY5" fmla="*/ 45587 h 206942"/>
                  <a:gd name="connsiteX6" fmla="*/ 179325 w 198449"/>
                  <a:gd name="connsiteY6" fmla="*/ 27809 h 206942"/>
                  <a:gd name="connsiteX7" fmla="*/ 141976 w 198449"/>
                  <a:gd name="connsiteY7" fmla="*/ 18659 h 206942"/>
                  <a:gd name="connsiteX8" fmla="*/ 110954 w 198449"/>
                  <a:gd name="connsiteY8" fmla="*/ 2969 h 206942"/>
                  <a:gd name="connsiteX9" fmla="*/ 91146 w 198449"/>
                  <a:gd name="connsiteY9" fmla="*/ 2561 h 206942"/>
                  <a:gd name="connsiteX10" fmla="*/ 59507 w 198449"/>
                  <a:gd name="connsiteY10" fmla="*/ 16964 h 206942"/>
                  <a:gd name="connsiteX11" fmla="*/ 21814 w 198449"/>
                  <a:gd name="connsiteY11" fmla="*/ 24573 h 206942"/>
                  <a:gd name="connsiteX12" fmla="*/ 4410 w 198449"/>
                  <a:gd name="connsiteY12" fmla="*/ 41650 h 206942"/>
                  <a:gd name="connsiteX13" fmla="*/ 562 w 198449"/>
                  <a:gd name="connsiteY13" fmla="*/ 80632 h 206942"/>
                  <a:gd name="connsiteX14" fmla="*/ 69718 w 198449"/>
                  <a:gd name="connsiteY14" fmla="*/ 196948 h 206942"/>
                  <a:gd name="connsiteX15" fmla="*/ 100070 w 198449"/>
                  <a:gd name="connsiteY15" fmla="*/ 50571 h 206942"/>
                  <a:gd name="connsiteX16" fmla="*/ 151369 w 198449"/>
                  <a:gd name="connsiteY16" fmla="*/ 104024 h 206942"/>
                  <a:gd name="connsiteX17" fmla="*/ 97916 w 198449"/>
                  <a:gd name="connsiteY17" fmla="*/ 155323 h 206942"/>
                  <a:gd name="connsiteX18" fmla="*/ 46617 w 198449"/>
                  <a:gd name="connsiteY18" fmla="*/ 101871 h 206942"/>
                  <a:gd name="connsiteX19" fmla="*/ 100009 w 198449"/>
                  <a:gd name="connsiteY19" fmla="*/ 50570 h 206942"/>
                  <a:gd name="connsiteX20" fmla="*/ 100070 w 198449"/>
                  <a:gd name="connsiteY20" fmla="*/ 50571 h 206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449" h="206942">
                    <a:moveTo>
                      <a:pt x="69718" y="196948"/>
                    </a:moveTo>
                    <a:lnTo>
                      <a:pt x="89835" y="205459"/>
                    </a:lnTo>
                    <a:cubicBezTo>
                      <a:pt x="94329" y="207331"/>
                      <a:pt x="99363" y="207435"/>
                      <a:pt x="103930" y="205750"/>
                    </a:cubicBezTo>
                    <a:lnTo>
                      <a:pt x="124380" y="198071"/>
                    </a:lnTo>
                    <a:cubicBezTo>
                      <a:pt x="171200" y="180564"/>
                      <a:pt x="201152" y="134597"/>
                      <a:pt x="198257" y="84695"/>
                    </a:cubicBezTo>
                    <a:lnTo>
                      <a:pt x="196012" y="45587"/>
                    </a:lnTo>
                    <a:cubicBezTo>
                      <a:pt x="195512" y="36392"/>
                      <a:pt x="188470" y="28890"/>
                      <a:pt x="179325" y="27809"/>
                    </a:cubicBezTo>
                    <a:cubicBezTo>
                      <a:pt x="166558" y="26240"/>
                      <a:pt x="154022" y="23169"/>
                      <a:pt x="141976" y="18659"/>
                    </a:cubicBezTo>
                    <a:cubicBezTo>
                      <a:pt x="131124" y="14507"/>
                      <a:pt x="120729" y="9250"/>
                      <a:pt x="110954" y="2969"/>
                    </a:cubicBezTo>
                    <a:cubicBezTo>
                      <a:pt x="104941" y="-838"/>
                      <a:pt x="97312" y="-995"/>
                      <a:pt x="91146" y="2561"/>
                    </a:cubicBezTo>
                    <a:cubicBezTo>
                      <a:pt x="81122" y="8436"/>
                      <a:pt x="70520" y="13262"/>
                      <a:pt x="59507" y="16964"/>
                    </a:cubicBezTo>
                    <a:cubicBezTo>
                      <a:pt x="47286" y="20976"/>
                      <a:pt x="34634" y="23530"/>
                      <a:pt x="21814" y="24573"/>
                    </a:cubicBezTo>
                    <a:cubicBezTo>
                      <a:pt x="12633" y="25277"/>
                      <a:pt x="5289" y="32483"/>
                      <a:pt x="4410" y="41650"/>
                    </a:cubicBezTo>
                    <a:lnTo>
                      <a:pt x="562" y="80632"/>
                    </a:lnTo>
                    <a:cubicBezTo>
                      <a:pt x="-4382" y="130373"/>
                      <a:pt x="23657" y="177532"/>
                      <a:pt x="69718" y="196948"/>
                    </a:cubicBezTo>
                    <a:close/>
                    <a:moveTo>
                      <a:pt x="100070" y="50571"/>
                    </a:moveTo>
                    <a:cubicBezTo>
                      <a:pt x="128996" y="51166"/>
                      <a:pt x="151963" y="75097"/>
                      <a:pt x="151369" y="104024"/>
                    </a:cubicBezTo>
                    <a:cubicBezTo>
                      <a:pt x="150774" y="132950"/>
                      <a:pt x="126843" y="155917"/>
                      <a:pt x="97916" y="155323"/>
                    </a:cubicBezTo>
                    <a:cubicBezTo>
                      <a:pt x="68990" y="154728"/>
                      <a:pt x="46023" y="130797"/>
                      <a:pt x="46617" y="101871"/>
                    </a:cubicBezTo>
                    <a:cubicBezTo>
                      <a:pt x="47195" y="72960"/>
                      <a:pt x="71099" y="49992"/>
                      <a:pt x="100009" y="50570"/>
                    </a:cubicBezTo>
                    <a:cubicBezTo>
                      <a:pt x="100029" y="50570"/>
                      <a:pt x="100049" y="50571"/>
                      <a:pt x="100070" y="50571"/>
                    </a:cubicBez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sp>
            <p:nvSpPr>
              <p:cNvPr id="235" name="Forma Livre: Forma 234">
                <a:extLst>
                  <a:ext uri="{FF2B5EF4-FFF2-40B4-BE49-F238E27FC236}">
                    <a16:creationId xmlns:a16="http://schemas.microsoft.com/office/drawing/2014/main" id="{EB8CEBBF-36D5-4D8C-EBC7-165FFB6D3335}"/>
                  </a:ext>
                </a:extLst>
              </p:cNvPr>
              <p:cNvSpPr/>
              <p:nvPr>
                <p:custDataLst>
                  <p:tags r:id="rId25"/>
                </p:custDataLst>
              </p:nvPr>
            </p:nvSpPr>
            <p:spPr>
              <a:xfrm>
                <a:off x="9655585" y="3020587"/>
                <a:ext cx="66589" cy="50744"/>
              </a:xfrm>
              <a:custGeom>
                <a:avLst/>
                <a:gdLst>
                  <a:gd name="connsiteX0" fmla="*/ 18640 w 66589"/>
                  <a:gd name="connsiteY0" fmla="*/ 47953 h 50744"/>
                  <a:gd name="connsiteX1" fmla="*/ 32106 w 66589"/>
                  <a:gd name="connsiteY1" fmla="*/ 47957 h 50744"/>
                  <a:gd name="connsiteX2" fmla="*/ 32109 w 66589"/>
                  <a:gd name="connsiteY2" fmla="*/ 47953 h 50744"/>
                  <a:gd name="connsiteX3" fmla="*/ 63860 w 66589"/>
                  <a:gd name="connsiteY3" fmla="*/ 16197 h 50744"/>
                  <a:gd name="connsiteX4" fmla="*/ 63738 w 66589"/>
                  <a:gd name="connsiteY4" fmla="*/ 2729 h 50744"/>
                  <a:gd name="connsiteX5" fmla="*/ 50392 w 66589"/>
                  <a:gd name="connsiteY5" fmla="*/ 2729 h 50744"/>
                  <a:gd name="connsiteX6" fmla="*/ 25375 w 66589"/>
                  <a:gd name="connsiteY6" fmla="*/ 27750 h 50744"/>
                  <a:gd name="connsiteX7" fmla="*/ 16236 w 66589"/>
                  <a:gd name="connsiteY7" fmla="*/ 18606 h 50744"/>
                  <a:gd name="connsiteX8" fmla="*/ 2767 w 66589"/>
                  <a:gd name="connsiteY8" fmla="*/ 18652 h 50744"/>
                  <a:gd name="connsiteX9" fmla="*/ 2767 w 66589"/>
                  <a:gd name="connsiteY9" fmla="*/ 32075 h 5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589" h="50744">
                    <a:moveTo>
                      <a:pt x="18640" y="47953"/>
                    </a:moveTo>
                    <a:cubicBezTo>
                      <a:pt x="22358" y="51673"/>
                      <a:pt x="28386" y="51674"/>
                      <a:pt x="32106" y="47957"/>
                    </a:cubicBezTo>
                    <a:cubicBezTo>
                      <a:pt x="32107" y="47956"/>
                      <a:pt x="32108" y="47955"/>
                      <a:pt x="32109" y="47953"/>
                    </a:cubicBezTo>
                    <a:lnTo>
                      <a:pt x="63860" y="16197"/>
                    </a:lnTo>
                    <a:cubicBezTo>
                      <a:pt x="67546" y="12444"/>
                      <a:pt x="67491" y="6414"/>
                      <a:pt x="63738" y="2729"/>
                    </a:cubicBezTo>
                    <a:cubicBezTo>
                      <a:pt x="60033" y="-910"/>
                      <a:pt x="54097" y="-910"/>
                      <a:pt x="50392" y="2729"/>
                    </a:cubicBezTo>
                    <a:lnTo>
                      <a:pt x="25375" y="27750"/>
                    </a:lnTo>
                    <a:lnTo>
                      <a:pt x="16236" y="18606"/>
                    </a:lnTo>
                    <a:cubicBezTo>
                      <a:pt x="12504" y="14900"/>
                      <a:pt x="6474" y="14920"/>
                      <a:pt x="2767" y="18652"/>
                    </a:cubicBezTo>
                    <a:cubicBezTo>
                      <a:pt x="-922" y="22366"/>
                      <a:pt x="-922" y="28361"/>
                      <a:pt x="2767" y="32075"/>
                    </a:cubicBezTo>
                    <a:close/>
                  </a:path>
                </a:pathLst>
              </a:custGeom>
              <a:grp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grpSp>
        <p:sp>
          <p:nvSpPr>
            <p:cNvPr id="238" name="CaixaDeTexto 237">
              <a:extLst>
                <a:ext uri="{FF2B5EF4-FFF2-40B4-BE49-F238E27FC236}">
                  <a16:creationId xmlns:a16="http://schemas.microsoft.com/office/drawing/2014/main" id="{5C85F2E7-2DC7-EBCB-C645-FDF9128CCB74}"/>
                </a:ext>
              </a:extLst>
            </p:cNvPr>
            <p:cNvSpPr txBox="1"/>
            <p:nvPr>
              <p:custDataLst>
                <p:tags r:id="rId22"/>
              </p:custDataLst>
            </p:nvPr>
          </p:nvSpPr>
          <p:spPr>
            <a:xfrm>
              <a:off x="7347067" y="3709723"/>
              <a:ext cx="1267439" cy="227755"/>
            </a:xfrm>
            <a:prstGeom prst="rect">
              <a:avLst/>
            </a:prstGeom>
            <a:noFill/>
          </p:spPr>
          <p:txBody>
            <a:bodyPr wrap="square">
              <a:spAutoFit/>
            </a:bodyPr>
            <a:lstStyle/>
            <a:p>
              <a:pPr marR="0" lvl="0" algn="l" defTabSz="457200" rtl="0" eaLnBrk="1" fontAlgn="auto" latinLnBrk="0" hangingPunct="1">
                <a:lnSpc>
                  <a:spcPct val="80000"/>
                </a:lnSpc>
                <a:spcBef>
                  <a:spcPts val="200"/>
                </a:spcBef>
                <a:spcAft>
                  <a:spcPts val="200"/>
                </a:spcAft>
                <a:buClr>
                  <a:srgbClr val="00FFFF"/>
                </a:buClr>
                <a:buSzTx/>
                <a:defRPr/>
              </a:pPr>
              <a:r>
                <a:rPr lang="pt-BR" sz="1100" b="0" i="0" u="none" strike="noStrike" cap="none" baseline="0" dirty="0">
                  <a:solidFill>
                    <a:srgbClr val="011F57"/>
                  </a:solidFill>
                  <a:effectLst/>
                  <a:uFillTx/>
                  <a:latin typeface="Segoe UI"/>
                </a:rPr>
                <a:t>ESG</a:t>
              </a:r>
              <a:endParaRPr lang="en-US" sz="1100" b="0" i="0" u="none" strike="noStrike" cap="none" baseline="0" dirty="0">
                <a:solidFill>
                  <a:srgbClr val="011F57"/>
                </a:solidFill>
                <a:effectLst/>
                <a:uFillTx/>
                <a:latin typeface="Segoe UI"/>
              </a:endParaRPr>
            </a:p>
          </p:txBody>
        </p:sp>
        <p:sp>
          <p:nvSpPr>
            <p:cNvPr id="242" name="Forma Livre: Forma 241">
              <a:extLst>
                <a:ext uri="{FF2B5EF4-FFF2-40B4-BE49-F238E27FC236}">
                  <a16:creationId xmlns:a16="http://schemas.microsoft.com/office/drawing/2014/main" id="{7FBEA69F-B9C8-6756-6EA5-C26F8A69057C}"/>
                </a:ext>
              </a:extLst>
            </p:cNvPr>
            <p:cNvSpPr/>
            <p:nvPr>
              <p:custDataLst>
                <p:tags r:id="rId23"/>
              </p:custDataLst>
            </p:nvPr>
          </p:nvSpPr>
          <p:spPr>
            <a:xfrm>
              <a:off x="7128745" y="3671863"/>
              <a:ext cx="221107" cy="221107"/>
            </a:xfrm>
            <a:custGeom>
              <a:avLst/>
              <a:gdLst>
                <a:gd name="connsiteX0" fmla="*/ 115858 w 231854"/>
                <a:gd name="connsiteY0" fmla="*/ -189 h 231854"/>
                <a:gd name="connsiteX1" fmla="*/ 15991 w 231854"/>
                <a:gd name="connsiteY1" fmla="*/ 67921 h 231854"/>
                <a:gd name="connsiteX2" fmla="*/ 66529 w 231854"/>
                <a:gd name="connsiteY2" fmla="*/ 67921 h 231854"/>
                <a:gd name="connsiteX3" fmla="*/ 115858 w 231854"/>
                <a:gd name="connsiteY3" fmla="*/ 36229 h 231854"/>
                <a:gd name="connsiteX4" fmla="*/ 165193 w 231854"/>
                <a:gd name="connsiteY4" fmla="*/ 67921 h 231854"/>
                <a:gd name="connsiteX5" fmla="*/ 215731 w 231854"/>
                <a:gd name="connsiteY5" fmla="*/ 67921 h 231854"/>
                <a:gd name="connsiteX6" fmla="*/ 115858 w 231854"/>
                <a:gd name="connsiteY6" fmla="*/ 41506 h 231854"/>
                <a:gd name="connsiteX7" fmla="*/ 66942 w 231854"/>
                <a:gd name="connsiteY7" fmla="*/ 90360 h 231854"/>
                <a:gd name="connsiteX8" fmla="*/ 115858 w 231854"/>
                <a:gd name="connsiteY8" fmla="*/ 139240 h 231854"/>
                <a:gd name="connsiteX9" fmla="*/ 164779 w 231854"/>
                <a:gd name="connsiteY9" fmla="*/ 90360 h 231854"/>
                <a:gd name="connsiteX10" fmla="*/ 115858 w 231854"/>
                <a:gd name="connsiteY10" fmla="*/ 41506 h 231854"/>
                <a:gd name="connsiteX11" fmla="*/ 115858 w 231854"/>
                <a:gd name="connsiteY11" fmla="*/ 52070 h 231854"/>
                <a:gd name="connsiteX12" fmla="*/ 118028 w 231854"/>
                <a:gd name="connsiteY12" fmla="*/ 53205 h 231854"/>
                <a:gd name="connsiteX13" fmla="*/ 123471 w 231854"/>
                <a:gd name="connsiteY13" fmla="*/ 62113 h 231854"/>
                <a:gd name="connsiteX14" fmla="*/ 129096 w 231854"/>
                <a:gd name="connsiteY14" fmla="*/ 78393 h 231854"/>
                <a:gd name="connsiteX15" fmla="*/ 122867 w 231854"/>
                <a:gd name="connsiteY15" fmla="*/ 90226 h 231854"/>
                <a:gd name="connsiteX16" fmla="*/ 118513 w 231854"/>
                <a:gd name="connsiteY16" fmla="*/ 93269 h 231854"/>
                <a:gd name="connsiteX17" fmla="*/ 118513 w 231854"/>
                <a:gd name="connsiteY17" fmla="*/ 96189 h 231854"/>
                <a:gd name="connsiteX18" fmla="*/ 120780 w 231854"/>
                <a:gd name="connsiteY18" fmla="*/ 93269 h 231854"/>
                <a:gd name="connsiteX19" fmla="*/ 144926 w 231854"/>
                <a:gd name="connsiteY19" fmla="*/ 79873 h 231854"/>
                <a:gd name="connsiteX20" fmla="*/ 148262 w 231854"/>
                <a:gd name="connsiteY20" fmla="*/ 82427 h 231854"/>
                <a:gd name="connsiteX21" fmla="*/ 145179 w 231854"/>
                <a:gd name="connsiteY21" fmla="*/ 100439 h 231854"/>
                <a:gd name="connsiteX22" fmla="*/ 136843 w 231854"/>
                <a:gd name="connsiteY22" fmla="*/ 109409 h 231854"/>
                <a:gd name="connsiteX23" fmla="*/ 118513 w 231854"/>
                <a:gd name="connsiteY23" fmla="*/ 115847 h 231854"/>
                <a:gd name="connsiteX24" fmla="*/ 118513 w 231854"/>
                <a:gd name="connsiteY24" fmla="*/ 126019 h 231854"/>
                <a:gd name="connsiteX25" fmla="*/ 115858 w 231854"/>
                <a:gd name="connsiteY25" fmla="*/ 128670 h 231854"/>
                <a:gd name="connsiteX26" fmla="*/ 113224 w 231854"/>
                <a:gd name="connsiteY26" fmla="*/ 126019 h 231854"/>
                <a:gd name="connsiteX27" fmla="*/ 113224 w 231854"/>
                <a:gd name="connsiteY27" fmla="*/ 115857 h 231854"/>
                <a:gd name="connsiteX28" fmla="*/ 94894 w 231854"/>
                <a:gd name="connsiteY28" fmla="*/ 109409 h 231854"/>
                <a:gd name="connsiteX29" fmla="*/ 86558 w 231854"/>
                <a:gd name="connsiteY29" fmla="*/ 100439 h 231854"/>
                <a:gd name="connsiteX30" fmla="*/ 83475 w 231854"/>
                <a:gd name="connsiteY30" fmla="*/ 82427 h 231854"/>
                <a:gd name="connsiteX31" fmla="*/ 86796 w 231854"/>
                <a:gd name="connsiteY31" fmla="*/ 79873 h 231854"/>
                <a:gd name="connsiteX32" fmla="*/ 110941 w 231854"/>
                <a:gd name="connsiteY32" fmla="*/ 93269 h 231854"/>
                <a:gd name="connsiteX33" fmla="*/ 113224 w 231854"/>
                <a:gd name="connsiteY33" fmla="*/ 96209 h 231854"/>
                <a:gd name="connsiteX34" fmla="*/ 113224 w 231854"/>
                <a:gd name="connsiteY34" fmla="*/ 93279 h 231854"/>
                <a:gd name="connsiteX35" fmla="*/ 108855 w 231854"/>
                <a:gd name="connsiteY35" fmla="*/ 90226 h 231854"/>
                <a:gd name="connsiteX36" fmla="*/ 102647 w 231854"/>
                <a:gd name="connsiteY36" fmla="*/ 78393 h 231854"/>
                <a:gd name="connsiteX37" fmla="*/ 108245 w 231854"/>
                <a:gd name="connsiteY37" fmla="*/ 62113 h 231854"/>
                <a:gd name="connsiteX38" fmla="*/ 113694 w 231854"/>
                <a:gd name="connsiteY38" fmla="*/ 53205 h 231854"/>
                <a:gd name="connsiteX39" fmla="*/ 115858 w 231854"/>
                <a:gd name="connsiteY39" fmla="*/ 52070 h 231854"/>
                <a:gd name="connsiteX40" fmla="*/ 115858 w 231854"/>
                <a:gd name="connsiteY40" fmla="*/ 59581 h 231854"/>
                <a:gd name="connsiteX41" fmla="*/ 112894 w 231854"/>
                <a:gd name="connsiteY41" fmla="*/ 64625 h 231854"/>
                <a:gd name="connsiteX42" fmla="*/ 107935 w 231854"/>
                <a:gd name="connsiteY42" fmla="*/ 78393 h 231854"/>
                <a:gd name="connsiteX43" fmla="*/ 112289 w 231854"/>
                <a:gd name="connsiteY43" fmla="*/ 86208 h 231854"/>
                <a:gd name="connsiteX44" fmla="*/ 115858 w 231854"/>
                <a:gd name="connsiteY44" fmla="*/ 88570 h 231854"/>
                <a:gd name="connsiteX45" fmla="*/ 119432 w 231854"/>
                <a:gd name="connsiteY45" fmla="*/ 86228 h 231854"/>
                <a:gd name="connsiteX46" fmla="*/ 123807 w 231854"/>
                <a:gd name="connsiteY46" fmla="*/ 78393 h 231854"/>
                <a:gd name="connsiteX47" fmla="*/ 118828 w 231854"/>
                <a:gd name="connsiteY47" fmla="*/ 64625 h 231854"/>
                <a:gd name="connsiteX48" fmla="*/ 115858 w 231854"/>
                <a:gd name="connsiteY48" fmla="*/ 59581 h 231854"/>
                <a:gd name="connsiteX49" fmla="*/ 7443 w 231854"/>
                <a:gd name="connsiteY49" fmla="*/ 73204 h 231854"/>
                <a:gd name="connsiteX50" fmla="*/ -35 w 231854"/>
                <a:gd name="connsiteY50" fmla="*/ 78491 h 231854"/>
                <a:gd name="connsiteX51" fmla="*/ 62965 w 231854"/>
                <a:gd name="connsiteY51" fmla="*/ 78491 h 231854"/>
                <a:gd name="connsiteX52" fmla="*/ 64442 w 231854"/>
                <a:gd name="connsiteY52" fmla="*/ 73204 h 231854"/>
                <a:gd name="connsiteX53" fmla="*/ 167279 w 231854"/>
                <a:gd name="connsiteY53" fmla="*/ 73204 h 231854"/>
                <a:gd name="connsiteX54" fmla="*/ 168756 w 231854"/>
                <a:gd name="connsiteY54" fmla="*/ 78491 h 231854"/>
                <a:gd name="connsiteX55" fmla="*/ 231819 w 231854"/>
                <a:gd name="connsiteY55" fmla="*/ 78491 h 231854"/>
                <a:gd name="connsiteX56" fmla="*/ 224278 w 231854"/>
                <a:gd name="connsiteY56" fmla="*/ 73204 h 231854"/>
                <a:gd name="connsiteX57" fmla="*/ 18026 w 231854"/>
                <a:gd name="connsiteY57" fmla="*/ 83773 h 231854"/>
                <a:gd name="connsiteX58" fmla="*/ 18026 w 231854"/>
                <a:gd name="connsiteY58" fmla="*/ 136588 h 231854"/>
                <a:gd name="connsiteX59" fmla="*/ 17887 w 231854"/>
                <a:gd name="connsiteY59" fmla="*/ 137445 h 231854"/>
                <a:gd name="connsiteX60" fmla="*/ 15387 w 231854"/>
                <a:gd name="connsiteY60" fmla="*/ 149727 h 231854"/>
                <a:gd name="connsiteX61" fmla="*/ 17789 w 231854"/>
                <a:gd name="connsiteY61" fmla="*/ 159259 h 231854"/>
                <a:gd name="connsiteX62" fmla="*/ 18020 w 231854"/>
                <a:gd name="connsiteY62" fmla="*/ 160353 h 231854"/>
                <a:gd name="connsiteX63" fmla="*/ 18020 w 231854"/>
                <a:gd name="connsiteY63" fmla="*/ 215773 h 231854"/>
                <a:gd name="connsiteX64" fmla="*/ 21166 w 231854"/>
                <a:gd name="connsiteY64" fmla="*/ 215773 h 231854"/>
                <a:gd name="connsiteX65" fmla="*/ 24306 w 231854"/>
                <a:gd name="connsiteY65" fmla="*/ 203007 h 231854"/>
                <a:gd name="connsiteX66" fmla="*/ 26532 w 231854"/>
                <a:gd name="connsiteY66" fmla="*/ 196456 h 231854"/>
                <a:gd name="connsiteX67" fmla="*/ 34382 w 231854"/>
                <a:gd name="connsiteY67" fmla="*/ 192009 h 231854"/>
                <a:gd name="connsiteX68" fmla="*/ 39181 w 231854"/>
                <a:gd name="connsiteY68" fmla="*/ 192009 h 231854"/>
                <a:gd name="connsiteX69" fmla="*/ 39181 w 231854"/>
                <a:gd name="connsiteY69" fmla="*/ 173512 h 231854"/>
                <a:gd name="connsiteX70" fmla="*/ 39181 w 231854"/>
                <a:gd name="connsiteY70" fmla="*/ 162947 h 231854"/>
                <a:gd name="connsiteX71" fmla="*/ 39181 w 231854"/>
                <a:gd name="connsiteY71" fmla="*/ 160353 h 231854"/>
                <a:gd name="connsiteX72" fmla="*/ 39438 w 231854"/>
                <a:gd name="connsiteY72" fmla="*/ 159223 h 231854"/>
                <a:gd name="connsiteX73" fmla="*/ 41819 w 231854"/>
                <a:gd name="connsiteY73" fmla="*/ 149727 h 231854"/>
                <a:gd name="connsiteX74" fmla="*/ 39319 w 231854"/>
                <a:gd name="connsiteY74" fmla="*/ 137465 h 231854"/>
                <a:gd name="connsiteX75" fmla="*/ 39179 w 231854"/>
                <a:gd name="connsiteY75" fmla="*/ 136588 h 231854"/>
                <a:gd name="connsiteX76" fmla="*/ 39179 w 231854"/>
                <a:gd name="connsiteY76" fmla="*/ 83773 h 231854"/>
                <a:gd name="connsiteX77" fmla="*/ 192556 w 231854"/>
                <a:gd name="connsiteY77" fmla="*/ 83773 h 231854"/>
                <a:gd name="connsiteX78" fmla="*/ 192556 w 231854"/>
                <a:gd name="connsiteY78" fmla="*/ 136588 h 231854"/>
                <a:gd name="connsiteX79" fmla="*/ 192401 w 231854"/>
                <a:gd name="connsiteY79" fmla="*/ 137445 h 231854"/>
                <a:gd name="connsiteX80" fmla="*/ 189901 w 231854"/>
                <a:gd name="connsiteY80" fmla="*/ 149727 h 231854"/>
                <a:gd name="connsiteX81" fmla="*/ 192303 w 231854"/>
                <a:gd name="connsiteY81" fmla="*/ 159259 h 231854"/>
                <a:gd name="connsiteX82" fmla="*/ 192555 w 231854"/>
                <a:gd name="connsiteY82" fmla="*/ 160353 h 231854"/>
                <a:gd name="connsiteX83" fmla="*/ 192555 w 231854"/>
                <a:gd name="connsiteY83" fmla="*/ 192009 h 231854"/>
                <a:gd name="connsiteX84" fmla="*/ 197358 w 231854"/>
                <a:gd name="connsiteY84" fmla="*/ 192009 h 231854"/>
                <a:gd name="connsiteX85" fmla="*/ 205188 w 231854"/>
                <a:gd name="connsiteY85" fmla="*/ 196450 h 231854"/>
                <a:gd name="connsiteX86" fmla="*/ 207430 w 231854"/>
                <a:gd name="connsiteY86" fmla="*/ 203001 h 231854"/>
                <a:gd name="connsiteX87" fmla="*/ 207430 w 231854"/>
                <a:gd name="connsiteY87" fmla="*/ 203007 h 231854"/>
                <a:gd name="connsiteX88" fmla="*/ 207430 w 231854"/>
                <a:gd name="connsiteY88" fmla="*/ 203012 h 231854"/>
                <a:gd name="connsiteX89" fmla="*/ 207430 w 231854"/>
                <a:gd name="connsiteY89" fmla="*/ 203017 h 231854"/>
                <a:gd name="connsiteX90" fmla="*/ 207430 w 231854"/>
                <a:gd name="connsiteY90" fmla="*/ 203022 h 231854"/>
                <a:gd name="connsiteX91" fmla="*/ 207430 w 231854"/>
                <a:gd name="connsiteY91" fmla="*/ 203027 h 231854"/>
                <a:gd name="connsiteX92" fmla="*/ 207430 w 231854"/>
                <a:gd name="connsiteY92" fmla="*/ 203032 h 231854"/>
                <a:gd name="connsiteX93" fmla="*/ 207430 w 231854"/>
                <a:gd name="connsiteY93" fmla="*/ 203037 h 231854"/>
                <a:gd name="connsiteX94" fmla="*/ 207430 w 231854"/>
                <a:gd name="connsiteY94" fmla="*/ 203043 h 231854"/>
                <a:gd name="connsiteX95" fmla="*/ 207430 w 231854"/>
                <a:gd name="connsiteY95" fmla="*/ 203048 h 231854"/>
                <a:gd name="connsiteX96" fmla="*/ 207430 w 231854"/>
                <a:gd name="connsiteY96" fmla="*/ 203053 h 231854"/>
                <a:gd name="connsiteX97" fmla="*/ 207430 w 231854"/>
                <a:gd name="connsiteY97" fmla="*/ 203058 h 231854"/>
                <a:gd name="connsiteX98" fmla="*/ 207430 w 231854"/>
                <a:gd name="connsiteY98" fmla="*/ 203063 h 231854"/>
                <a:gd name="connsiteX99" fmla="*/ 210549 w 231854"/>
                <a:gd name="connsiteY99" fmla="*/ 215773 h 231854"/>
                <a:gd name="connsiteX100" fmla="*/ 213695 w 231854"/>
                <a:gd name="connsiteY100" fmla="*/ 215773 h 231854"/>
                <a:gd name="connsiteX101" fmla="*/ 213695 w 231854"/>
                <a:gd name="connsiteY101" fmla="*/ 160353 h 231854"/>
                <a:gd name="connsiteX102" fmla="*/ 213968 w 231854"/>
                <a:gd name="connsiteY102" fmla="*/ 159223 h 231854"/>
                <a:gd name="connsiteX103" fmla="*/ 216349 w 231854"/>
                <a:gd name="connsiteY103" fmla="*/ 149727 h 231854"/>
                <a:gd name="connsiteX104" fmla="*/ 213854 w 231854"/>
                <a:gd name="connsiteY104" fmla="*/ 137465 h 231854"/>
                <a:gd name="connsiteX105" fmla="*/ 213694 w 231854"/>
                <a:gd name="connsiteY105" fmla="*/ 136588 h 231854"/>
                <a:gd name="connsiteX106" fmla="*/ 213694 w 231854"/>
                <a:gd name="connsiteY106" fmla="*/ 83773 h 231854"/>
                <a:gd name="connsiteX107" fmla="*/ 88831 w 231854"/>
                <a:gd name="connsiteY107" fmla="*/ 85944 h 231854"/>
                <a:gd name="connsiteX108" fmla="*/ 91341 w 231854"/>
                <a:gd name="connsiteY108" fmla="*/ 98221 h 231854"/>
                <a:gd name="connsiteX109" fmla="*/ 97435 w 231854"/>
                <a:gd name="connsiteY109" fmla="*/ 104767 h 231854"/>
                <a:gd name="connsiteX110" fmla="*/ 112961 w 231854"/>
                <a:gd name="connsiteY110" fmla="*/ 109967 h 231854"/>
                <a:gd name="connsiteX111" fmla="*/ 106980 w 231854"/>
                <a:gd name="connsiteY111" fmla="*/ 96756 h 231854"/>
                <a:gd name="connsiteX112" fmla="*/ 88831 w 231854"/>
                <a:gd name="connsiteY112" fmla="*/ 85944 h 231854"/>
                <a:gd name="connsiteX113" fmla="*/ 142901 w 231854"/>
                <a:gd name="connsiteY113" fmla="*/ 85950 h 231854"/>
                <a:gd name="connsiteX114" fmla="*/ 124762 w 231854"/>
                <a:gd name="connsiteY114" fmla="*/ 96756 h 231854"/>
                <a:gd name="connsiteX115" fmla="*/ 118766 w 231854"/>
                <a:gd name="connsiteY115" fmla="*/ 109977 h 231854"/>
                <a:gd name="connsiteX116" fmla="*/ 134307 w 231854"/>
                <a:gd name="connsiteY116" fmla="*/ 104767 h 231854"/>
                <a:gd name="connsiteX117" fmla="*/ 140376 w 231854"/>
                <a:gd name="connsiteY117" fmla="*/ 98221 h 231854"/>
                <a:gd name="connsiteX118" fmla="*/ 142901 w 231854"/>
                <a:gd name="connsiteY118" fmla="*/ 85950 h 231854"/>
                <a:gd name="connsiteX119" fmla="*/ 70903 w 231854"/>
                <a:gd name="connsiteY119" fmla="*/ 120592 h 231854"/>
                <a:gd name="connsiteX120" fmla="*/ 70903 w 231854"/>
                <a:gd name="connsiteY120" fmla="*/ 136588 h 231854"/>
                <a:gd name="connsiteX121" fmla="*/ 70770 w 231854"/>
                <a:gd name="connsiteY121" fmla="*/ 137445 h 231854"/>
                <a:gd name="connsiteX122" fmla="*/ 68270 w 231854"/>
                <a:gd name="connsiteY122" fmla="*/ 149727 h 231854"/>
                <a:gd name="connsiteX123" fmla="*/ 70672 w 231854"/>
                <a:gd name="connsiteY123" fmla="*/ 159254 h 231854"/>
                <a:gd name="connsiteX124" fmla="*/ 70904 w 231854"/>
                <a:gd name="connsiteY124" fmla="*/ 160348 h 231854"/>
                <a:gd name="connsiteX125" fmla="*/ 70904 w 231854"/>
                <a:gd name="connsiteY125" fmla="*/ 162942 h 231854"/>
                <a:gd name="connsiteX126" fmla="*/ 70904 w 231854"/>
                <a:gd name="connsiteY126" fmla="*/ 173506 h 231854"/>
                <a:gd name="connsiteX127" fmla="*/ 70904 w 231854"/>
                <a:gd name="connsiteY127" fmla="*/ 192009 h 231854"/>
                <a:gd name="connsiteX128" fmla="*/ 75708 w 231854"/>
                <a:gd name="connsiteY128" fmla="*/ 192009 h 231854"/>
                <a:gd name="connsiteX129" fmla="*/ 83574 w 231854"/>
                <a:gd name="connsiteY129" fmla="*/ 196435 h 231854"/>
                <a:gd name="connsiteX130" fmla="*/ 85459 w 231854"/>
                <a:gd name="connsiteY130" fmla="*/ 201604 h 231854"/>
                <a:gd name="connsiteX131" fmla="*/ 87344 w 231854"/>
                <a:gd name="connsiteY131" fmla="*/ 196435 h 231854"/>
                <a:gd name="connsiteX132" fmla="*/ 92065 w 231854"/>
                <a:gd name="connsiteY132" fmla="*/ 192540 h 231854"/>
                <a:gd name="connsiteX133" fmla="*/ 92065 w 231854"/>
                <a:gd name="connsiteY133" fmla="*/ 160348 h 231854"/>
                <a:gd name="connsiteX134" fmla="*/ 92317 w 231854"/>
                <a:gd name="connsiteY134" fmla="*/ 159218 h 231854"/>
                <a:gd name="connsiteX135" fmla="*/ 94719 w 231854"/>
                <a:gd name="connsiteY135" fmla="*/ 149727 h 231854"/>
                <a:gd name="connsiteX136" fmla="*/ 92792 w 231854"/>
                <a:gd name="connsiteY136" fmla="*/ 139353 h 231854"/>
                <a:gd name="connsiteX137" fmla="*/ 70903 w 231854"/>
                <a:gd name="connsiteY137" fmla="*/ 120593 h 231854"/>
                <a:gd name="connsiteX138" fmla="*/ 160818 w 231854"/>
                <a:gd name="connsiteY138" fmla="*/ 120592 h 231854"/>
                <a:gd name="connsiteX139" fmla="*/ 138960 w 231854"/>
                <a:gd name="connsiteY139" fmla="*/ 139338 h 231854"/>
                <a:gd name="connsiteX140" fmla="*/ 137019 w 231854"/>
                <a:gd name="connsiteY140" fmla="*/ 149727 h 231854"/>
                <a:gd name="connsiteX141" fmla="*/ 139420 w 231854"/>
                <a:gd name="connsiteY141" fmla="*/ 159238 h 231854"/>
                <a:gd name="connsiteX142" fmla="*/ 139657 w 231854"/>
                <a:gd name="connsiteY142" fmla="*/ 160353 h 231854"/>
                <a:gd name="connsiteX143" fmla="*/ 139657 w 231854"/>
                <a:gd name="connsiteY143" fmla="*/ 192545 h 231854"/>
                <a:gd name="connsiteX144" fmla="*/ 144378 w 231854"/>
                <a:gd name="connsiteY144" fmla="*/ 196450 h 231854"/>
                <a:gd name="connsiteX145" fmla="*/ 146268 w 231854"/>
                <a:gd name="connsiteY145" fmla="*/ 201645 h 231854"/>
                <a:gd name="connsiteX146" fmla="*/ 148148 w 231854"/>
                <a:gd name="connsiteY146" fmla="*/ 196435 h 231854"/>
                <a:gd name="connsiteX147" fmla="*/ 156014 w 231854"/>
                <a:gd name="connsiteY147" fmla="*/ 192009 h 231854"/>
                <a:gd name="connsiteX148" fmla="*/ 160818 w 231854"/>
                <a:gd name="connsiteY148" fmla="*/ 192009 h 231854"/>
                <a:gd name="connsiteX149" fmla="*/ 160818 w 231854"/>
                <a:gd name="connsiteY149" fmla="*/ 173506 h 231854"/>
                <a:gd name="connsiteX150" fmla="*/ 160818 w 231854"/>
                <a:gd name="connsiteY150" fmla="*/ 162947 h 231854"/>
                <a:gd name="connsiteX151" fmla="*/ 160818 w 231854"/>
                <a:gd name="connsiteY151" fmla="*/ 160353 h 231854"/>
                <a:gd name="connsiteX152" fmla="*/ 161070 w 231854"/>
                <a:gd name="connsiteY152" fmla="*/ 159223 h 231854"/>
                <a:gd name="connsiteX153" fmla="*/ 163472 w 231854"/>
                <a:gd name="connsiteY153" fmla="*/ 149727 h 231854"/>
                <a:gd name="connsiteX154" fmla="*/ 160972 w 231854"/>
                <a:gd name="connsiteY154" fmla="*/ 137465 h 231854"/>
                <a:gd name="connsiteX155" fmla="*/ 160818 w 231854"/>
                <a:gd name="connsiteY155" fmla="*/ 136588 h 231854"/>
                <a:gd name="connsiteX156" fmla="*/ 115941 w 231854"/>
                <a:gd name="connsiteY156" fmla="*/ 147116 h 231854"/>
                <a:gd name="connsiteX157" fmla="*/ 100069 w 231854"/>
                <a:gd name="connsiteY157" fmla="*/ 162942 h 231854"/>
                <a:gd name="connsiteX158" fmla="*/ 100069 w 231854"/>
                <a:gd name="connsiteY158" fmla="*/ 173506 h 231854"/>
                <a:gd name="connsiteX159" fmla="*/ 115941 w 231854"/>
                <a:gd name="connsiteY159" fmla="*/ 189358 h 231854"/>
                <a:gd name="connsiteX160" fmla="*/ 131807 w 231854"/>
                <a:gd name="connsiteY160" fmla="*/ 173506 h 231854"/>
                <a:gd name="connsiteX161" fmla="*/ 131807 w 231854"/>
                <a:gd name="connsiteY161" fmla="*/ 162942 h 231854"/>
                <a:gd name="connsiteX162" fmla="*/ 115941 w 231854"/>
                <a:gd name="connsiteY162" fmla="*/ 147116 h 231854"/>
                <a:gd name="connsiteX163" fmla="*/ 54753 w 231854"/>
                <a:gd name="connsiteY163" fmla="*/ 152399 h 231854"/>
                <a:gd name="connsiteX164" fmla="*/ 44475 w 231854"/>
                <a:gd name="connsiteY164" fmla="*/ 162942 h 231854"/>
                <a:gd name="connsiteX165" fmla="*/ 44475 w 231854"/>
                <a:gd name="connsiteY165" fmla="*/ 173506 h 231854"/>
                <a:gd name="connsiteX166" fmla="*/ 55032 w 231854"/>
                <a:gd name="connsiteY166" fmla="*/ 184076 h 231854"/>
                <a:gd name="connsiteX167" fmla="*/ 65615 w 231854"/>
                <a:gd name="connsiteY167" fmla="*/ 173506 h 231854"/>
                <a:gd name="connsiteX168" fmla="*/ 65615 w 231854"/>
                <a:gd name="connsiteY168" fmla="*/ 162942 h 231854"/>
                <a:gd name="connsiteX169" fmla="*/ 55032 w 231854"/>
                <a:gd name="connsiteY169" fmla="*/ 152399 h 231854"/>
                <a:gd name="connsiteX170" fmla="*/ 54754 w 231854"/>
                <a:gd name="connsiteY170" fmla="*/ 152399 h 231854"/>
                <a:gd name="connsiteX171" fmla="*/ 176406 w 231854"/>
                <a:gd name="connsiteY171" fmla="*/ 152399 h 231854"/>
                <a:gd name="connsiteX172" fmla="*/ 166107 w 231854"/>
                <a:gd name="connsiteY172" fmla="*/ 162942 h 231854"/>
                <a:gd name="connsiteX173" fmla="*/ 166107 w 231854"/>
                <a:gd name="connsiteY173" fmla="*/ 173506 h 231854"/>
                <a:gd name="connsiteX174" fmla="*/ 176684 w 231854"/>
                <a:gd name="connsiteY174" fmla="*/ 184076 h 231854"/>
                <a:gd name="connsiteX175" fmla="*/ 187267 w 231854"/>
                <a:gd name="connsiteY175" fmla="*/ 173506 h 231854"/>
                <a:gd name="connsiteX176" fmla="*/ 187267 w 231854"/>
                <a:gd name="connsiteY176" fmla="*/ 162942 h 231854"/>
                <a:gd name="connsiteX177" fmla="*/ 176684 w 231854"/>
                <a:gd name="connsiteY177" fmla="*/ 152399 h 231854"/>
                <a:gd name="connsiteX178" fmla="*/ 176406 w 231854"/>
                <a:gd name="connsiteY178" fmla="*/ 152399 h 231854"/>
                <a:gd name="connsiteX179" fmla="*/ 34383 w 231854"/>
                <a:gd name="connsiteY179" fmla="*/ 197276 h 231854"/>
                <a:gd name="connsiteX180" fmla="*/ 31119 w 231854"/>
                <a:gd name="connsiteY180" fmla="*/ 199071 h 231854"/>
                <a:gd name="connsiteX181" fmla="*/ 29404 w 231854"/>
                <a:gd name="connsiteY181" fmla="*/ 204394 h 231854"/>
                <a:gd name="connsiteX182" fmla="*/ 22705 w 231854"/>
                <a:gd name="connsiteY182" fmla="*/ 231666 h 231854"/>
                <a:gd name="connsiteX183" fmla="*/ 78098 w 231854"/>
                <a:gd name="connsiteY183" fmla="*/ 231666 h 231854"/>
                <a:gd name="connsiteX184" fmla="*/ 82731 w 231854"/>
                <a:gd name="connsiteY184" fmla="*/ 212802 h 231854"/>
                <a:gd name="connsiteX185" fmla="*/ 80665 w 231854"/>
                <a:gd name="connsiteY185" fmla="*/ 204337 h 231854"/>
                <a:gd name="connsiteX186" fmla="*/ 79007 w 231854"/>
                <a:gd name="connsiteY186" fmla="*/ 199091 h 231854"/>
                <a:gd name="connsiteX187" fmla="*/ 75707 w 231854"/>
                <a:gd name="connsiteY187" fmla="*/ 197276 h 231854"/>
                <a:gd name="connsiteX188" fmla="*/ 61731 w 231854"/>
                <a:gd name="connsiteY188" fmla="*/ 197276 h 231854"/>
                <a:gd name="connsiteX189" fmla="*/ 56850 w 231854"/>
                <a:gd name="connsiteY189" fmla="*/ 201861 h 231854"/>
                <a:gd name="connsiteX190" fmla="*/ 53240 w 231854"/>
                <a:gd name="connsiteY190" fmla="*/ 201861 h 231854"/>
                <a:gd name="connsiteX191" fmla="*/ 48359 w 231854"/>
                <a:gd name="connsiteY191" fmla="*/ 197276 h 231854"/>
                <a:gd name="connsiteX192" fmla="*/ 95189 w 231854"/>
                <a:gd name="connsiteY192" fmla="*/ 197276 h 231854"/>
                <a:gd name="connsiteX193" fmla="*/ 91909 w 231854"/>
                <a:gd name="connsiteY193" fmla="*/ 199091 h 231854"/>
                <a:gd name="connsiteX194" fmla="*/ 90251 w 231854"/>
                <a:gd name="connsiteY194" fmla="*/ 204337 h 231854"/>
                <a:gd name="connsiteX195" fmla="*/ 83532 w 231854"/>
                <a:gd name="connsiteY195" fmla="*/ 231666 h 231854"/>
                <a:gd name="connsiteX196" fmla="*/ 148185 w 231854"/>
                <a:gd name="connsiteY196" fmla="*/ 231666 h 231854"/>
                <a:gd name="connsiteX197" fmla="*/ 141491 w 231854"/>
                <a:gd name="connsiteY197" fmla="*/ 204394 h 231854"/>
                <a:gd name="connsiteX198" fmla="*/ 139792 w 231854"/>
                <a:gd name="connsiteY198" fmla="*/ 199071 h 231854"/>
                <a:gd name="connsiteX199" fmla="*/ 136533 w 231854"/>
                <a:gd name="connsiteY199" fmla="*/ 197276 h 231854"/>
                <a:gd name="connsiteX200" fmla="*/ 122557 w 231854"/>
                <a:gd name="connsiteY200" fmla="*/ 197276 h 231854"/>
                <a:gd name="connsiteX201" fmla="*/ 117676 w 231854"/>
                <a:gd name="connsiteY201" fmla="*/ 201861 h 231854"/>
                <a:gd name="connsiteX202" fmla="*/ 114045 w 231854"/>
                <a:gd name="connsiteY202" fmla="*/ 201861 h 231854"/>
                <a:gd name="connsiteX203" fmla="*/ 109185 w 231854"/>
                <a:gd name="connsiteY203" fmla="*/ 197276 h 231854"/>
                <a:gd name="connsiteX204" fmla="*/ 156015 w 231854"/>
                <a:gd name="connsiteY204" fmla="*/ 197276 h 231854"/>
                <a:gd name="connsiteX205" fmla="*/ 152735 w 231854"/>
                <a:gd name="connsiteY205" fmla="*/ 199091 h 231854"/>
                <a:gd name="connsiteX206" fmla="*/ 151077 w 231854"/>
                <a:gd name="connsiteY206" fmla="*/ 204337 h 231854"/>
                <a:gd name="connsiteX207" fmla="*/ 149006 w 231854"/>
                <a:gd name="connsiteY207" fmla="*/ 212761 h 231854"/>
                <a:gd name="connsiteX208" fmla="*/ 153644 w 231854"/>
                <a:gd name="connsiteY208" fmla="*/ 231666 h 231854"/>
                <a:gd name="connsiteX209" fmla="*/ 209011 w 231854"/>
                <a:gd name="connsiteY209" fmla="*/ 231666 h 231854"/>
                <a:gd name="connsiteX210" fmla="*/ 202318 w 231854"/>
                <a:gd name="connsiteY210" fmla="*/ 204394 h 231854"/>
                <a:gd name="connsiteX211" fmla="*/ 200598 w 231854"/>
                <a:gd name="connsiteY211" fmla="*/ 199071 h 231854"/>
                <a:gd name="connsiteX212" fmla="*/ 197359 w 231854"/>
                <a:gd name="connsiteY212" fmla="*/ 197276 h 231854"/>
                <a:gd name="connsiteX213" fmla="*/ 183363 w 231854"/>
                <a:gd name="connsiteY213" fmla="*/ 197276 h 231854"/>
                <a:gd name="connsiteX214" fmla="*/ 178502 w 231854"/>
                <a:gd name="connsiteY214" fmla="*/ 201861 h 231854"/>
                <a:gd name="connsiteX215" fmla="*/ 174872 w 231854"/>
                <a:gd name="connsiteY215" fmla="*/ 201861 h 231854"/>
                <a:gd name="connsiteX216" fmla="*/ 170011 w 231854"/>
                <a:gd name="connsiteY216" fmla="*/ 197276 h 231854"/>
                <a:gd name="connsiteX217" fmla="*/ 15366 w 231854"/>
                <a:gd name="connsiteY217" fmla="*/ 221060 h 231854"/>
                <a:gd name="connsiteX218" fmla="*/ 3931 w 231854"/>
                <a:gd name="connsiteY218" fmla="*/ 224573 h 231854"/>
                <a:gd name="connsiteX219" fmla="*/ 708 w 231854"/>
                <a:gd name="connsiteY219" fmla="*/ 231666 h 231854"/>
                <a:gd name="connsiteX220" fmla="*/ 17267 w 231854"/>
                <a:gd name="connsiteY220" fmla="*/ 231666 h 231854"/>
                <a:gd name="connsiteX221" fmla="*/ 19870 w 231854"/>
                <a:gd name="connsiteY221" fmla="*/ 221060 h 231854"/>
                <a:gd name="connsiteX222" fmla="*/ 211847 w 231854"/>
                <a:gd name="connsiteY222" fmla="*/ 221060 h 231854"/>
                <a:gd name="connsiteX223" fmla="*/ 214450 w 231854"/>
                <a:gd name="connsiteY223" fmla="*/ 231666 h 231854"/>
                <a:gd name="connsiteX224" fmla="*/ 231034 w 231854"/>
                <a:gd name="connsiteY224" fmla="*/ 231666 h 231854"/>
                <a:gd name="connsiteX225" fmla="*/ 227790 w 231854"/>
                <a:gd name="connsiteY225" fmla="*/ 224573 h 231854"/>
                <a:gd name="connsiteX226" fmla="*/ 216350 w 231854"/>
                <a:gd name="connsiteY226" fmla="*/ 221060 h 231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Lst>
              <a:rect l="l" t="t" r="r" b="b"/>
              <a:pathLst>
                <a:path w="231854" h="231854">
                  <a:moveTo>
                    <a:pt x="115858" y="-189"/>
                  </a:moveTo>
                  <a:lnTo>
                    <a:pt x="15991" y="67921"/>
                  </a:lnTo>
                  <a:lnTo>
                    <a:pt x="66529" y="67921"/>
                  </a:lnTo>
                  <a:cubicBezTo>
                    <a:pt x="75079" y="49233"/>
                    <a:pt x="93963" y="36229"/>
                    <a:pt x="115858" y="36229"/>
                  </a:cubicBezTo>
                  <a:cubicBezTo>
                    <a:pt x="137753" y="36229"/>
                    <a:pt x="156642" y="49233"/>
                    <a:pt x="165193" y="67921"/>
                  </a:cubicBezTo>
                  <a:lnTo>
                    <a:pt x="215731" y="67921"/>
                  </a:lnTo>
                  <a:close/>
                  <a:moveTo>
                    <a:pt x="115858" y="41506"/>
                  </a:moveTo>
                  <a:cubicBezTo>
                    <a:pt x="88809" y="41506"/>
                    <a:pt x="66942" y="63346"/>
                    <a:pt x="66942" y="90360"/>
                  </a:cubicBezTo>
                  <a:cubicBezTo>
                    <a:pt x="66942" y="117374"/>
                    <a:pt x="88809" y="139240"/>
                    <a:pt x="115858" y="139240"/>
                  </a:cubicBezTo>
                  <a:cubicBezTo>
                    <a:pt x="142908" y="139240"/>
                    <a:pt x="164779" y="117374"/>
                    <a:pt x="164779" y="90360"/>
                  </a:cubicBezTo>
                  <a:cubicBezTo>
                    <a:pt x="164779" y="63346"/>
                    <a:pt x="142908" y="41506"/>
                    <a:pt x="115858" y="41506"/>
                  </a:cubicBezTo>
                  <a:close/>
                  <a:moveTo>
                    <a:pt x="115858" y="52070"/>
                  </a:moveTo>
                  <a:cubicBezTo>
                    <a:pt x="116724" y="52071"/>
                    <a:pt x="117534" y="52495"/>
                    <a:pt x="118028" y="53205"/>
                  </a:cubicBezTo>
                  <a:cubicBezTo>
                    <a:pt x="118028" y="53205"/>
                    <a:pt x="120750" y="57114"/>
                    <a:pt x="123471" y="62113"/>
                  </a:cubicBezTo>
                  <a:cubicBezTo>
                    <a:pt x="126193" y="67112"/>
                    <a:pt x="129096" y="73053"/>
                    <a:pt x="129096" y="78393"/>
                  </a:cubicBezTo>
                  <a:cubicBezTo>
                    <a:pt x="129096" y="83733"/>
                    <a:pt x="125821" y="87697"/>
                    <a:pt x="122867" y="90226"/>
                  </a:cubicBezTo>
                  <a:cubicBezTo>
                    <a:pt x="121255" y="91605"/>
                    <a:pt x="119647" y="92624"/>
                    <a:pt x="118513" y="93269"/>
                  </a:cubicBezTo>
                  <a:lnTo>
                    <a:pt x="118513" y="96189"/>
                  </a:lnTo>
                  <a:cubicBezTo>
                    <a:pt x="119199" y="95184"/>
                    <a:pt x="119952" y="94209"/>
                    <a:pt x="120780" y="93269"/>
                  </a:cubicBezTo>
                  <a:cubicBezTo>
                    <a:pt x="126000" y="87344"/>
                    <a:pt x="133953" y="82810"/>
                    <a:pt x="144926" y="79873"/>
                  </a:cubicBezTo>
                  <a:cubicBezTo>
                    <a:pt x="146609" y="79418"/>
                    <a:pt x="148265" y="80685"/>
                    <a:pt x="148262" y="82427"/>
                  </a:cubicBezTo>
                  <a:cubicBezTo>
                    <a:pt x="148262" y="90360"/>
                    <a:pt x="147189" y="96102"/>
                    <a:pt x="145179" y="100439"/>
                  </a:cubicBezTo>
                  <a:cubicBezTo>
                    <a:pt x="143169" y="104776"/>
                    <a:pt x="140145" y="107606"/>
                    <a:pt x="136843" y="109409"/>
                  </a:cubicBezTo>
                  <a:cubicBezTo>
                    <a:pt x="130738" y="112744"/>
                    <a:pt x="124017" y="113191"/>
                    <a:pt x="118513" y="115847"/>
                  </a:cubicBezTo>
                  <a:lnTo>
                    <a:pt x="118513" y="126019"/>
                  </a:lnTo>
                  <a:cubicBezTo>
                    <a:pt x="118519" y="127486"/>
                    <a:pt x="117327" y="128676"/>
                    <a:pt x="115858" y="128670"/>
                  </a:cubicBezTo>
                  <a:cubicBezTo>
                    <a:pt x="114398" y="128665"/>
                    <a:pt x="113219" y="127478"/>
                    <a:pt x="113224" y="126019"/>
                  </a:cubicBezTo>
                  <a:lnTo>
                    <a:pt x="113224" y="115857"/>
                  </a:lnTo>
                  <a:cubicBezTo>
                    <a:pt x="107720" y="113194"/>
                    <a:pt x="101005" y="112748"/>
                    <a:pt x="94894" y="109409"/>
                  </a:cubicBezTo>
                  <a:cubicBezTo>
                    <a:pt x="91592" y="107606"/>
                    <a:pt x="88568" y="104776"/>
                    <a:pt x="86558" y="100439"/>
                  </a:cubicBezTo>
                  <a:cubicBezTo>
                    <a:pt x="84548" y="96102"/>
                    <a:pt x="83475" y="90360"/>
                    <a:pt x="83475" y="82427"/>
                  </a:cubicBezTo>
                  <a:cubicBezTo>
                    <a:pt x="83475" y="80694"/>
                    <a:pt x="85118" y="79430"/>
                    <a:pt x="86796" y="79873"/>
                  </a:cubicBezTo>
                  <a:cubicBezTo>
                    <a:pt x="97769" y="82810"/>
                    <a:pt x="105721" y="87344"/>
                    <a:pt x="110941" y="93269"/>
                  </a:cubicBezTo>
                  <a:cubicBezTo>
                    <a:pt x="111776" y="94217"/>
                    <a:pt x="112535" y="95197"/>
                    <a:pt x="113224" y="96209"/>
                  </a:cubicBezTo>
                  <a:lnTo>
                    <a:pt x="113224" y="93279"/>
                  </a:lnTo>
                  <a:cubicBezTo>
                    <a:pt x="112090" y="92635"/>
                    <a:pt x="110474" y="91612"/>
                    <a:pt x="108855" y="90226"/>
                  </a:cubicBezTo>
                  <a:cubicBezTo>
                    <a:pt x="105900" y="87697"/>
                    <a:pt x="102647" y="83733"/>
                    <a:pt x="102647" y="78393"/>
                  </a:cubicBezTo>
                  <a:cubicBezTo>
                    <a:pt x="102647" y="73053"/>
                    <a:pt x="105524" y="67112"/>
                    <a:pt x="108245" y="62113"/>
                  </a:cubicBezTo>
                  <a:cubicBezTo>
                    <a:pt x="110967" y="57114"/>
                    <a:pt x="113694" y="53205"/>
                    <a:pt x="113694" y="53205"/>
                  </a:cubicBezTo>
                  <a:cubicBezTo>
                    <a:pt x="114188" y="52496"/>
                    <a:pt x="114995" y="52073"/>
                    <a:pt x="115858" y="52070"/>
                  </a:cubicBezTo>
                  <a:close/>
                  <a:moveTo>
                    <a:pt x="115858" y="59581"/>
                  </a:moveTo>
                  <a:cubicBezTo>
                    <a:pt x="114870" y="61107"/>
                    <a:pt x="114377" y="61901"/>
                    <a:pt x="112894" y="64625"/>
                  </a:cubicBezTo>
                  <a:cubicBezTo>
                    <a:pt x="110326" y="69341"/>
                    <a:pt x="107935" y="75244"/>
                    <a:pt x="107935" y="78393"/>
                  </a:cubicBezTo>
                  <a:cubicBezTo>
                    <a:pt x="107935" y="81542"/>
                    <a:pt x="109955" y="84209"/>
                    <a:pt x="112289" y="86208"/>
                  </a:cubicBezTo>
                  <a:cubicBezTo>
                    <a:pt x="114077" y="87738"/>
                    <a:pt x="115121" y="88192"/>
                    <a:pt x="115858" y="88570"/>
                  </a:cubicBezTo>
                  <a:cubicBezTo>
                    <a:pt x="116596" y="88192"/>
                    <a:pt x="117646" y="87757"/>
                    <a:pt x="119432" y="86228"/>
                  </a:cubicBezTo>
                  <a:cubicBezTo>
                    <a:pt x="121767" y="84230"/>
                    <a:pt x="123807" y="81542"/>
                    <a:pt x="123807" y="78393"/>
                  </a:cubicBezTo>
                  <a:cubicBezTo>
                    <a:pt x="123807" y="75244"/>
                    <a:pt x="121395" y="69341"/>
                    <a:pt x="118828" y="64625"/>
                  </a:cubicBezTo>
                  <a:cubicBezTo>
                    <a:pt x="117345" y="61901"/>
                    <a:pt x="116847" y="61107"/>
                    <a:pt x="115858" y="59581"/>
                  </a:cubicBezTo>
                  <a:close/>
                  <a:moveTo>
                    <a:pt x="7443" y="73204"/>
                  </a:moveTo>
                  <a:cubicBezTo>
                    <a:pt x="3548" y="73204"/>
                    <a:pt x="795" y="75920"/>
                    <a:pt x="-35" y="78491"/>
                  </a:cubicBezTo>
                  <a:lnTo>
                    <a:pt x="62965" y="78491"/>
                  </a:lnTo>
                  <a:cubicBezTo>
                    <a:pt x="63368" y="76694"/>
                    <a:pt x="63864" y="74928"/>
                    <a:pt x="64442" y="73204"/>
                  </a:cubicBezTo>
                  <a:close/>
                  <a:moveTo>
                    <a:pt x="167279" y="73204"/>
                  </a:moveTo>
                  <a:cubicBezTo>
                    <a:pt x="167857" y="74928"/>
                    <a:pt x="168353" y="76694"/>
                    <a:pt x="168756" y="78491"/>
                  </a:cubicBezTo>
                  <a:lnTo>
                    <a:pt x="231819" y="78491"/>
                  </a:lnTo>
                  <a:cubicBezTo>
                    <a:pt x="230793" y="75845"/>
                    <a:pt x="228259" y="73204"/>
                    <a:pt x="224278" y="73204"/>
                  </a:cubicBezTo>
                  <a:close/>
                  <a:moveTo>
                    <a:pt x="18026" y="83773"/>
                  </a:moveTo>
                  <a:lnTo>
                    <a:pt x="18026" y="136588"/>
                  </a:lnTo>
                  <a:cubicBezTo>
                    <a:pt x="18028" y="136880"/>
                    <a:pt x="17978" y="137169"/>
                    <a:pt x="17887" y="137445"/>
                  </a:cubicBezTo>
                  <a:cubicBezTo>
                    <a:pt x="17887" y="137445"/>
                    <a:pt x="15287" y="145638"/>
                    <a:pt x="15387" y="149727"/>
                  </a:cubicBezTo>
                  <a:cubicBezTo>
                    <a:pt x="15489" y="154011"/>
                    <a:pt x="17789" y="159259"/>
                    <a:pt x="17789" y="159259"/>
                  </a:cubicBezTo>
                  <a:cubicBezTo>
                    <a:pt x="17941" y="159604"/>
                    <a:pt x="18022" y="159975"/>
                    <a:pt x="18020" y="160353"/>
                  </a:cubicBezTo>
                  <a:lnTo>
                    <a:pt x="18020" y="215773"/>
                  </a:lnTo>
                  <a:lnTo>
                    <a:pt x="21166" y="215773"/>
                  </a:lnTo>
                  <a:cubicBezTo>
                    <a:pt x="22212" y="211519"/>
                    <a:pt x="23258" y="207256"/>
                    <a:pt x="24306" y="203007"/>
                  </a:cubicBezTo>
                  <a:cubicBezTo>
                    <a:pt x="24770" y="201276"/>
                    <a:pt x="25183" y="198804"/>
                    <a:pt x="26532" y="196456"/>
                  </a:cubicBezTo>
                  <a:cubicBezTo>
                    <a:pt x="27881" y="194107"/>
                    <a:pt x="30684" y="192009"/>
                    <a:pt x="34382" y="192009"/>
                  </a:cubicBezTo>
                  <a:lnTo>
                    <a:pt x="39181" y="192009"/>
                  </a:lnTo>
                  <a:lnTo>
                    <a:pt x="39181" y="173512"/>
                  </a:lnTo>
                  <a:lnTo>
                    <a:pt x="39181" y="162947"/>
                  </a:lnTo>
                  <a:lnTo>
                    <a:pt x="39181" y="160353"/>
                  </a:lnTo>
                  <a:cubicBezTo>
                    <a:pt x="39182" y="159961"/>
                    <a:pt x="39266" y="159575"/>
                    <a:pt x="39438" y="159223"/>
                  </a:cubicBezTo>
                  <a:cubicBezTo>
                    <a:pt x="39438" y="159223"/>
                    <a:pt x="41712" y="154213"/>
                    <a:pt x="41819" y="149727"/>
                  </a:cubicBezTo>
                  <a:cubicBezTo>
                    <a:pt x="41921" y="145429"/>
                    <a:pt x="39319" y="137465"/>
                    <a:pt x="39319" y="137465"/>
                  </a:cubicBezTo>
                  <a:cubicBezTo>
                    <a:pt x="39219" y="137182"/>
                    <a:pt x="39176" y="136886"/>
                    <a:pt x="39179" y="136588"/>
                  </a:cubicBezTo>
                  <a:lnTo>
                    <a:pt x="39179" y="83773"/>
                  </a:lnTo>
                  <a:close/>
                  <a:moveTo>
                    <a:pt x="192556" y="83773"/>
                  </a:moveTo>
                  <a:lnTo>
                    <a:pt x="192556" y="136588"/>
                  </a:lnTo>
                  <a:cubicBezTo>
                    <a:pt x="192552" y="136881"/>
                    <a:pt x="192499" y="137170"/>
                    <a:pt x="192401" y="137445"/>
                  </a:cubicBezTo>
                  <a:cubicBezTo>
                    <a:pt x="192401" y="137445"/>
                    <a:pt x="189801" y="145638"/>
                    <a:pt x="189901" y="149727"/>
                  </a:cubicBezTo>
                  <a:cubicBezTo>
                    <a:pt x="190003" y="154011"/>
                    <a:pt x="192303" y="159259"/>
                    <a:pt x="192303" y="159259"/>
                  </a:cubicBezTo>
                  <a:cubicBezTo>
                    <a:pt x="192466" y="159602"/>
                    <a:pt x="192550" y="159975"/>
                    <a:pt x="192555" y="160353"/>
                  </a:cubicBezTo>
                  <a:lnTo>
                    <a:pt x="192555" y="192009"/>
                  </a:lnTo>
                  <a:lnTo>
                    <a:pt x="197358" y="192009"/>
                  </a:lnTo>
                  <a:cubicBezTo>
                    <a:pt x="201057" y="192009"/>
                    <a:pt x="203839" y="194102"/>
                    <a:pt x="205188" y="196450"/>
                  </a:cubicBezTo>
                  <a:cubicBezTo>
                    <a:pt x="206536" y="198799"/>
                    <a:pt x="206966" y="201271"/>
                    <a:pt x="207430" y="203001"/>
                  </a:cubicBezTo>
                  <a:lnTo>
                    <a:pt x="207430" y="203007"/>
                  </a:lnTo>
                  <a:lnTo>
                    <a:pt x="207430" y="203012"/>
                  </a:lnTo>
                  <a:lnTo>
                    <a:pt x="207430" y="203017"/>
                  </a:lnTo>
                  <a:lnTo>
                    <a:pt x="207430" y="203022"/>
                  </a:lnTo>
                  <a:lnTo>
                    <a:pt x="207430" y="203027"/>
                  </a:lnTo>
                  <a:lnTo>
                    <a:pt x="207430" y="203032"/>
                  </a:lnTo>
                  <a:lnTo>
                    <a:pt x="207430" y="203037"/>
                  </a:lnTo>
                  <a:lnTo>
                    <a:pt x="207430" y="203043"/>
                  </a:lnTo>
                  <a:lnTo>
                    <a:pt x="207430" y="203048"/>
                  </a:lnTo>
                  <a:lnTo>
                    <a:pt x="207430" y="203053"/>
                  </a:lnTo>
                  <a:lnTo>
                    <a:pt x="207430" y="203058"/>
                  </a:lnTo>
                  <a:lnTo>
                    <a:pt x="207430" y="203063"/>
                  </a:lnTo>
                  <a:lnTo>
                    <a:pt x="210549" y="215773"/>
                  </a:lnTo>
                  <a:lnTo>
                    <a:pt x="213695" y="215773"/>
                  </a:lnTo>
                  <a:lnTo>
                    <a:pt x="213695" y="160353"/>
                  </a:lnTo>
                  <a:cubicBezTo>
                    <a:pt x="213701" y="159960"/>
                    <a:pt x="213795" y="159575"/>
                    <a:pt x="213968" y="159223"/>
                  </a:cubicBezTo>
                  <a:cubicBezTo>
                    <a:pt x="213968" y="159223"/>
                    <a:pt x="216242" y="154213"/>
                    <a:pt x="216349" y="149727"/>
                  </a:cubicBezTo>
                  <a:cubicBezTo>
                    <a:pt x="216451" y="145429"/>
                    <a:pt x="213854" y="137465"/>
                    <a:pt x="213854" y="137465"/>
                  </a:cubicBezTo>
                  <a:cubicBezTo>
                    <a:pt x="213754" y="137183"/>
                    <a:pt x="213698" y="136887"/>
                    <a:pt x="213694" y="136588"/>
                  </a:cubicBezTo>
                  <a:lnTo>
                    <a:pt x="213694" y="83773"/>
                  </a:lnTo>
                  <a:close/>
                  <a:moveTo>
                    <a:pt x="88831" y="85944"/>
                  </a:moveTo>
                  <a:cubicBezTo>
                    <a:pt x="88998" y="91297"/>
                    <a:pt x="90260" y="95888"/>
                    <a:pt x="91341" y="98221"/>
                  </a:cubicBezTo>
                  <a:cubicBezTo>
                    <a:pt x="92896" y="101577"/>
                    <a:pt x="94910" y="103388"/>
                    <a:pt x="97435" y="104767"/>
                  </a:cubicBezTo>
                  <a:cubicBezTo>
                    <a:pt x="101078" y="106757"/>
                    <a:pt x="107843" y="108030"/>
                    <a:pt x="112961" y="109967"/>
                  </a:cubicBezTo>
                  <a:cubicBezTo>
                    <a:pt x="112229" y="105219"/>
                    <a:pt x="110253" y="100472"/>
                    <a:pt x="106980" y="96756"/>
                  </a:cubicBezTo>
                  <a:cubicBezTo>
                    <a:pt x="103092" y="92283"/>
                    <a:pt x="96826" y="88519"/>
                    <a:pt x="88831" y="85944"/>
                  </a:cubicBezTo>
                  <a:close/>
                  <a:moveTo>
                    <a:pt x="142901" y="85950"/>
                  </a:moveTo>
                  <a:cubicBezTo>
                    <a:pt x="134692" y="88527"/>
                    <a:pt x="128529" y="92474"/>
                    <a:pt x="124762" y="96756"/>
                  </a:cubicBezTo>
                  <a:cubicBezTo>
                    <a:pt x="121489" y="100472"/>
                    <a:pt x="119498" y="105230"/>
                    <a:pt x="118766" y="109977"/>
                  </a:cubicBezTo>
                  <a:cubicBezTo>
                    <a:pt x="123508" y="108116"/>
                    <a:pt x="130667" y="106755"/>
                    <a:pt x="134307" y="104767"/>
                  </a:cubicBezTo>
                  <a:cubicBezTo>
                    <a:pt x="136832" y="103388"/>
                    <a:pt x="138739" y="101539"/>
                    <a:pt x="140376" y="98221"/>
                  </a:cubicBezTo>
                  <a:cubicBezTo>
                    <a:pt x="141610" y="95719"/>
                    <a:pt x="142732" y="90732"/>
                    <a:pt x="142901" y="85950"/>
                  </a:cubicBezTo>
                  <a:close/>
                  <a:moveTo>
                    <a:pt x="70903" y="120592"/>
                  </a:moveTo>
                  <a:lnTo>
                    <a:pt x="70903" y="136588"/>
                  </a:lnTo>
                  <a:cubicBezTo>
                    <a:pt x="70907" y="136880"/>
                    <a:pt x="70865" y="137169"/>
                    <a:pt x="70770" y="137445"/>
                  </a:cubicBezTo>
                  <a:cubicBezTo>
                    <a:pt x="70770" y="137445"/>
                    <a:pt x="68170" y="145638"/>
                    <a:pt x="68270" y="149727"/>
                  </a:cubicBezTo>
                  <a:cubicBezTo>
                    <a:pt x="68372" y="154011"/>
                    <a:pt x="70672" y="159254"/>
                    <a:pt x="70672" y="159254"/>
                  </a:cubicBezTo>
                  <a:cubicBezTo>
                    <a:pt x="70824" y="159598"/>
                    <a:pt x="70905" y="159970"/>
                    <a:pt x="70904" y="160348"/>
                  </a:cubicBezTo>
                  <a:lnTo>
                    <a:pt x="70904" y="162942"/>
                  </a:lnTo>
                  <a:lnTo>
                    <a:pt x="70904" y="173506"/>
                  </a:lnTo>
                  <a:lnTo>
                    <a:pt x="70904" y="192009"/>
                  </a:lnTo>
                  <a:lnTo>
                    <a:pt x="75708" y="192009"/>
                  </a:lnTo>
                  <a:cubicBezTo>
                    <a:pt x="79403" y="192009"/>
                    <a:pt x="82208" y="194084"/>
                    <a:pt x="83574" y="196435"/>
                  </a:cubicBezTo>
                  <a:cubicBezTo>
                    <a:pt x="84598" y="198198"/>
                    <a:pt x="85091" y="200040"/>
                    <a:pt x="85459" y="201604"/>
                  </a:cubicBezTo>
                  <a:cubicBezTo>
                    <a:pt x="85827" y="200040"/>
                    <a:pt x="86319" y="198198"/>
                    <a:pt x="87344" y="196435"/>
                  </a:cubicBezTo>
                  <a:cubicBezTo>
                    <a:pt x="88291" y="194804"/>
                    <a:pt x="89921" y="193305"/>
                    <a:pt x="92065" y="192540"/>
                  </a:cubicBezTo>
                  <a:lnTo>
                    <a:pt x="92065" y="160348"/>
                  </a:lnTo>
                  <a:cubicBezTo>
                    <a:pt x="92064" y="159956"/>
                    <a:pt x="92150" y="159571"/>
                    <a:pt x="92317" y="159218"/>
                  </a:cubicBezTo>
                  <a:cubicBezTo>
                    <a:pt x="92317" y="159218"/>
                    <a:pt x="94612" y="154213"/>
                    <a:pt x="94719" y="149727"/>
                  </a:cubicBezTo>
                  <a:cubicBezTo>
                    <a:pt x="94785" y="146720"/>
                    <a:pt x="93551" y="141966"/>
                    <a:pt x="92792" y="139353"/>
                  </a:cubicBezTo>
                  <a:cubicBezTo>
                    <a:pt x="83915" y="135170"/>
                    <a:pt x="76352" y="128652"/>
                    <a:pt x="70903" y="120593"/>
                  </a:cubicBezTo>
                  <a:close/>
                  <a:moveTo>
                    <a:pt x="160818" y="120592"/>
                  </a:moveTo>
                  <a:cubicBezTo>
                    <a:pt x="155376" y="128642"/>
                    <a:pt x="147824" y="135154"/>
                    <a:pt x="138960" y="139338"/>
                  </a:cubicBezTo>
                  <a:cubicBezTo>
                    <a:pt x="138204" y="141996"/>
                    <a:pt x="136949" y="146851"/>
                    <a:pt x="137019" y="149727"/>
                  </a:cubicBezTo>
                  <a:cubicBezTo>
                    <a:pt x="137121" y="154011"/>
                    <a:pt x="139420" y="159238"/>
                    <a:pt x="139420" y="159238"/>
                  </a:cubicBezTo>
                  <a:cubicBezTo>
                    <a:pt x="139577" y="159588"/>
                    <a:pt x="139661" y="159968"/>
                    <a:pt x="139657" y="160353"/>
                  </a:cubicBezTo>
                  <a:lnTo>
                    <a:pt x="139657" y="192545"/>
                  </a:lnTo>
                  <a:cubicBezTo>
                    <a:pt x="141807" y="193316"/>
                    <a:pt x="143442" y="194820"/>
                    <a:pt x="144378" y="196450"/>
                  </a:cubicBezTo>
                  <a:cubicBezTo>
                    <a:pt x="145405" y="198238"/>
                    <a:pt x="145891" y="200095"/>
                    <a:pt x="146268" y="201645"/>
                  </a:cubicBezTo>
                  <a:cubicBezTo>
                    <a:pt x="146630" y="200071"/>
                    <a:pt x="147115" y="198215"/>
                    <a:pt x="148148" y="196435"/>
                  </a:cubicBezTo>
                  <a:cubicBezTo>
                    <a:pt x="149514" y="194084"/>
                    <a:pt x="152319" y="192009"/>
                    <a:pt x="156014" y="192009"/>
                  </a:cubicBezTo>
                  <a:lnTo>
                    <a:pt x="160818" y="192009"/>
                  </a:lnTo>
                  <a:lnTo>
                    <a:pt x="160818" y="173506"/>
                  </a:lnTo>
                  <a:lnTo>
                    <a:pt x="160818" y="162947"/>
                  </a:lnTo>
                  <a:lnTo>
                    <a:pt x="160818" y="160353"/>
                  </a:lnTo>
                  <a:cubicBezTo>
                    <a:pt x="160817" y="159961"/>
                    <a:pt x="160903" y="159576"/>
                    <a:pt x="161070" y="159223"/>
                  </a:cubicBezTo>
                  <a:cubicBezTo>
                    <a:pt x="161070" y="159223"/>
                    <a:pt x="163365" y="154213"/>
                    <a:pt x="163472" y="149727"/>
                  </a:cubicBezTo>
                  <a:cubicBezTo>
                    <a:pt x="163574" y="145429"/>
                    <a:pt x="160972" y="137465"/>
                    <a:pt x="160972" y="137465"/>
                  </a:cubicBezTo>
                  <a:cubicBezTo>
                    <a:pt x="160867" y="137183"/>
                    <a:pt x="160820" y="136887"/>
                    <a:pt x="160818" y="136588"/>
                  </a:cubicBezTo>
                  <a:close/>
                  <a:moveTo>
                    <a:pt x="115941" y="147116"/>
                  </a:moveTo>
                  <a:cubicBezTo>
                    <a:pt x="107197" y="147116"/>
                    <a:pt x="100069" y="154209"/>
                    <a:pt x="100069" y="162942"/>
                  </a:cubicBezTo>
                  <a:lnTo>
                    <a:pt x="100069" y="173506"/>
                  </a:lnTo>
                  <a:cubicBezTo>
                    <a:pt x="100069" y="182239"/>
                    <a:pt x="107197" y="189358"/>
                    <a:pt x="115941" y="189358"/>
                  </a:cubicBezTo>
                  <a:cubicBezTo>
                    <a:pt x="124685" y="189358"/>
                    <a:pt x="131807" y="182239"/>
                    <a:pt x="131807" y="173506"/>
                  </a:cubicBezTo>
                  <a:lnTo>
                    <a:pt x="131807" y="162942"/>
                  </a:lnTo>
                  <a:cubicBezTo>
                    <a:pt x="131807" y="154209"/>
                    <a:pt x="124685" y="147116"/>
                    <a:pt x="115941" y="147116"/>
                  </a:cubicBezTo>
                  <a:close/>
                  <a:moveTo>
                    <a:pt x="54753" y="152399"/>
                  </a:moveTo>
                  <a:cubicBezTo>
                    <a:pt x="48979" y="152541"/>
                    <a:pt x="44475" y="157136"/>
                    <a:pt x="44475" y="162942"/>
                  </a:cubicBezTo>
                  <a:lnTo>
                    <a:pt x="44475" y="173506"/>
                  </a:lnTo>
                  <a:cubicBezTo>
                    <a:pt x="44475" y="179404"/>
                    <a:pt x="49126" y="184076"/>
                    <a:pt x="55032" y="184076"/>
                  </a:cubicBezTo>
                  <a:cubicBezTo>
                    <a:pt x="60938" y="184076"/>
                    <a:pt x="65615" y="179404"/>
                    <a:pt x="65615" y="173506"/>
                  </a:cubicBezTo>
                  <a:lnTo>
                    <a:pt x="65615" y="162942"/>
                  </a:lnTo>
                  <a:cubicBezTo>
                    <a:pt x="65615" y="157044"/>
                    <a:pt x="60938" y="152399"/>
                    <a:pt x="55032" y="152399"/>
                  </a:cubicBezTo>
                  <a:cubicBezTo>
                    <a:pt x="54946" y="152399"/>
                    <a:pt x="54845" y="152396"/>
                    <a:pt x="54754" y="152399"/>
                  </a:cubicBezTo>
                  <a:close/>
                  <a:moveTo>
                    <a:pt x="176406" y="152399"/>
                  </a:moveTo>
                  <a:cubicBezTo>
                    <a:pt x="170631" y="152541"/>
                    <a:pt x="166107" y="157136"/>
                    <a:pt x="166107" y="162942"/>
                  </a:cubicBezTo>
                  <a:lnTo>
                    <a:pt x="166107" y="173506"/>
                  </a:lnTo>
                  <a:cubicBezTo>
                    <a:pt x="166107" y="179404"/>
                    <a:pt x="170779" y="184076"/>
                    <a:pt x="176684" y="184076"/>
                  </a:cubicBezTo>
                  <a:cubicBezTo>
                    <a:pt x="182590" y="184076"/>
                    <a:pt x="187267" y="179404"/>
                    <a:pt x="187267" y="173506"/>
                  </a:cubicBezTo>
                  <a:lnTo>
                    <a:pt x="187267" y="162942"/>
                  </a:lnTo>
                  <a:cubicBezTo>
                    <a:pt x="187267" y="157044"/>
                    <a:pt x="182590" y="152399"/>
                    <a:pt x="176684" y="152399"/>
                  </a:cubicBezTo>
                  <a:cubicBezTo>
                    <a:pt x="176599" y="152399"/>
                    <a:pt x="176498" y="152396"/>
                    <a:pt x="176406" y="152399"/>
                  </a:cubicBezTo>
                  <a:close/>
                  <a:moveTo>
                    <a:pt x="34383" y="197276"/>
                  </a:moveTo>
                  <a:cubicBezTo>
                    <a:pt x="32306" y="197276"/>
                    <a:pt x="31832" y="197829"/>
                    <a:pt x="31119" y="199071"/>
                  </a:cubicBezTo>
                  <a:cubicBezTo>
                    <a:pt x="30530" y="200703"/>
                    <a:pt x="29831" y="202545"/>
                    <a:pt x="29404" y="204394"/>
                  </a:cubicBezTo>
                  <a:lnTo>
                    <a:pt x="22705" y="231666"/>
                  </a:lnTo>
                  <a:lnTo>
                    <a:pt x="78098" y="231666"/>
                  </a:lnTo>
                  <a:lnTo>
                    <a:pt x="82731" y="212802"/>
                  </a:lnTo>
                  <a:lnTo>
                    <a:pt x="80665" y="204337"/>
                  </a:lnTo>
                  <a:cubicBezTo>
                    <a:pt x="80176" y="202347"/>
                    <a:pt x="79724" y="200325"/>
                    <a:pt x="79007" y="199091"/>
                  </a:cubicBezTo>
                  <a:cubicBezTo>
                    <a:pt x="78291" y="197859"/>
                    <a:pt x="77788" y="197276"/>
                    <a:pt x="75707" y="197276"/>
                  </a:cubicBezTo>
                  <a:lnTo>
                    <a:pt x="61731" y="197276"/>
                  </a:lnTo>
                  <a:lnTo>
                    <a:pt x="56850" y="201861"/>
                  </a:lnTo>
                  <a:cubicBezTo>
                    <a:pt x="55834" y="202810"/>
                    <a:pt x="54256" y="202810"/>
                    <a:pt x="53240" y="201861"/>
                  </a:cubicBezTo>
                  <a:lnTo>
                    <a:pt x="48359" y="197276"/>
                  </a:lnTo>
                  <a:close/>
                  <a:moveTo>
                    <a:pt x="95189" y="197276"/>
                  </a:moveTo>
                  <a:cubicBezTo>
                    <a:pt x="93108" y="197276"/>
                    <a:pt x="92626" y="197858"/>
                    <a:pt x="91909" y="199091"/>
                  </a:cubicBezTo>
                  <a:cubicBezTo>
                    <a:pt x="91193" y="200325"/>
                    <a:pt x="90740" y="202347"/>
                    <a:pt x="90251" y="204337"/>
                  </a:cubicBezTo>
                  <a:lnTo>
                    <a:pt x="83532" y="231666"/>
                  </a:lnTo>
                  <a:lnTo>
                    <a:pt x="148185" y="231666"/>
                  </a:lnTo>
                  <a:lnTo>
                    <a:pt x="141491" y="204394"/>
                  </a:lnTo>
                  <a:cubicBezTo>
                    <a:pt x="140948" y="202373"/>
                    <a:pt x="140506" y="200313"/>
                    <a:pt x="139792" y="199071"/>
                  </a:cubicBezTo>
                  <a:cubicBezTo>
                    <a:pt x="139079" y="197829"/>
                    <a:pt x="138610" y="197276"/>
                    <a:pt x="136533" y="197276"/>
                  </a:cubicBezTo>
                  <a:lnTo>
                    <a:pt x="122557" y="197276"/>
                  </a:lnTo>
                  <a:lnTo>
                    <a:pt x="117676" y="201861"/>
                  </a:lnTo>
                  <a:cubicBezTo>
                    <a:pt x="116657" y="202822"/>
                    <a:pt x="115065" y="202822"/>
                    <a:pt x="114045" y="201861"/>
                  </a:cubicBezTo>
                  <a:lnTo>
                    <a:pt x="109185" y="197276"/>
                  </a:lnTo>
                  <a:close/>
                  <a:moveTo>
                    <a:pt x="156015" y="197276"/>
                  </a:moveTo>
                  <a:cubicBezTo>
                    <a:pt x="153934" y="197276"/>
                    <a:pt x="153452" y="197858"/>
                    <a:pt x="152735" y="199091"/>
                  </a:cubicBezTo>
                  <a:cubicBezTo>
                    <a:pt x="152019" y="200325"/>
                    <a:pt x="151566" y="202347"/>
                    <a:pt x="151077" y="204337"/>
                  </a:cubicBezTo>
                  <a:lnTo>
                    <a:pt x="149006" y="212761"/>
                  </a:lnTo>
                  <a:lnTo>
                    <a:pt x="153644" y="231666"/>
                  </a:lnTo>
                  <a:lnTo>
                    <a:pt x="209011" y="231666"/>
                  </a:lnTo>
                  <a:lnTo>
                    <a:pt x="202318" y="204394"/>
                  </a:lnTo>
                  <a:cubicBezTo>
                    <a:pt x="201775" y="202373"/>
                    <a:pt x="201311" y="200313"/>
                    <a:pt x="200598" y="199071"/>
                  </a:cubicBezTo>
                  <a:cubicBezTo>
                    <a:pt x="199884" y="197829"/>
                    <a:pt x="199437" y="197276"/>
                    <a:pt x="197359" y="197276"/>
                  </a:cubicBezTo>
                  <a:lnTo>
                    <a:pt x="183363" y="197276"/>
                  </a:lnTo>
                  <a:lnTo>
                    <a:pt x="178502" y="201861"/>
                  </a:lnTo>
                  <a:cubicBezTo>
                    <a:pt x="177483" y="202823"/>
                    <a:pt x="175891" y="202823"/>
                    <a:pt x="174872" y="201861"/>
                  </a:cubicBezTo>
                  <a:lnTo>
                    <a:pt x="170011" y="197276"/>
                  </a:lnTo>
                  <a:close/>
                  <a:moveTo>
                    <a:pt x="15366" y="221060"/>
                  </a:moveTo>
                  <a:cubicBezTo>
                    <a:pt x="10725" y="221060"/>
                    <a:pt x="6701" y="222344"/>
                    <a:pt x="3931" y="224573"/>
                  </a:cubicBezTo>
                  <a:cubicBezTo>
                    <a:pt x="1910" y="226200"/>
                    <a:pt x="1333" y="228944"/>
                    <a:pt x="708" y="231666"/>
                  </a:cubicBezTo>
                  <a:lnTo>
                    <a:pt x="17267" y="231666"/>
                  </a:lnTo>
                  <a:lnTo>
                    <a:pt x="19870" y="221060"/>
                  </a:lnTo>
                  <a:close/>
                  <a:moveTo>
                    <a:pt x="211847" y="221060"/>
                  </a:moveTo>
                  <a:lnTo>
                    <a:pt x="214450" y="231666"/>
                  </a:lnTo>
                  <a:lnTo>
                    <a:pt x="231034" y="231666"/>
                  </a:lnTo>
                  <a:cubicBezTo>
                    <a:pt x="230410" y="228943"/>
                    <a:pt x="229812" y="226200"/>
                    <a:pt x="227790" y="224573"/>
                  </a:cubicBezTo>
                  <a:cubicBezTo>
                    <a:pt x="225020" y="222344"/>
                    <a:pt x="220991" y="221060"/>
                    <a:pt x="216350" y="221060"/>
                  </a:cubicBezTo>
                  <a:close/>
                </a:path>
              </a:pathLst>
            </a:custGeom>
            <a:solidFill>
              <a:srgbClr val="011F57"/>
            </a:solidFill>
            <a:ln w="9525" cap="flat">
              <a:noFill/>
              <a:prstDash val="solid"/>
              <a:round/>
            </a:ln>
          </p:spPr>
          <p:txBody>
            <a:bodyPr rtlCol="0" anchor="ctr"/>
            <a:lstStyle/>
            <a:p>
              <a:endParaRPr lang="pt-BR" dirty="0">
                <a:latin typeface="Segoe UI" panose="020B0502040204020203" pitchFamily="34" charset="0"/>
                <a:cs typeface="Segoe UI" panose="020B0502040204020203" pitchFamily="34" charset="0"/>
              </a:endParaRPr>
            </a:p>
          </p:txBody>
        </p:sp>
      </p:grpSp>
      <p:sp>
        <p:nvSpPr>
          <p:cNvPr id="9" name="CaixaDeTexto 8">
            <a:extLst>
              <a:ext uri="{FF2B5EF4-FFF2-40B4-BE49-F238E27FC236}">
                <a16:creationId xmlns:a16="http://schemas.microsoft.com/office/drawing/2014/main" id="{5BA2981F-D0EB-83FE-B213-92E086752F26}"/>
              </a:ext>
            </a:extLst>
          </p:cNvPr>
          <p:cNvSpPr txBox="1"/>
          <p:nvPr>
            <p:custDataLst>
              <p:tags r:id="rId19"/>
            </p:custDataLst>
          </p:nvPr>
        </p:nvSpPr>
        <p:spPr>
          <a:xfrm>
            <a:off x="646910" y="154048"/>
            <a:ext cx="1805032" cy="4616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02581"/>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10" name="Forma Livre: Forma 9">
            <a:extLst>
              <a:ext uri="{FF2B5EF4-FFF2-40B4-BE49-F238E27FC236}">
                <a16:creationId xmlns:a16="http://schemas.microsoft.com/office/drawing/2014/main" id="{14DE7CDB-0900-9822-401B-0E009A0C5A6F}"/>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11" name="CaixaDeTexto 10">
            <a:extLst>
              <a:ext uri="{FF2B5EF4-FFF2-40B4-BE49-F238E27FC236}">
                <a16:creationId xmlns:a16="http://schemas.microsoft.com/office/drawing/2014/main" id="{05CE1C8C-1A19-B1ED-9883-F011126B47FD}"/>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3" name="Imagem 2" descr="Uma imagem contendo Interface gráfica do usuário&#10;&#10;Descrição gerada automaticamente">
            <a:extLst>
              <a:ext uri="{FF2B5EF4-FFF2-40B4-BE49-F238E27FC236}">
                <a16:creationId xmlns:a16="http://schemas.microsoft.com/office/drawing/2014/main" id="{1A5ED415-5CC3-2AC2-380D-E8ABF4886CA2}"/>
              </a:ext>
            </a:extLst>
          </p:cNvPr>
          <p:cNvPicPr>
            <a:picLocks noChangeAspect="1"/>
          </p:cNvPicPr>
          <p:nvPr/>
        </p:nvPicPr>
        <p:blipFill>
          <a:blip r:embed="rId95"/>
          <a:stretch>
            <a:fillRect/>
          </a:stretch>
        </p:blipFill>
        <p:spPr>
          <a:xfrm>
            <a:off x="8039840" y="60434"/>
            <a:ext cx="920231" cy="509571"/>
          </a:xfrm>
          <a:prstGeom prst="rect">
            <a:avLst/>
          </a:prstGeom>
        </p:spPr>
      </p:pic>
      <p:sp>
        <p:nvSpPr>
          <p:cNvPr id="4" name="Forma Livre: Forma 3">
            <a:extLst>
              <a:ext uri="{FF2B5EF4-FFF2-40B4-BE49-F238E27FC236}">
                <a16:creationId xmlns:a16="http://schemas.microsoft.com/office/drawing/2014/main" id="{52F0B48F-0F29-CF9D-4D20-E980C971BB3B}"/>
              </a:ext>
            </a:extLst>
          </p:cNvPr>
          <p:cNvSpPr/>
          <p:nvPr/>
        </p:nvSpPr>
        <p:spPr>
          <a:xfrm>
            <a:off x="3674694" y="2494055"/>
            <a:ext cx="332149" cy="324160"/>
          </a:xfrm>
          <a:custGeom>
            <a:avLst/>
            <a:gdLst>
              <a:gd name="connsiteX0" fmla="*/ 143333 w 876471"/>
              <a:gd name="connsiteY0" fmla="*/ 469843 h 866749"/>
              <a:gd name="connsiteX1" fmla="*/ 143333 w 876471"/>
              <a:gd name="connsiteY1" fmla="*/ 370878 h 866749"/>
              <a:gd name="connsiteX2" fmla="*/ 156763 w 876471"/>
              <a:gd name="connsiteY2" fmla="*/ 357448 h 866749"/>
              <a:gd name="connsiteX3" fmla="*/ 218485 w 876471"/>
              <a:gd name="connsiteY3" fmla="*/ 357448 h 866749"/>
              <a:gd name="connsiteX4" fmla="*/ 231915 w 876471"/>
              <a:gd name="connsiteY4" fmla="*/ 370878 h 866749"/>
              <a:gd name="connsiteX5" fmla="*/ 231915 w 876471"/>
              <a:gd name="connsiteY5" fmla="*/ 469843 h 866749"/>
              <a:gd name="connsiteX6" fmla="*/ 218485 w 876471"/>
              <a:gd name="connsiteY6" fmla="*/ 483273 h 866749"/>
              <a:gd name="connsiteX7" fmla="*/ 156763 w 876471"/>
              <a:gd name="connsiteY7" fmla="*/ 483273 h 866749"/>
              <a:gd name="connsiteX8" fmla="*/ 143333 w 876471"/>
              <a:gd name="connsiteY8" fmla="*/ 469843 h 866749"/>
              <a:gd name="connsiteX9" fmla="*/ 187624 w 876471"/>
              <a:gd name="connsiteY9" fmla="*/ 330778 h 866749"/>
              <a:gd name="connsiteX10" fmla="*/ 216770 w 876471"/>
              <a:gd name="connsiteY10" fmla="*/ 318681 h 866749"/>
              <a:gd name="connsiteX11" fmla="*/ 228867 w 876471"/>
              <a:gd name="connsiteY11" fmla="*/ 289534 h 866749"/>
              <a:gd name="connsiteX12" fmla="*/ 227724 w 876471"/>
              <a:gd name="connsiteY12" fmla="*/ 279533 h 866749"/>
              <a:gd name="connsiteX13" fmla="*/ 270015 w 876471"/>
              <a:gd name="connsiteY13" fmla="*/ 252006 h 866749"/>
              <a:gd name="connsiteX14" fmla="*/ 295542 w 876471"/>
              <a:gd name="connsiteY14" fmla="*/ 260769 h 866749"/>
              <a:gd name="connsiteX15" fmla="*/ 324689 w 876471"/>
              <a:gd name="connsiteY15" fmla="*/ 248672 h 866749"/>
              <a:gd name="connsiteX16" fmla="*/ 329737 w 876471"/>
              <a:gd name="connsiteY16" fmla="*/ 242576 h 866749"/>
              <a:gd name="connsiteX17" fmla="*/ 362217 w 876471"/>
              <a:gd name="connsiteY17" fmla="*/ 251244 h 866749"/>
              <a:gd name="connsiteX18" fmla="*/ 374123 w 876471"/>
              <a:gd name="connsiteY18" fmla="*/ 276961 h 866749"/>
              <a:gd name="connsiteX19" fmla="*/ 403270 w 876471"/>
              <a:gd name="connsiteY19" fmla="*/ 289058 h 866749"/>
              <a:gd name="connsiteX20" fmla="*/ 432416 w 876471"/>
              <a:gd name="connsiteY20" fmla="*/ 276961 h 866749"/>
              <a:gd name="connsiteX21" fmla="*/ 444513 w 876471"/>
              <a:gd name="connsiteY21" fmla="*/ 247815 h 866749"/>
              <a:gd name="connsiteX22" fmla="*/ 444323 w 876471"/>
              <a:gd name="connsiteY22" fmla="*/ 242957 h 866749"/>
              <a:gd name="connsiteX23" fmla="*/ 482137 w 876471"/>
              <a:gd name="connsiteY23" fmla="*/ 224193 h 866749"/>
              <a:gd name="connsiteX24" fmla="*/ 511093 w 876471"/>
              <a:gd name="connsiteY24" fmla="*/ 236099 h 866749"/>
              <a:gd name="connsiteX25" fmla="*/ 540239 w 876471"/>
              <a:gd name="connsiteY25" fmla="*/ 224002 h 866749"/>
              <a:gd name="connsiteX26" fmla="*/ 552336 w 876471"/>
              <a:gd name="connsiteY26" fmla="*/ 194856 h 866749"/>
              <a:gd name="connsiteX27" fmla="*/ 540239 w 876471"/>
              <a:gd name="connsiteY27" fmla="*/ 165709 h 866749"/>
              <a:gd name="connsiteX28" fmla="*/ 511093 w 876471"/>
              <a:gd name="connsiteY28" fmla="*/ 153613 h 866749"/>
              <a:gd name="connsiteX29" fmla="*/ 481946 w 876471"/>
              <a:gd name="connsiteY29" fmla="*/ 165709 h 866749"/>
              <a:gd name="connsiteX30" fmla="*/ 469850 w 876471"/>
              <a:gd name="connsiteY30" fmla="*/ 194856 h 866749"/>
              <a:gd name="connsiteX31" fmla="*/ 470135 w 876471"/>
              <a:gd name="connsiteY31" fmla="*/ 200190 h 866749"/>
              <a:gd name="connsiteX32" fmla="*/ 432512 w 876471"/>
              <a:gd name="connsiteY32" fmla="*/ 218859 h 866749"/>
              <a:gd name="connsiteX33" fmla="*/ 432512 w 876471"/>
              <a:gd name="connsiteY33" fmla="*/ 218668 h 866749"/>
              <a:gd name="connsiteX34" fmla="*/ 403175 w 876471"/>
              <a:gd name="connsiteY34" fmla="*/ 206572 h 866749"/>
              <a:gd name="connsiteX35" fmla="*/ 374028 w 876471"/>
              <a:gd name="connsiteY35" fmla="*/ 218668 h 866749"/>
              <a:gd name="connsiteX36" fmla="*/ 368599 w 876471"/>
              <a:gd name="connsiteY36" fmla="*/ 225241 h 866749"/>
              <a:gd name="connsiteX37" fmla="*/ 336404 w 876471"/>
              <a:gd name="connsiteY37" fmla="*/ 216668 h 866749"/>
              <a:gd name="connsiteX38" fmla="*/ 324498 w 876471"/>
              <a:gd name="connsiteY38" fmla="*/ 190379 h 866749"/>
              <a:gd name="connsiteX39" fmla="*/ 295352 w 876471"/>
              <a:gd name="connsiteY39" fmla="*/ 178282 h 866749"/>
              <a:gd name="connsiteX40" fmla="*/ 266205 w 876471"/>
              <a:gd name="connsiteY40" fmla="*/ 190379 h 866749"/>
              <a:gd name="connsiteX41" fmla="*/ 254108 w 876471"/>
              <a:gd name="connsiteY41" fmla="*/ 219526 h 866749"/>
              <a:gd name="connsiteX42" fmla="*/ 255251 w 876471"/>
              <a:gd name="connsiteY42" fmla="*/ 229527 h 866749"/>
              <a:gd name="connsiteX43" fmla="*/ 212960 w 876471"/>
              <a:gd name="connsiteY43" fmla="*/ 257054 h 866749"/>
              <a:gd name="connsiteX44" fmla="*/ 187433 w 876471"/>
              <a:gd name="connsiteY44" fmla="*/ 248291 h 866749"/>
              <a:gd name="connsiteX45" fmla="*/ 158287 w 876471"/>
              <a:gd name="connsiteY45" fmla="*/ 260388 h 866749"/>
              <a:gd name="connsiteX46" fmla="*/ 146190 w 876471"/>
              <a:gd name="connsiteY46" fmla="*/ 289534 h 866749"/>
              <a:gd name="connsiteX47" fmla="*/ 158287 w 876471"/>
              <a:gd name="connsiteY47" fmla="*/ 318681 h 866749"/>
              <a:gd name="connsiteX48" fmla="*/ 187433 w 876471"/>
              <a:gd name="connsiteY48" fmla="*/ 330778 h 866749"/>
              <a:gd name="connsiteX49" fmla="*/ 264586 w 876471"/>
              <a:gd name="connsiteY49" fmla="*/ 287439 h 866749"/>
              <a:gd name="connsiteX50" fmla="*/ 251156 w 876471"/>
              <a:gd name="connsiteY50" fmla="*/ 300869 h 866749"/>
              <a:gd name="connsiteX51" fmla="*/ 251156 w 876471"/>
              <a:gd name="connsiteY51" fmla="*/ 469843 h 866749"/>
              <a:gd name="connsiteX52" fmla="*/ 264586 w 876471"/>
              <a:gd name="connsiteY52" fmla="*/ 483273 h 866749"/>
              <a:gd name="connsiteX53" fmla="*/ 326308 w 876471"/>
              <a:gd name="connsiteY53" fmla="*/ 483273 h 866749"/>
              <a:gd name="connsiteX54" fmla="*/ 339738 w 876471"/>
              <a:gd name="connsiteY54" fmla="*/ 469843 h 866749"/>
              <a:gd name="connsiteX55" fmla="*/ 339738 w 876471"/>
              <a:gd name="connsiteY55" fmla="*/ 300869 h 866749"/>
              <a:gd name="connsiteX56" fmla="*/ 326308 w 876471"/>
              <a:gd name="connsiteY56" fmla="*/ 287439 h 866749"/>
              <a:gd name="connsiteX57" fmla="*/ 264586 w 876471"/>
              <a:gd name="connsiteY57" fmla="*/ 287439 h 866749"/>
              <a:gd name="connsiteX58" fmla="*/ 434226 w 876471"/>
              <a:gd name="connsiteY58" fmla="*/ 315728 h 866749"/>
              <a:gd name="connsiteX59" fmla="*/ 372504 w 876471"/>
              <a:gd name="connsiteY59" fmla="*/ 315728 h 866749"/>
              <a:gd name="connsiteX60" fmla="*/ 359074 w 876471"/>
              <a:gd name="connsiteY60" fmla="*/ 329158 h 866749"/>
              <a:gd name="connsiteX61" fmla="*/ 359074 w 876471"/>
              <a:gd name="connsiteY61" fmla="*/ 469747 h 866749"/>
              <a:gd name="connsiteX62" fmla="*/ 372504 w 876471"/>
              <a:gd name="connsiteY62" fmla="*/ 483178 h 866749"/>
              <a:gd name="connsiteX63" fmla="*/ 434226 w 876471"/>
              <a:gd name="connsiteY63" fmla="*/ 483178 h 866749"/>
              <a:gd name="connsiteX64" fmla="*/ 447656 w 876471"/>
              <a:gd name="connsiteY64" fmla="*/ 469747 h 866749"/>
              <a:gd name="connsiteX65" fmla="*/ 447656 w 876471"/>
              <a:gd name="connsiteY65" fmla="*/ 329158 h 866749"/>
              <a:gd name="connsiteX66" fmla="*/ 434226 w 876471"/>
              <a:gd name="connsiteY66" fmla="*/ 315728 h 866749"/>
              <a:gd name="connsiteX67" fmla="*/ 542049 w 876471"/>
              <a:gd name="connsiteY67" fmla="*/ 495751 h 866749"/>
              <a:gd name="connsiteX68" fmla="*/ 156763 w 876471"/>
              <a:gd name="connsiteY68" fmla="*/ 495751 h 866749"/>
              <a:gd name="connsiteX69" fmla="*/ 143333 w 876471"/>
              <a:gd name="connsiteY69" fmla="*/ 509181 h 866749"/>
              <a:gd name="connsiteX70" fmla="*/ 156763 w 876471"/>
              <a:gd name="connsiteY70" fmla="*/ 522611 h 866749"/>
              <a:gd name="connsiteX71" fmla="*/ 542144 w 876471"/>
              <a:gd name="connsiteY71" fmla="*/ 522611 h 866749"/>
              <a:gd name="connsiteX72" fmla="*/ 555575 w 876471"/>
              <a:gd name="connsiteY72" fmla="*/ 509181 h 866749"/>
              <a:gd name="connsiteX73" fmla="*/ 542144 w 876471"/>
              <a:gd name="connsiteY73" fmla="*/ 495751 h 866749"/>
              <a:gd name="connsiteX74" fmla="*/ 858755 w 876471"/>
              <a:gd name="connsiteY74" fmla="*/ 763498 h 866749"/>
              <a:gd name="connsiteX75" fmla="*/ 727691 w 876471"/>
              <a:gd name="connsiteY75" fmla="*/ 632434 h 866749"/>
              <a:gd name="connsiteX76" fmla="*/ 717785 w 876471"/>
              <a:gd name="connsiteY76" fmla="*/ 642340 h 866749"/>
              <a:gd name="connsiteX77" fmla="*/ 717785 w 876471"/>
              <a:gd name="connsiteY77" fmla="*/ 642340 h 866749"/>
              <a:gd name="connsiteX78" fmla="*/ 651968 w 876471"/>
              <a:gd name="connsiteY78" fmla="*/ 708063 h 866749"/>
              <a:gd name="connsiteX79" fmla="*/ 651968 w 876471"/>
              <a:gd name="connsiteY79" fmla="*/ 708063 h 866749"/>
              <a:gd name="connsiteX80" fmla="*/ 642062 w 876471"/>
              <a:gd name="connsiteY80" fmla="*/ 718064 h 866749"/>
              <a:gd name="connsiteX81" fmla="*/ 773221 w 876471"/>
              <a:gd name="connsiteY81" fmla="*/ 849128 h 866749"/>
              <a:gd name="connsiteX82" fmla="*/ 815988 w 876471"/>
              <a:gd name="connsiteY82" fmla="*/ 866749 h 866749"/>
              <a:gd name="connsiteX83" fmla="*/ 815988 w 876471"/>
              <a:gd name="connsiteY83" fmla="*/ 866749 h 866749"/>
              <a:gd name="connsiteX84" fmla="*/ 858851 w 876471"/>
              <a:gd name="connsiteY84" fmla="*/ 849128 h 866749"/>
              <a:gd name="connsiteX85" fmla="*/ 876472 w 876471"/>
              <a:gd name="connsiteY85" fmla="*/ 806361 h 866749"/>
              <a:gd name="connsiteX86" fmla="*/ 858851 w 876471"/>
              <a:gd name="connsiteY86" fmla="*/ 763594 h 866749"/>
              <a:gd name="connsiteX87" fmla="*/ 542144 w 876471"/>
              <a:gd name="connsiteY87" fmla="*/ 262769 h 866749"/>
              <a:gd name="connsiteX88" fmla="*/ 480422 w 876471"/>
              <a:gd name="connsiteY88" fmla="*/ 262769 h 866749"/>
              <a:gd name="connsiteX89" fmla="*/ 466992 w 876471"/>
              <a:gd name="connsiteY89" fmla="*/ 276199 h 866749"/>
              <a:gd name="connsiteX90" fmla="*/ 466992 w 876471"/>
              <a:gd name="connsiteY90" fmla="*/ 469843 h 866749"/>
              <a:gd name="connsiteX91" fmla="*/ 480422 w 876471"/>
              <a:gd name="connsiteY91" fmla="*/ 483273 h 866749"/>
              <a:gd name="connsiteX92" fmla="*/ 542144 w 876471"/>
              <a:gd name="connsiteY92" fmla="*/ 483273 h 866749"/>
              <a:gd name="connsiteX93" fmla="*/ 555575 w 876471"/>
              <a:gd name="connsiteY93" fmla="*/ 469843 h 866749"/>
              <a:gd name="connsiteX94" fmla="*/ 555575 w 876471"/>
              <a:gd name="connsiteY94" fmla="*/ 276199 h 866749"/>
              <a:gd name="connsiteX95" fmla="*/ 542144 w 876471"/>
              <a:gd name="connsiteY95" fmla="*/ 262769 h 866749"/>
              <a:gd name="connsiteX96" fmla="*/ 690830 w 876471"/>
              <a:gd name="connsiteY96" fmla="*/ 633482 h 866749"/>
              <a:gd name="connsiteX97" fmla="*/ 641776 w 876471"/>
              <a:gd name="connsiteY97" fmla="*/ 584428 h 866749"/>
              <a:gd name="connsiteX98" fmla="*/ 619868 w 876471"/>
              <a:gd name="connsiteY98" fmla="*/ 609384 h 866749"/>
              <a:gd name="connsiteX99" fmla="*/ 595008 w 876471"/>
              <a:gd name="connsiteY99" fmla="*/ 633006 h 866749"/>
              <a:gd name="connsiteX100" fmla="*/ 643109 w 876471"/>
              <a:gd name="connsiteY100" fmla="*/ 681202 h 866749"/>
              <a:gd name="connsiteX101" fmla="*/ 690830 w 876471"/>
              <a:gd name="connsiteY101" fmla="*/ 633482 h 866749"/>
              <a:gd name="connsiteX102" fmla="*/ 601580 w 876471"/>
              <a:gd name="connsiteY102" fmla="*/ 591763 h 866749"/>
              <a:gd name="connsiteX103" fmla="*/ 568814 w 876471"/>
              <a:gd name="connsiteY103" fmla="*/ 621766 h 866749"/>
              <a:gd name="connsiteX104" fmla="*/ 567576 w 876471"/>
              <a:gd name="connsiteY104" fmla="*/ 622814 h 866749"/>
              <a:gd name="connsiteX105" fmla="*/ 357550 w 876471"/>
              <a:gd name="connsiteY105" fmla="*/ 699109 h 866749"/>
              <a:gd name="connsiteX106" fmla="*/ 356788 w 876471"/>
              <a:gd name="connsiteY106" fmla="*/ 699109 h 866749"/>
              <a:gd name="connsiteX107" fmla="*/ 356788 w 876471"/>
              <a:gd name="connsiteY107" fmla="*/ 699109 h 866749"/>
              <a:gd name="connsiteX108" fmla="*/ 356502 w 876471"/>
              <a:gd name="connsiteY108" fmla="*/ 699109 h 866749"/>
              <a:gd name="connsiteX109" fmla="*/ 107328 w 876471"/>
              <a:gd name="connsiteY109" fmla="*/ 601669 h 866749"/>
              <a:gd name="connsiteX110" fmla="*/ 77 w 876471"/>
              <a:gd name="connsiteY110" fmla="*/ 357638 h 866749"/>
              <a:gd name="connsiteX111" fmla="*/ 77 w 876471"/>
              <a:gd name="connsiteY111" fmla="*/ 356590 h 866749"/>
              <a:gd name="connsiteX112" fmla="*/ 97327 w 876471"/>
              <a:gd name="connsiteY112" fmla="*/ 107416 h 866749"/>
              <a:gd name="connsiteX113" fmla="*/ 341357 w 876471"/>
              <a:gd name="connsiteY113" fmla="*/ 70 h 866749"/>
              <a:gd name="connsiteX114" fmla="*/ 342119 w 876471"/>
              <a:gd name="connsiteY114" fmla="*/ 70 h 866749"/>
              <a:gd name="connsiteX115" fmla="*/ 342119 w 876471"/>
              <a:gd name="connsiteY115" fmla="*/ 70 h 866749"/>
              <a:gd name="connsiteX116" fmla="*/ 342405 w 876471"/>
              <a:gd name="connsiteY116" fmla="*/ 70 h 866749"/>
              <a:gd name="connsiteX117" fmla="*/ 591579 w 876471"/>
              <a:gd name="connsiteY117" fmla="*/ 97510 h 866749"/>
              <a:gd name="connsiteX118" fmla="*/ 698831 w 876471"/>
              <a:gd name="connsiteY118" fmla="*/ 341541 h 866749"/>
              <a:gd name="connsiteX119" fmla="*/ 698831 w 876471"/>
              <a:gd name="connsiteY119" fmla="*/ 342303 h 866749"/>
              <a:gd name="connsiteX120" fmla="*/ 698926 w 876471"/>
              <a:gd name="connsiteY120" fmla="*/ 342303 h 866749"/>
              <a:gd name="connsiteX121" fmla="*/ 698926 w 876471"/>
              <a:gd name="connsiteY121" fmla="*/ 342589 h 866749"/>
              <a:gd name="connsiteX122" fmla="*/ 630822 w 876471"/>
              <a:gd name="connsiteY122" fmla="*/ 556996 h 866749"/>
              <a:gd name="connsiteX123" fmla="*/ 629870 w 876471"/>
              <a:gd name="connsiteY123" fmla="*/ 558330 h 866749"/>
              <a:gd name="connsiteX124" fmla="*/ 601485 w 876471"/>
              <a:gd name="connsiteY124" fmla="*/ 591763 h 866749"/>
              <a:gd name="connsiteX125" fmla="*/ 635966 w 876471"/>
              <a:gd name="connsiteY125" fmla="*/ 343827 h 866749"/>
              <a:gd name="connsiteX126" fmla="*/ 547955 w 876471"/>
              <a:gd name="connsiteY126" fmla="*/ 142849 h 866749"/>
              <a:gd name="connsiteX127" fmla="*/ 343929 w 876471"/>
              <a:gd name="connsiteY127" fmla="*/ 63030 h 866749"/>
              <a:gd name="connsiteX128" fmla="*/ 343929 w 876471"/>
              <a:gd name="connsiteY128" fmla="*/ 63030 h 866749"/>
              <a:gd name="connsiteX129" fmla="*/ 342405 w 876471"/>
              <a:gd name="connsiteY129" fmla="*/ 63030 h 866749"/>
              <a:gd name="connsiteX130" fmla="*/ 142761 w 876471"/>
              <a:gd name="connsiteY130" fmla="*/ 150946 h 866749"/>
              <a:gd name="connsiteX131" fmla="*/ 62942 w 876471"/>
              <a:gd name="connsiteY131" fmla="*/ 354971 h 866749"/>
              <a:gd name="connsiteX132" fmla="*/ 62846 w 876471"/>
              <a:gd name="connsiteY132" fmla="*/ 354971 h 866749"/>
              <a:gd name="connsiteX133" fmla="*/ 62942 w 876471"/>
              <a:gd name="connsiteY133" fmla="*/ 356400 h 866749"/>
              <a:gd name="connsiteX134" fmla="*/ 150953 w 876471"/>
              <a:gd name="connsiteY134" fmla="*/ 556139 h 866749"/>
              <a:gd name="connsiteX135" fmla="*/ 355169 w 876471"/>
              <a:gd name="connsiteY135" fmla="*/ 635959 h 866749"/>
              <a:gd name="connsiteX136" fmla="*/ 556051 w 876471"/>
              <a:gd name="connsiteY136" fmla="*/ 547948 h 866749"/>
              <a:gd name="connsiteX137" fmla="*/ 635870 w 876471"/>
              <a:gd name="connsiteY137" fmla="*/ 343636 h 86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876471" h="866749">
                <a:moveTo>
                  <a:pt x="143333" y="469843"/>
                </a:moveTo>
                <a:lnTo>
                  <a:pt x="143333" y="370878"/>
                </a:lnTo>
                <a:cubicBezTo>
                  <a:pt x="143333" y="363448"/>
                  <a:pt x="149333" y="357448"/>
                  <a:pt x="156763" y="357448"/>
                </a:cubicBezTo>
                <a:lnTo>
                  <a:pt x="218485" y="357448"/>
                </a:lnTo>
                <a:cubicBezTo>
                  <a:pt x="226010" y="357448"/>
                  <a:pt x="231915" y="363448"/>
                  <a:pt x="231915" y="370878"/>
                </a:cubicBezTo>
                <a:lnTo>
                  <a:pt x="231915" y="469843"/>
                </a:lnTo>
                <a:cubicBezTo>
                  <a:pt x="231915" y="477272"/>
                  <a:pt x="226010" y="483273"/>
                  <a:pt x="218485" y="483273"/>
                </a:cubicBezTo>
                <a:lnTo>
                  <a:pt x="156763" y="483273"/>
                </a:lnTo>
                <a:cubicBezTo>
                  <a:pt x="149333" y="483273"/>
                  <a:pt x="143333" y="477272"/>
                  <a:pt x="143333" y="469843"/>
                </a:cubicBezTo>
                <a:close/>
                <a:moveTo>
                  <a:pt x="187624" y="330778"/>
                </a:moveTo>
                <a:cubicBezTo>
                  <a:pt x="199054" y="330778"/>
                  <a:pt x="209341" y="326206"/>
                  <a:pt x="216770" y="318681"/>
                </a:cubicBezTo>
                <a:cubicBezTo>
                  <a:pt x="224295" y="311251"/>
                  <a:pt x="228867" y="300869"/>
                  <a:pt x="228867" y="289534"/>
                </a:cubicBezTo>
                <a:cubicBezTo>
                  <a:pt x="228867" y="286105"/>
                  <a:pt x="228486" y="282772"/>
                  <a:pt x="227724" y="279533"/>
                </a:cubicBezTo>
                <a:lnTo>
                  <a:pt x="270015" y="252006"/>
                </a:lnTo>
                <a:cubicBezTo>
                  <a:pt x="277064" y="257530"/>
                  <a:pt x="285922" y="260769"/>
                  <a:pt x="295542" y="260769"/>
                </a:cubicBezTo>
                <a:cubicBezTo>
                  <a:pt x="306972" y="260769"/>
                  <a:pt x="317259" y="256102"/>
                  <a:pt x="324689" y="248672"/>
                </a:cubicBezTo>
                <a:cubicBezTo>
                  <a:pt x="326594" y="246767"/>
                  <a:pt x="328308" y="244767"/>
                  <a:pt x="329737" y="242576"/>
                </a:cubicBezTo>
                <a:lnTo>
                  <a:pt x="362217" y="251244"/>
                </a:lnTo>
                <a:cubicBezTo>
                  <a:pt x="363074" y="261245"/>
                  <a:pt x="367456" y="270294"/>
                  <a:pt x="374123" y="276961"/>
                </a:cubicBezTo>
                <a:cubicBezTo>
                  <a:pt x="381648" y="284391"/>
                  <a:pt x="391935" y="289058"/>
                  <a:pt x="403270" y="289058"/>
                </a:cubicBezTo>
                <a:cubicBezTo>
                  <a:pt x="414605" y="289058"/>
                  <a:pt x="424987" y="284486"/>
                  <a:pt x="432416" y="276961"/>
                </a:cubicBezTo>
                <a:cubicBezTo>
                  <a:pt x="439941" y="269532"/>
                  <a:pt x="444513" y="259150"/>
                  <a:pt x="444513" y="247815"/>
                </a:cubicBezTo>
                <a:cubicBezTo>
                  <a:pt x="444513" y="246196"/>
                  <a:pt x="444418" y="244576"/>
                  <a:pt x="444323" y="242957"/>
                </a:cubicBezTo>
                <a:lnTo>
                  <a:pt x="482137" y="224193"/>
                </a:lnTo>
                <a:cubicBezTo>
                  <a:pt x="489566" y="231527"/>
                  <a:pt x="499758" y="236099"/>
                  <a:pt x="511093" y="236099"/>
                </a:cubicBezTo>
                <a:cubicBezTo>
                  <a:pt x="522428" y="236099"/>
                  <a:pt x="532810" y="231527"/>
                  <a:pt x="540239" y="224002"/>
                </a:cubicBezTo>
                <a:cubicBezTo>
                  <a:pt x="547669" y="216573"/>
                  <a:pt x="552336" y="206191"/>
                  <a:pt x="552336" y="194856"/>
                </a:cubicBezTo>
                <a:cubicBezTo>
                  <a:pt x="552336" y="183521"/>
                  <a:pt x="547669" y="173139"/>
                  <a:pt x="540239" y="165709"/>
                </a:cubicBezTo>
                <a:cubicBezTo>
                  <a:pt x="532715" y="158280"/>
                  <a:pt x="522428" y="153613"/>
                  <a:pt x="511093" y="153613"/>
                </a:cubicBezTo>
                <a:cubicBezTo>
                  <a:pt x="499758" y="153613"/>
                  <a:pt x="489376" y="158185"/>
                  <a:pt x="481946" y="165709"/>
                </a:cubicBezTo>
                <a:cubicBezTo>
                  <a:pt x="474422" y="173139"/>
                  <a:pt x="469850" y="183521"/>
                  <a:pt x="469850" y="194856"/>
                </a:cubicBezTo>
                <a:cubicBezTo>
                  <a:pt x="469850" y="196666"/>
                  <a:pt x="469945" y="198475"/>
                  <a:pt x="470135" y="200190"/>
                </a:cubicBezTo>
                <a:lnTo>
                  <a:pt x="432512" y="218859"/>
                </a:lnTo>
                <a:lnTo>
                  <a:pt x="432512" y="218668"/>
                </a:lnTo>
                <a:cubicBezTo>
                  <a:pt x="424892" y="211239"/>
                  <a:pt x="414605" y="206572"/>
                  <a:pt x="403175" y="206572"/>
                </a:cubicBezTo>
                <a:cubicBezTo>
                  <a:pt x="391745" y="206572"/>
                  <a:pt x="381458" y="211239"/>
                  <a:pt x="374028" y="218668"/>
                </a:cubicBezTo>
                <a:cubicBezTo>
                  <a:pt x="372028" y="220669"/>
                  <a:pt x="370218" y="222859"/>
                  <a:pt x="368599" y="225241"/>
                </a:cubicBezTo>
                <a:lnTo>
                  <a:pt x="336404" y="216668"/>
                </a:lnTo>
                <a:cubicBezTo>
                  <a:pt x="335738" y="206381"/>
                  <a:pt x="331356" y="197237"/>
                  <a:pt x="324498" y="190379"/>
                </a:cubicBezTo>
                <a:cubicBezTo>
                  <a:pt x="316973" y="182950"/>
                  <a:pt x="306686" y="178282"/>
                  <a:pt x="295352" y="178282"/>
                </a:cubicBezTo>
                <a:cubicBezTo>
                  <a:pt x="284017" y="178282"/>
                  <a:pt x="273635" y="182950"/>
                  <a:pt x="266205" y="190379"/>
                </a:cubicBezTo>
                <a:cubicBezTo>
                  <a:pt x="258776" y="197809"/>
                  <a:pt x="254108" y="208191"/>
                  <a:pt x="254108" y="219526"/>
                </a:cubicBezTo>
                <a:cubicBezTo>
                  <a:pt x="254108" y="222955"/>
                  <a:pt x="254489" y="226288"/>
                  <a:pt x="255251" y="229527"/>
                </a:cubicBezTo>
                <a:lnTo>
                  <a:pt x="212960" y="257054"/>
                </a:lnTo>
                <a:cubicBezTo>
                  <a:pt x="205912" y="251530"/>
                  <a:pt x="197054" y="248291"/>
                  <a:pt x="187433" y="248291"/>
                </a:cubicBezTo>
                <a:cubicBezTo>
                  <a:pt x="176003" y="248291"/>
                  <a:pt x="165716" y="252863"/>
                  <a:pt x="158287" y="260388"/>
                </a:cubicBezTo>
                <a:cubicBezTo>
                  <a:pt x="150857" y="267817"/>
                  <a:pt x="146190" y="278200"/>
                  <a:pt x="146190" y="289534"/>
                </a:cubicBezTo>
                <a:cubicBezTo>
                  <a:pt x="146190" y="300869"/>
                  <a:pt x="150857" y="311251"/>
                  <a:pt x="158287" y="318681"/>
                </a:cubicBezTo>
                <a:cubicBezTo>
                  <a:pt x="165812" y="326110"/>
                  <a:pt x="176099" y="330778"/>
                  <a:pt x="187433" y="330778"/>
                </a:cubicBezTo>
                <a:close/>
                <a:moveTo>
                  <a:pt x="264586" y="287439"/>
                </a:moveTo>
                <a:cubicBezTo>
                  <a:pt x="257156" y="287439"/>
                  <a:pt x="251156" y="293440"/>
                  <a:pt x="251156" y="300869"/>
                </a:cubicBezTo>
                <a:lnTo>
                  <a:pt x="251156" y="469843"/>
                </a:lnTo>
                <a:cubicBezTo>
                  <a:pt x="251156" y="477272"/>
                  <a:pt x="257156" y="483273"/>
                  <a:pt x="264586" y="483273"/>
                </a:cubicBezTo>
                <a:lnTo>
                  <a:pt x="326308" y="483273"/>
                </a:lnTo>
                <a:cubicBezTo>
                  <a:pt x="333833" y="483273"/>
                  <a:pt x="339738" y="477272"/>
                  <a:pt x="339738" y="469843"/>
                </a:cubicBezTo>
                <a:lnTo>
                  <a:pt x="339738" y="300869"/>
                </a:lnTo>
                <a:cubicBezTo>
                  <a:pt x="339738" y="293440"/>
                  <a:pt x="333833" y="287439"/>
                  <a:pt x="326308" y="287439"/>
                </a:cubicBezTo>
                <a:lnTo>
                  <a:pt x="264586" y="287439"/>
                </a:lnTo>
                <a:close/>
                <a:moveTo>
                  <a:pt x="434226" y="315728"/>
                </a:moveTo>
                <a:lnTo>
                  <a:pt x="372504" y="315728"/>
                </a:lnTo>
                <a:cubicBezTo>
                  <a:pt x="365075" y="315728"/>
                  <a:pt x="359074" y="321729"/>
                  <a:pt x="359074" y="329158"/>
                </a:cubicBezTo>
                <a:lnTo>
                  <a:pt x="359074" y="469747"/>
                </a:lnTo>
                <a:cubicBezTo>
                  <a:pt x="359074" y="477177"/>
                  <a:pt x="365075" y="483178"/>
                  <a:pt x="372504" y="483178"/>
                </a:cubicBezTo>
                <a:lnTo>
                  <a:pt x="434226" y="483178"/>
                </a:lnTo>
                <a:cubicBezTo>
                  <a:pt x="441656" y="483178"/>
                  <a:pt x="447656" y="477177"/>
                  <a:pt x="447656" y="469747"/>
                </a:cubicBezTo>
                <a:lnTo>
                  <a:pt x="447656" y="329158"/>
                </a:lnTo>
                <a:cubicBezTo>
                  <a:pt x="447656" y="321729"/>
                  <a:pt x="441656" y="315728"/>
                  <a:pt x="434226" y="315728"/>
                </a:cubicBezTo>
                <a:close/>
                <a:moveTo>
                  <a:pt x="542049" y="495751"/>
                </a:moveTo>
                <a:lnTo>
                  <a:pt x="156763" y="495751"/>
                </a:lnTo>
                <a:cubicBezTo>
                  <a:pt x="149333" y="495751"/>
                  <a:pt x="143333" y="501751"/>
                  <a:pt x="143333" y="509181"/>
                </a:cubicBezTo>
                <a:cubicBezTo>
                  <a:pt x="143333" y="516610"/>
                  <a:pt x="149333" y="522611"/>
                  <a:pt x="156763" y="522611"/>
                </a:cubicBezTo>
                <a:lnTo>
                  <a:pt x="542144" y="522611"/>
                </a:lnTo>
                <a:cubicBezTo>
                  <a:pt x="549574" y="522611"/>
                  <a:pt x="555575" y="516610"/>
                  <a:pt x="555575" y="509181"/>
                </a:cubicBezTo>
                <a:cubicBezTo>
                  <a:pt x="555575" y="501751"/>
                  <a:pt x="549574" y="495751"/>
                  <a:pt x="542144" y="495751"/>
                </a:cubicBezTo>
                <a:close/>
                <a:moveTo>
                  <a:pt x="858755" y="763498"/>
                </a:moveTo>
                <a:lnTo>
                  <a:pt x="727691" y="632434"/>
                </a:lnTo>
                <a:lnTo>
                  <a:pt x="717785" y="642340"/>
                </a:lnTo>
                <a:lnTo>
                  <a:pt x="717785" y="642340"/>
                </a:lnTo>
                <a:cubicBezTo>
                  <a:pt x="717785" y="642340"/>
                  <a:pt x="651968" y="708063"/>
                  <a:pt x="651968" y="708063"/>
                </a:cubicBezTo>
                <a:lnTo>
                  <a:pt x="651968" y="708063"/>
                </a:lnTo>
                <a:cubicBezTo>
                  <a:pt x="651968" y="708063"/>
                  <a:pt x="642062" y="718064"/>
                  <a:pt x="642062" y="718064"/>
                </a:cubicBezTo>
                <a:lnTo>
                  <a:pt x="773221" y="849128"/>
                </a:lnTo>
                <a:cubicBezTo>
                  <a:pt x="784937" y="860844"/>
                  <a:pt x="800462" y="866749"/>
                  <a:pt x="815988" y="866749"/>
                </a:cubicBezTo>
                <a:lnTo>
                  <a:pt x="815988" y="866749"/>
                </a:lnTo>
                <a:cubicBezTo>
                  <a:pt x="831514" y="866749"/>
                  <a:pt x="847040" y="860939"/>
                  <a:pt x="858851" y="849128"/>
                </a:cubicBezTo>
                <a:cubicBezTo>
                  <a:pt x="870566" y="837412"/>
                  <a:pt x="876472" y="821887"/>
                  <a:pt x="876472" y="806361"/>
                </a:cubicBezTo>
                <a:cubicBezTo>
                  <a:pt x="876472" y="790835"/>
                  <a:pt x="870566" y="775309"/>
                  <a:pt x="858851" y="763594"/>
                </a:cubicBezTo>
                <a:close/>
                <a:moveTo>
                  <a:pt x="542144" y="262769"/>
                </a:moveTo>
                <a:lnTo>
                  <a:pt x="480422" y="262769"/>
                </a:lnTo>
                <a:cubicBezTo>
                  <a:pt x="472993" y="262769"/>
                  <a:pt x="466992" y="268770"/>
                  <a:pt x="466992" y="276199"/>
                </a:cubicBezTo>
                <a:lnTo>
                  <a:pt x="466992" y="469843"/>
                </a:lnTo>
                <a:cubicBezTo>
                  <a:pt x="466992" y="477272"/>
                  <a:pt x="472993" y="483273"/>
                  <a:pt x="480422" y="483273"/>
                </a:cubicBezTo>
                <a:lnTo>
                  <a:pt x="542144" y="483273"/>
                </a:lnTo>
                <a:cubicBezTo>
                  <a:pt x="549574" y="483273"/>
                  <a:pt x="555575" y="477272"/>
                  <a:pt x="555575" y="469843"/>
                </a:cubicBezTo>
                <a:lnTo>
                  <a:pt x="555575" y="276199"/>
                </a:lnTo>
                <a:cubicBezTo>
                  <a:pt x="555575" y="268770"/>
                  <a:pt x="549574" y="262769"/>
                  <a:pt x="542144" y="262769"/>
                </a:cubicBezTo>
                <a:close/>
                <a:moveTo>
                  <a:pt x="690830" y="633482"/>
                </a:moveTo>
                <a:lnTo>
                  <a:pt x="641776" y="584428"/>
                </a:lnTo>
                <a:cubicBezTo>
                  <a:pt x="634823" y="593096"/>
                  <a:pt x="627488" y="601383"/>
                  <a:pt x="619868" y="609384"/>
                </a:cubicBezTo>
                <a:cubicBezTo>
                  <a:pt x="611963" y="617671"/>
                  <a:pt x="603581" y="625481"/>
                  <a:pt x="595008" y="633006"/>
                </a:cubicBezTo>
                <a:lnTo>
                  <a:pt x="643109" y="681202"/>
                </a:lnTo>
                <a:lnTo>
                  <a:pt x="690830" y="633482"/>
                </a:lnTo>
                <a:close/>
                <a:moveTo>
                  <a:pt x="601580" y="591763"/>
                </a:moveTo>
                <a:cubicBezTo>
                  <a:pt x="591293" y="602431"/>
                  <a:pt x="580340" y="612432"/>
                  <a:pt x="568814" y="621766"/>
                </a:cubicBezTo>
                <a:cubicBezTo>
                  <a:pt x="568433" y="622052"/>
                  <a:pt x="567957" y="622433"/>
                  <a:pt x="567576" y="622814"/>
                </a:cubicBezTo>
                <a:cubicBezTo>
                  <a:pt x="509855" y="669010"/>
                  <a:pt x="437084" y="697300"/>
                  <a:pt x="357550" y="699109"/>
                </a:cubicBezTo>
                <a:cubicBezTo>
                  <a:pt x="357359" y="699109"/>
                  <a:pt x="356978" y="699109"/>
                  <a:pt x="356788" y="699109"/>
                </a:cubicBezTo>
                <a:lnTo>
                  <a:pt x="356788" y="699109"/>
                </a:lnTo>
                <a:cubicBezTo>
                  <a:pt x="356788" y="699109"/>
                  <a:pt x="356502" y="699109"/>
                  <a:pt x="356502" y="699109"/>
                </a:cubicBezTo>
                <a:cubicBezTo>
                  <a:pt x="260014" y="701014"/>
                  <a:pt x="171812" y="663676"/>
                  <a:pt x="107328" y="601669"/>
                </a:cubicBezTo>
                <a:cubicBezTo>
                  <a:pt x="43034" y="539851"/>
                  <a:pt x="2363" y="453650"/>
                  <a:pt x="77" y="357638"/>
                </a:cubicBezTo>
                <a:lnTo>
                  <a:pt x="77" y="356590"/>
                </a:lnTo>
                <a:cubicBezTo>
                  <a:pt x="-1924" y="260102"/>
                  <a:pt x="35414" y="171901"/>
                  <a:pt x="97327" y="107416"/>
                </a:cubicBezTo>
                <a:cubicBezTo>
                  <a:pt x="159049" y="43123"/>
                  <a:pt x="245345" y="2260"/>
                  <a:pt x="341357" y="70"/>
                </a:cubicBezTo>
                <a:cubicBezTo>
                  <a:pt x="341548" y="70"/>
                  <a:pt x="341929" y="70"/>
                  <a:pt x="342119" y="70"/>
                </a:cubicBezTo>
                <a:lnTo>
                  <a:pt x="342119" y="70"/>
                </a:lnTo>
                <a:cubicBezTo>
                  <a:pt x="342119" y="70"/>
                  <a:pt x="342405" y="70"/>
                  <a:pt x="342405" y="70"/>
                </a:cubicBezTo>
                <a:cubicBezTo>
                  <a:pt x="438893" y="-1835"/>
                  <a:pt x="527000" y="35503"/>
                  <a:pt x="591579" y="97510"/>
                </a:cubicBezTo>
                <a:cubicBezTo>
                  <a:pt x="655873" y="159328"/>
                  <a:pt x="696735" y="245529"/>
                  <a:pt x="698831" y="341541"/>
                </a:cubicBezTo>
                <a:lnTo>
                  <a:pt x="698831" y="342303"/>
                </a:lnTo>
                <a:lnTo>
                  <a:pt x="698926" y="342303"/>
                </a:lnTo>
                <a:lnTo>
                  <a:pt x="698926" y="342589"/>
                </a:lnTo>
                <a:cubicBezTo>
                  <a:pt x="700545" y="422694"/>
                  <a:pt x="675018" y="497084"/>
                  <a:pt x="630822" y="556996"/>
                </a:cubicBezTo>
                <a:cubicBezTo>
                  <a:pt x="630536" y="557473"/>
                  <a:pt x="630155" y="557854"/>
                  <a:pt x="629870" y="558330"/>
                </a:cubicBezTo>
                <a:cubicBezTo>
                  <a:pt x="621107" y="570046"/>
                  <a:pt x="611582" y="581285"/>
                  <a:pt x="601485" y="591763"/>
                </a:cubicBezTo>
                <a:close/>
                <a:moveTo>
                  <a:pt x="635966" y="343827"/>
                </a:moveTo>
                <a:cubicBezTo>
                  <a:pt x="634346" y="264674"/>
                  <a:pt x="601009" y="193713"/>
                  <a:pt x="547955" y="142849"/>
                </a:cubicBezTo>
                <a:cubicBezTo>
                  <a:pt x="495186" y="92081"/>
                  <a:pt x="422987" y="61506"/>
                  <a:pt x="343929" y="63030"/>
                </a:cubicBezTo>
                <a:lnTo>
                  <a:pt x="343929" y="63030"/>
                </a:lnTo>
                <a:cubicBezTo>
                  <a:pt x="343358" y="63030"/>
                  <a:pt x="342977" y="63030"/>
                  <a:pt x="342405" y="63030"/>
                </a:cubicBezTo>
                <a:cubicBezTo>
                  <a:pt x="263824" y="64935"/>
                  <a:pt x="193339" y="98368"/>
                  <a:pt x="142761" y="150946"/>
                </a:cubicBezTo>
                <a:cubicBezTo>
                  <a:pt x="91993" y="203809"/>
                  <a:pt x="61322" y="276009"/>
                  <a:pt x="62942" y="354971"/>
                </a:cubicBezTo>
                <a:lnTo>
                  <a:pt x="62846" y="354971"/>
                </a:lnTo>
                <a:cubicBezTo>
                  <a:pt x="62846" y="355447"/>
                  <a:pt x="62942" y="355924"/>
                  <a:pt x="62942" y="356400"/>
                </a:cubicBezTo>
                <a:cubicBezTo>
                  <a:pt x="64847" y="435076"/>
                  <a:pt x="98279" y="505657"/>
                  <a:pt x="150953" y="556139"/>
                </a:cubicBezTo>
                <a:cubicBezTo>
                  <a:pt x="203816" y="606907"/>
                  <a:pt x="276016" y="637578"/>
                  <a:pt x="355169" y="635959"/>
                </a:cubicBezTo>
                <a:cubicBezTo>
                  <a:pt x="434417" y="634339"/>
                  <a:pt x="505378" y="600907"/>
                  <a:pt x="556051" y="547948"/>
                </a:cubicBezTo>
                <a:cubicBezTo>
                  <a:pt x="606914" y="495084"/>
                  <a:pt x="637490" y="422789"/>
                  <a:pt x="635870" y="343636"/>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5" name="Gráfico 163">
            <a:extLst>
              <a:ext uri="{FF2B5EF4-FFF2-40B4-BE49-F238E27FC236}">
                <a16:creationId xmlns:a16="http://schemas.microsoft.com/office/drawing/2014/main" id="{12A3A683-C398-CE12-C00B-EC164A666582}"/>
              </a:ext>
            </a:extLst>
          </p:cNvPr>
          <p:cNvGrpSpPr/>
          <p:nvPr/>
        </p:nvGrpSpPr>
        <p:grpSpPr>
          <a:xfrm>
            <a:off x="5430998" y="2497113"/>
            <a:ext cx="297466" cy="285445"/>
            <a:chOff x="6819062" y="4135502"/>
            <a:chExt cx="266700" cy="266700"/>
          </a:xfrm>
          <a:solidFill>
            <a:schemeClr val="bg1"/>
          </a:solidFill>
        </p:grpSpPr>
        <p:sp>
          <p:nvSpPr>
            <p:cNvPr id="7" name="Forma Livre: Forma 6">
              <a:extLst>
                <a:ext uri="{FF2B5EF4-FFF2-40B4-BE49-F238E27FC236}">
                  <a16:creationId xmlns:a16="http://schemas.microsoft.com/office/drawing/2014/main" id="{0B95BD17-8764-ED78-65DF-ECD3B76F6FA3}"/>
                </a:ext>
              </a:extLst>
            </p:cNvPr>
            <p:cNvSpPr/>
            <p:nvPr/>
          </p:nvSpPr>
          <p:spPr>
            <a:xfrm>
              <a:off x="6923837" y="4135502"/>
              <a:ext cx="38100" cy="114300"/>
            </a:xfrm>
            <a:custGeom>
              <a:avLst/>
              <a:gdLst>
                <a:gd name="connsiteX0" fmla="*/ 38100 w 38100"/>
                <a:gd name="connsiteY0" fmla="*/ 114300 h 114300"/>
                <a:gd name="connsiteX1" fmla="*/ 0 w 38100"/>
                <a:gd name="connsiteY1" fmla="*/ 114300 h 114300"/>
                <a:gd name="connsiteX2" fmla="*/ 0 w 38100"/>
                <a:gd name="connsiteY2" fmla="*/ 19050 h 114300"/>
                <a:gd name="connsiteX3" fmla="*/ 19050 w 38100"/>
                <a:gd name="connsiteY3" fmla="*/ 0 h 114300"/>
                <a:gd name="connsiteX4" fmla="*/ 19050 w 38100"/>
                <a:gd name="connsiteY4" fmla="*/ 0 h 114300"/>
                <a:gd name="connsiteX5" fmla="*/ 38100 w 38100"/>
                <a:gd name="connsiteY5" fmla="*/ 19050 h 114300"/>
                <a:gd name="connsiteX6" fmla="*/ 38100 w 38100"/>
                <a:gd name="connsiteY6"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14300">
                  <a:moveTo>
                    <a:pt x="38100" y="114300"/>
                  </a:moveTo>
                  <a:lnTo>
                    <a:pt x="0" y="114300"/>
                  </a:lnTo>
                  <a:lnTo>
                    <a:pt x="0" y="19050"/>
                  </a:lnTo>
                  <a:cubicBezTo>
                    <a:pt x="0" y="8529"/>
                    <a:pt x="8529" y="0"/>
                    <a:pt x="19050" y="0"/>
                  </a:cubicBezTo>
                  <a:lnTo>
                    <a:pt x="19050" y="0"/>
                  </a:lnTo>
                  <a:cubicBezTo>
                    <a:pt x="29571" y="0"/>
                    <a:pt x="38100" y="8529"/>
                    <a:pt x="38100" y="19050"/>
                  </a:cubicBezTo>
                  <a:lnTo>
                    <a:pt x="38100" y="11430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orma Livre: Forma 7">
              <a:extLst>
                <a:ext uri="{FF2B5EF4-FFF2-40B4-BE49-F238E27FC236}">
                  <a16:creationId xmlns:a16="http://schemas.microsoft.com/office/drawing/2014/main" id="{F076B8BC-08EB-2464-D1D7-A793E16E19B8}"/>
                </a:ext>
              </a:extLst>
            </p:cNvPr>
            <p:cNvSpPr/>
            <p:nvPr/>
          </p:nvSpPr>
          <p:spPr>
            <a:xfrm>
              <a:off x="6971462" y="4154552"/>
              <a:ext cx="38100" cy="95250"/>
            </a:xfrm>
            <a:custGeom>
              <a:avLst/>
              <a:gdLst>
                <a:gd name="connsiteX0" fmla="*/ 38100 w 38100"/>
                <a:gd name="connsiteY0" fmla="*/ 95250 h 95250"/>
                <a:gd name="connsiteX1" fmla="*/ 0 w 38100"/>
                <a:gd name="connsiteY1" fmla="*/ 95250 h 95250"/>
                <a:gd name="connsiteX2" fmla="*/ 0 w 38100"/>
                <a:gd name="connsiteY2" fmla="*/ 19050 h 95250"/>
                <a:gd name="connsiteX3" fmla="*/ 19050 w 38100"/>
                <a:gd name="connsiteY3" fmla="*/ 0 h 95250"/>
                <a:gd name="connsiteX4" fmla="*/ 19050 w 38100"/>
                <a:gd name="connsiteY4" fmla="*/ 0 h 95250"/>
                <a:gd name="connsiteX5" fmla="*/ 38100 w 38100"/>
                <a:gd name="connsiteY5" fmla="*/ 19050 h 95250"/>
                <a:gd name="connsiteX6" fmla="*/ 38100 w 38100"/>
                <a:gd name="connsiteY6" fmla="*/ 9525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95250">
                  <a:moveTo>
                    <a:pt x="38100" y="95250"/>
                  </a:moveTo>
                  <a:lnTo>
                    <a:pt x="0" y="95250"/>
                  </a:lnTo>
                  <a:lnTo>
                    <a:pt x="0" y="19050"/>
                  </a:lnTo>
                  <a:cubicBezTo>
                    <a:pt x="0" y="8529"/>
                    <a:pt x="8529" y="0"/>
                    <a:pt x="19050" y="0"/>
                  </a:cubicBezTo>
                  <a:lnTo>
                    <a:pt x="19050" y="0"/>
                  </a:lnTo>
                  <a:cubicBezTo>
                    <a:pt x="29571" y="0"/>
                    <a:pt x="38100" y="8529"/>
                    <a:pt x="38100" y="19050"/>
                  </a:cubicBezTo>
                  <a:lnTo>
                    <a:pt x="38100" y="95250"/>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orma Livre: Forma 11">
              <a:extLst>
                <a:ext uri="{FF2B5EF4-FFF2-40B4-BE49-F238E27FC236}">
                  <a16:creationId xmlns:a16="http://schemas.microsoft.com/office/drawing/2014/main" id="{B38092DF-EC88-D69C-8877-202818CE1FE1}"/>
                </a:ext>
              </a:extLst>
            </p:cNvPr>
            <p:cNvSpPr/>
            <p:nvPr/>
          </p:nvSpPr>
          <p:spPr>
            <a:xfrm>
              <a:off x="6876212" y="4145027"/>
              <a:ext cx="38100" cy="104775"/>
            </a:xfrm>
            <a:custGeom>
              <a:avLst/>
              <a:gdLst>
                <a:gd name="connsiteX0" fmla="*/ 38100 w 38100"/>
                <a:gd name="connsiteY0" fmla="*/ 104775 h 104775"/>
                <a:gd name="connsiteX1" fmla="*/ 0 w 38100"/>
                <a:gd name="connsiteY1" fmla="*/ 104775 h 104775"/>
                <a:gd name="connsiteX2" fmla="*/ 0 w 38100"/>
                <a:gd name="connsiteY2" fmla="*/ 19050 h 104775"/>
                <a:gd name="connsiteX3" fmla="*/ 19050 w 38100"/>
                <a:gd name="connsiteY3" fmla="*/ 0 h 104775"/>
                <a:gd name="connsiteX4" fmla="*/ 19050 w 38100"/>
                <a:gd name="connsiteY4" fmla="*/ 0 h 104775"/>
                <a:gd name="connsiteX5" fmla="*/ 38100 w 38100"/>
                <a:gd name="connsiteY5" fmla="*/ 19050 h 104775"/>
                <a:gd name="connsiteX6" fmla="*/ 38100 w 38100"/>
                <a:gd name="connsiteY6" fmla="*/ 1047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104775">
                  <a:moveTo>
                    <a:pt x="38100" y="104775"/>
                  </a:moveTo>
                  <a:lnTo>
                    <a:pt x="0" y="104775"/>
                  </a:lnTo>
                  <a:lnTo>
                    <a:pt x="0" y="19050"/>
                  </a:lnTo>
                  <a:cubicBezTo>
                    <a:pt x="0" y="8529"/>
                    <a:pt x="8529" y="0"/>
                    <a:pt x="19050" y="0"/>
                  </a:cubicBezTo>
                  <a:lnTo>
                    <a:pt x="19050" y="0"/>
                  </a:lnTo>
                  <a:cubicBezTo>
                    <a:pt x="29571" y="0"/>
                    <a:pt x="38100" y="8529"/>
                    <a:pt x="38100" y="19050"/>
                  </a:cubicBezTo>
                  <a:lnTo>
                    <a:pt x="38100" y="1047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orma Livre: Forma 12">
              <a:extLst>
                <a:ext uri="{FF2B5EF4-FFF2-40B4-BE49-F238E27FC236}">
                  <a16:creationId xmlns:a16="http://schemas.microsoft.com/office/drawing/2014/main" id="{16712532-4E47-786F-E037-8AF3D66BA29C}"/>
                </a:ext>
              </a:extLst>
            </p:cNvPr>
            <p:cNvSpPr/>
            <p:nvPr/>
          </p:nvSpPr>
          <p:spPr>
            <a:xfrm>
              <a:off x="6828587" y="4183127"/>
              <a:ext cx="38100" cy="66675"/>
            </a:xfrm>
            <a:custGeom>
              <a:avLst/>
              <a:gdLst>
                <a:gd name="connsiteX0" fmla="*/ 38100 w 38100"/>
                <a:gd name="connsiteY0" fmla="*/ 66675 h 66675"/>
                <a:gd name="connsiteX1" fmla="*/ 0 w 38100"/>
                <a:gd name="connsiteY1" fmla="*/ 66675 h 66675"/>
                <a:gd name="connsiteX2" fmla="*/ 0 w 38100"/>
                <a:gd name="connsiteY2" fmla="*/ 19050 h 66675"/>
                <a:gd name="connsiteX3" fmla="*/ 19050 w 38100"/>
                <a:gd name="connsiteY3" fmla="*/ 0 h 66675"/>
                <a:gd name="connsiteX4" fmla="*/ 19050 w 38100"/>
                <a:gd name="connsiteY4" fmla="*/ 0 h 66675"/>
                <a:gd name="connsiteX5" fmla="*/ 38100 w 38100"/>
                <a:gd name="connsiteY5" fmla="*/ 19050 h 66675"/>
                <a:gd name="connsiteX6" fmla="*/ 38100 w 38100"/>
                <a:gd name="connsiteY6" fmla="*/ 666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100" h="66675">
                  <a:moveTo>
                    <a:pt x="38100" y="66675"/>
                  </a:moveTo>
                  <a:lnTo>
                    <a:pt x="0" y="66675"/>
                  </a:lnTo>
                  <a:lnTo>
                    <a:pt x="0" y="19050"/>
                  </a:lnTo>
                  <a:cubicBezTo>
                    <a:pt x="0" y="8529"/>
                    <a:pt x="8529" y="0"/>
                    <a:pt x="19050" y="0"/>
                  </a:cubicBezTo>
                  <a:lnTo>
                    <a:pt x="19050" y="0"/>
                  </a:lnTo>
                  <a:cubicBezTo>
                    <a:pt x="29571" y="0"/>
                    <a:pt x="38100" y="8529"/>
                    <a:pt x="38100" y="19050"/>
                  </a:cubicBezTo>
                  <a:lnTo>
                    <a:pt x="38100" y="66675"/>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orma Livre: Forma 13">
              <a:extLst>
                <a:ext uri="{FF2B5EF4-FFF2-40B4-BE49-F238E27FC236}">
                  <a16:creationId xmlns:a16="http://schemas.microsoft.com/office/drawing/2014/main" id="{67637DAC-4295-27E9-C15E-CEAF57ECA11A}"/>
                </a:ext>
              </a:extLst>
            </p:cNvPr>
            <p:cNvSpPr/>
            <p:nvPr/>
          </p:nvSpPr>
          <p:spPr>
            <a:xfrm>
              <a:off x="7028608" y="4254290"/>
              <a:ext cx="57153" cy="90761"/>
            </a:xfrm>
            <a:custGeom>
              <a:avLst/>
              <a:gdLst>
                <a:gd name="connsiteX0" fmla="*/ 4 w 57153"/>
                <a:gd name="connsiteY0" fmla="*/ 24086 h 90761"/>
                <a:gd name="connsiteX1" fmla="*/ 4 w 57153"/>
                <a:gd name="connsiteY1" fmla="*/ 90761 h 90761"/>
                <a:gd name="connsiteX2" fmla="*/ 50200 w 57153"/>
                <a:gd name="connsiteY2" fmla="*/ 40564 h 90761"/>
                <a:gd name="connsiteX3" fmla="*/ 57154 w 57153"/>
                <a:gd name="connsiteY3" fmla="*/ 23778 h 90761"/>
                <a:gd name="connsiteX4" fmla="*/ 57154 w 57153"/>
                <a:gd name="connsiteY4" fmla="*/ 23778 h 90761"/>
                <a:gd name="connsiteX5" fmla="*/ 16635 w 57153"/>
                <a:gd name="connsiteY5" fmla="*/ 6982 h 90761"/>
                <a:gd name="connsiteX6" fmla="*/ 4 w 57153"/>
                <a:gd name="connsiteY6" fmla="*/ 24086 h 9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53" h="90761">
                  <a:moveTo>
                    <a:pt x="4" y="24086"/>
                  </a:moveTo>
                  <a:lnTo>
                    <a:pt x="4" y="90761"/>
                  </a:lnTo>
                  <a:lnTo>
                    <a:pt x="50200" y="40564"/>
                  </a:lnTo>
                  <a:cubicBezTo>
                    <a:pt x="54652" y="36112"/>
                    <a:pt x="57154" y="30074"/>
                    <a:pt x="57154" y="23778"/>
                  </a:cubicBezTo>
                  <a:lnTo>
                    <a:pt x="57154" y="23778"/>
                  </a:lnTo>
                  <a:cubicBezTo>
                    <a:pt x="57154" y="2645"/>
                    <a:pt x="31593" y="-7944"/>
                    <a:pt x="16635" y="6982"/>
                  </a:cubicBezTo>
                  <a:cubicBezTo>
                    <a:pt x="7154" y="16444"/>
                    <a:pt x="-189" y="23894"/>
                    <a:pt x="4" y="24086"/>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orma Livre: Forma 14">
              <a:extLst>
                <a:ext uri="{FF2B5EF4-FFF2-40B4-BE49-F238E27FC236}">
                  <a16:creationId xmlns:a16="http://schemas.microsoft.com/office/drawing/2014/main" id="{4FBF345A-BA41-4AE5-9630-2131924B1B37}"/>
                </a:ext>
              </a:extLst>
            </p:cNvPr>
            <p:cNvSpPr/>
            <p:nvPr/>
          </p:nvSpPr>
          <p:spPr>
            <a:xfrm>
              <a:off x="6819062" y="4259327"/>
              <a:ext cx="200025" cy="142875"/>
            </a:xfrm>
            <a:custGeom>
              <a:avLst/>
              <a:gdLst>
                <a:gd name="connsiteX0" fmla="*/ 190500 w 200025"/>
                <a:gd name="connsiteY0" fmla="*/ 0 h 142875"/>
                <a:gd name="connsiteX1" fmla="*/ 9525 w 200025"/>
                <a:gd name="connsiteY1" fmla="*/ 0 h 142875"/>
                <a:gd name="connsiteX2" fmla="*/ 0 w 200025"/>
                <a:gd name="connsiteY2" fmla="*/ 9525 h 142875"/>
                <a:gd name="connsiteX3" fmla="*/ 0 w 200025"/>
                <a:gd name="connsiteY3" fmla="*/ 95250 h 142875"/>
                <a:gd name="connsiteX4" fmla="*/ 1907 w 200025"/>
                <a:gd name="connsiteY4" fmla="*/ 100961 h 142875"/>
                <a:gd name="connsiteX5" fmla="*/ 30482 w 200025"/>
                <a:gd name="connsiteY5" fmla="*/ 139061 h 142875"/>
                <a:gd name="connsiteX6" fmla="*/ 38100 w 200025"/>
                <a:gd name="connsiteY6" fmla="*/ 142875 h 142875"/>
                <a:gd name="connsiteX7" fmla="*/ 66675 w 200025"/>
                <a:gd name="connsiteY7" fmla="*/ 142875 h 142875"/>
                <a:gd name="connsiteX8" fmla="*/ 66675 w 200025"/>
                <a:gd name="connsiteY8" fmla="*/ 101984 h 142875"/>
                <a:gd name="connsiteX9" fmla="*/ 49020 w 200025"/>
                <a:gd name="connsiteY9" fmla="*/ 84330 h 142875"/>
                <a:gd name="connsiteX10" fmla="*/ 47625 w 200025"/>
                <a:gd name="connsiteY10" fmla="*/ 80963 h 142875"/>
                <a:gd name="connsiteX11" fmla="*/ 47625 w 200025"/>
                <a:gd name="connsiteY11" fmla="*/ 56276 h 142875"/>
                <a:gd name="connsiteX12" fmla="*/ 38100 w 200025"/>
                <a:gd name="connsiteY12" fmla="*/ 42863 h 142875"/>
                <a:gd name="connsiteX13" fmla="*/ 52388 w 200025"/>
                <a:gd name="connsiteY13" fmla="*/ 28575 h 142875"/>
                <a:gd name="connsiteX14" fmla="*/ 66675 w 200025"/>
                <a:gd name="connsiteY14" fmla="*/ 42863 h 142875"/>
                <a:gd name="connsiteX15" fmla="*/ 57150 w 200025"/>
                <a:gd name="connsiteY15" fmla="*/ 56276 h 142875"/>
                <a:gd name="connsiteX16" fmla="*/ 57150 w 200025"/>
                <a:gd name="connsiteY16" fmla="*/ 78991 h 142875"/>
                <a:gd name="connsiteX17" fmla="*/ 74805 w 200025"/>
                <a:gd name="connsiteY17" fmla="*/ 96645 h 142875"/>
                <a:gd name="connsiteX18" fmla="*/ 76200 w 200025"/>
                <a:gd name="connsiteY18" fmla="*/ 100013 h 142875"/>
                <a:gd name="connsiteX19" fmla="*/ 76200 w 200025"/>
                <a:gd name="connsiteY19" fmla="*/ 142875 h 142875"/>
                <a:gd name="connsiteX20" fmla="*/ 95250 w 200025"/>
                <a:gd name="connsiteY20" fmla="*/ 142875 h 142875"/>
                <a:gd name="connsiteX21" fmla="*/ 95250 w 200025"/>
                <a:gd name="connsiteY21" fmla="*/ 56276 h 142875"/>
                <a:gd name="connsiteX22" fmla="*/ 85725 w 200025"/>
                <a:gd name="connsiteY22" fmla="*/ 42863 h 142875"/>
                <a:gd name="connsiteX23" fmla="*/ 100013 w 200025"/>
                <a:gd name="connsiteY23" fmla="*/ 28575 h 142875"/>
                <a:gd name="connsiteX24" fmla="*/ 114300 w 200025"/>
                <a:gd name="connsiteY24" fmla="*/ 42863 h 142875"/>
                <a:gd name="connsiteX25" fmla="*/ 104775 w 200025"/>
                <a:gd name="connsiteY25" fmla="*/ 56276 h 142875"/>
                <a:gd name="connsiteX26" fmla="*/ 104775 w 200025"/>
                <a:gd name="connsiteY26" fmla="*/ 142875 h 142875"/>
                <a:gd name="connsiteX27" fmla="*/ 123825 w 200025"/>
                <a:gd name="connsiteY27" fmla="*/ 142875 h 142875"/>
                <a:gd name="connsiteX28" fmla="*/ 123825 w 200025"/>
                <a:gd name="connsiteY28" fmla="*/ 100013 h 142875"/>
                <a:gd name="connsiteX29" fmla="*/ 125220 w 200025"/>
                <a:gd name="connsiteY29" fmla="*/ 96645 h 142875"/>
                <a:gd name="connsiteX30" fmla="*/ 142875 w 200025"/>
                <a:gd name="connsiteY30" fmla="*/ 78991 h 142875"/>
                <a:gd name="connsiteX31" fmla="*/ 142875 w 200025"/>
                <a:gd name="connsiteY31" fmla="*/ 56276 h 142875"/>
                <a:gd name="connsiteX32" fmla="*/ 133350 w 200025"/>
                <a:gd name="connsiteY32" fmla="*/ 42863 h 142875"/>
                <a:gd name="connsiteX33" fmla="*/ 147638 w 200025"/>
                <a:gd name="connsiteY33" fmla="*/ 28575 h 142875"/>
                <a:gd name="connsiteX34" fmla="*/ 161925 w 200025"/>
                <a:gd name="connsiteY34" fmla="*/ 42863 h 142875"/>
                <a:gd name="connsiteX35" fmla="*/ 152400 w 200025"/>
                <a:gd name="connsiteY35" fmla="*/ 56276 h 142875"/>
                <a:gd name="connsiteX36" fmla="*/ 152400 w 200025"/>
                <a:gd name="connsiteY36" fmla="*/ 80963 h 142875"/>
                <a:gd name="connsiteX37" fmla="*/ 151005 w 200025"/>
                <a:gd name="connsiteY37" fmla="*/ 84330 h 142875"/>
                <a:gd name="connsiteX38" fmla="*/ 133350 w 200025"/>
                <a:gd name="connsiteY38" fmla="*/ 101984 h 142875"/>
                <a:gd name="connsiteX39" fmla="*/ 133350 w 200025"/>
                <a:gd name="connsiteY39" fmla="*/ 142875 h 142875"/>
                <a:gd name="connsiteX40" fmla="*/ 152400 w 200025"/>
                <a:gd name="connsiteY40" fmla="*/ 142875 h 142875"/>
                <a:gd name="connsiteX41" fmla="*/ 159134 w 200025"/>
                <a:gd name="connsiteY41" fmla="*/ 140084 h 142875"/>
                <a:gd name="connsiteX42" fmla="*/ 197234 w 200025"/>
                <a:gd name="connsiteY42" fmla="*/ 101984 h 142875"/>
                <a:gd name="connsiteX43" fmla="*/ 200025 w 200025"/>
                <a:gd name="connsiteY43" fmla="*/ 95250 h 142875"/>
                <a:gd name="connsiteX44" fmla="*/ 200025 w 200025"/>
                <a:gd name="connsiteY44" fmla="*/ 9525 h 142875"/>
                <a:gd name="connsiteX45" fmla="*/ 190500 w 200025"/>
                <a:gd name="connsiteY45" fmla="*/ 0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0025" h="142875">
                  <a:moveTo>
                    <a:pt x="190500" y="0"/>
                  </a:moveTo>
                  <a:lnTo>
                    <a:pt x="9525" y="0"/>
                  </a:lnTo>
                  <a:cubicBezTo>
                    <a:pt x="4265" y="0"/>
                    <a:pt x="0" y="4261"/>
                    <a:pt x="0" y="9525"/>
                  </a:cubicBezTo>
                  <a:lnTo>
                    <a:pt x="0" y="95250"/>
                  </a:lnTo>
                  <a:cubicBezTo>
                    <a:pt x="0" y="97315"/>
                    <a:pt x="670" y="99315"/>
                    <a:pt x="1907" y="100961"/>
                  </a:cubicBezTo>
                  <a:lnTo>
                    <a:pt x="30482" y="139061"/>
                  </a:lnTo>
                  <a:cubicBezTo>
                    <a:pt x="32277" y="141462"/>
                    <a:pt x="35100" y="142875"/>
                    <a:pt x="38100" y="142875"/>
                  </a:cubicBezTo>
                  <a:lnTo>
                    <a:pt x="66675" y="142875"/>
                  </a:lnTo>
                  <a:lnTo>
                    <a:pt x="66675" y="101984"/>
                  </a:lnTo>
                  <a:lnTo>
                    <a:pt x="49020" y="84330"/>
                  </a:lnTo>
                  <a:cubicBezTo>
                    <a:pt x="48127" y="83437"/>
                    <a:pt x="47625" y="82227"/>
                    <a:pt x="47625" y="80963"/>
                  </a:cubicBezTo>
                  <a:lnTo>
                    <a:pt x="47625" y="56276"/>
                  </a:lnTo>
                  <a:cubicBezTo>
                    <a:pt x="42089" y="54308"/>
                    <a:pt x="38100" y="49075"/>
                    <a:pt x="38100" y="42863"/>
                  </a:cubicBezTo>
                  <a:cubicBezTo>
                    <a:pt x="38100" y="34972"/>
                    <a:pt x="44497" y="28575"/>
                    <a:pt x="52388" y="28575"/>
                  </a:cubicBezTo>
                  <a:cubicBezTo>
                    <a:pt x="60278" y="28575"/>
                    <a:pt x="66675" y="34972"/>
                    <a:pt x="66675" y="42863"/>
                  </a:cubicBezTo>
                  <a:cubicBezTo>
                    <a:pt x="66675" y="49075"/>
                    <a:pt x="62686" y="54308"/>
                    <a:pt x="57150" y="56276"/>
                  </a:cubicBezTo>
                  <a:lnTo>
                    <a:pt x="57150" y="78991"/>
                  </a:lnTo>
                  <a:lnTo>
                    <a:pt x="74805" y="96645"/>
                  </a:lnTo>
                  <a:cubicBezTo>
                    <a:pt x="75698" y="97538"/>
                    <a:pt x="76200" y="98748"/>
                    <a:pt x="76200" y="100013"/>
                  </a:cubicBezTo>
                  <a:lnTo>
                    <a:pt x="76200" y="142875"/>
                  </a:lnTo>
                  <a:lnTo>
                    <a:pt x="95250" y="142875"/>
                  </a:lnTo>
                  <a:lnTo>
                    <a:pt x="95250" y="56276"/>
                  </a:lnTo>
                  <a:cubicBezTo>
                    <a:pt x="89714" y="54308"/>
                    <a:pt x="85725" y="49075"/>
                    <a:pt x="85725" y="42863"/>
                  </a:cubicBezTo>
                  <a:cubicBezTo>
                    <a:pt x="85725" y="34972"/>
                    <a:pt x="92122" y="28575"/>
                    <a:pt x="100013" y="28575"/>
                  </a:cubicBezTo>
                  <a:cubicBezTo>
                    <a:pt x="107903" y="28575"/>
                    <a:pt x="114300" y="34972"/>
                    <a:pt x="114300" y="42863"/>
                  </a:cubicBezTo>
                  <a:cubicBezTo>
                    <a:pt x="114300" y="49075"/>
                    <a:pt x="110311" y="54308"/>
                    <a:pt x="104775" y="56276"/>
                  </a:cubicBezTo>
                  <a:lnTo>
                    <a:pt x="104775" y="142875"/>
                  </a:lnTo>
                  <a:lnTo>
                    <a:pt x="123825" y="142875"/>
                  </a:lnTo>
                  <a:lnTo>
                    <a:pt x="123825" y="100013"/>
                  </a:lnTo>
                  <a:cubicBezTo>
                    <a:pt x="123825" y="98748"/>
                    <a:pt x="124327" y="97538"/>
                    <a:pt x="125220" y="96645"/>
                  </a:cubicBezTo>
                  <a:lnTo>
                    <a:pt x="142875" y="78991"/>
                  </a:lnTo>
                  <a:lnTo>
                    <a:pt x="142875" y="56276"/>
                  </a:lnTo>
                  <a:cubicBezTo>
                    <a:pt x="137339" y="54308"/>
                    <a:pt x="133350" y="49075"/>
                    <a:pt x="133350" y="42863"/>
                  </a:cubicBezTo>
                  <a:cubicBezTo>
                    <a:pt x="133350" y="34972"/>
                    <a:pt x="139747" y="28575"/>
                    <a:pt x="147638" y="28575"/>
                  </a:cubicBezTo>
                  <a:cubicBezTo>
                    <a:pt x="155528" y="28575"/>
                    <a:pt x="161925" y="34972"/>
                    <a:pt x="161925" y="42863"/>
                  </a:cubicBezTo>
                  <a:cubicBezTo>
                    <a:pt x="161925" y="49075"/>
                    <a:pt x="157936" y="54308"/>
                    <a:pt x="152400" y="56276"/>
                  </a:cubicBezTo>
                  <a:lnTo>
                    <a:pt x="152400" y="80963"/>
                  </a:lnTo>
                  <a:cubicBezTo>
                    <a:pt x="152400" y="82227"/>
                    <a:pt x="151898" y="83437"/>
                    <a:pt x="151005" y="84330"/>
                  </a:cubicBezTo>
                  <a:lnTo>
                    <a:pt x="133350" y="101984"/>
                  </a:lnTo>
                  <a:lnTo>
                    <a:pt x="133350" y="142875"/>
                  </a:lnTo>
                  <a:lnTo>
                    <a:pt x="152400" y="142875"/>
                  </a:lnTo>
                  <a:cubicBezTo>
                    <a:pt x="154925" y="142875"/>
                    <a:pt x="157348" y="141870"/>
                    <a:pt x="159134" y="140084"/>
                  </a:cubicBezTo>
                  <a:lnTo>
                    <a:pt x="197234" y="101984"/>
                  </a:lnTo>
                  <a:cubicBezTo>
                    <a:pt x="199020" y="100198"/>
                    <a:pt x="200025" y="97780"/>
                    <a:pt x="200025" y="95250"/>
                  </a:cubicBezTo>
                  <a:lnTo>
                    <a:pt x="200025" y="9525"/>
                  </a:lnTo>
                  <a:cubicBezTo>
                    <a:pt x="200025" y="4261"/>
                    <a:pt x="195760" y="0"/>
                    <a:pt x="190500" y="0"/>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6" name="Gráfico 15" descr="Cubo com preenchimento sólido">
            <a:extLst>
              <a:ext uri="{FF2B5EF4-FFF2-40B4-BE49-F238E27FC236}">
                <a16:creationId xmlns:a16="http://schemas.microsoft.com/office/drawing/2014/main" id="{4D957E39-97C8-6487-3398-D26F46D5F6BE}"/>
              </a:ext>
            </a:extLst>
          </p:cNvPr>
          <p:cNvPicPr>
            <a:picLocks noChangeAspect="1"/>
          </p:cNvPicPr>
          <p:nvPr/>
        </p:nvPicPr>
        <p:blipFill>
          <a:blip r:embed="rId96">
            <a:extLst>
              <a:ext uri="{96DAC541-7B7A-43D3-8B79-37D633B846F1}">
                <asvg:svgBlip xmlns:asvg="http://schemas.microsoft.com/office/drawing/2016/SVG/main" r:embed="rId97"/>
              </a:ext>
            </a:extLst>
          </a:blip>
          <a:stretch>
            <a:fillRect/>
          </a:stretch>
        </p:blipFill>
        <p:spPr>
          <a:xfrm>
            <a:off x="7189364" y="2450749"/>
            <a:ext cx="360000" cy="360000"/>
          </a:xfrm>
          <a:prstGeom prst="rect">
            <a:avLst/>
          </a:prstGeom>
          <a:effectLst/>
        </p:spPr>
      </p:pic>
    </p:spTree>
    <p:extLst>
      <p:ext uri="{BB962C8B-B14F-4D97-AF65-F5344CB8AC3E}">
        <p14:creationId xmlns:p14="http://schemas.microsoft.com/office/powerpoint/2010/main" val="269334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par>
                                <p:cTn id="8" presetID="35" presetClass="path" presetSubtype="0" accel="17000" decel="83000" fill="hold" grpId="1" nodeType="withEffect">
                                  <p:stCondLst>
                                    <p:cond delay="250"/>
                                  </p:stCondLst>
                                  <p:childTnLst>
                                    <p:animMotion origin="layout" path="M 0.00053 -0.04485 L 3.57206E-6 4.46535E-6 " pathEditMode="relative" rAng="0" ptsTypes="AA">
                                      <p:cBhvr>
                                        <p:cTn id="9" dur="1100" fill="hold"/>
                                        <p:tgtEl>
                                          <p:spTgt spid="44"/>
                                        </p:tgtEl>
                                        <p:attrNameLst>
                                          <p:attrName>ppt_x</p:attrName>
                                          <p:attrName>ppt_y</p:attrName>
                                        </p:attrNameLst>
                                      </p:cBhvr>
                                      <p:rCtr x="-35" y="2226"/>
                                    </p:animMotion>
                                  </p:childTnLst>
                                </p:cTn>
                              </p:par>
                              <p:par>
                                <p:cTn id="10" presetID="10" presetClass="entr" presetSubtype="0" fill="hold" nodeType="withEffect">
                                  <p:stCondLst>
                                    <p:cond delay="750"/>
                                  </p:stCondLst>
                                  <p:childTnLst>
                                    <p:set>
                                      <p:cBhvr>
                                        <p:cTn id="11" dur="1" fill="hold">
                                          <p:stCondLst>
                                            <p:cond delay="0"/>
                                          </p:stCondLst>
                                        </p:cTn>
                                        <p:tgtEl>
                                          <p:spTgt spid="53"/>
                                        </p:tgtEl>
                                        <p:attrNameLst>
                                          <p:attrName>style.visibility</p:attrName>
                                        </p:attrNameLst>
                                      </p:cBhvr>
                                      <p:to>
                                        <p:strVal val="visible"/>
                                      </p:to>
                                    </p:set>
                                    <p:animEffect transition="in" filter="fade">
                                      <p:cBhvr>
                                        <p:cTn id="12" dur="500"/>
                                        <p:tgtEl>
                                          <p:spTgt spid="53"/>
                                        </p:tgtEl>
                                      </p:cBhvr>
                                    </p:animEffect>
                                  </p:childTnLst>
                                </p:cTn>
                              </p:par>
                              <p:par>
                                <p:cTn id="13" presetID="23" presetClass="entr" presetSubtype="288" fill="hold" nodeType="withEffect">
                                  <p:stCondLst>
                                    <p:cond delay="750"/>
                                  </p:stCondLst>
                                  <p:childTnLst>
                                    <p:set>
                                      <p:cBhvr>
                                        <p:cTn id="14" dur="1" fill="hold">
                                          <p:stCondLst>
                                            <p:cond delay="0"/>
                                          </p:stCondLst>
                                        </p:cTn>
                                        <p:tgtEl>
                                          <p:spTgt spid="53"/>
                                        </p:tgtEl>
                                        <p:attrNameLst>
                                          <p:attrName>style.visibility</p:attrName>
                                        </p:attrNameLst>
                                      </p:cBhvr>
                                      <p:to>
                                        <p:strVal val="visible"/>
                                      </p:to>
                                    </p:set>
                                    <p:anim calcmode="lin" valueType="num">
                                      <p:cBhvr>
                                        <p:cTn id="15" dur="500" fill="hold"/>
                                        <p:tgtEl>
                                          <p:spTgt spid="53"/>
                                        </p:tgtEl>
                                        <p:attrNameLst>
                                          <p:attrName>ppt_w</p:attrName>
                                        </p:attrNameLst>
                                      </p:cBhvr>
                                      <p:tavLst>
                                        <p:tav tm="0">
                                          <p:val>
                                            <p:strVal val="4/3*#ppt_w"/>
                                          </p:val>
                                        </p:tav>
                                        <p:tav tm="100000">
                                          <p:val>
                                            <p:strVal val="#ppt_w"/>
                                          </p:val>
                                        </p:tav>
                                      </p:tavLst>
                                    </p:anim>
                                    <p:anim calcmode="lin" valueType="num">
                                      <p:cBhvr>
                                        <p:cTn id="16" dur="500" fill="hold"/>
                                        <p:tgtEl>
                                          <p:spTgt spid="53"/>
                                        </p:tgtEl>
                                        <p:attrNameLst>
                                          <p:attrName>ppt_h</p:attrName>
                                        </p:attrNameLst>
                                      </p:cBhvr>
                                      <p:tavLst>
                                        <p:tav tm="0">
                                          <p:val>
                                            <p:strVal val="4/3*#ppt_h"/>
                                          </p:val>
                                        </p:tav>
                                        <p:tav tm="100000">
                                          <p:val>
                                            <p:strVal val="#ppt_h"/>
                                          </p:val>
                                        </p:tav>
                                      </p:tavLst>
                                    </p:anim>
                                  </p:childTnLst>
                                </p:cTn>
                              </p:par>
                              <p:par>
                                <p:cTn id="17" presetID="10" presetClass="entr" presetSubtype="0" fill="hold" nodeType="withEffect">
                                  <p:stCondLst>
                                    <p:cond delay="0"/>
                                  </p:stCondLst>
                                  <p:childTnLst>
                                    <p:set>
                                      <p:cBhvr>
                                        <p:cTn id="18" dur="1" fill="hold">
                                          <p:stCondLst>
                                            <p:cond delay="0"/>
                                          </p:stCondLst>
                                        </p:cTn>
                                        <p:tgtEl>
                                          <p:spTgt spid="248"/>
                                        </p:tgtEl>
                                        <p:attrNameLst>
                                          <p:attrName>style.visibility</p:attrName>
                                        </p:attrNameLst>
                                      </p:cBhvr>
                                      <p:to>
                                        <p:strVal val="visible"/>
                                      </p:to>
                                    </p:set>
                                    <p:animEffect transition="in" filter="fade">
                                      <p:cBhvr>
                                        <p:cTn id="19" dur="1000"/>
                                        <p:tgtEl>
                                          <p:spTgt spid="248"/>
                                        </p:tgtEl>
                                      </p:cBhvr>
                                    </p:animEffect>
                                  </p:childTnLst>
                                </p:cTn>
                              </p:par>
                              <p:par>
                                <p:cTn id="20" presetID="10" presetClass="entr" presetSubtype="0" fill="hold" nodeType="withEffect">
                                  <p:stCondLst>
                                    <p:cond delay="0"/>
                                  </p:stCondLst>
                                  <p:childTnLst>
                                    <p:set>
                                      <p:cBhvr>
                                        <p:cTn id="21" dur="1" fill="hold">
                                          <p:stCondLst>
                                            <p:cond delay="0"/>
                                          </p:stCondLst>
                                        </p:cTn>
                                        <p:tgtEl>
                                          <p:spTgt spid="64"/>
                                        </p:tgtEl>
                                        <p:attrNameLst>
                                          <p:attrName>style.visibility</p:attrName>
                                        </p:attrNameLst>
                                      </p:cBhvr>
                                      <p:to>
                                        <p:strVal val="visible"/>
                                      </p:to>
                                    </p:set>
                                    <p:animEffect transition="in" filter="fade">
                                      <p:cBhvr>
                                        <p:cTn id="22" dur="500"/>
                                        <p:tgtEl>
                                          <p:spTgt spid="64"/>
                                        </p:tgtEl>
                                      </p:cBhvr>
                                    </p:animEffect>
                                  </p:childTnLst>
                                </p:cTn>
                              </p:par>
                              <p:par>
                                <p:cTn id="23" presetID="35" presetClass="path" presetSubtype="0" accel="17000" decel="83000" fill="hold" nodeType="withEffect">
                                  <p:stCondLst>
                                    <p:cond delay="0"/>
                                  </p:stCondLst>
                                  <p:childTnLst>
                                    <p:animMotion origin="layout" path="M 0.00053 -0.04484 L -3.61792E-6 -2.97585E-6 " pathEditMode="relative" rAng="0" ptsTypes="AA">
                                      <p:cBhvr>
                                        <p:cTn id="24" dur="1100" fill="hold"/>
                                        <p:tgtEl>
                                          <p:spTgt spid="64"/>
                                        </p:tgtEl>
                                        <p:attrNameLst>
                                          <p:attrName>ppt_x</p:attrName>
                                          <p:attrName>ppt_y</p:attrName>
                                        </p:attrNameLst>
                                      </p:cBhvr>
                                      <p:rCtr x="-35" y="2226"/>
                                    </p:animMotion>
                                  </p:childTnLst>
                                </p:cTn>
                              </p:par>
                              <p:par>
                                <p:cTn id="25" presetID="53" presetClass="entr" presetSubtype="0" fill="hold" nodeType="withEffect">
                                  <p:stCondLst>
                                    <p:cond delay="750"/>
                                  </p:stCondLst>
                                  <p:childTnLst>
                                    <p:set>
                                      <p:cBhvr>
                                        <p:cTn id="26" dur="1" fill="hold">
                                          <p:stCondLst>
                                            <p:cond delay="0"/>
                                          </p:stCondLst>
                                        </p:cTn>
                                        <p:tgtEl>
                                          <p:spTgt spid="73"/>
                                        </p:tgtEl>
                                        <p:attrNameLst>
                                          <p:attrName>style.visibility</p:attrName>
                                        </p:attrNameLst>
                                      </p:cBhvr>
                                      <p:to>
                                        <p:strVal val="visible"/>
                                      </p:to>
                                    </p:set>
                                    <p:anim calcmode="lin" valueType="num">
                                      <p:cBhvr>
                                        <p:cTn id="27" dur="500" fill="hold"/>
                                        <p:tgtEl>
                                          <p:spTgt spid="73"/>
                                        </p:tgtEl>
                                        <p:attrNameLst>
                                          <p:attrName>ppt_w</p:attrName>
                                        </p:attrNameLst>
                                      </p:cBhvr>
                                      <p:tavLst>
                                        <p:tav tm="0">
                                          <p:val>
                                            <p:fltVal val="0"/>
                                          </p:val>
                                        </p:tav>
                                        <p:tav tm="100000">
                                          <p:val>
                                            <p:strVal val="#ppt_w"/>
                                          </p:val>
                                        </p:tav>
                                      </p:tavLst>
                                    </p:anim>
                                    <p:anim calcmode="lin" valueType="num">
                                      <p:cBhvr>
                                        <p:cTn id="28" dur="500" fill="hold"/>
                                        <p:tgtEl>
                                          <p:spTgt spid="73"/>
                                        </p:tgtEl>
                                        <p:attrNameLst>
                                          <p:attrName>ppt_h</p:attrName>
                                        </p:attrNameLst>
                                      </p:cBhvr>
                                      <p:tavLst>
                                        <p:tav tm="0">
                                          <p:val>
                                            <p:fltVal val="0"/>
                                          </p:val>
                                        </p:tav>
                                        <p:tav tm="100000">
                                          <p:val>
                                            <p:strVal val="#ppt_h"/>
                                          </p:val>
                                        </p:tav>
                                      </p:tavLst>
                                    </p:anim>
                                    <p:animEffect transition="in" filter="fade">
                                      <p:cBhvr>
                                        <p:cTn id="29" dur="500"/>
                                        <p:tgtEl>
                                          <p:spTgt spid="73"/>
                                        </p:tgtEl>
                                      </p:cBhvr>
                                    </p:animEffect>
                                  </p:childTnLst>
                                </p:cTn>
                              </p:par>
                              <p:par>
                                <p:cTn id="30" presetID="10" presetClass="entr" presetSubtype="0" fill="hold" grpId="0" nodeType="withEffect">
                                  <p:stCondLst>
                                    <p:cond delay="100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35" presetClass="path" presetSubtype="0" accel="17000" decel="83000" fill="hold" grpId="1" nodeType="withEffect">
                                  <p:stCondLst>
                                    <p:cond delay="1000"/>
                                  </p:stCondLst>
                                  <p:childTnLst>
                                    <p:animMotion origin="layout" path="M -0.00017 0.04578 L -4.95325E-06 -1.82189E-06" pathEditMode="relative" rAng="0" ptsTypes="AA">
                                      <p:cBhvr>
                                        <p:cTn id="34" dur="500" fill="hold"/>
                                        <p:tgtEl>
                                          <p:spTgt spid="66"/>
                                        </p:tgtEl>
                                        <p:attrNameLst>
                                          <p:attrName>ppt_x</p:attrName>
                                          <p:attrName>ppt_y</p:attrName>
                                        </p:attrNameLst>
                                      </p:cBhvr>
                                      <p:rCtr x="0" y="-2289"/>
                                    </p:animMotion>
                                  </p:childTnLst>
                                </p:cTn>
                              </p:par>
                              <p:par>
                                <p:cTn id="35" presetID="53" presetClass="entr" presetSubtype="0" fill="hold" nodeType="withEffect">
                                  <p:stCondLst>
                                    <p:cond delay="1250"/>
                                  </p:stCondLst>
                                  <p:childTnLst>
                                    <p:set>
                                      <p:cBhvr>
                                        <p:cTn id="36" dur="1" fill="hold">
                                          <p:stCondLst>
                                            <p:cond delay="0"/>
                                          </p:stCondLst>
                                        </p:cTn>
                                        <p:tgtEl>
                                          <p:spTgt spid="49"/>
                                        </p:tgtEl>
                                        <p:attrNameLst>
                                          <p:attrName>style.visibility</p:attrName>
                                        </p:attrNameLst>
                                      </p:cBhvr>
                                      <p:to>
                                        <p:strVal val="visible"/>
                                      </p:to>
                                    </p:set>
                                    <p:anim calcmode="lin" valueType="num">
                                      <p:cBhvr>
                                        <p:cTn id="37" dur="500" fill="hold"/>
                                        <p:tgtEl>
                                          <p:spTgt spid="49"/>
                                        </p:tgtEl>
                                        <p:attrNameLst>
                                          <p:attrName>ppt_w</p:attrName>
                                        </p:attrNameLst>
                                      </p:cBhvr>
                                      <p:tavLst>
                                        <p:tav tm="0">
                                          <p:val>
                                            <p:fltVal val="0"/>
                                          </p:val>
                                        </p:tav>
                                        <p:tav tm="100000">
                                          <p:val>
                                            <p:strVal val="#ppt_w"/>
                                          </p:val>
                                        </p:tav>
                                      </p:tavLst>
                                    </p:anim>
                                    <p:anim calcmode="lin" valueType="num">
                                      <p:cBhvr>
                                        <p:cTn id="38" dur="500" fill="hold"/>
                                        <p:tgtEl>
                                          <p:spTgt spid="49"/>
                                        </p:tgtEl>
                                        <p:attrNameLst>
                                          <p:attrName>ppt_h</p:attrName>
                                        </p:attrNameLst>
                                      </p:cBhvr>
                                      <p:tavLst>
                                        <p:tav tm="0">
                                          <p:val>
                                            <p:fltVal val="0"/>
                                          </p:val>
                                        </p:tav>
                                        <p:tav tm="100000">
                                          <p:val>
                                            <p:strVal val="#ppt_h"/>
                                          </p:val>
                                        </p:tav>
                                      </p:tavLst>
                                    </p:anim>
                                    <p:animEffect transition="in" filter="fade">
                                      <p:cBhvr>
                                        <p:cTn id="39" dur="500"/>
                                        <p:tgtEl>
                                          <p:spTgt spid="49"/>
                                        </p:tgtEl>
                                      </p:cBhvr>
                                    </p:animEffect>
                                  </p:childTnLst>
                                </p:cTn>
                              </p:par>
                              <p:par>
                                <p:cTn id="40" presetID="10" presetClass="entr" presetSubtype="0" fill="hold" nodeType="withEffect">
                                  <p:stCondLst>
                                    <p:cond delay="1250"/>
                                  </p:stCondLst>
                                  <p:childTnLst>
                                    <p:set>
                                      <p:cBhvr>
                                        <p:cTn id="41" dur="1" fill="hold">
                                          <p:stCondLst>
                                            <p:cond delay="0"/>
                                          </p:stCondLst>
                                        </p:cTn>
                                        <p:tgtEl>
                                          <p:spTgt spid="56"/>
                                        </p:tgtEl>
                                        <p:attrNameLst>
                                          <p:attrName>style.visibility</p:attrName>
                                        </p:attrNameLst>
                                      </p:cBhvr>
                                      <p:to>
                                        <p:strVal val="visible"/>
                                      </p:to>
                                    </p:set>
                                    <p:animEffect transition="in" filter="fade">
                                      <p:cBhvr>
                                        <p:cTn id="42" dur="500"/>
                                        <p:tgtEl>
                                          <p:spTgt spid="56"/>
                                        </p:tgtEl>
                                      </p:cBhvr>
                                    </p:animEffect>
                                  </p:childTnLst>
                                </p:cTn>
                              </p:par>
                              <p:par>
                                <p:cTn id="43" presetID="23" presetClass="entr" presetSubtype="288" fill="hold" nodeType="withEffect">
                                  <p:stCondLst>
                                    <p:cond delay="1250"/>
                                  </p:stCondLst>
                                  <p:childTnLst>
                                    <p:set>
                                      <p:cBhvr>
                                        <p:cTn id="44" dur="1" fill="hold">
                                          <p:stCondLst>
                                            <p:cond delay="0"/>
                                          </p:stCondLst>
                                        </p:cTn>
                                        <p:tgtEl>
                                          <p:spTgt spid="56"/>
                                        </p:tgtEl>
                                        <p:attrNameLst>
                                          <p:attrName>style.visibility</p:attrName>
                                        </p:attrNameLst>
                                      </p:cBhvr>
                                      <p:to>
                                        <p:strVal val="visible"/>
                                      </p:to>
                                    </p:set>
                                    <p:anim calcmode="lin" valueType="num">
                                      <p:cBhvr>
                                        <p:cTn id="45" dur="500" fill="hold"/>
                                        <p:tgtEl>
                                          <p:spTgt spid="56"/>
                                        </p:tgtEl>
                                        <p:attrNameLst>
                                          <p:attrName>ppt_w</p:attrName>
                                        </p:attrNameLst>
                                      </p:cBhvr>
                                      <p:tavLst>
                                        <p:tav tm="0">
                                          <p:val>
                                            <p:strVal val="4/3*#ppt_w"/>
                                          </p:val>
                                        </p:tav>
                                        <p:tav tm="100000">
                                          <p:val>
                                            <p:strVal val="#ppt_w"/>
                                          </p:val>
                                        </p:tav>
                                      </p:tavLst>
                                    </p:anim>
                                    <p:anim calcmode="lin" valueType="num">
                                      <p:cBhvr>
                                        <p:cTn id="46" dur="500" fill="hold"/>
                                        <p:tgtEl>
                                          <p:spTgt spid="56"/>
                                        </p:tgtEl>
                                        <p:attrNameLst>
                                          <p:attrName>ppt_h</p:attrName>
                                        </p:attrNameLst>
                                      </p:cBhvr>
                                      <p:tavLst>
                                        <p:tav tm="0">
                                          <p:val>
                                            <p:strVal val="4/3*#ppt_h"/>
                                          </p:val>
                                        </p:tav>
                                        <p:tav tm="100000">
                                          <p:val>
                                            <p:strVal val="#ppt_h"/>
                                          </p:val>
                                        </p:tav>
                                      </p:tavLst>
                                    </p:anim>
                                  </p:childTnLst>
                                </p:cTn>
                              </p:par>
                              <p:par>
                                <p:cTn id="47" presetID="10" presetClass="entr" presetSubtype="0" fill="hold" grpId="0" nodeType="withEffect">
                                  <p:stCondLst>
                                    <p:cond delay="1500"/>
                                  </p:stCondLst>
                                  <p:childTnLst>
                                    <p:set>
                                      <p:cBhvr>
                                        <p:cTn id="48" dur="1" fill="hold">
                                          <p:stCondLst>
                                            <p:cond delay="0"/>
                                          </p:stCondLst>
                                        </p:cTn>
                                        <p:tgtEl>
                                          <p:spTgt spid="67"/>
                                        </p:tgtEl>
                                        <p:attrNameLst>
                                          <p:attrName>style.visibility</p:attrName>
                                        </p:attrNameLst>
                                      </p:cBhvr>
                                      <p:to>
                                        <p:strVal val="visible"/>
                                      </p:to>
                                    </p:set>
                                    <p:animEffect transition="in" filter="fade">
                                      <p:cBhvr>
                                        <p:cTn id="49" dur="500"/>
                                        <p:tgtEl>
                                          <p:spTgt spid="67"/>
                                        </p:tgtEl>
                                      </p:cBhvr>
                                    </p:animEffect>
                                  </p:childTnLst>
                                </p:cTn>
                              </p:par>
                              <p:par>
                                <p:cTn id="50" presetID="35" presetClass="path" presetSubtype="0" accel="17000" decel="83000" fill="hold" grpId="1" nodeType="withEffect">
                                  <p:stCondLst>
                                    <p:cond delay="1500"/>
                                  </p:stCondLst>
                                  <p:childTnLst>
                                    <p:animMotion origin="layout" path="M -0.00018 0.04578 L 2.43606E-6 1.44873E-6 " pathEditMode="relative" rAng="0" ptsTypes="AA">
                                      <p:cBhvr>
                                        <p:cTn id="51" dur="500" fill="hold"/>
                                        <p:tgtEl>
                                          <p:spTgt spid="67"/>
                                        </p:tgtEl>
                                        <p:attrNameLst>
                                          <p:attrName>ppt_x</p:attrName>
                                          <p:attrName>ppt_y</p:attrName>
                                        </p:attrNameLst>
                                      </p:cBhvr>
                                      <p:rCtr x="0" y="-2289"/>
                                    </p:animMotion>
                                  </p:childTnLst>
                                </p:cTn>
                              </p:par>
                              <p:par>
                                <p:cTn id="52" presetID="10" presetClass="entr" presetSubtype="0" fill="hold" nodeType="withEffect">
                                  <p:stCondLst>
                                    <p:cond delay="1750"/>
                                  </p:stCondLst>
                                  <p:childTnLst>
                                    <p:set>
                                      <p:cBhvr>
                                        <p:cTn id="53" dur="1" fill="hold">
                                          <p:stCondLst>
                                            <p:cond delay="0"/>
                                          </p:stCondLst>
                                        </p:cTn>
                                        <p:tgtEl>
                                          <p:spTgt spid="74"/>
                                        </p:tgtEl>
                                        <p:attrNameLst>
                                          <p:attrName>style.visibility</p:attrName>
                                        </p:attrNameLst>
                                      </p:cBhvr>
                                      <p:to>
                                        <p:strVal val="visible"/>
                                      </p:to>
                                    </p:set>
                                    <p:animEffect transition="in" filter="fade">
                                      <p:cBhvr>
                                        <p:cTn id="54" dur="500"/>
                                        <p:tgtEl>
                                          <p:spTgt spid="74"/>
                                        </p:tgtEl>
                                      </p:cBhvr>
                                    </p:animEffect>
                                  </p:childTnLst>
                                </p:cTn>
                              </p:par>
                              <p:par>
                                <p:cTn id="55" presetID="23" presetClass="entr" presetSubtype="288" fill="hold" nodeType="withEffect">
                                  <p:stCondLst>
                                    <p:cond delay="1750"/>
                                  </p:stCondLst>
                                  <p:childTnLst>
                                    <p:set>
                                      <p:cBhvr>
                                        <p:cTn id="56" dur="1" fill="hold">
                                          <p:stCondLst>
                                            <p:cond delay="0"/>
                                          </p:stCondLst>
                                        </p:cTn>
                                        <p:tgtEl>
                                          <p:spTgt spid="74"/>
                                        </p:tgtEl>
                                        <p:attrNameLst>
                                          <p:attrName>style.visibility</p:attrName>
                                        </p:attrNameLst>
                                      </p:cBhvr>
                                      <p:to>
                                        <p:strVal val="visible"/>
                                      </p:to>
                                    </p:set>
                                    <p:anim calcmode="lin" valueType="num">
                                      <p:cBhvr>
                                        <p:cTn id="57" dur="500" fill="hold"/>
                                        <p:tgtEl>
                                          <p:spTgt spid="74"/>
                                        </p:tgtEl>
                                        <p:attrNameLst>
                                          <p:attrName>ppt_w</p:attrName>
                                        </p:attrNameLst>
                                      </p:cBhvr>
                                      <p:tavLst>
                                        <p:tav tm="0">
                                          <p:val>
                                            <p:strVal val="4/3*#ppt_w"/>
                                          </p:val>
                                        </p:tav>
                                        <p:tav tm="100000">
                                          <p:val>
                                            <p:strVal val="#ppt_w"/>
                                          </p:val>
                                        </p:tav>
                                      </p:tavLst>
                                    </p:anim>
                                    <p:anim calcmode="lin" valueType="num">
                                      <p:cBhvr>
                                        <p:cTn id="58" dur="500" fill="hold"/>
                                        <p:tgtEl>
                                          <p:spTgt spid="74"/>
                                        </p:tgtEl>
                                        <p:attrNameLst>
                                          <p:attrName>ppt_h</p:attrName>
                                        </p:attrNameLst>
                                      </p:cBhvr>
                                      <p:tavLst>
                                        <p:tav tm="0">
                                          <p:val>
                                            <p:strVal val="4/3*#ppt_h"/>
                                          </p:val>
                                        </p:tav>
                                        <p:tav tm="100000">
                                          <p:val>
                                            <p:strVal val="#ppt_h"/>
                                          </p:val>
                                        </p:tav>
                                      </p:tavLst>
                                    </p:anim>
                                  </p:childTnLst>
                                </p:cTn>
                              </p:par>
                              <p:par>
                                <p:cTn id="59" presetID="10" presetClass="entr" presetSubtype="0" fill="hold" nodeType="withEffect">
                                  <p:stCondLst>
                                    <p:cond delay="2250"/>
                                  </p:stCondLst>
                                  <p:childTnLst>
                                    <p:set>
                                      <p:cBhvr>
                                        <p:cTn id="60" dur="1" fill="hold">
                                          <p:stCondLst>
                                            <p:cond delay="0"/>
                                          </p:stCondLst>
                                        </p:cTn>
                                        <p:tgtEl>
                                          <p:spTgt spid="173"/>
                                        </p:tgtEl>
                                        <p:attrNameLst>
                                          <p:attrName>style.visibility</p:attrName>
                                        </p:attrNameLst>
                                      </p:cBhvr>
                                      <p:to>
                                        <p:strVal val="visible"/>
                                      </p:to>
                                    </p:set>
                                    <p:animEffect transition="in" filter="fade">
                                      <p:cBhvr>
                                        <p:cTn id="61" dur="500"/>
                                        <p:tgtEl>
                                          <p:spTgt spid="173"/>
                                        </p:tgtEl>
                                      </p:cBhvr>
                                    </p:animEffect>
                                  </p:childTnLst>
                                </p:cTn>
                              </p:par>
                              <p:par>
                                <p:cTn id="62" presetID="23" presetClass="entr" presetSubtype="288" fill="hold" nodeType="withEffect">
                                  <p:stCondLst>
                                    <p:cond delay="2250"/>
                                  </p:stCondLst>
                                  <p:childTnLst>
                                    <p:set>
                                      <p:cBhvr>
                                        <p:cTn id="63" dur="1" fill="hold">
                                          <p:stCondLst>
                                            <p:cond delay="0"/>
                                          </p:stCondLst>
                                        </p:cTn>
                                        <p:tgtEl>
                                          <p:spTgt spid="173"/>
                                        </p:tgtEl>
                                        <p:attrNameLst>
                                          <p:attrName>style.visibility</p:attrName>
                                        </p:attrNameLst>
                                      </p:cBhvr>
                                      <p:to>
                                        <p:strVal val="visible"/>
                                      </p:to>
                                    </p:set>
                                    <p:anim calcmode="lin" valueType="num">
                                      <p:cBhvr>
                                        <p:cTn id="64" dur="500" fill="hold"/>
                                        <p:tgtEl>
                                          <p:spTgt spid="173"/>
                                        </p:tgtEl>
                                        <p:attrNameLst>
                                          <p:attrName>ppt_w</p:attrName>
                                        </p:attrNameLst>
                                      </p:cBhvr>
                                      <p:tavLst>
                                        <p:tav tm="0">
                                          <p:val>
                                            <p:strVal val="4/3*#ppt_w"/>
                                          </p:val>
                                        </p:tav>
                                        <p:tav tm="100000">
                                          <p:val>
                                            <p:strVal val="#ppt_w"/>
                                          </p:val>
                                        </p:tav>
                                      </p:tavLst>
                                    </p:anim>
                                    <p:anim calcmode="lin" valueType="num">
                                      <p:cBhvr>
                                        <p:cTn id="65" dur="500" fill="hold"/>
                                        <p:tgtEl>
                                          <p:spTgt spid="173"/>
                                        </p:tgtEl>
                                        <p:attrNameLst>
                                          <p:attrName>ppt_h</p:attrName>
                                        </p:attrNameLst>
                                      </p:cBhvr>
                                      <p:tavLst>
                                        <p:tav tm="0">
                                          <p:val>
                                            <p:strVal val="4/3*#ppt_h"/>
                                          </p:val>
                                        </p:tav>
                                        <p:tav tm="100000">
                                          <p:val>
                                            <p:strVal val="#ppt_h"/>
                                          </p:val>
                                        </p:tav>
                                      </p:tavLst>
                                    </p:anim>
                                  </p:childTnLst>
                                </p:cTn>
                              </p:par>
                              <p:par>
                                <p:cTn id="66" presetID="10" presetClass="entr" presetSubtype="0" fill="hold" nodeType="withEffect">
                                  <p:stCondLst>
                                    <p:cond delay="2250"/>
                                  </p:stCondLst>
                                  <p:childTnLst>
                                    <p:set>
                                      <p:cBhvr>
                                        <p:cTn id="67" dur="1" fill="hold">
                                          <p:stCondLst>
                                            <p:cond delay="0"/>
                                          </p:stCondLst>
                                        </p:cTn>
                                        <p:tgtEl>
                                          <p:spTgt spid="107"/>
                                        </p:tgtEl>
                                        <p:attrNameLst>
                                          <p:attrName>style.visibility</p:attrName>
                                        </p:attrNameLst>
                                      </p:cBhvr>
                                      <p:to>
                                        <p:strVal val="visible"/>
                                      </p:to>
                                    </p:set>
                                    <p:animEffect transition="in" filter="fade">
                                      <p:cBhvr>
                                        <p:cTn id="68" dur="500"/>
                                        <p:tgtEl>
                                          <p:spTgt spid="107"/>
                                        </p:tgtEl>
                                      </p:cBhvr>
                                    </p:animEffect>
                                  </p:childTnLst>
                                </p:cTn>
                              </p:par>
                              <p:par>
                                <p:cTn id="69" presetID="35" presetClass="path" presetSubtype="0" accel="17000" decel="83000" fill="hold" nodeType="withEffect">
                                  <p:stCondLst>
                                    <p:cond delay="2250"/>
                                  </p:stCondLst>
                                  <p:childTnLst>
                                    <p:animMotion origin="layout" path="M -0.00017 0.04579 L -1.67931E-06 -4.46535E-06" pathEditMode="relative" rAng="0" ptsTypes="AA">
                                      <p:cBhvr>
                                        <p:cTn id="70" dur="500" fill="hold"/>
                                        <p:tgtEl>
                                          <p:spTgt spid="107"/>
                                        </p:tgtEl>
                                        <p:attrNameLst>
                                          <p:attrName>ppt_x</p:attrName>
                                          <p:attrName>ppt_y</p:attrName>
                                        </p:attrNameLst>
                                      </p:cBhvr>
                                      <p:rCtr x="0" y="-2289"/>
                                    </p:animMotion>
                                  </p:childTnLst>
                                </p:cTn>
                              </p:par>
                              <p:par>
                                <p:cTn id="71" presetID="10" presetClass="entr" presetSubtype="0" fill="hold" nodeType="withEffect">
                                  <p:stCondLst>
                                    <p:cond delay="2500"/>
                                  </p:stCondLst>
                                  <p:childTnLst>
                                    <p:set>
                                      <p:cBhvr>
                                        <p:cTn id="72" dur="1" fill="hold">
                                          <p:stCondLst>
                                            <p:cond delay="0"/>
                                          </p:stCondLst>
                                        </p:cTn>
                                        <p:tgtEl>
                                          <p:spTgt spid="174"/>
                                        </p:tgtEl>
                                        <p:attrNameLst>
                                          <p:attrName>style.visibility</p:attrName>
                                        </p:attrNameLst>
                                      </p:cBhvr>
                                      <p:to>
                                        <p:strVal val="visible"/>
                                      </p:to>
                                    </p:set>
                                    <p:animEffect transition="in" filter="fade">
                                      <p:cBhvr>
                                        <p:cTn id="73" dur="500"/>
                                        <p:tgtEl>
                                          <p:spTgt spid="174"/>
                                        </p:tgtEl>
                                      </p:cBhvr>
                                    </p:animEffect>
                                  </p:childTnLst>
                                </p:cTn>
                              </p:par>
                              <p:par>
                                <p:cTn id="74" presetID="23" presetClass="entr" presetSubtype="288" fill="hold" nodeType="withEffect">
                                  <p:stCondLst>
                                    <p:cond delay="2500"/>
                                  </p:stCondLst>
                                  <p:childTnLst>
                                    <p:set>
                                      <p:cBhvr>
                                        <p:cTn id="75" dur="1" fill="hold">
                                          <p:stCondLst>
                                            <p:cond delay="0"/>
                                          </p:stCondLst>
                                        </p:cTn>
                                        <p:tgtEl>
                                          <p:spTgt spid="174"/>
                                        </p:tgtEl>
                                        <p:attrNameLst>
                                          <p:attrName>style.visibility</p:attrName>
                                        </p:attrNameLst>
                                      </p:cBhvr>
                                      <p:to>
                                        <p:strVal val="visible"/>
                                      </p:to>
                                    </p:set>
                                    <p:anim calcmode="lin" valueType="num">
                                      <p:cBhvr>
                                        <p:cTn id="76" dur="500" fill="hold"/>
                                        <p:tgtEl>
                                          <p:spTgt spid="174"/>
                                        </p:tgtEl>
                                        <p:attrNameLst>
                                          <p:attrName>ppt_w</p:attrName>
                                        </p:attrNameLst>
                                      </p:cBhvr>
                                      <p:tavLst>
                                        <p:tav tm="0">
                                          <p:val>
                                            <p:strVal val="4/3*#ppt_w"/>
                                          </p:val>
                                        </p:tav>
                                        <p:tav tm="100000">
                                          <p:val>
                                            <p:strVal val="#ppt_w"/>
                                          </p:val>
                                        </p:tav>
                                      </p:tavLst>
                                    </p:anim>
                                    <p:anim calcmode="lin" valueType="num">
                                      <p:cBhvr>
                                        <p:cTn id="77" dur="500" fill="hold"/>
                                        <p:tgtEl>
                                          <p:spTgt spid="174"/>
                                        </p:tgtEl>
                                        <p:attrNameLst>
                                          <p:attrName>ppt_h</p:attrName>
                                        </p:attrNameLst>
                                      </p:cBhvr>
                                      <p:tavLst>
                                        <p:tav tm="0">
                                          <p:val>
                                            <p:strVal val="4/3*#ppt_h"/>
                                          </p:val>
                                        </p:tav>
                                        <p:tav tm="100000">
                                          <p:val>
                                            <p:strVal val="#ppt_h"/>
                                          </p:val>
                                        </p:tav>
                                      </p:tavLst>
                                    </p:anim>
                                  </p:childTnLst>
                                </p:cTn>
                              </p:par>
                              <p:par>
                                <p:cTn id="78" presetID="10" presetClass="entr" presetSubtype="0" fill="hold" nodeType="withEffect">
                                  <p:stCondLst>
                                    <p:cond delay="2500"/>
                                  </p:stCondLst>
                                  <p:childTnLst>
                                    <p:set>
                                      <p:cBhvr>
                                        <p:cTn id="79" dur="1" fill="hold">
                                          <p:stCondLst>
                                            <p:cond delay="0"/>
                                          </p:stCondLst>
                                        </p:cTn>
                                        <p:tgtEl>
                                          <p:spTgt spid="245"/>
                                        </p:tgtEl>
                                        <p:attrNameLst>
                                          <p:attrName>style.visibility</p:attrName>
                                        </p:attrNameLst>
                                      </p:cBhvr>
                                      <p:to>
                                        <p:strVal val="visible"/>
                                      </p:to>
                                    </p:set>
                                    <p:animEffect transition="in" filter="fade">
                                      <p:cBhvr>
                                        <p:cTn id="80" dur="500"/>
                                        <p:tgtEl>
                                          <p:spTgt spid="245"/>
                                        </p:tgtEl>
                                      </p:cBhvr>
                                    </p:animEffect>
                                  </p:childTnLst>
                                </p:cTn>
                              </p:par>
                              <p:par>
                                <p:cTn id="81" presetID="35" presetClass="path" presetSubtype="0" accel="17000" decel="83000" fill="hold" nodeType="withEffect">
                                  <p:stCondLst>
                                    <p:cond delay="2500"/>
                                  </p:stCondLst>
                                  <p:childTnLst>
                                    <p:animMotion origin="layout" path="M -0.00017 0.04578 L -3.7855E-6 1.8846E-6 " pathEditMode="relative" rAng="0" ptsTypes="AA">
                                      <p:cBhvr>
                                        <p:cTn id="82" dur="500" fill="hold"/>
                                        <p:tgtEl>
                                          <p:spTgt spid="245"/>
                                        </p:tgtEl>
                                        <p:attrNameLst>
                                          <p:attrName>ppt_x</p:attrName>
                                          <p:attrName>ppt_y</p:attrName>
                                        </p:attrNameLst>
                                      </p:cBhvr>
                                      <p:rCtr x="0" y="-2289"/>
                                    </p:animMotion>
                                  </p:childTnLst>
                                </p:cTn>
                              </p:par>
                              <p:par>
                                <p:cTn id="83" presetID="10" presetClass="entr" presetSubtype="0" fill="hold" nodeType="withEffect">
                                  <p:stCondLst>
                                    <p:cond delay="2750"/>
                                  </p:stCondLst>
                                  <p:childTnLst>
                                    <p:set>
                                      <p:cBhvr>
                                        <p:cTn id="84" dur="1" fill="hold">
                                          <p:stCondLst>
                                            <p:cond delay="0"/>
                                          </p:stCondLst>
                                        </p:cTn>
                                        <p:tgtEl>
                                          <p:spTgt spid="175"/>
                                        </p:tgtEl>
                                        <p:attrNameLst>
                                          <p:attrName>style.visibility</p:attrName>
                                        </p:attrNameLst>
                                      </p:cBhvr>
                                      <p:to>
                                        <p:strVal val="visible"/>
                                      </p:to>
                                    </p:set>
                                    <p:animEffect transition="in" filter="fade">
                                      <p:cBhvr>
                                        <p:cTn id="85" dur="500"/>
                                        <p:tgtEl>
                                          <p:spTgt spid="175"/>
                                        </p:tgtEl>
                                      </p:cBhvr>
                                    </p:animEffect>
                                  </p:childTnLst>
                                </p:cTn>
                              </p:par>
                              <p:par>
                                <p:cTn id="86" presetID="23" presetClass="entr" presetSubtype="288" fill="hold" nodeType="withEffect">
                                  <p:stCondLst>
                                    <p:cond delay="2750"/>
                                  </p:stCondLst>
                                  <p:childTnLst>
                                    <p:set>
                                      <p:cBhvr>
                                        <p:cTn id="87" dur="1" fill="hold">
                                          <p:stCondLst>
                                            <p:cond delay="0"/>
                                          </p:stCondLst>
                                        </p:cTn>
                                        <p:tgtEl>
                                          <p:spTgt spid="175"/>
                                        </p:tgtEl>
                                        <p:attrNameLst>
                                          <p:attrName>style.visibility</p:attrName>
                                        </p:attrNameLst>
                                      </p:cBhvr>
                                      <p:to>
                                        <p:strVal val="visible"/>
                                      </p:to>
                                    </p:set>
                                    <p:anim calcmode="lin" valueType="num">
                                      <p:cBhvr>
                                        <p:cTn id="88" dur="500" fill="hold"/>
                                        <p:tgtEl>
                                          <p:spTgt spid="175"/>
                                        </p:tgtEl>
                                        <p:attrNameLst>
                                          <p:attrName>ppt_w</p:attrName>
                                        </p:attrNameLst>
                                      </p:cBhvr>
                                      <p:tavLst>
                                        <p:tav tm="0">
                                          <p:val>
                                            <p:strVal val="4/3*#ppt_w"/>
                                          </p:val>
                                        </p:tav>
                                        <p:tav tm="100000">
                                          <p:val>
                                            <p:strVal val="#ppt_w"/>
                                          </p:val>
                                        </p:tav>
                                      </p:tavLst>
                                    </p:anim>
                                    <p:anim calcmode="lin" valueType="num">
                                      <p:cBhvr>
                                        <p:cTn id="89" dur="500" fill="hold"/>
                                        <p:tgtEl>
                                          <p:spTgt spid="175"/>
                                        </p:tgtEl>
                                        <p:attrNameLst>
                                          <p:attrName>ppt_h</p:attrName>
                                        </p:attrNameLst>
                                      </p:cBhvr>
                                      <p:tavLst>
                                        <p:tav tm="0">
                                          <p:val>
                                            <p:strVal val="4/3*#ppt_h"/>
                                          </p:val>
                                        </p:tav>
                                        <p:tav tm="100000">
                                          <p:val>
                                            <p:strVal val="#ppt_h"/>
                                          </p:val>
                                        </p:tav>
                                      </p:tavLst>
                                    </p:anim>
                                  </p:childTnLst>
                                </p:cTn>
                              </p:par>
                              <p:par>
                                <p:cTn id="90" presetID="10" presetClass="entr" presetSubtype="0" fill="hold" nodeType="withEffect">
                                  <p:stCondLst>
                                    <p:cond delay="2750"/>
                                  </p:stCondLst>
                                  <p:childTnLst>
                                    <p:set>
                                      <p:cBhvr>
                                        <p:cTn id="91" dur="1" fill="hold">
                                          <p:stCondLst>
                                            <p:cond delay="0"/>
                                          </p:stCondLst>
                                        </p:cTn>
                                        <p:tgtEl>
                                          <p:spTgt spid="246"/>
                                        </p:tgtEl>
                                        <p:attrNameLst>
                                          <p:attrName>style.visibility</p:attrName>
                                        </p:attrNameLst>
                                      </p:cBhvr>
                                      <p:to>
                                        <p:strVal val="visible"/>
                                      </p:to>
                                    </p:set>
                                    <p:animEffect transition="in" filter="fade">
                                      <p:cBhvr>
                                        <p:cTn id="92" dur="500"/>
                                        <p:tgtEl>
                                          <p:spTgt spid="246"/>
                                        </p:tgtEl>
                                      </p:cBhvr>
                                    </p:animEffect>
                                  </p:childTnLst>
                                </p:cTn>
                              </p:par>
                              <p:par>
                                <p:cTn id="93" presetID="35" presetClass="path" presetSubtype="0" accel="17000" decel="83000" fill="hold" nodeType="withEffect">
                                  <p:stCondLst>
                                    <p:cond delay="2750"/>
                                  </p:stCondLst>
                                  <p:childTnLst>
                                    <p:animMotion origin="layout" path="M -0.00018 0.04578 L 1.36356E-6 -2.16682E-6 " pathEditMode="relative" rAng="0" ptsTypes="AA">
                                      <p:cBhvr>
                                        <p:cTn id="94" dur="500" fill="hold"/>
                                        <p:tgtEl>
                                          <p:spTgt spid="246"/>
                                        </p:tgtEl>
                                        <p:attrNameLst>
                                          <p:attrName>ppt_x</p:attrName>
                                          <p:attrName>ppt_y</p:attrName>
                                        </p:attrNameLst>
                                      </p:cBhvr>
                                      <p:rCtr x="0" y="-2289"/>
                                    </p:animMotion>
                                  </p:childTnLst>
                                </p:cTn>
                              </p:par>
                              <p:par>
                                <p:cTn id="95" presetID="10" presetClass="entr" presetSubtype="0" fill="hold" nodeType="withEffect">
                                  <p:stCondLst>
                                    <p:cond delay="2750"/>
                                  </p:stCondLst>
                                  <p:childTnLst>
                                    <p:set>
                                      <p:cBhvr>
                                        <p:cTn id="96" dur="1" fill="hold">
                                          <p:stCondLst>
                                            <p:cond delay="0"/>
                                          </p:stCondLst>
                                        </p:cTn>
                                        <p:tgtEl>
                                          <p:spTgt spid="16"/>
                                        </p:tgtEl>
                                        <p:attrNameLst>
                                          <p:attrName>style.visibility</p:attrName>
                                        </p:attrNameLst>
                                      </p:cBhvr>
                                      <p:to>
                                        <p:strVal val="visible"/>
                                      </p:to>
                                    </p:set>
                                    <p:animEffect transition="in" filter="fade">
                                      <p:cBhvr>
                                        <p:cTn id="97" dur="500"/>
                                        <p:tgtEl>
                                          <p:spTgt spid="16"/>
                                        </p:tgtEl>
                                      </p:cBhvr>
                                    </p:animEffect>
                                  </p:childTnLst>
                                </p:cTn>
                              </p:par>
                              <p:par>
                                <p:cTn id="98" presetID="23" presetClass="entr" presetSubtype="288" fill="hold" nodeType="withEffect">
                                  <p:stCondLst>
                                    <p:cond delay="2750"/>
                                  </p:stCondLst>
                                  <p:childTnLst>
                                    <p:set>
                                      <p:cBhvr>
                                        <p:cTn id="99" dur="1" fill="hold">
                                          <p:stCondLst>
                                            <p:cond delay="0"/>
                                          </p:stCondLst>
                                        </p:cTn>
                                        <p:tgtEl>
                                          <p:spTgt spid="16"/>
                                        </p:tgtEl>
                                        <p:attrNameLst>
                                          <p:attrName>style.visibility</p:attrName>
                                        </p:attrNameLst>
                                      </p:cBhvr>
                                      <p:to>
                                        <p:strVal val="visible"/>
                                      </p:to>
                                    </p:set>
                                    <p:anim calcmode="lin" valueType="num">
                                      <p:cBhvr>
                                        <p:cTn id="100" dur="500" fill="hold"/>
                                        <p:tgtEl>
                                          <p:spTgt spid="16"/>
                                        </p:tgtEl>
                                        <p:attrNameLst>
                                          <p:attrName>ppt_w</p:attrName>
                                        </p:attrNameLst>
                                      </p:cBhvr>
                                      <p:tavLst>
                                        <p:tav tm="0">
                                          <p:val>
                                            <p:strVal val="4/3*#ppt_w"/>
                                          </p:val>
                                        </p:tav>
                                        <p:tav tm="100000">
                                          <p:val>
                                            <p:strVal val="#ppt_w"/>
                                          </p:val>
                                        </p:tav>
                                      </p:tavLst>
                                    </p:anim>
                                    <p:anim calcmode="lin" valueType="num">
                                      <p:cBhvr>
                                        <p:cTn id="101" dur="500" fill="hold"/>
                                        <p:tgtEl>
                                          <p:spTgt spid="16"/>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4" grpId="1"/>
      <p:bldP spid="66" grpId="0"/>
      <p:bldP spid="66" grpId="1"/>
      <p:bldP spid="67" grpId="0"/>
      <p:bldP spid="67"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em branco e azul&#10;&#10;Descrição gerada automaticamente com confiança média">
            <a:extLst>
              <a:ext uri="{FF2B5EF4-FFF2-40B4-BE49-F238E27FC236}">
                <a16:creationId xmlns:a16="http://schemas.microsoft.com/office/drawing/2014/main" id="{583E5681-CEFF-CFE3-D82A-78D79BF6AE58}"/>
              </a:ext>
            </a:extLst>
          </p:cNvPr>
          <p:cNvPicPr>
            <a:picLocks noChangeAspect="1"/>
          </p:cNvPicPr>
          <p:nvPr>
            <p:custDataLst>
              <p:tags r:id="rId1"/>
            </p:custDataLst>
          </p:nvPr>
        </p:nvPicPr>
        <p:blipFill>
          <a:blip r:embed="rId44">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59" name="Imagem 58" descr="Homem andando de esqui&#10;&#10;Descrição gerada automaticamente com confiança média">
            <a:extLst>
              <a:ext uri="{FF2B5EF4-FFF2-40B4-BE49-F238E27FC236}">
                <a16:creationId xmlns:a16="http://schemas.microsoft.com/office/drawing/2014/main" id="{9F105EBF-160F-1803-D765-DB761D4D3736}"/>
              </a:ext>
            </a:extLst>
          </p:cNvPr>
          <p:cNvPicPr>
            <a:picLocks noChangeAspect="1"/>
          </p:cNvPicPr>
          <p:nvPr>
            <p:custDataLst>
              <p:tags r:id="rId2"/>
            </p:custDataLst>
          </p:nvPr>
        </p:nvPicPr>
        <p:blipFill>
          <a:blip r:embed="rId45">
            <a:extLst>
              <a:ext uri="{28A0092B-C50C-407E-A947-70E740481C1C}">
                <a14:useLocalDpi xmlns:a14="http://schemas.microsoft.com/office/drawing/2010/main"/>
              </a:ext>
            </a:extLst>
          </a:blip>
          <a:stretch>
            <a:fillRect/>
          </a:stretch>
        </p:blipFill>
        <p:spPr>
          <a:xfrm>
            <a:off x="0" y="149"/>
            <a:ext cx="8999538" cy="5062240"/>
          </a:xfrm>
          <a:prstGeom prst="rect">
            <a:avLst/>
          </a:prstGeom>
        </p:spPr>
      </p:pic>
      <p:graphicFrame>
        <p:nvGraphicFramePr>
          <p:cNvPr id="14" name="Objeto 13" hidden="1">
            <a:extLst>
              <a:ext uri="{FF2B5EF4-FFF2-40B4-BE49-F238E27FC236}">
                <a16:creationId xmlns:a16="http://schemas.microsoft.com/office/drawing/2014/main" id="{1F9BA706-CCA2-465A-BC49-39FA183C447D}"/>
              </a:ext>
            </a:extLst>
          </p:cNvPr>
          <p:cNvGraphicFramePr>
            <a:graphicFrameLocks noChangeAspect="1"/>
          </p:cNvGraphicFramePr>
          <p:nvPr>
            <p:custDataLst>
              <p:tags r:id="rId3"/>
            </p:custDataLst>
          </p:nvPr>
        </p:nvGraphicFramePr>
        <p:xfrm>
          <a:off x="1564" y="1713"/>
          <a:ext cx="1563" cy="1563"/>
        </p:xfrm>
        <a:graphic>
          <a:graphicData uri="http://schemas.openxmlformats.org/presentationml/2006/ole">
            <mc:AlternateContent xmlns:mc="http://schemas.openxmlformats.org/markup-compatibility/2006">
              <mc:Choice xmlns:v="urn:schemas-microsoft-com:vml" Requires="v">
                <p:oleObj name="Slide do think-cell" r:id="rId46" imgW="0" imgH="0" progId="TCLayout.ActiveDocument.1">
                  <p:embed/>
                </p:oleObj>
              </mc:Choice>
              <mc:Fallback>
                <p:oleObj name="Slide do think-cell" r:id="rId46" imgW="0" imgH="0" progId="TCLayout.ActiveDocument.1">
                  <p:embed/>
                  <p:pic>
                    <p:nvPicPr>
                      <p:cNvPr id="0" name=""/>
                      <p:cNvPicPr/>
                      <p:nvPr/>
                    </p:nvPicPr>
                    <p:blipFill>
                      <a:blip r:embed="rId47"/>
                      <a:stretch>
                        <a:fillRect/>
                      </a:stretch>
                    </p:blipFill>
                    <p:spPr>
                      <a:xfrm>
                        <a:off x="1564" y="1713"/>
                        <a:ext cx="1563" cy="1563"/>
                      </a:xfrm>
                      <a:prstGeom prst="rect">
                        <a:avLst/>
                      </a:prstGeom>
                    </p:spPr>
                  </p:pic>
                </p:oleObj>
              </mc:Fallback>
            </mc:AlternateContent>
          </a:graphicData>
        </a:graphic>
      </p:graphicFrame>
      <p:sp>
        <p:nvSpPr>
          <p:cNvPr id="13" name="Retângulo 12" hidden="1">
            <a:extLst>
              <a:ext uri="{FF2B5EF4-FFF2-40B4-BE49-F238E27FC236}">
                <a16:creationId xmlns:a16="http://schemas.microsoft.com/office/drawing/2014/main" id="{0D87D9A4-15E7-4B99-ACB9-1B957ADCA2D3}"/>
              </a:ext>
            </a:extLst>
          </p:cNvPr>
          <p:cNvSpPr/>
          <p:nvPr>
            <p:custDataLst>
              <p:tags r:id="rId4"/>
            </p:custDataLst>
          </p:nvPr>
        </p:nvSpPr>
        <p:spPr>
          <a:xfrm>
            <a:off x="1" y="150"/>
            <a:ext cx="156242" cy="15624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575" b="1" i="0" u="none" strike="noStrike" kern="1200" cap="none" spc="0" normalizeH="0" baseline="0" noProof="0" dirty="0">
              <a:ln>
                <a:noFill/>
              </a:ln>
              <a:solidFill>
                <a:prstClr val="white"/>
              </a:solidFill>
              <a:effectLst/>
              <a:uLnTx/>
              <a:uFillTx/>
              <a:latin typeface="Tahoma" panose="020B0604030504040204" pitchFamily="34" charset="0"/>
              <a:ea typeface="+mn-ea"/>
              <a:cs typeface="+mn-cs"/>
              <a:sym typeface="Tahoma" panose="020B0604030504040204" pitchFamily="34" charset="0"/>
            </a:endParaRPr>
          </a:p>
        </p:txBody>
      </p:sp>
      <p:sp>
        <p:nvSpPr>
          <p:cNvPr id="10" name="CaixaDeTexto 9">
            <a:extLst>
              <a:ext uri="{FF2B5EF4-FFF2-40B4-BE49-F238E27FC236}">
                <a16:creationId xmlns:a16="http://schemas.microsoft.com/office/drawing/2014/main" id="{0302CB35-F98E-B73B-C05E-052E55D67AE3}"/>
              </a:ext>
            </a:extLst>
          </p:cNvPr>
          <p:cNvSpPr txBox="1"/>
          <p:nvPr>
            <p:custDataLst>
              <p:tags r:id="rId5"/>
            </p:custDataLst>
          </p:nvPr>
        </p:nvSpPr>
        <p:spPr>
          <a:xfrm>
            <a:off x="141088" y="996294"/>
            <a:ext cx="3066068" cy="791747"/>
          </a:xfrm>
          <a:prstGeom prst="rect">
            <a:avLst/>
          </a:prstGeom>
          <a:noFill/>
        </p:spPr>
        <p:txBody>
          <a:bodyPr wrap="square" rtlCol="0">
            <a:spAutoFit/>
          </a:bodyPr>
          <a:lstStyle/>
          <a:p>
            <a:pPr lvl="0" defTabSz="675010">
              <a:lnSpc>
                <a:spcPct val="85000"/>
              </a:lnSpc>
              <a:spcBef>
                <a:spcPts val="148"/>
              </a:spcBef>
              <a:spcAft>
                <a:spcPts val="148"/>
              </a:spcAft>
              <a:defRPr/>
            </a:pPr>
            <a:r>
              <a:rPr lang="en-US" sz="1800" b="1" i="0" u="none" strike="noStrike" cap="none" baseline="0" dirty="0">
                <a:solidFill>
                  <a:srgbClr val="002581"/>
                </a:solidFill>
                <a:effectLst/>
                <a:uFillTx/>
                <a:latin typeface="Segoe UI Black"/>
              </a:rPr>
              <a:t>INNOVATIVE PROJECTS AT THE FOREFRONT OF THE ENERGY SECTOR </a:t>
            </a:r>
          </a:p>
        </p:txBody>
      </p:sp>
      <p:sp>
        <p:nvSpPr>
          <p:cNvPr id="15" name="Retângulo: Cantos Arredondados 14">
            <a:extLst>
              <a:ext uri="{FF2B5EF4-FFF2-40B4-BE49-F238E27FC236}">
                <a16:creationId xmlns:a16="http://schemas.microsoft.com/office/drawing/2014/main" id="{817F23C8-CF68-5183-7DBE-FAC129026EB1}"/>
              </a:ext>
            </a:extLst>
          </p:cNvPr>
          <p:cNvSpPr/>
          <p:nvPr>
            <p:custDataLst>
              <p:tags r:id="rId6"/>
            </p:custDataLst>
          </p:nvPr>
        </p:nvSpPr>
        <p:spPr>
          <a:xfrm flipV="1">
            <a:off x="401887" y="2321397"/>
            <a:ext cx="2116460" cy="791748"/>
          </a:xfrm>
          <a:prstGeom prst="roundRect">
            <a:avLst>
              <a:gd name="adj" fmla="val 9038"/>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9" name="Agrupar 48">
            <a:extLst>
              <a:ext uri="{FF2B5EF4-FFF2-40B4-BE49-F238E27FC236}">
                <a16:creationId xmlns:a16="http://schemas.microsoft.com/office/drawing/2014/main" id="{CE297F2D-8EDA-382C-A4B5-F31D7EA339C5}"/>
              </a:ext>
            </a:extLst>
          </p:cNvPr>
          <p:cNvGrpSpPr/>
          <p:nvPr>
            <p:custDataLst>
              <p:tags r:id="rId7"/>
            </p:custDataLst>
          </p:nvPr>
        </p:nvGrpSpPr>
        <p:grpSpPr>
          <a:xfrm>
            <a:off x="180453" y="2346154"/>
            <a:ext cx="562514" cy="562514"/>
            <a:chOff x="180453" y="2106904"/>
            <a:chExt cx="562514" cy="562514"/>
          </a:xfrm>
        </p:grpSpPr>
        <p:sp>
          <p:nvSpPr>
            <p:cNvPr id="17" name="Elipse 16">
              <a:extLst>
                <a:ext uri="{FF2B5EF4-FFF2-40B4-BE49-F238E27FC236}">
                  <a16:creationId xmlns:a16="http://schemas.microsoft.com/office/drawing/2014/main" id="{A7C34227-5B9D-D673-5045-780C5805B435}"/>
                </a:ext>
              </a:extLst>
            </p:cNvPr>
            <p:cNvSpPr/>
            <p:nvPr>
              <p:custDataLst>
                <p:tags r:id="rId34"/>
              </p:custDataLst>
            </p:nvPr>
          </p:nvSpPr>
          <p:spPr>
            <a:xfrm>
              <a:off x="180453" y="2106904"/>
              <a:ext cx="562514" cy="56251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38" name="Gráfico 34">
              <a:extLst>
                <a:ext uri="{FF2B5EF4-FFF2-40B4-BE49-F238E27FC236}">
                  <a16:creationId xmlns:a16="http://schemas.microsoft.com/office/drawing/2014/main" id="{7D708FFF-287F-75AD-E290-9FC18A5AF7AB}"/>
                </a:ext>
              </a:extLst>
            </p:cNvPr>
            <p:cNvGrpSpPr/>
            <p:nvPr>
              <p:custDataLst>
                <p:tags r:id="rId35"/>
              </p:custDataLst>
            </p:nvPr>
          </p:nvGrpSpPr>
          <p:grpSpPr>
            <a:xfrm>
              <a:off x="259218" y="2233251"/>
              <a:ext cx="379750" cy="312236"/>
              <a:chOff x="-1877980" y="3634934"/>
              <a:chExt cx="905911" cy="744854"/>
            </a:xfrm>
            <a:solidFill>
              <a:srgbClr val="000000"/>
            </a:solidFill>
          </p:grpSpPr>
          <p:sp>
            <p:nvSpPr>
              <p:cNvPr id="39" name="Forma Livre: Forma 38">
                <a:extLst>
                  <a:ext uri="{FF2B5EF4-FFF2-40B4-BE49-F238E27FC236}">
                    <a16:creationId xmlns:a16="http://schemas.microsoft.com/office/drawing/2014/main" id="{41EFFBD9-CE5E-2A71-80DD-F44F24249191}"/>
                  </a:ext>
                </a:extLst>
              </p:cNvPr>
              <p:cNvSpPr/>
              <p:nvPr>
                <p:custDataLst>
                  <p:tags r:id="rId36"/>
                </p:custDataLst>
              </p:nvPr>
            </p:nvSpPr>
            <p:spPr>
              <a:xfrm>
                <a:off x="-1877980" y="3634934"/>
                <a:ext cx="411480" cy="744854"/>
              </a:xfrm>
              <a:custGeom>
                <a:avLst/>
                <a:gdLst>
                  <a:gd name="connsiteX0" fmla="*/ 298133 w 411480"/>
                  <a:gd name="connsiteY0" fmla="*/ 248603 h 744854"/>
                  <a:gd name="connsiteX1" fmla="*/ 397193 w 411480"/>
                  <a:gd name="connsiteY1" fmla="*/ 228600 h 744854"/>
                  <a:gd name="connsiteX2" fmla="*/ 411480 w 411480"/>
                  <a:gd name="connsiteY2" fmla="*/ 216217 h 744854"/>
                  <a:gd name="connsiteX3" fmla="*/ 411480 w 411480"/>
                  <a:gd name="connsiteY3" fmla="*/ 12383 h 744854"/>
                  <a:gd name="connsiteX4" fmla="*/ 399098 w 411480"/>
                  <a:gd name="connsiteY4" fmla="*/ 0 h 744854"/>
                  <a:gd name="connsiteX5" fmla="*/ 332423 w 411480"/>
                  <a:gd name="connsiteY5" fmla="*/ 0 h 744854"/>
                  <a:gd name="connsiteX6" fmla="*/ 303848 w 411480"/>
                  <a:gd name="connsiteY6" fmla="*/ 25718 h 744854"/>
                  <a:gd name="connsiteX7" fmla="*/ 294323 w 411480"/>
                  <a:gd name="connsiteY7" fmla="*/ 118110 h 744854"/>
                  <a:gd name="connsiteX8" fmla="*/ 288608 w 411480"/>
                  <a:gd name="connsiteY8" fmla="*/ 124778 h 744854"/>
                  <a:gd name="connsiteX9" fmla="*/ 258128 w 411480"/>
                  <a:gd name="connsiteY9" fmla="*/ 138113 h 744854"/>
                  <a:gd name="connsiteX10" fmla="*/ 248603 w 411480"/>
                  <a:gd name="connsiteY10" fmla="*/ 137160 h 744854"/>
                  <a:gd name="connsiteX11" fmla="*/ 176213 w 411480"/>
                  <a:gd name="connsiteY11" fmla="*/ 79058 h 744854"/>
                  <a:gd name="connsiteX12" fmla="*/ 137160 w 411480"/>
                  <a:gd name="connsiteY12" fmla="*/ 80963 h 744854"/>
                  <a:gd name="connsiteX13" fmla="*/ 80963 w 411480"/>
                  <a:gd name="connsiteY13" fmla="*/ 137160 h 744854"/>
                  <a:gd name="connsiteX14" fmla="*/ 79058 w 411480"/>
                  <a:gd name="connsiteY14" fmla="*/ 176213 h 744854"/>
                  <a:gd name="connsiteX15" fmla="*/ 138113 w 411480"/>
                  <a:gd name="connsiteY15" fmla="*/ 248603 h 744854"/>
                  <a:gd name="connsiteX16" fmla="*/ 139065 w 411480"/>
                  <a:gd name="connsiteY16" fmla="*/ 258128 h 744854"/>
                  <a:gd name="connsiteX17" fmla="*/ 125730 w 411480"/>
                  <a:gd name="connsiteY17" fmla="*/ 288608 h 744854"/>
                  <a:gd name="connsiteX18" fmla="*/ 118110 w 411480"/>
                  <a:gd name="connsiteY18" fmla="*/ 294323 h 744854"/>
                  <a:gd name="connsiteX19" fmla="*/ 25717 w 411480"/>
                  <a:gd name="connsiteY19" fmla="*/ 303848 h 744854"/>
                  <a:gd name="connsiteX20" fmla="*/ 0 w 411480"/>
                  <a:gd name="connsiteY20" fmla="*/ 332423 h 744854"/>
                  <a:gd name="connsiteX21" fmla="*/ 0 w 411480"/>
                  <a:gd name="connsiteY21" fmla="*/ 412433 h 744854"/>
                  <a:gd name="connsiteX22" fmla="*/ 25717 w 411480"/>
                  <a:gd name="connsiteY22" fmla="*/ 441008 h 744854"/>
                  <a:gd name="connsiteX23" fmla="*/ 118110 w 411480"/>
                  <a:gd name="connsiteY23" fmla="*/ 450533 h 744854"/>
                  <a:gd name="connsiteX24" fmla="*/ 125730 w 411480"/>
                  <a:gd name="connsiteY24" fmla="*/ 456248 h 744854"/>
                  <a:gd name="connsiteX25" fmla="*/ 139065 w 411480"/>
                  <a:gd name="connsiteY25" fmla="*/ 486728 h 744854"/>
                  <a:gd name="connsiteX26" fmla="*/ 138113 w 411480"/>
                  <a:gd name="connsiteY26" fmla="*/ 496253 h 744854"/>
                  <a:gd name="connsiteX27" fmla="*/ 79058 w 411480"/>
                  <a:gd name="connsiteY27" fmla="*/ 568643 h 744854"/>
                  <a:gd name="connsiteX28" fmla="*/ 80963 w 411480"/>
                  <a:gd name="connsiteY28" fmla="*/ 607695 h 744854"/>
                  <a:gd name="connsiteX29" fmla="*/ 137160 w 411480"/>
                  <a:gd name="connsiteY29" fmla="*/ 663893 h 744854"/>
                  <a:gd name="connsiteX30" fmla="*/ 176213 w 411480"/>
                  <a:gd name="connsiteY30" fmla="*/ 665798 h 744854"/>
                  <a:gd name="connsiteX31" fmla="*/ 248603 w 411480"/>
                  <a:gd name="connsiteY31" fmla="*/ 606743 h 744854"/>
                  <a:gd name="connsiteX32" fmla="*/ 258128 w 411480"/>
                  <a:gd name="connsiteY32" fmla="*/ 605790 h 744854"/>
                  <a:gd name="connsiteX33" fmla="*/ 288608 w 411480"/>
                  <a:gd name="connsiteY33" fmla="*/ 618173 h 744854"/>
                  <a:gd name="connsiteX34" fmla="*/ 294323 w 411480"/>
                  <a:gd name="connsiteY34" fmla="*/ 625793 h 744854"/>
                  <a:gd name="connsiteX35" fmla="*/ 303848 w 411480"/>
                  <a:gd name="connsiteY35" fmla="*/ 718185 h 744854"/>
                  <a:gd name="connsiteX36" fmla="*/ 332423 w 411480"/>
                  <a:gd name="connsiteY36" fmla="*/ 744855 h 744854"/>
                  <a:gd name="connsiteX37" fmla="*/ 399098 w 411480"/>
                  <a:gd name="connsiteY37" fmla="*/ 744855 h 744854"/>
                  <a:gd name="connsiteX38" fmla="*/ 411480 w 411480"/>
                  <a:gd name="connsiteY38" fmla="*/ 732473 h 744854"/>
                  <a:gd name="connsiteX39" fmla="*/ 411480 w 411480"/>
                  <a:gd name="connsiteY39" fmla="*/ 527685 h 744854"/>
                  <a:gd name="connsiteX40" fmla="*/ 397193 w 411480"/>
                  <a:gd name="connsiteY40" fmla="*/ 515303 h 744854"/>
                  <a:gd name="connsiteX41" fmla="*/ 372428 w 411480"/>
                  <a:gd name="connsiteY41" fmla="*/ 517207 h 744854"/>
                  <a:gd name="connsiteX42" fmla="*/ 226695 w 411480"/>
                  <a:gd name="connsiteY42" fmla="*/ 376238 h 744854"/>
                  <a:gd name="connsiteX43" fmla="*/ 298133 w 411480"/>
                  <a:gd name="connsiteY43" fmla="*/ 248603 h 74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11480" h="744854">
                    <a:moveTo>
                      <a:pt x="298133" y="248603"/>
                    </a:moveTo>
                    <a:cubicBezTo>
                      <a:pt x="331470" y="227648"/>
                      <a:pt x="365760" y="223838"/>
                      <a:pt x="397193" y="228600"/>
                    </a:cubicBezTo>
                    <a:cubicBezTo>
                      <a:pt x="404813" y="229553"/>
                      <a:pt x="411480" y="223838"/>
                      <a:pt x="411480" y="216217"/>
                    </a:cubicBezTo>
                    <a:lnTo>
                      <a:pt x="411480" y="12383"/>
                    </a:lnTo>
                    <a:cubicBezTo>
                      <a:pt x="411480" y="5715"/>
                      <a:pt x="405765" y="0"/>
                      <a:pt x="399098" y="0"/>
                    </a:cubicBezTo>
                    <a:lnTo>
                      <a:pt x="332423" y="0"/>
                    </a:lnTo>
                    <a:cubicBezTo>
                      <a:pt x="317183" y="0"/>
                      <a:pt x="304800" y="11430"/>
                      <a:pt x="303848" y="25718"/>
                    </a:cubicBezTo>
                    <a:lnTo>
                      <a:pt x="294323" y="118110"/>
                    </a:lnTo>
                    <a:cubicBezTo>
                      <a:pt x="294323" y="120968"/>
                      <a:pt x="291465" y="123825"/>
                      <a:pt x="288608" y="124778"/>
                    </a:cubicBezTo>
                    <a:cubicBezTo>
                      <a:pt x="278130" y="128588"/>
                      <a:pt x="267653" y="132398"/>
                      <a:pt x="258128" y="138113"/>
                    </a:cubicBezTo>
                    <a:cubicBezTo>
                      <a:pt x="255270" y="140018"/>
                      <a:pt x="251460" y="139065"/>
                      <a:pt x="248603" y="137160"/>
                    </a:cubicBezTo>
                    <a:lnTo>
                      <a:pt x="176213" y="79058"/>
                    </a:lnTo>
                    <a:cubicBezTo>
                      <a:pt x="164783" y="69533"/>
                      <a:pt x="147638" y="70485"/>
                      <a:pt x="137160" y="80963"/>
                    </a:cubicBezTo>
                    <a:lnTo>
                      <a:pt x="80963" y="137160"/>
                    </a:lnTo>
                    <a:cubicBezTo>
                      <a:pt x="70485" y="147638"/>
                      <a:pt x="69533" y="164783"/>
                      <a:pt x="79058" y="176213"/>
                    </a:cubicBezTo>
                    <a:lnTo>
                      <a:pt x="138113" y="248603"/>
                    </a:lnTo>
                    <a:cubicBezTo>
                      <a:pt x="140018" y="251460"/>
                      <a:pt x="140970" y="255270"/>
                      <a:pt x="139065" y="258128"/>
                    </a:cubicBezTo>
                    <a:cubicBezTo>
                      <a:pt x="134303" y="267653"/>
                      <a:pt x="129540" y="278130"/>
                      <a:pt x="125730" y="288608"/>
                    </a:cubicBezTo>
                    <a:cubicBezTo>
                      <a:pt x="124778" y="291465"/>
                      <a:pt x="121920" y="294323"/>
                      <a:pt x="118110" y="294323"/>
                    </a:cubicBezTo>
                    <a:lnTo>
                      <a:pt x="25717" y="303848"/>
                    </a:lnTo>
                    <a:cubicBezTo>
                      <a:pt x="10477" y="305753"/>
                      <a:pt x="0" y="318135"/>
                      <a:pt x="0" y="332423"/>
                    </a:cubicBezTo>
                    <a:lnTo>
                      <a:pt x="0" y="412433"/>
                    </a:lnTo>
                    <a:cubicBezTo>
                      <a:pt x="0" y="427673"/>
                      <a:pt x="11430" y="440055"/>
                      <a:pt x="25717" y="441008"/>
                    </a:cubicBezTo>
                    <a:lnTo>
                      <a:pt x="118110" y="450533"/>
                    </a:lnTo>
                    <a:cubicBezTo>
                      <a:pt x="121920" y="450533"/>
                      <a:pt x="123825" y="453390"/>
                      <a:pt x="125730" y="456248"/>
                    </a:cubicBezTo>
                    <a:cubicBezTo>
                      <a:pt x="129540" y="466725"/>
                      <a:pt x="133350" y="477203"/>
                      <a:pt x="139065" y="486728"/>
                    </a:cubicBezTo>
                    <a:cubicBezTo>
                      <a:pt x="140970" y="489585"/>
                      <a:pt x="140018" y="493395"/>
                      <a:pt x="138113" y="496253"/>
                    </a:cubicBezTo>
                    <a:lnTo>
                      <a:pt x="79058" y="568643"/>
                    </a:lnTo>
                    <a:cubicBezTo>
                      <a:pt x="69533" y="580073"/>
                      <a:pt x="70485" y="597218"/>
                      <a:pt x="80963" y="607695"/>
                    </a:cubicBezTo>
                    <a:lnTo>
                      <a:pt x="137160" y="663893"/>
                    </a:lnTo>
                    <a:cubicBezTo>
                      <a:pt x="147638" y="674370"/>
                      <a:pt x="164783" y="675323"/>
                      <a:pt x="176213" y="665798"/>
                    </a:cubicBezTo>
                    <a:lnTo>
                      <a:pt x="248603" y="606743"/>
                    </a:lnTo>
                    <a:cubicBezTo>
                      <a:pt x="251460" y="604838"/>
                      <a:pt x="254318" y="603885"/>
                      <a:pt x="258128" y="605790"/>
                    </a:cubicBezTo>
                    <a:cubicBezTo>
                      <a:pt x="267653" y="610553"/>
                      <a:pt x="278130" y="615315"/>
                      <a:pt x="288608" y="618173"/>
                    </a:cubicBezTo>
                    <a:cubicBezTo>
                      <a:pt x="291465" y="619125"/>
                      <a:pt x="294323" y="621983"/>
                      <a:pt x="294323" y="625793"/>
                    </a:cubicBezTo>
                    <a:lnTo>
                      <a:pt x="303848" y="718185"/>
                    </a:lnTo>
                    <a:cubicBezTo>
                      <a:pt x="305753" y="733425"/>
                      <a:pt x="318135" y="744855"/>
                      <a:pt x="332423" y="744855"/>
                    </a:cubicBezTo>
                    <a:lnTo>
                      <a:pt x="399098" y="744855"/>
                    </a:lnTo>
                    <a:cubicBezTo>
                      <a:pt x="405765" y="744855"/>
                      <a:pt x="411480" y="739140"/>
                      <a:pt x="411480" y="732473"/>
                    </a:cubicBezTo>
                    <a:lnTo>
                      <a:pt x="411480" y="527685"/>
                    </a:lnTo>
                    <a:cubicBezTo>
                      <a:pt x="411480" y="520065"/>
                      <a:pt x="404813" y="514350"/>
                      <a:pt x="397193" y="515303"/>
                    </a:cubicBezTo>
                    <a:cubicBezTo>
                      <a:pt x="389573" y="516255"/>
                      <a:pt x="381000" y="517207"/>
                      <a:pt x="372428" y="517207"/>
                    </a:cubicBezTo>
                    <a:cubicBezTo>
                      <a:pt x="293370" y="517207"/>
                      <a:pt x="229553" y="454343"/>
                      <a:pt x="226695" y="376238"/>
                    </a:cubicBezTo>
                    <a:cubicBezTo>
                      <a:pt x="225743" y="323850"/>
                      <a:pt x="253365" y="277178"/>
                      <a:pt x="298133" y="248603"/>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1" name="Forma Livre: Forma 40">
                <a:extLst>
                  <a:ext uri="{FF2B5EF4-FFF2-40B4-BE49-F238E27FC236}">
                    <a16:creationId xmlns:a16="http://schemas.microsoft.com/office/drawing/2014/main" id="{98151799-EC3D-D313-1CC9-83EBD2F412C3}"/>
                  </a:ext>
                </a:extLst>
              </p:cNvPr>
              <p:cNvSpPr/>
              <p:nvPr>
                <p:custDataLst>
                  <p:tags r:id="rId37"/>
                </p:custDataLst>
              </p:nvPr>
            </p:nvSpPr>
            <p:spPr>
              <a:xfrm>
                <a:off x="-1612877" y="3900681"/>
                <a:ext cx="146377" cy="214014"/>
              </a:xfrm>
              <a:custGeom>
                <a:avLst/>
                <a:gdLst>
                  <a:gd name="connsiteX0" fmla="*/ 146377 w 146377"/>
                  <a:gd name="connsiteY0" fmla="*/ 16193 h 214014"/>
                  <a:gd name="connsiteX1" fmla="*/ 146377 w 146377"/>
                  <a:gd name="connsiteY1" fmla="*/ 198120 h 214014"/>
                  <a:gd name="connsiteX2" fmla="*/ 137805 w 146377"/>
                  <a:gd name="connsiteY2" fmla="*/ 209550 h 214014"/>
                  <a:gd name="connsiteX3" fmla="*/ 86370 w 146377"/>
                  <a:gd name="connsiteY3" fmla="*/ 212408 h 214014"/>
                  <a:gd name="connsiteX4" fmla="*/ 1597 w 146377"/>
                  <a:gd name="connsiteY4" fmla="*/ 125730 h 214014"/>
                  <a:gd name="connsiteX5" fmla="*/ 107325 w 146377"/>
                  <a:gd name="connsiteY5" fmla="*/ 0 h 214014"/>
                  <a:gd name="connsiteX6" fmla="*/ 138757 w 146377"/>
                  <a:gd name="connsiteY6" fmla="*/ 4763 h 214014"/>
                  <a:gd name="connsiteX7" fmla="*/ 146377 w 146377"/>
                  <a:gd name="connsiteY7" fmla="*/ 16193 h 214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377" h="214014">
                    <a:moveTo>
                      <a:pt x="146377" y="16193"/>
                    </a:moveTo>
                    <a:lnTo>
                      <a:pt x="146377" y="198120"/>
                    </a:lnTo>
                    <a:cubicBezTo>
                      <a:pt x="146377" y="203835"/>
                      <a:pt x="143520" y="208598"/>
                      <a:pt x="137805" y="209550"/>
                    </a:cubicBezTo>
                    <a:cubicBezTo>
                      <a:pt x="121612" y="214313"/>
                      <a:pt x="104467" y="215265"/>
                      <a:pt x="86370" y="212408"/>
                    </a:cubicBezTo>
                    <a:cubicBezTo>
                      <a:pt x="43507" y="204788"/>
                      <a:pt x="8265" y="168593"/>
                      <a:pt x="1597" y="125730"/>
                    </a:cubicBezTo>
                    <a:cubicBezTo>
                      <a:pt x="-9833" y="58103"/>
                      <a:pt x="41602" y="0"/>
                      <a:pt x="107325" y="0"/>
                    </a:cubicBezTo>
                    <a:cubicBezTo>
                      <a:pt x="117802" y="0"/>
                      <a:pt x="128280" y="1905"/>
                      <a:pt x="138757" y="4763"/>
                    </a:cubicBezTo>
                    <a:cubicBezTo>
                      <a:pt x="143520" y="5715"/>
                      <a:pt x="146377" y="10478"/>
                      <a:pt x="146377" y="16193"/>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2" name="Gráfico 34">
                <a:extLst>
                  <a:ext uri="{FF2B5EF4-FFF2-40B4-BE49-F238E27FC236}">
                    <a16:creationId xmlns:a16="http://schemas.microsoft.com/office/drawing/2014/main" id="{1EF04127-D6B8-799F-81D2-197E0CD8F045}"/>
                  </a:ext>
                </a:extLst>
              </p:cNvPr>
              <p:cNvGrpSpPr/>
              <p:nvPr>
                <p:custDataLst>
                  <p:tags r:id="rId38"/>
                </p:custDataLst>
              </p:nvPr>
            </p:nvGrpSpPr>
            <p:grpSpPr>
              <a:xfrm>
                <a:off x="-1429353" y="3660652"/>
                <a:ext cx="457283" cy="693142"/>
                <a:chOff x="-1429353" y="3660652"/>
                <a:chExt cx="457283" cy="693142"/>
              </a:xfrm>
              <a:solidFill>
                <a:srgbClr val="000000"/>
              </a:solidFill>
            </p:grpSpPr>
            <p:sp>
              <p:nvSpPr>
                <p:cNvPr id="44" name="Forma Livre: Forma 43">
                  <a:extLst>
                    <a:ext uri="{FF2B5EF4-FFF2-40B4-BE49-F238E27FC236}">
                      <a16:creationId xmlns:a16="http://schemas.microsoft.com/office/drawing/2014/main" id="{86293C7A-E15F-AFCC-9AE3-90437350582A}"/>
                    </a:ext>
                  </a:extLst>
                </p:cNvPr>
                <p:cNvSpPr/>
                <p:nvPr>
                  <p:custDataLst>
                    <p:tags r:id="rId39"/>
                  </p:custDataLst>
                </p:nvPr>
              </p:nvSpPr>
              <p:spPr>
                <a:xfrm>
                  <a:off x="-1428400" y="4065464"/>
                  <a:ext cx="390608" cy="288330"/>
                </a:xfrm>
                <a:custGeom>
                  <a:avLst/>
                  <a:gdLst>
                    <a:gd name="connsiteX0" fmla="*/ 100013 w 390608"/>
                    <a:gd name="connsiteY0" fmla="*/ 0 h 288330"/>
                    <a:gd name="connsiteX1" fmla="*/ 78105 w 390608"/>
                    <a:gd name="connsiteY1" fmla="*/ 0 h 288330"/>
                    <a:gd name="connsiteX2" fmla="*/ 68580 w 390608"/>
                    <a:gd name="connsiteY2" fmla="*/ 9525 h 288330"/>
                    <a:gd name="connsiteX3" fmla="*/ 68580 w 390608"/>
                    <a:gd name="connsiteY3" fmla="*/ 109538 h 288330"/>
                    <a:gd name="connsiteX4" fmla="*/ 9525 w 390608"/>
                    <a:gd name="connsiteY4" fmla="*/ 109538 h 288330"/>
                    <a:gd name="connsiteX5" fmla="*/ 0 w 390608"/>
                    <a:gd name="connsiteY5" fmla="*/ 119063 h 288330"/>
                    <a:gd name="connsiteX6" fmla="*/ 0 w 390608"/>
                    <a:gd name="connsiteY6" fmla="*/ 141923 h 288330"/>
                    <a:gd name="connsiteX7" fmla="*/ 9525 w 390608"/>
                    <a:gd name="connsiteY7" fmla="*/ 151448 h 288330"/>
                    <a:gd name="connsiteX8" fmla="*/ 140018 w 390608"/>
                    <a:gd name="connsiteY8" fmla="*/ 151448 h 288330"/>
                    <a:gd name="connsiteX9" fmla="*/ 191453 w 390608"/>
                    <a:gd name="connsiteY9" fmla="*/ 235268 h 288330"/>
                    <a:gd name="connsiteX10" fmla="*/ 209550 w 390608"/>
                    <a:gd name="connsiteY10" fmla="*/ 244793 h 288330"/>
                    <a:gd name="connsiteX11" fmla="*/ 265747 w 390608"/>
                    <a:gd name="connsiteY11" fmla="*/ 244793 h 288330"/>
                    <a:gd name="connsiteX12" fmla="*/ 341947 w 390608"/>
                    <a:gd name="connsiteY12" fmla="*/ 286703 h 288330"/>
                    <a:gd name="connsiteX13" fmla="*/ 388620 w 390608"/>
                    <a:gd name="connsiteY13" fmla="*/ 240030 h 288330"/>
                    <a:gd name="connsiteX14" fmla="*/ 325755 w 390608"/>
                    <a:gd name="connsiteY14" fmla="*/ 159068 h 288330"/>
                    <a:gd name="connsiteX15" fmla="*/ 265747 w 390608"/>
                    <a:gd name="connsiteY15" fmla="*/ 202883 h 288330"/>
                    <a:gd name="connsiteX16" fmla="*/ 220980 w 390608"/>
                    <a:gd name="connsiteY16" fmla="*/ 202883 h 288330"/>
                    <a:gd name="connsiteX17" fmla="*/ 169545 w 390608"/>
                    <a:gd name="connsiteY17" fmla="*/ 119063 h 288330"/>
                    <a:gd name="connsiteX18" fmla="*/ 151447 w 390608"/>
                    <a:gd name="connsiteY18" fmla="*/ 109538 h 288330"/>
                    <a:gd name="connsiteX19" fmla="*/ 110490 w 390608"/>
                    <a:gd name="connsiteY19" fmla="*/ 109538 h 288330"/>
                    <a:gd name="connsiteX20" fmla="*/ 110490 w 390608"/>
                    <a:gd name="connsiteY20" fmla="*/ 9525 h 288330"/>
                    <a:gd name="connsiteX21" fmla="*/ 100013 w 390608"/>
                    <a:gd name="connsiteY21" fmla="*/ 0 h 288330"/>
                    <a:gd name="connsiteX22" fmla="*/ 348615 w 390608"/>
                    <a:gd name="connsiteY22" fmla="*/ 224790 h 288330"/>
                    <a:gd name="connsiteX23" fmla="*/ 325755 w 390608"/>
                    <a:gd name="connsiteY23" fmla="*/ 247650 h 288330"/>
                    <a:gd name="connsiteX24" fmla="*/ 302895 w 390608"/>
                    <a:gd name="connsiteY24" fmla="*/ 224790 h 288330"/>
                    <a:gd name="connsiteX25" fmla="*/ 325755 w 390608"/>
                    <a:gd name="connsiteY25" fmla="*/ 201930 h 288330"/>
                    <a:gd name="connsiteX26" fmla="*/ 348615 w 390608"/>
                    <a:gd name="connsiteY26" fmla="*/ 224790 h 28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0608" h="288330">
                      <a:moveTo>
                        <a:pt x="100013" y="0"/>
                      </a:moveTo>
                      <a:lnTo>
                        <a:pt x="78105" y="0"/>
                      </a:lnTo>
                      <a:cubicBezTo>
                        <a:pt x="72390" y="0"/>
                        <a:pt x="68580" y="4763"/>
                        <a:pt x="68580" y="9525"/>
                      </a:cubicBezTo>
                      <a:lnTo>
                        <a:pt x="68580" y="109538"/>
                      </a:lnTo>
                      <a:lnTo>
                        <a:pt x="9525" y="109538"/>
                      </a:lnTo>
                      <a:cubicBezTo>
                        <a:pt x="3810" y="109538"/>
                        <a:pt x="0" y="114300"/>
                        <a:pt x="0" y="119063"/>
                      </a:cubicBezTo>
                      <a:lnTo>
                        <a:pt x="0" y="141923"/>
                      </a:lnTo>
                      <a:cubicBezTo>
                        <a:pt x="0" y="147638"/>
                        <a:pt x="4763" y="151448"/>
                        <a:pt x="9525" y="151448"/>
                      </a:cubicBezTo>
                      <a:lnTo>
                        <a:pt x="140018" y="151448"/>
                      </a:lnTo>
                      <a:lnTo>
                        <a:pt x="191453" y="235268"/>
                      </a:lnTo>
                      <a:cubicBezTo>
                        <a:pt x="195262" y="240983"/>
                        <a:pt x="201930" y="244793"/>
                        <a:pt x="209550" y="244793"/>
                      </a:cubicBezTo>
                      <a:lnTo>
                        <a:pt x="265747" y="244793"/>
                      </a:lnTo>
                      <a:cubicBezTo>
                        <a:pt x="276225" y="274320"/>
                        <a:pt x="306705" y="294323"/>
                        <a:pt x="341947" y="286703"/>
                      </a:cubicBezTo>
                      <a:cubicBezTo>
                        <a:pt x="364808" y="280988"/>
                        <a:pt x="382905" y="262890"/>
                        <a:pt x="388620" y="240030"/>
                      </a:cubicBezTo>
                      <a:cubicBezTo>
                        <a:pt x="399097" y="197168"/>
                        <a:pt x="366712" y="159068"/>
                        <a:pt x="325755" y="159068"/>
                      </a:cubicBezTo>
                      <a:cubicBezTo>
                        <a:pt x="297180" y="159068"/>
                        <a:pt x="274320" y="177165"/>
                        <a:pt x="265747" y="202883"/>
                      </a:cubicBezTo>
                      <a:lnTo>
                        <a:pt x="220980" y="202883"/>
                      </a:lnTo>
                      <a:lnTo>
                        <a:pt x="169545" y="119063"/>
                      </a:lnTo>
                      <a:cubicBezTo>
                        <a:pt x="165735" y="113348"/>
                        <a:pt x="159068" y="109538"/>
                        <a:pt x="151447" y="109538"/>
                      </a:cubicBezTo>
                      <a:lnTo>
                        <a:pt x="110490" y="109538"/>
                      </a:lnTo>
                      <a:lnTo>
                        <a:pt x="110490" y="9525"/>
                      </a:lnTo>
                      <a:cubicBezTo>
                        <a:pt x="109538" y="3810"/>
                        <a:pt x="105727" y="0"/>
                        <a:pt x="100013" y="0"/>
                      </a:cubicBezTo>
                      <a:close/>
                      <a:moveTo>
                        <a:pt x="348615" y="224790"/>
                      </a:moveTo>
                      <a:cubicBezTo>
                        <a:pt x="348615" y="237173"/>
                        <a:pt x="338137" y="247650"/>
                        <a:pt x="325755" y="247650"/>
                      </a:cubicBezTo>
                      <a:cubicBezTo>
                        <a:pt x="313372" y="247650"/>
                        <a:pt x="302895" y="237173"/>
                        <a:pt x="302895" y="224790"/>
                      </a:cubicBezTo>
                      <a:cubicBezTo>
                        <a:pt x="302895" y="212408"/>
                        <a:pt x="313372" y="201930"/>
                        <a:pt x="325755" y="201930"/>
                      </a:cubicBezTo>
                      <a:cubicBezTo>
                        <a:pt x="338137" y="201930"/>
                        <a:pt x="348615" y="212408"/>
                        <a:pt x="348615" y="224790"/>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5" name="Forma Livre: Forma 44">
                  <a:extLst>
                    <a:ext uri="{FF2B5EF4-FFF2-40B4-BE49-F238E27FC236}">
                      <a16:creationId xmlns:a16="http://schemas.microsoft.com/office/drawing/2014/main" id="{861FC0D8-D13B-4439-3D41-FD582033BD72}"/>
                    </a:ext>
                  </a:extLst>
                </p:cNvPr>
                <p:cNvSpPr/>
                <p:nvPr>
                  <p:custDataLst>
                    <p:tags r:id="rId40"/>
                  </p:custDataLst>
                </p:nvPr>
              </p:nvSpPr>
              <p:spPr>
                <a:xfrm>
                  <a:off x="-1429353" y="3660652"/>
                  <a:ext cx="389656" cy="287654"/>
                </a:xfrm>
                <a:custGeom>
                  <a:avLst/>
                  <a:gdLst>
                    <a:gd name="connsiteX0" fmla="*/ 266700 w 389656"/>
                    <a:gd name="connsiteY0" fmla="*/ 42863 h 287654"/>
                    <a:gd name="connsiteX1" fmla="*/ 210502 w 389656"/>
                    <a:gd name="connsiteY1" fmla="*/ 42863 h 287654"/>
                    <a:gd name="connsiteX2" fmla="*/ 192405 w 389656"/>
                    <a:gd name="connsiteY2" fmla="*/ 52388 h 287654"/>
                    <a:gd name="connsiteX3" fmla="*/ 140970 w 389656"/>
                    <a:gd name="connsiteY3" fmla="*/ 136208 h 287654"/>
                    <a:gd name="connsiteX4" fmla="*/ 9525 w 389656"/>
                    <a:gd name="connsiteY4" fmla="*/ 136208 h 287654"/>
                    <a:gd name="connsiteX5" fmla="*/ 0 w 389656"/>
                    <a:gd name="connsiteY5" fmla="*/ 145733 h 287654"/>
                    <a:gd name="connsiteX6" fmla="*/ 0 w 389656"/>
                    <a:gd name="connsiteY6" fmla="*/ 167640 h 287654"/>
                    <a:gd name="connsiteX7" fmla="*/ 9525 w 389656"/>
                    <a:gd name="connsiteY7" fmla="*/ 177165 h 287654"/>
                    <a:gd name="connsiteX8" fmla="*/ 68580 w 389656"/>
                    <a:gd name="connsiteY8" fmla="*/ 177165 h 287654"/>
                    <a:gd name="connsiteX9" fmla="*/ 68580 w 389656"/>
                    <a:gd name="connsiteY9" fmla="*/ 278130 h 287654"/>
                    <a:gd name="connsiteX10" fmla="*/ 78105 w 389656"/>
                    <a:gd name="connsiteY10" fmla="*/ 287655 h 287654"/>
                    <a:gd name="connsiteX11" fmla="*/ 100013 w 389656"/>
                    <a:gd name="connsiteY11" fmla="*/ 287655 h 287654"/>
                    <a:gd name="connsiteX12" fmla="*/ 109538 w 389656"/>
                    <a:gd name="connsiteY12" fmla="*/ 278130 h 287654"/>
                    <a:gd name="connsiteX13" fmla="*/ 109538 w 389656"/>
                    <a:gd name="connsiteY13" fmla="*/ 178117 h 287654"/>
                    <a:gd name="connsiteX14" fmla="*/ 150495 w 389656"/>
                    <a:gd name="connsiteY14" fmla="*/ 178117 h 287654"/>
                    <a:gd name="connsiteX15" fmla="*/ 168593 w 389656"/>
                    <a:gd name="connsiteY15" fmla="*/ 168592 h 287654"/>
                    <a:gd name="connsiteX16" fmla="*/ 220027 w 389656"/>
                    <a:gd name="connsiteY16" fmla="*/ 84773 h 287654"/>
                    <a:gd name="connsiteX17" fmla="*/ 264795 w 389656"/>
                    <a:gd name="connsiteY17" fmla="*/ 84773 h 287654"/>
                    <a:gd name="connsiteX18" fmla="*/ 340995 w 389656"/>
                    <a:gd name="connsiteY18" fmla="*/ 126682 h 287654"/>
                    <a:gd name="connsiteX19" fmla="*/ 387668 w 389656"/>
                    <a:gd name="connsiteY19" fmla="*/ 80010 h 287654"/>
                    <a:gd name="connsiteX20" fmla="*/ 324803 w 389656"/>
                    <a:gd name="connsiteY20" fmla="*/ 0 h 287654"/>
                    <a:gd name="connsiteX21" fmla="*/ 266700 w 389656"/>
                    <a:gd name="connsiteY21" fmla="*/ 42863 h 287654"/>
                    <a:gd name="connsiteX22" fmla="*/ 349568 w 389656"/>
                    <a:gd name="connsiteY22" fmla="*/ 63817 h 287654"/>
                    <a:gd name="connsiteX23" fmla="*/ 326708 w 389656"/>
                    <a:gd name="connsiteY23" fmla="*/ 86678 h 287654"/>
                    <a:gd name="connsiteX24" fmla="*/ 303848 w 389656"/>
                    <a:gd name="connsiteY24" fmla="*/ 63817 h 287654"/>
                    <a:gd name="connsiteX25" fmla="*/ 326708 w 389656"/>
                    <a:gd name="connsiteY25" fmla="*/ 40957 h 287654"/>
                    <a:gd name="connsiteX26" fmla="*/ 349568 w 389656"/>
                    <a:gd name="connsiteY26" fmla="*/ 63817 h 287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9656" h="287654">
                      <a:moveTo>
                        <a:pt x="266700" y="42863"/>
                      </a:moveTo>
                      <a:lnTo>
                        <a:pt x="210502" y="42863"/>
                      </a:lnTo>
                      <a:cubicBezTo>
                        <a:pt x="202883" y="42863"/>
                        <a:pt x="196215" y="46672"/>
                        <a:pt x="192405" y="52388"/>
                      </a:cubicBezTo>
                      <a:lnTo>
                        <a:pt x="140970" y="136208"/>
                      </a:lnTo>
                      <a:lnTo>
                        <a:pt x="9525" y="136208"/>
                      </a:lnTo>
                      <a:cubicBezTo>
                        <a:pt x="3810" y="136208"/>
                        <a:pt x="0" y="140970"/>
                        <a:pt x="0" y="145733"/>
                      </a:cubicBezTo>
                      <a:lnTo>
                        <a:pt x="0" y="167640"/>
                      </a:lnTo>
                      <a:cubicBezTo>
                        <a:pt x="0" y="173355"/>
                        <a:pt x="4763" y="177165"/>
                        <a:pt x="9525" y="177165"/>
                      </a:cubicBezTo>
                      <a:lnTo>
                        <a:pt x="68580" y="177165"/>
                      </a:lnTo>
                      <a:lnTo>
                        <a:pt x="68580" y="278130"/>
                      </a:lnTo>
                      <a:cubicBezTo>
                        <a:pt x="68580" y="283845"/>
                        <a:pt x="73343" y="287655"/>
                        <a:pt x="78105" y="287655"/>
                      </a:cubicBezTo>
                      <a:lnTo>
                        <a:pt x="100013" y="287655"/>
                      </a:lnTo>
                      <a:cubicBezTo>
                        <a:pt x="105728" y="287655"/>
                        <a:pt x="109538" y="282893"/>
                        <a:pt x="109538" y="278130"/>
                      </a:cubicBezTo>
                      <a:lnTo>
                        <a:pt x="109538" y="178117"/>
                      </a:lnTo>
                      <a:lnTo>
                        <a:pt x="150495" y="178117"/>
                      </a:lnTo>
                      <a:cubicBezTo>
                        <a:pt x="158115" y="178117"/>
                        <a:pt x="164783" y="174308"/>
                        <a:pt x="168593" y="168592"/>
                      </a:cubicBezTo>
                      <a:lnTo>
                        <a:pt x="220027" y="84773"/>
                      </a:lnTo>
                      <a:lnTo>
                        <a:pt x="264795" y="84773"/>
                      </a:lnTo>
                      <a:cubicBezTo>
                        <a:pt x="275273" y="114300"/>
                        <a:pt x="305753" y="134303"/>
                        <a:pt x="340995" y="126682"/>
                      </a:cubicBezTo>
                      <a:cubicBezTo>
                        <a:pt x="363855" y="120967"/>
                        <a:pt x="381953" y="102870"/>
                        <a:pt x="387668" y="80010"/>
                      </a:cubicBezTo>
                      <a:cubicBezTo>
                        <a:pt x="398145" y="37147"/>
                        <a:pt x="365760" y="0"/>
                        <a:pt x="324803" y="0"/>
                      </a:cubicBezTo>
                      <a:cubicBezTo>
                        <a:pt x="298133" y="0"/>
                        <a:pt x="275273" y="18097"/>
                        <a:pt x="266700" y="42863"/>
                      </a:cubicBezTo>
                      <a:close/>
                      <a:moveTo>
                        <a:pt x="349568" y="63817"/>
                      </a:moveTo>
                      <a:cubicBezTo>
                        <a:pt x="349568" y="76200"/>
                        <a:pt x="339090" y="86678"/>
                        <a:pt x="326708" y="86678"/>
                      </a:cubicBezTo>
                      <a:cubicBezTo>
                        <a:pt x="314325" y="86678"/>
                        <a:pt x="303848" y="76200"/>
                        <a:pt x="303848" y="63817"/>
                      </a:cubicBezTo>
                      <a:cubicBezTo>
                        <a:pt x="303848" y="51435"/>
                        <a:pt x="314325" y="40957"/>
                        <a:pt x="326708" y="40957"/>
                      </a:cubicBezTo>
                      <a:cubicBezTo>
                        <a:pt x="339090" y="41910"/>
                        <a:pt x="349568" y="51435"/>
                        <a:pt x="349568" y="63817"/>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6" name="Forma Livre: Forma 45">
                  <a:extLst>
                    <a:ext uri="{FF2B5EF4-FFF2-40B4-BE49-F238E27FC236}">
                      <a16:creationId xmlns:a16="http://schemas.microsoft.com/office/drawing/2014/main" id="{8E1DDC38-CF77-02DF-9C36-1D2E59598BAF}"/>
                    </a:ext>
                  </a:extLst>
                </p:cNvPr>
                <p:cNvSpPr/>
                <p:nvPr>
                  <p:custDataLst>
                    <p:tags r:id="rId41"/>
                  </p:custDataLst>
                </p:nvPr>
              </p:nvSpPr>
              <p:spPr>
                <a:xfrm>
                  <a:off x="-1429353" y="3846389"/>
                  <a:ext cx="457283" cy="317857"/>
                </a:xfrm>
                <a:custGeom>
                  <a:avLst/>
                  <a:gdLst>
                    <a:gd name="connsiteX0" fmla="*/ 331470 w 457283"/>
                    <a:gd name="connsiteY0" fmla="*/ 43815 h 317857"/>
                    <a:gd name="connsiteX1" fmla="*/ 210502 w 457283"/>
                    <a:gd name="connsiteY1" fmla="*/ 43815 h 317857"/>
                    <a:gd name="connsiteX2" fmla="*/ 192405 w 457283"/>
                    <a:gd name="connsiteY2" fmla="*/ 54293 h 317857"/>
                    <a:gd name="connsiteX3" fmla="*/ 140018 w 457283"/>
                    <a:gd name="connsiteY3" fmla="*/ 140018 h 317857"/>
                    <a:gd name="connsiteX4" fmla="*/ 9525 w 457283"/>
                    <a:gd name="connsiteY4" fmla="*/ 140018 h 317857"/>
                    <a:gd name="connsiteX5" fmla="*/ 0 w 457283"/>
                    <a:gd name="connsiteY5" fmla="*/ 149543 h 317857"/>
                    <a:gd name="connsiteX6" fmla="*/ 0 w 457283"/>
                    <a:gd name="connsiteY6" fmla="*/ 171450 h 317857"/>
                    <a:gd name="connsiteX7" fmla="*/ 9525 w 457283"/>
                    <a:gd name="connsiteY7" fmla="*/ 180975 h 317857"/>
                    <a:gd name="connsiteX8" fmla="*/ 140018 w 457283"/>
                    <a:gd name="connsiteY8" fmla="*/ 180975 h 317857"/>
                    <a:gd name="connsiteX9" fmla="*/ 191452 w 457283"/>
                    <a:gd name="connsiteY9" fmla="*/ 264795 h 317857"/>
                    <a:gd name="connsiteX10" fmla="*/ 209550 w 457283"/>
                    <a:gd name="connsiteY10" fmla="*/ 274320 h 317857"/>
                    <a:gd name="connsiteX11" fmla="*/ 331470 w 457283"/>
                    <a:gd name="connsiteY11" fmla="*/ 274320 h 317857"/>
                    <a:gd name="connsiteX12" fmla="*/ 407670 w 457283"/>
                    <a:gd name="connsiteY12" fmla="*/ 316230 h 317857"/>
                    <a:gd name="connsiteX13" fmla="*/ 454343 w 457283"/>
                    <a:gd name="connsiteY13" fmla="*/ 269558 h 317857"/>
                    <a:gd name="connsiteX14" fmla="*/ 391478 w 457283"/>
                    <a:gd name="connsiteY14" fmla="*/ 189548 h 317857"/>
                    <a:gd name="connsiteX15" fmla="*/ 331470 w 457283"/>
                    <a:gd name="connsiteY15" fmla="*/ 233363 h 317857"/>
                    <a:gd name="connsiteX16" fmla="*/ 221933 w 457283"/>
                    <a:gd name="connsiteY16" fmla="*/ 233363 h 317857"/>
                    <a:gd name="connsiteX17" fmla="*/ 177165 w 457283"/>
                    <a:gd name="connsiteY17" fmla="*/ 160973 h 317857"/>
                    <a:gd name="connsiteX18" fmla="*/ 222885 w 457283"/>
                    <a:gd name="connsiteY18" fmla="*/ 85725 h 317857"/>
                    <a:gd name="connsiteX19" fmla="*/ 332423 w 457283"/>
                    <a:gd name="connsiteY19" fmla="*/ 85725 h 317857"/>
                    <a:gd name="connsiteX20" fmla="*/ 408623 w 457283"/>
                    <a:gd name="connsiteY20" fmla="*/ 127635 h 317857"/>
                    <a:gd name="connsiteX21" fmla="*/ 455295 w 457283"/>
                    <a:gd name="connsiteY21" fmla="*/ 80963 h 317857"/>
                    <a:gd name="connsiteX22" fmla="*/ 392430 w 457283"/>
                    <a:gd name="connsiteY22" fmla="*/ 0 h 317857"/>
                    <a:gd name="connsiteX23" fmla="*/ 331470 w 457283"/>
                    <a:gd name="connsiteY23" fmla="*/ 43815 h 317857"/>
                    <a:gd name="connsiteX24" fmla="*/ 414338 w 457283"/>
                    <a:gd name="connsiteY24" fmla="*/ 254318 h 317857"/>
                    <a:gd name="connsiteX25" fmla="*/ 391478 w 457283"/>
                    <a:gd name="connsiteY25" fmla="*/ 277178 h 317857"/>
                    <a:gd name="connsiteX26" fmla="*/ 368618 w 457283"/>
                    <a:gd name="connsiteY26" fmla="*/ 254318 h 317857"/>
                    <a:gd name="connsiteX27" fmla="*/ 391478 w 457283"/>
                    <a:gd name="connsiteY27" fmla="*/ 231458 h 317857"/>
                    <a:gd name="connsiteX28" fmla="*/ 414338 w 457283"/>
                    <a:gd name="connsiteY28" fmla="*/ 254318 h 317857"/>
                    <a:gd name="connsiteX29" fmla="*/ 414338 w 457283"/>
                    <a:gd name="connsiteY29" fmla="*/ 64770 h 317857"/>
                    <a:gd name="connsiteX30" fmla="*/ 391478 w 457283"/>
                    <a:gd name="connsiteY30" fmla="*/ 87630 h 317857"/>
                    <a:gd name="connsiteX31" fmla="*/ 368618 w 457283"/>
                    <a:gd name="connsiteY31" fmla="*/ 64770 h 317857"/>
                    <a:gd name="connsiteX32" fmla="*/ 391478 w 457283"/>
                    <a:gd name="connsiteY32" fmla="*/ 41910 h 317857"/>
                    <a:gd name="connsiteX33" fmla="*/ 414338 w 457283"/>
                    <a:gd name="connsiteY33" fmla="*/ 64770 h 31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57283" h="317857">
                      <a:moveTo>
                        <a:pt x="331470" y="43815"/>
                      </a:moveTo>
                      <a:lnTo>
                        <a:pt x="210502" y="43815"/>
                      </a:lnTo>
                      <a:cubicBezTo>
                        <a:pt x="202883" y="43815"/>
                        <a:pt x="196215" y="47625"/>
                        <a:pt x="192405" y="54293"/>
                      </a:cubicBezTo>
                      <a:lnTo>
                        <a:pt x="140018" y="140018"/>
                      </a:lnTo>
                      <a:lnTo>
                        <a:pt x="9525" y="140018"/>
                      </a:lnTo>
                      <a:cubicBezTo>
                        <a:pt x="3810" y="140018"/>
                        <a:pt x="0" y="144780"/>
                        <a:pt x="0" y="149543"/>
                      </a:cubicBezTo>
                      <a:lnTo>
                        <a:pt x="0" y="171450"/>
                      </a:lnTo>
                      <a:cubicBezTo>
                        <a:pt x="0" y="177165"/>
                        <a:pt x="4763" y="180975"/>
                        <a:pt x="9525" y="180975"/>
                      </a:cubicBezTo>
                      <a:lnTo>
                        <a:pt x="140018" y="180975"/>
                      </a:lnTo>
                      <a:lnTo>
                        <a:pt x="191452" y="264795"/>
                      </a:lnTo>
                      <a:cubicBezTo>
                        <a:pt x="195263" y="270510"/>
                        <a:pt x="201930" y="274320"/>
                        <a:pt x="209550" y="274320"/>
                      </a:cubicBezTo>
                      <a:lnTo>
                        <a:pt x="331470" y="274320"/>
                      </a:lnTo>
                      <a:cubicBezTo>
                        <a:pt x="341948" y="303848"/>
                        <a:pt x="372428" y="323850"/>
                        <a:pt x="407670" y="316230"/>
                      </a:cubicBezTo>
                      <a:cubicBezTo>
                        <a:pt x="430530" y="310515"/>
                        <a:pt x="448628" y="292418"/>
                        <a:pt x="454343" y="269558"/>
                      </a:cubicBezTo>
                      <a:cubicBezTo>
                        <a:pt x="464820" y="227648"/>
                        <a:pt x="432435" y="189548"/>
                        <a:pt x="391478" y="189548"/>
                      </a:cubicBezTo>
                      <a:cubicBezTo>
                        <a:pt x="362903" y="189548"/>
                        <a:pt x="340043" y="207645"/>
                        <a:pt x="331470" y="233363"/>
                      </a:cubicBezTo>
                      <a:lnTo>
                        <a:pt x="221933" y="233363"/>
                      </a:lnTo>
                      <a:lnTo>
                        <a:pt x="177165" y="160973"/>
                      </a:lnTo>
                      <a:lnTo>
                        <a:pt x="222885" y="85725"/>
                      </a:lnTo>
                      <a:lnTo>
                        <a:pt x="332423" y="85725"/>
                      </a:lnTo>
                      <a:cubicBezTo>
                        <a:pt x="342900" y="115253"/>
                        <a:pt x="373380" y="135255"/>
                        <a:pt x="408623" y="127635"/>
                      </a:cubicBezTo>
                      <a:cubicBezTo>
                        <a:pt x="431483" y="121920"/>
                        <a:pt x="449580" y="103823"/>
                        <a:pt x="455295" y="80963"/>
                      </a:cubicBezTo>
                      <a:cubicBezTo>
                        <a:pt x="465773" y="38100"/>
                        <a:pt x="433388" y="0"/>
                        <a:pt x="392430" y="0"/>
                      </a:cubicBezTo>
                      <a:cubicBezTo>
                        <a:pt x="363855" y="0"/>
                        <a:pt x="340043" y="19050"/>
                        <a:pt x="331470" y="43815"/>
                      </a:cubicBezTo>
                      <a:close/>
                      <a:moveTo>
                        <a:pt x="414338" y="254318"/>
                      </a:moveTo>
                      <a:cubicBezTo>
                        <a:pt x="414338" y="266700"/>
                        <a:pt x="403860" y="277178"/>
                        <a:pt x="391478" y="277178"/>
                      </a:cubicBezTo>
                      <a:cubicBezTo>
                        <a:pt x="379095" y="277178"/>
                        <a:pt x="368618" y="266700"/>
                        <a:pt x="368618" y="254318"/>
                      </a:cubicBezTo>
                      <a:cubicBezTo>
                        <a:pt x="368618" y="241935"/>
                        <a:pt x="379095" y="231458"/>
                        <a:pt x="391478" y="231458"/>
                      </a:cubicBezTo>
                      <a:cubicBezTo>
                        <a:pt x="403860" y="231458"/>
                        <a:pt x="414338" y="241935"/>
                        <a:pt x="414338" y="254318"/>
                      </a:cubicBezTo>
                      <a:close/>
                      <a:moveTo>
                        <a:pt x="414338" y="64770"/>
                      </a:moveTo>
                      <a:cubicBezTo>
                        <a:pt x="414338" y="77153"/>
                        <a:pt x="403860" y="87630"/>
                        <a:pt x="391478" y="87630"/>
                      </a:cubicBezTo>
                      <a:cubicBezTo>
                        <a:pt x="379095" y="87630"/>
                        <a:pt x="368618" y="77153"/>
                        <a:pt x="368618" y="64770"/>
                      </a:cubicBezTo>
                      <a:cubicBezTo>
                        <a:pt x="368618" y="52388"/>
                        <a:pt x="379095" y="41910"/>
                        <a:pt x="391478" y="41910"/>
                      </a:cubicBezTo>
                      <a:cubicBezTo>
                        <a:pt x="403860" y="42863"/>
                        <a:pt x="414338" y="52388"/>
                        <a:pt x="414338" y="64770"/>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sp>
        <p:nvSpPr>
          <p:cNvPr id="51" name="Retângulo: Cantos Arredondados 50">
            <a:extLst>
              <a:ext uri="{FF2B5EF4-FFF2-40B4-BE49-F238E27FC236}">
                <a16:creationId xmlns:a16="http://schemas.microsoft.com/office/drawing/2014/main" id="{72E76794-B5F0-379B-8C07-A03C22834602}"/>
              </a:ext>
            </a:extLst>
          </p:cNvPr>
          <p:cNvSpPr/>
          <p:nvPr>
            <p:custDataLst>
              <p:tags r:id="rId8"/>
            </p:custDataLst>
          </p:nvPr>
        </p:nvSpPr>
        <p:spPr>
          <a:xfrm>
            <a:off x="3374136" y="4516422"/>
            <a:ext cx="5376671" cy="370951"/>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3" name="CaixaDeTexto 52">
            <a:extLst>
              <a:ext uri="{FF2B5EF4-FFF2-40B4-BE49-F238E27FC236}">
                <a16:creationId xmlns:a16="http://schemas.microsoft.com/office/drawing/2014/main" id="{7026C1AE-7AE1-A799-0172-C03CB4ECD227}"/>
              </a:ext>
            </a:extLst>
          </p:cNvPr>
          <p:cNvSpPr txBox="1"/>
          <p:nvPr>
            <p:custDataLst>
              <p:tags r:id="rId9"/>
            </p:custDataLst>
          </p:nvPr>
        </p:nvSpPr>
        <p:spPr>
          <a:xfrm>
            <a:off x="753449" y="2431119"/>
            <a:ext cx="2788079" cy="462691"/>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400" b="1" i="0" u="none" strike="noStrike" cap="none" baseline="0" dirty="0">
                <a:solidFill>
                  <a:srgbClr val="005FD7"/>
                </a:solidFill>
                <a:effectLst/>
                <a:uFillTx/>
                <a:latin typeface="Segoe UI"/>
              </a:rPr>
              <a:t>Inclusion of </a:t>
            </a:r>
            <a:r>
              <a:rPr lang="en-US" sz="1400" b="1" i="0" u="none" strike="noStrike" cap="none" baseline="0">
                <a:solidFill>
                  <a:srgbClr val="005FD7"/>
                </a:solidFill>
                <a:effectLst/>
                <a:uFillTx/>
                <a:latin typeface="Segoe UI"/>
              </a:rPr>
              <a:t>New </a:t>
            </a:r>
          </a:p>
          <a:p>
            <a:pPr marL="0" marR="0" lvl="0" indent="0" algn="l" defTabSz="449931" rtl="0" eaLnBrk="1" fontAlgn="auto" latinLnBrk="0" hangingPunct="1">
              <a:lnSpc>
                <a:spcPct val="80000"/>
              </a:lnSpc>
              <a:spcBef>
                <a:spcPts val="148"/>
              </a:spcBef>
              <a:spcAft>
                <a:spcPts val="148"/>
              </a:spcAft>
              <a:buClrTx/>
              <a:buSzTx/>
              <a:buFontTx/>
              <a:buNone/>
              <a:defRPr/>
            </a:pPr>
            <a:r>
              <a:rPr lang="en-US" sz="1400" b="1" i="0" u="none" strike="noStrike" cap="none" baseline="0">
                <a:solidFill>
                  <a:srgbClr val="005FD7"/>
                </a:solidFill>
                <a:effectLst/>
                <a:uFillTx/>
                <a:latin typeface="Segoe UI"/>
              </a:rPr>
              <a:t>Technologies</a:t>
            </a:r>
            <a:endParaRPr lang="en-US" sz="1400" b="1" i="0" u="none" strike="noStrike" cap="none" baseline="0" dirty="0">
              <a:solidFill>
                <a:srgbClr val="005FD7"/>
              </a:solidFill>
              <a:effectLst/>
              <a:uFillTx/>
              <a:latin typeface="Segoe UI"/>
            </a:endParaRPr>
          </a:p>
        </p:txBody>
      </p:sp>
      <p:sp>
        <p:nvSpPr>
          <p:cNvPr id="56" name="CaixaDeTexto 55">
            <a:extLst>
              <a:ext uri="{FF2B5EF4-FFF2-40B4-BE49-F238E27FC236}">
                <a16:creationId xmlns:a16="http://schemas.microsoft.com/office/drawing/2014/main" id="{1776E9FE-E261-C08B-0122-E284AE96E62E}"/>
              </a:ext>
            </a:extLst>
          </p:cNvPr>
          <p:cNvSpPr txBox="1"/>
          <p:nvPr>
            <p:custDataLst>
              <p:tags r:id="rId10"/>
            </p:custDataLst>
          </p:nvPr>
        </p:nvSpPr>
        <p:spPr>
          <a:xfrm>
            <a:off x="567769" y="4584412"/>
            <a:ext cx="2788078" cy="237982"/>
          </a:xfrm>
          <a:prstGeom prst="rect">
            <a:avLst/>
          </a:prstGeom>
          <a:noFill/>
        </p:spPr>
        <p:txBody>
          <a:bodyPr wrap="square" rtlCol="0" anchor="ctr">
            <a:spAutoFit/>
          </a:bodyPr>
          <a:lstStyle/>
          <a:p>
            <a:pPr marL="0" marR="0" lvl="0" indent="0" algn="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011F57"/>
                </a:solidFill>
                <a:effectLst/>
                <a:uFillTx/>
                <a:latin typeface="Segoe UI"/>
              </a:rPr>
              <a:t>Technological maturity</a:t>
            </a:r>
          </a:p>
        </p:txBody>
      </p:sp>
      <p:grpSp>
        <p:nvGrpSpPr>
          <p:cNvPr id="72" name="Agrupar 71">
            <a:extLst>
              <a:ext uri="{FF2B5EF4-FFF2-40B4-BE49-F238E27FC236}">
                <a16:creationId xmlns:a16="http://schemas.microsoft.com/office/drawing/2014/main" id="{0C4D5BA3-87BE-95FF-174F-334711976527}"/>
              </a:ext>
            </a:extLst>
          </p:cNvPr>
          <p:cNvGrpSpPr/>
          <p:nvPr>
            <p:custDataLst>
              <p:tags r:id="rId11"/>
            </p:custDataLst>
          </p:nvPr>
        </p:nvGrpSpPr>
        <p:grpSpPr>
          <a:xfrm>
            <a:off x="8377142" y="4516422"/>
            <a:ext cx="373665" cy="373665"/>
            <a:chOff x="5609468" y="3693751"/>
            <a:chExt cx="391970" cy="391970"/>
          </a:xfrm>
        </p:grpSpPr>
        <p:sp>
          <p:nvSpPr>
            <p:cNvPr id="64" name="Elipse 63">
              <a:extLst>
                <a:ext uri="{FF2B5EF4-FFF2-40B4-BE49-F238E27FC236}">
                  <a16:creationId xmlns:a16="http://schemas.microsoft.com/office/drawing/2014/main" id="{A6D6B608-6AB9-04D2-B278-C69BCCDBCE1A}"/>
                </a:ext>
              </a:extLst>
            </p:cNvPr>
            <p:cNvSpPr/>
            <p:nvPr>
              <p:custDataLst>
                <p:tags r:id="rId32"/>
              </p:custDataLst>
            </p:nvPr>
          </p:nvSpPr>
          <p:spPr>
            <a:xfrm>
              <a:off x="5609468" y="3693751"/>
              <a:ext cx="391970" cy="39197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Seta: Divisa 61">
              <a:extLst>
                <a:ext uri="{FF2B5EF4-FFF2-40B4-BE49-F238E27FC236}">
                  <a16:creationId xmlns:a16="http://schemas.microsoft.com/office/drawing/2014/main" id="{E8C47BDA-7C63-EC52-0EF6-555C6B6FBC0D}"/>
                </a:ext>
              </a:extLst>
            </p:cNvPr>
            <p:cNvSpPr/>
            <p:nvPr>
              <p:custDataLst>
                <p:tags r:id="rId33"/>
              </p:custDataLst>
            </p:nvPr>
          </p:nvSpPr>
          <p:spPr>
            <a:xfrm>
              <a:off x="5716306" y="3795765"/>
              <a:ext cx="194276" cy="194276"/>
            </a:xfrm>
            <a:prstGeom prst="chevron">
              <a:avLst/>
            </a:prstGeom>
            <a:solidFill>
              <a:schemeClr val="bg1"/>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3" name="Agrupar 72">
            <a:extLst>
              <a:ext uri="{FF2B5EF4-FFF2-40B4-BE49-F238E27FC236}">
                <a16:creationId xmlns:a16="http://schemas.microsoft.com/office/drawing/2014/main" id="{F987F771-271B-880B-D8AE-C85F5077BE54}"/>
              </a:ext>
            </a:extLst>
          </p:cNvPr>
          <p:cNvGrpSpPr/>
          <p:nvPr>
            <p:custDataLst>
              <p:tags r:id="rId12"/>
            </p:custDataLst>
          </p:nvPr>
        </p:nvGrpSpPr>
        <p:grpSpPr>
          <a:xfrm>
            <a:off x="6591690" y="4516422"/>
            <a:ext cx="373665" cy="373665"/>
            <a:chOff x="5609468" y="3693751"/>
            <a:chExt cx="391970" cy="391970"/>
          </a:xfrm>
        </p:grpSpPr>
        <p:sp>
          <p:nvSpPr>
            <p:cNvPr id="74" name="Elipse 73">
              <a:extLst>
                <a:ext uri="{FF2B5EF4-FFF2-40B4-BE49-F238E27FC236}">
                  <a16:creationId xmlns:a16="http://schemas.microsoft.com/office/drawing/2014/main" id="{B7D2D496-45BC-3FD7-20D5-B00F4F01C0DC}"/>
                </a:ext>
              </a:extLst>
            </p:cNvPr>
            <p:cNvSpPr/>
            <p:nvPr>
              <p:custDataLst>
                <p:tags r:id="rId30"/>
              </p:custDataLst>
            </p:nvPr>
          </p:nvSpPr>
          <p:spPr>
            <a:xfrm>
              <a:off x="5609468" y="3693751"/>
              <a:ext cx="391970" cy="39197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5" name="Seta: Divisa 74">
              <a:extLst>
                <a:ext uri="{FF2B5EF4-FFF2-40B4-BE49-F238E27FC236}">
                  <a16:creationId xmlns:a16="http://schemas.microsoft.com/office/drawing/2014/main" id="{3A95B680-1DD5-A2AE-09CB-09A1B3217CA0}"/>
                </a:ext>
              </a:extLst>
            </p:cNvPr>
            <p:cNvSpPr/>
            <p:nvPr>
              <p:custDataLst>
                <p:tags r:id="rId31"/>
              </p:custDataLst>
            </p:nvPr>
          </p:nvSpPr>
          <p:spPr>
            <a:xfrm>
              <a:off x="5716306" y="3795765"/>
              <a:ext cx="194276" cy="194276"/>
            </a:xfrm>
            <a:prstGeom prst="chevron">
              <a:avLst/>
            </a:prstGeom>
            <a:solidFill>
              <a:schemeClr val="bg1"/>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76" name="Agrupar 75">
            <a:extLst>
              <a:ext uri="{FF2B5EF4-FFF2-40B4-BE49-F238E27FC236}">
                <a16:creationId xmlns:a16="http://schemas.microsoft.com/office/drawing/2014/main" id="{0B056AA2-1A37-456F-C11D-D65D503C9003}"/>
              </a:ext>
            </a:extLst>
          </p:cNvPr>
          <p:cNvGrpSpPr/>
          <p:nvPr>
            <p:custDataLst>
              <p:tags r:id="rId13"/>
            </p:custDataLst>
          </p:nvPr>
        </p:nvGrpSpPr>
        <p:grpSpPr>
          <a:xfrm>
            <a:off x="4806237" y="4516422"/>
            <a:ext cx="373665" cy="373665"/>
            <a:chOff x="5609468" y="3693751"/>
            <a:chExt cx="391970" cy="391970"/>
          </a:xfrm>
        </p:grpSpPr>
        <p:sp>
          <p:nvSpPr>
            <p:cNvPr id="77" name="Elipse 76">
              <a:extLst>
                <a:ext uri="{FF2B5EF4-FFF2-40B4-BE49-F238E27FC236}">
                  <a16:creationId xmlns:a16="http://schemas.microsoft.com/office/drawing/2014/main" id="{38392DFA-EDCF-FC06-A44C-D4131883B521}"/>
                </a:ext>
              </a:extLst>
            </p:cNvPr>
            <p:cNvSpPr/>
            <p:nvPr>
              <p:custDataLst>
                <p:tags r:id="rId28"/>
              </p:custDataLst>
            </p:nvPr>
          </p:nvSpPr>
          <p:spPr>
            <a:xfrm>
              <a:off x="5609468" y="3693751"/>
              <a:ext cx="391970" cy="39197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8" name="Seta: Divisa 77">
              <a:extLst>
                <a:ext uri="{FF2B5EF4-FFF2-40B4-BE49-F238E27FC236}">
                  <a16:creationId xmlns:a16="http://schemas.microsoft.com/office/drawing/2014/main" id="{50E5AA39-0AF7-38C6-2575-C8680CA5A181}"/>
                </a:ext>
              </a:extLst>
            </p:cNvPr>
            <p:cNvSpPr/>
            <p:nvPr>
              <p:custDataLst>
                <p:tags r:id="rId29"/>
              </p:custDataLst>
            </p:nvPr>
          </p:nvSpPr>
          <p:spPr>
            <a:xfrm>
              <a:off x="5716306" y="3795765"/>
              <a:ext cx="194276" cy="194276"/>
            </a:xfrm>
            <a:prstGeom prst="chevron">
              <a:avLst/>
            </a:prstGeom>
            <a:solidFill>
              <a:schemeClr val="bg1"/>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9" name="CaixaDeTexto 78">
            <a:extLst>
              <a:ext uri="{FF2B5EF4-FFF2-40B4-BE49-F238E27FC236}">
                <a16:creationId xmlns:a16="http://schemas.microsoft.com/office/drawing/2014/main" id="{751307F6-1B6F-3699-7CE1-E61FA1387835}"/>
              </a:ext>
            </a:extLst>
          </p:cNvPr>
          <p:cNvSpPr txBox="1"/>
          <p:nvPr>
            <p:custDataLst>
              <p:tags r:id="rId14"/>
            </p:custDataLst>
          </p:nvPr>
        </p:nvSpPr>
        <p:spPr>
          <a:xfrm>
            <a:off x="3661028" y="4584412"/>
            <a:ext cx="920671"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FFFFF"/>
                </a:solidFill>
                <a:effectLst/>
                <a:uFillTx/>
                <a:latin typeface="Segoe UI"/>
              </a:rPr>
              <a:t> Research</a:t>
            </a:r>
          </a:p>
        </p:txBody>
      </p:sp>
      <p:sp>
        <p:nvSpPr>
          <p:cNvPr id="80" name="CaixaDeTexto 79">
            <a:extLst>
              <a:ext uri="{FF2B5EF4-FFF2-40B4-BE49-F238E27FC236}">
                <a16:creationId xmlns:a16="http://schemas.microsoft.com/office/drawing/2014/main" id="{A569542B-8978-05B0-BB37-3BEF93E9B4B3}"/>
              </a:ext>
            </a:extLst>
          </p:cNvPr>
          <p:cNvSpPr txBox="1"/>
          <p:nvPr>
            <p:custDataLst>
              <p:tags r:id="rId15"/>
            </p:custDataLst>
          </p:nvPr>
        </p:nvSpPr>
        <p:spPr>
          <a:xfrm>
            <a:off x="5048214" y="4584412"/>
            <a:ext cx="1614601"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FFFFF"/>
                </a:solidFill>
                <a:effectLst/>
                <a:uFillTx/>
                <a:latin typeface="Segoe UI"/>
              </a:rPr>
              <a:t> Development</a:t>
            </a:r>
          </a:p>
        </p:txBody>
      </p:sp>
      <p:sp>
        <p:nvSpPr>
          <p:cNvPr id="81" name="CaixaDeTexto 80">
            <a:extLst>
              <a:ext uri="{FF2B5EF4-FFF2-40B4-BE49-F238E27FC236}">
                <a16:creationId xmlns:a16="http://schemas.microsoft.com/office/drawing/2014/main" id="{116A873D-D553-20F2-9CC5-27DE597C368B}"/>
              </a:ext>
            </a:extLst>
          </p:cNvPr>
          <p:cNvSpPr txBox="1"/>
          <p:nvPr>
            <p:custDataLst>
              <p:tags r:id="rId16"/>
            </p:custDataLst>
          </p:nvPr>
        </p:nvSpPr>
        <p:spPr>
          <a:xfrm>
            <a:off x="6845542" y="4511187"/>
            <a:ext cx="1614601" cy="38443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FFFFF"/>
                </a:solidFill>
                <a:effectLst/>
                <a:uFillTx/>
                <a:latin typeface="Segoe UI"/>
              </a:rPr>
              <a:t> Commercial implementation </a:t>
            </a:r>
          </a:p>
        </p:txBody>
      </p:sp>
      <p:cxnSp>
        <p:nvCxnSpPr>
          <p:cNvPr id="82" name="Conector reto 81">
            <a:extLst>
              <a:ext uri="{FF2B5EF4-FFF2-40B4-BE49-F238E27FC236}">
                <a16:creationId xmlns:a16="http://schemas.microsoft.com/office/drawing/2014/main" id="{36AD36A1-9CDB-ECD4-91A1-9F1CD5B2DCE7}"/>
              </a:ext>
            </a:extLst>
          </p:cNvPr>
          <p:cNvCxnSpPr/>
          <p:nvPr>
            <p:custDataLst>
              <p:tags r:id="rId17"/>
            </p:custDataLst>
          </p:nvPr>
        </p:nvCxnSpPr>
        <p:spPr>
          <a:xfrm flipH="1">
            <a:off x="5883962" y="732893"/>
            <a:ext cx="0" cy="3783529"/>
          </a:xfrm>
          <a:prstGeom prst="line">
            <a:avLst/>
          </a:prstGeom>
          <a:gradFill>
            <a:gsLst>
              <a:gs pos="0">
                <a:srgbClr val="006BEF">
                  <a:alpha val="50000"/>
                </a:srgbClr>
              </a:gs>
              <a:gs pos="100000">
                <a:srgbClr val="0067EE"/>
              </a:gs>
            </a:gsLst>
            <a:lin ang="2700000" scaled="0"/>
          </a:grad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84" name="CaixaDeTexto 83">
            <a:extLst>
              <a:ext uri="{FF2B5EF4-FFF2-40B4-BE49-F238E27FC236}">
                <a16:creationId xmlns:a16="http://schemas.microsoft.com/office/drawing/2014/main" id="{D9B4D914-8CF0-33A8-AB1A-C09A30835248}"/>
              </a:ext>
            </a:extLst>
          </p:cNvPr>
          <p:cNvSpPr txBox="1"/>
          <p:nvPr>
            <p:custDataLst>
              <p:tags r:id="rId18"/>
            </p:custDataLst>
          </p:nvPr>
        </p:nvSpPr>
        <p:spPr>
          <a:xfrm>
            <a:off x="5908468" y="796909"/>
            <a:ext cx="2502704" cy="384432"/>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005FD7"/>
                </a:solidFill>
                <a:effectLst/>
                <a:uFillTx/>
                <a:latin typeface="Segoe UI"/>
              </a:rPr>
              <a:t>Distributed Flexible AC Transmission System </a:t>
            </a:r>
            <a:r>
              <a:rPr lang="en-US" sz="1200" b="0" i="0" u="none" strike="noStrike" cap="none" baseline="0" dirty="0">
                <a:solidFill>
                  <a:srgbClr val="011F57"/>
                </a:solidFill>
                <a:effectLst/>
                <a:uFillTx/>
                <a:latin typeface="Segoe UI"/>
              </a:rPr>
              <a:t>(D-FACTS)</a:t>
            </a:r>
          </a:p>
        </p:txBody>
      </p:sp>
      <p:cxnSp>
        <p:nvCxnSpPr>
          <p:cNvPr id="85" name="Conector reto 84">
            <a:extLst>
              <a:ext uri="{FF2B5EF4-FFF2-40B4-BE49-F238E27FC236}">
                <a16:creationId xmlns:a16="http://schemas.microsoft.com/office/drawing/2014/main" id="{C22BBA9C-69D6-1EF5-0945-0E3ACA2258C9}"/>
              </a:ext>
            </a:extLst>
          </p:cNvPr>
          <p:cNvCxnSpPr/>
          <p:nvPr>
            <p:custDataLst>
              <p:tags r:id="rId19"/>
            </p:custDataLst>
          </p:nvPr>
        </p:nvCxnSpPr>
        <p:spPr>
          <a:xfrm flipH="1">
            <a:off x="6577925" y="1352145"/>
            <a:ext cx="0" cy="3164277"/>
          </a:xfrm>
          <a:prstGeom prst="line">
            <a:avLst/>
          </a:prstGeom>
          <a:gradFill>
            <a:gsLst>
              <a:gs pos="0">
                <a:srgbClr val="006BEF">
                  <a:alpha val="50000"/>
                </a:srgbClr>
              </a:gs>
              <a:gs pos="100000">
                <a:srgbClr val="0067EE"/>
              </a:gs>
            </a:gsLst>
            <a:lin ang="2700000" scaled="0"/>
          </a:grad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87" name="CaixaDeTexto 86">
            <a:extLst>
              <a:ext uri="{FF2B5EF4-FFF2-40B4-BE49-F238E27FC236}">
                <a16:creationId xmlns:a16="http://schemas.microsoft.com/office/drawing/2014/main" id="{61624E38-894F-0A88-F851-9FDF55E41418}"/>
              </a:ext>
            </a:extLst>
          </p:cNvPr>
          <p:cNvSpPr txBox="1"/>
          <p:nvPr>
            <p:custDataLst>
              <p:tags r:id="rId20"/>
            </p:custDataLst>
          </p:nvPr>
        </p:nvSpPr>
        <p:spPr>
          <a:xfrm>
            <a:off x="6582361" y="1282904"/>
            <a:ext cx="2275912" cy="677333"/>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i="0" u="none" strike="noStrike" cap="none" baseline="0" dirty="0">
                <a:solidFill>
                  <a:srgbClr val="011F57"/>
                </a:solidFill>
                <a:effectLst/>
                <a:uFillTx/>
                <a:latin typeface="Segoe UI"/>
              </a:rPr>
              <a:t>Open</a:t>
            </a:r>
            <a:r>
              <a:rPr lang="en-US" sz="1200" b="1" i="0" u="none" strike="noStrike" cap="none" baseline="0" dirty="0">
                <a:solidFill>
                  <a:srgbClr val="011F57"/>
                </a:solidFill>
                <a:effectLst/>
                <a:uFillTx/>
                <a:latin typeface="Segoe UI"/>
              </a:rPr>
              <a:t> </a:t>
            </a:r>
            <a:r>
              <a:rPr lang="en-US" sz="1200" b="1" i="0" u="none" strike="noStrike" cap="none" baseline="0" dirty="0">
                <a:solidFill>
                  <a:srgbClr val="005FD7"/>
                </a:solidFill>
                <a:effectLst/>
                <a:uFillTx/>
                <a:latin typeface="Segoe UI"/>
              </a:rPr>
              <a:t>Platform</a:t>
            </a:r>
            <a:r>
              <a:rPr lang="en-US" sz="1200" b="0" i="0" u="none" strike="noStrike" cap="none" baseline="0" dirty="0">
                <a:solidFill>
                  <a:srgbClr val="011F57"/>
                </a:solidFill>
                <a:effectLst/>
                <a:uFillTx/>
                <a:latin typeface="Segoe UI"/>
              </a:rPr>
              <a:t> for </a:t>
            </a:r>
            <a:r>
              <a:rPr lang="en-US" sz="1200" b="1" i="0" u="none" strike="noStrike" cap="none" baseline="0" dirty="0">
                <a:solidFill>
                  <a:srgbClr val="005FD7"/>
                </a:solidFill>
                <a:effectLst/>
                <a:uFillTx/>
                <a:latin typeface="Segoe UI"/>
              </a:rPr>
              <a:t>Collaboration between Operational Centers </a:t>
            </a:r>
            <a:r>
              <a:rPr lang="en-US" sz="1200" b="0" i="0" u="none" strike="noStrike" cap="none" baseline="0" dirty="0">
                <a:solidFill>
                  <a:srgbClr val="011F57"/>
                </a:solidFill>
                <a:effectLst/>
                <a:uFillTx/>
                <a:latin typeface="Segoe UI"/>
              </a:rPr>
              <a:t>in the Electricity Sector (ZACCX)</a:t>
            </a:r>
          </a:p>
        </p:txBody>
      </p:sp>
      <p:cxnSp>
        <p:nvCxnSpPr>
          <p:cNvPr id="88" name="Conector reto 87">
            <a:extLst>
              <a:ext uri="{FF2B5EF4-FFF2-40B4-BE49-F238E27FC236}">
                <a16:creationId xmlns:a16="http://schemas.microsoft.com/office/drawing/2014/main" id="{8C605D8B-1D48-00E0-371A-CC89795047F6}"/>
              </a:ext>
            </a:extLst>
          </p:cNvPr>
          <p:cNvCxnSpPr/>
          <p:nvPr>
            <p:custDataLst>
              <p:tags r:id="rId21"/>
            </p:custDataLst>
          </p:nvPr>
        </p:nvCxnSpPr>
        <p:spPr>
          <a:xfrm flipH="1">
            <a:off x="6906541" y="1986249"/>
            <a:ext cx="0" cy="2530173"/>
          </a:xfrm>
          <a:prstGeom prst="line">
            <a:avLst/>
          </a:prstGeom>
          <a:gradFill>
            <a:gsLst>
              <a:gs pos="0">
                <a:srgbClr val="006BEF">
                  <a:alpha val="50000"/>
                </a:srgbClr>
              </a:gs>
              <a:gs pos="100000">
                <a:srgbClr val="0067EE"/>
              </a:gs>
            </a:gsLst>
            <a:lin ang="2700000" scaled="0"/>
          </a:grad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90" name="CaixaDeTexto 89">
            <a:extLst>
              <a:ext uri="{FF2B5EF4-FFF2-40B4-BE49-F238E27FC236}">
                <a16:creationId xmlns:a16="http://schemas.microsoft.com/office/drawing/2014/main" id="{28ECA7DF-186D-72E4-D345-69E222BE9486}"/>
              </a:ext>
            </a:extLst>
          </p:cNvPr>
          <p:cNvSpPr txBox="1"/>
          <p:nvPr>
            <p:custDataLst>
              <p:tags r:id="rId22"/>
            </p:custDataLst>
          </p:nvPr>
        </p:nvSpPr>
        <p:spPr>
          <a:xfrm>
            <a:off x="6882231" y="1964997"/>
            <a:ext cx="1781963" cy="535531"/>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8681E"/>
                </a:solidFill>
                <a:effectLst/>
                <a:uFillTx/>
                <a:latin typeface="Segoe UI"/>
              </a:rPr>
              <a:t>2023</a:t>
            </a:r>
            <a:br>
              <a:rPr sz="1200" dirty="0"/>
            </a:br>
            <a:r>
              <a:rPr lang="en-US" sz="1200" b="1" i="0" u="none" strike="noStrike" cap="none" baseline="0" dirty="0">
                <a:solidFill>
                  <a:srgbClr val="005FD7"/>
                </a:solidFill>
                <a:effectLst/>
                <a:uFillTx/>
                <a:latin typeface="Segoe UI"/>
              </a:rPr>
              <a:t>1st </a:t>
            </a:r>
            <a:r>
              <a:rPr lang="en-US" sz="1200" b="1" i="0" u="none" strike="noStrike" cap="none" baseline="0">
                <a:solidFill>
                  <a:srgbClr val="005FD7"/>
                </a:solidFill>
                <a:effectLst/>
                <a:uFillTx/>
                <a:latin typeface="Segoe UI"/>
              </a:rPr>
              <a:t>Substation 4.0 in Brazil</a:t>
            </a:r>
            <a:endParaRPr lang="en-US" sz="1200" b="1" i="0" u="none" strike="noStrike" cap="none" baseline="0" dirty="0">
              <a:solidFill>
                <a:srgbClr val="005FD7"/>
              </a:solidFill>
              <a:effectLst/>
              <a:uFillTx/>
              <a:latin typeface="Segoe UI"/>
            </a:endParaRPr>
          </a:p>
        </p:txBody>
      </p:sp>
      <p:cxnSp>
        <p:nvCxnSpPr>
          <p:cNvPr id="94" name="Conector reto 93">
            <a:extLst>
              <a:ext uri="{FF2B5EF4-FFF2-40B4-BE49-F238E27FC236}">
                <a16:creationId xmlns:a16="http://schemas.microsoft.com/office/drawing/2014/main" id="{CD772FD7-CABD-87EC-A4D7-B8185693770C}"/>
              </a:ext>
            </a:extLst>
          </p:cNvPr>
          <p:cNvCxnSpPr/>
          <p:nvPr>
            <p:custDataLst>
              <p:tags r:id="rId23"/>
            </p:custDataLst>
          </p:nvPr>
        </p:nvCxnSpPr>
        <p:spPr>
          <a:xfrm flipH="1">
            <a:off x="7233362" y="2544827"/>
            <a:ext cx="0" cy="1971595"/>
          </a:xfrm>
          <a:prstGeom prst="line">
            <a:avLst/>
          </a:prstGeom>
          <a:gradFill>
            <a:gsLst>
              <a:gs pos="0">
                <a:srgbClr val="006BEF">
                  <a:alpha val="50000"/>
                </a:srgbClr>
              </a:gs>
              <a:gs pos="100000">
                <a:srgbClr val="0067EE"/>
              </a:gs>
            </a:gsLst>
            <a:lin ang="2700000" scaled="0"/>
          </a:grad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96" name="CaixaDeTexto 95">
            <a:extLst>
              <a:ext uri="{FF2B5EF4-FFF2-40B4-BE49-F238E27FC236}">
                <a16:creationId xmlns:a16="http://schemas.microsoft.com/office/drawing/2014/main" id="{BED274FB-C07A-1C24-E5F8-70F7A814E565}"/>
              </a:ext>
            </a:extLst>
          </p:cNvPr>
          <p:cNvSpPr txBox="1"/>
          <p:nvPr>
            <p:custDataLst>
              <p:tags r:id="rId24"/>
            </p:custDataLst>
          </p:nvPr>
        </p:nvSpPr>
        <p:spPr>
          <a:xfrm>
            <a:off x="7233363" y="2628983"/>
            <a:ext cx="1614601" cy="683264"/>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8681E"/>
                </a:solidFill>
                <a:effectLst/>
                <a:uFillTx/>
                <a:latin typeface="Segoe UI"/>
              </a:rPr>
              <a:t>2022</a:t>
            </a:r>
            <a:br>
              <a:rPr sz="1200" dirty="0"/>
            </a:br>
            <a:r>
              <a:rPr lang="en-US" sz="1200" b="1" i="0" u="none" strike="noStrike" cap="none" baseline="0">
                <a:solidFill>
                  <a:srgbClr val="005FD7"/>
                </a:solidFill>
                <a:effectLst/>
                <a:uFillTx/>
                <a:latin typeface="Segoe UI"/>
              </a:rPr>
              <a:t>1st large-scale battery </a:t>
            </a:r>
            <a:r>
              <a:rPr lang="en-US" sz="1200" b="1" i="0" u="none" strike="noStrike" cap="none" baseline="0" dirty="0">
                <a:solidFill>
                  <a:srgbClr val="005FD7"/>
                </a:solidFill>
                <a:effectLst/>
                <a:uFillTx/>
                <a:latin typeface="Segoe UI"/>
              </a:rPr>
              <a:t>storage project </a:t>
            </a:r>
          </a:p>
        </p:txBody>
      </p:sp>
      <p:cxnSp>
        <p:nvCxnSpPr>
          <p:cNvPr id="20" name="Conector reto 19">
            <a:extLst>
              <a:ext uri="{FF2B5EF4-FFF2-40B4-BE49-F238E27FC236}">
                <a16:creationId xmlns:a16="http://schemas.microsoft.com/office/drawing/2014/main" id="{81A28CA2-2570-8785-F011-61A1CD3B322C}"/>
              </a:ext>
            </a:extLst>
          </p:cNvPr>
          <p:cNvCxnSpPr/>
          <p:nvPr>
            <p:custDataLst>
              <p:tags r:id="rId25"/>
            </p:custDataLst>
          </p:nvPr>
        </p:nvCxnSpPr>
        <p:spPr>
          <a:xfrm flipH="1">
            <a:off x="7560182" y="3546603"/>
            <a:ext cx="0" cy="969819"/>
          </a:xfrm>
          <a:prstGeom prst="line">
            <a:avLst/>
          </a:prstGeom>
          <a:gradFill>
            <a:gsLst>
              <a:gs pos="0">
                <a:srgbClr val="006BEF">
                  <a:alpha val="50000"/>
                </a:srgbClr>
              </a:gs>
              <a:gs pos="100000">
                <a:srgbClr val="0067EE"/>
              </a:gs>
            </a:gsLst>
            <a:lin ang="2700000" scaled="0"/>
          </a:grad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22" name="CaixaDeTexto 21">
            <a:extLst>
              <a:ext uri="{FF2B5EF4-FFF2-40B4-BE49-F238E27FC236}">
                <a16:creationId xmlns:a16="http://schemas.microsoft.com/office/drawing/2014/main" id="{3285392B-2794-73C8-02C3-B1F62B353679}"/>
              </a:ext>
            </a:extLst>
          </p:cNvPr>
          <p:cNvSpPr txBox="1"/>
          <p:nvPr>
            <p:custDataLst>
              <p:tags r:id="rId26"/>
            </p:custDataLst>
          </p:nvPr>
        </p:nvSpPr>
        <p:spPr>
          <a:xfrm>
            <a:off x="7560575" y="3289325"/>
            <a:ext cx="1438963" cy="530882"/>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8681E"/>
                </a:solidFill>
                <a:effectLst/>
                <a:uFillTx/>
                <a:latin typeface="Segoe UI"/>
              </a:rPr>
              <a:t>2021</a:t>
            </a:r>
            <a:br>
              <a:rPr sz="1200" dirty="0"/>
            </a:br>
            <a:r>
              <a:rPr lang="en-US" sz="1200" b="1" i="0" u="none" strike="noStrike" cap="none" baseline="0" dirty="0">
                <a:solidFill>
                  <a:srgbClr val="005FD7"/>
                </a:solidFill>
                <a:effectLst/>
                <a:uFillTx/>
                <a:latin typeface="Segoe UI"/>
              </a:rPr>
              <a:t>Brazil's 1st digital substation</a:t>
            </a:r>
          </a:p>
        </p:txBody>
      </p:sp>
      <p:sp>
        <p:nvSpPr>
          <p:cNvPr id="21" name="CaixaDeTexto 20">
            <a:extLst>
              <a:ext uri="{FF2B5EF4-FFF2-40B4-BE49-F238E27FC236}">
                <a16:creationId xmlns:a16="http://schemas.microsoft.com/office/drawing/2014/main" id="{4398268D-71E4-E830-EE72-2CBF46EE7B2A}"/>
              </a:ext>
            </a:extLst>
          </p:cNvPr>
          <p:cNvSpPr txBox="1"/>
          <p:nvPr>
            <p:custDataLst>
              <p:tags r:id="rId27"/>
            </p:custDataLst>
          </p:nvPr>
        </p:nvSpPr>
        <p:spPr>
          <a:xfrm>
            <a:off x="646910" y="154049"/>
            <a:ext cx="1805032"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2" name="Forma Livre: Forma 1">
            <a:extLst>
              <a:ext uri="{FF2B5EF4-FFF2-40B4-BE49-F238E27FC236}">
                <a16:creationId xmlns:a16="http://schemas.microsoft.com/office/drawing/2014/main" id="{A2937112-E92A-706A-F747-DF69B268D028}"/>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3" name="CaixaDeTexto 2">
            <a:extLst>
              <a:ext uri="{FF2B5EF4-FFF2-40B4-BE49-F238E27FC236}">
                <a16:creationId xmlns:a16="http://schemas.microsoft.com/office/drawing/2014/main" id="{27214A2D-1406-821B-FC98-434B2C105C8C}"/>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4" name="Imagem 3" descr="Uma imagem contendo Interface gráfica do usuário&#10;&#10;Descrição gerada automaticamente">
            <a:extLst>
              <a:ext uri="{FF2B5EF4-FFF2-40B4-BE49-F238E27FC236}">
                <a16:creationId xmlns:a16="http://schemas.microsoft.com/office/drawing/2014/main" id="{B33AF44E-EDFC-31EE-3F9F-E316C64121EE}"/>
              </a:ext>
            </a:extLst>
          </p:cNvPr>
          <p:cNvPicPr>
            <a:picLocks noChangeAspect="1"/>
          </p:cNvPicPr>
          <p:nvPr/>
        </p:nvPicPr>
        <p:blipFill>
          <a:blip r:embed="rId48"/>
          <a:stretch>
            <a:fillRect/>
          </a:stretch>
        </p:blipFill>
        <p:spPr>
          <a:xfrm>
            <a:off x="8039840" y="60434"/>
            <a:ext cx="920231" cy="509571"/>
          </a:xfrm>
          <a:prstGeom prst="rect">
            <a:avLst/>
          </a:prstGeom>
        </p:spPr>
      </p:pic>
    </p:spTree>
    <p:extLst>
      <p:ext uri="{BB962C8B-B14F-4D97-AF65-F5344CB8AC3E}">
        <p14:creationId xmlns:p14="http://schemas.microsoft.com/office/powerpoint/2010/main" val="2252403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35" presetClass="path" presetSubtype="0" accel="17000" decel="83000" fill="hold" grpId="1" nodeType="withEffect">
                                  <p:stCondLst>
                                    <p:cond delay="0"/>
                                  </p:stCondLst>
                                  <p:childTnLst>
                                    <p:animMotion origin="layout" path="M -0.03211 -4.6974E-06 L 1.49585E-06 -4.6974E-06" pathEditMode="relative" rAng="0" ptsTypes="AA">
                                      <p:cBhvr>
                                        <p:cTn id="9" dur="1100" fill="hold"/>
                                        <p:tgtEl>
                                          <p:spTgt spid="10"/>
                                        </p:tgtEl>
                                        <p:attrNameLst>
                                          <p:attrName>ppt_x</p:attrName>
                                          <p:attrName>ppt_y</p:attrName>
                                        </p:attrNameLst>
                                      </p:cBhvr>
                                      <p:rCtr x="1605" y="0"/>
                                    </p:animMotion>
                                  </p:childTnLst>
                                </p:cTn>
                              </p:par>
                              <p:par>
                                <p:cTn id="10" presetID="10" presetClass="entr" presetSubtype="0" fill="hold"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1000"/>
                                        <p:tgtEl>
                                          <p:spTgt spid="59"/>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53"/>
                                        </p:tgtEl>
                                        <p:attrNameLst>
                                          <p:attrName>style.visibility</p:attrName>
                                        </p:attrNameLst>
                                      </p:cBhvr>
                                      <p:to>
                                        <p:strVal val="visible"/>
                                      </p:to>
                                    </p:set>
                                    <p:animEffect transition="in" filter="fade">
                                      <p:cBhvr>
                                        <p:cTn id="15" dur="500"/>
                                        <p:tgtEl>
                                          <p:spTgt spid="53"/>
                                        </p:tgtEl>
                                      </p:cBhvr>
                                    </p:animEffect>
                                  </p:childTnLst>
                                </p:cTn>
                              </p:par>
                              <p:par>
                                <p:cTn id="16" presetID="35" presetClass="path" presetSubtype="0" accel="17000" decel="83000" fill="hold" grpId="1" nodeType="withEffect">
                                  <p:stCondLst>
                                    <p:cond delay="250"/>
                                  </p:stCondLst>
                                  <p:childTnLst>
                                    <p:animMotion origin="layout" path="M 0.00053 -0.04484 L 3.56853E-6 -1.78739E-7 " pathEditMode="relative" rAng="0" ptsTypes="AA">
                                      <p:cBhvr>
                                        <p:cTn id="17" dur="1100" fill="hold"/>
                                        <p:tgtEl>
                                          <p:spTgt spid="53"/>
                                        </p:tgtEl>
                                        <p:attrNameLst>
                                          <p:attrName>ppt_x</p:attrName>
                                          <p:attrName>ppt_y</p:attrName>
                                        </p:attrNameLst>
                                      </p:cBhvr>
                                      <p:rCtr x="-35" y="2226"/>
                                    </p:animMotion>
                                  </p:childTnLst>
                                </p:cTn>
                              </p:par>
                              <p:par>
                                <p:cTn id="18" presetID="53" presetClass="entr" presetSubtype="0" fill="hold" nodeType="withEffect">
                                  <p:stCondLst>
                                    <p:cond delay="500"/>
                                  </p:stCondLst>
                                  <p:childTnLst>
                                    <p:set>
                                      <p:cBhvr>
                                        <p:cTn id="19" dur="1" fill="hold">
                                          <p:stCondLst>
                                            <p:cond delay="0"/>
                                          </p:stCondLst>
                                        </p:cTn>
                                        <p:tgtEl>
                                          <p:spTgt spid="49"/>
                                        </p:tgtEl>
                                        <p:attrNameLst>
                                          <p:attrName>style.visibility</p:attrName>
                                        </p:attrNameLst>
                                      </p:cBhvr>
                                      <p:to>
                                        <p:strVal val="visible"/>
                                      </p:to>
                                    </p:set>
                                    <p:anim calcmode="lin" valueType="num">
                                      <p:cBhvr>
                                        <p:cTn id="20" dur="500" fill="hold"/>
                                        <p:tgtEl>
                                          <p:spTgt spid="49"/>
                                        </p:tgtEl>
                                        <p:attrNameLst>
                                          <p:attrName>ppt_w</p:attrName>
                                        </p:attrNameLst>
                                      </p:cBhvr>
                                      <p:tavLst>
                                        <p:tav tm="0">
                                          <p:val>
                                            <p:fltVal val="0"/>
                                          </p:val>
                                        </p:tav>
                                        <p:tav tm="100000">
                                          <p:val>
                                            <p:strVal val="#ppt_w"/>
                                          </p:val>
                                        </p:tav>
                                      </p:tavLst>
                                    </p:anim>
                                    <p:anim calcmode="lin" valueType="num">
                                      <p:cBhvr>
                                        <p:cTn id="21" dur="500" fill="hold"/>
                                        <p:tgtEl>
                                          <p:spTgt spid="49"/>
                                        </p:tgtEl>
                                        <p:attrNameLst>
                                          <p:attrName>ppt_h</p:attrName>
                                        </p:attrNameLst>
                                      </p:cBhvr>
                                      <p:tavLst>
                                        <p:tav tm="0">
                                          <p:val>
                                            <p:fltVal val="0"/>
                                          </p:val>
                                        </p:tav>
                                        <p:tav tm="100000">
                                          <p:val>
                                            <p:strVal val="#ppt_h"/>
                                          </p:val>
                                        </p:tav>
                                      </p:tavLst>
                                    </p:anim>
                                    <p:animEffect transition="in" filter="fade">
                                      <p:cBhvr>
                                        <p:cTn id="22" dur="500"/>
                                        <p:tgtEl>
                                          <p:spTgt spid="49"/>
                                        </p:tgtEl>
                                      </p:cBhvr>
                                    </p:animEffect>
                                  </p:childTnLst>
                                </p:cTn>
                              </p:par>
                              <p:par>
                                <p:cTn id="23" presetID="22" presetClass="entr" presetSubtype="8" fill="hold" grpId="0" nodeType="withEffect">
                                  <p:stCondLst>
                                    <p:cond delay="500"/>
                                  </p:stCondLst>
                                  <p:childTnLst>
                                    <p:set>
                                      <p:cBhvr>
                                        <p:cTn id="24" dur="1" fill="hold">
                                          <p:stCondLst>
                                            <p:cond delay="0"/>
                                          </p:stCondLst>
                                        </p:cTn>
                                        <p:tgtEl>
                                          <p:spTgt spid="15"/>
                                        </p:tgtEl>
                                        <p:attrNameLst>
                                          <p:attrName>style.visibility</p:attrName>
                                        </p:attrNameLst>
                                      </p:cBhvr>
                                      <p:to>
                                        <p:strVal val="visible"/>
                                      </p:to>
                                    </p:set>
                                    <p:animEffect transition="in" filter="wipe(left)">
                                      <p:cBhvr>
                                        <p:cTn id="25" dur="750"/>
                                        <p:tgtEl>
                                          <p:spTgt spid="15"/>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56"/>
                                        </p:tgtEl>
                                        <p:attrNameLst>
                                          <p:attrName>style.visibility</p:attrName>
                                        </p:attrNameLst>
                                      </p:cBhvr>
                                      <p:to>
                                        <p:strVal val="visible"/>
                                      </p:to>
                                    </p:set>
                                    <p:animEffect transition="in" filter="fade">
                                      <p:cBhvr>
                                        <p:cTn id="28" dur="500"/>
                                        <p:tgtEl>
                                          <p:spTgt spid="56"/>
                                        </p:tgtEl>
                                      </p:cBhvr>
                                    </p:animEffect>
                                  </p:childTnLst>
                                </p:cTn>
                              </p:par>
                              <p:par>
                                <p:cTn id="29" presetID="22" presetClass="entr" presetSubtype="8" fill="hold" grpId="0" nodeType="withEffect">
                                  <p:stCondLst>
                                    <p:cond delay="1000"/>
                                  </p:stCondLst>
                                  <p:childTnLst>
                                    <p:set>
                                      <p:cBhvr>
                                        <p:cTn id="30" dur="1" fill="hold">
                                          <p:stCondLst>
                                            <p:cond delay="0"/>
                                          </p:stCondLst>
                                        </p:cTn>
                                        <p:tgtEl>
                                          <p:spTgt spid="51"/>
                                        </p:tgtEl>
                                        <p:attrNameLst>
                                          <p:attrName>style.visibility</p:attrName>
                                        </p:attrNameLst>
                                      </p:cBhvr>
                                      <p:to>
                                        <p:strVal val="visible"/>
                                      </p:to>
                                    </p:set>
                                    <p:animEffect transition="in" filter="wipe(left)">
                                      <p:cBhvr>
                                        <p:cTn id="31" dur="750"/>
                                        <p:tgtEl>
                                          <p:spTgt spid="51"/>
                                        </p:tgtEl>
                                      </p:cBhvr>
                                    </p:animEffect>
                                  </p:childTnLst>
                                </p:cTn>
                              </p:par>
                              <p:par>
                                <p:cTn id="32" presetID="10" presetClass="entr" presetSubtype="0" fill="hold" grpId="0" nodeType="withEffect">
                                  <p:stCondLst>
                                    <p:cond delay="1250"/>
                                  </p:stCondLst>
                                  <p:childTnLst>
                                    <p:set>
                                      <p:cBhvr>
                                        <p:cTn id="33" dur="1" fill="hold">
                                          <p:stCondLst>
                                            <p:cond delay="0"/>
                                          </p:stCondLst>
                                        </p:cTn>
                                        <p:tgtEl>
                                          <p:spTgt spid="79"/>
                                        </p:tgtEl>
                                        <p:attrNameLst>
                                          <p:attrName>style.visibility</p:attrName>
                                        </p:attrNameLst>
                                      </p:cBhvr>
                                      <p:to>
                                        <p:strVal val="visible"/>
                                      </p:to>
                                    </p:set>
                                    <p:animEffect transition="in" filter="fade">
                                      <p:cBhvr>
                                        <p:cTn id="34" dur="500"/>
                                        <p:tgtEl>
                                          <p:spTgt spid="79"/>
                                        </p:tgtEl>
                                      </p:cBhvr>
                                    </p:animEffect>
                                  </p:childTnLst>
                                </p:cTn>
                              </p:par>
                              <p:par>
                                <p:cTn id="35" presetID="35" presetClass="path" presetSubtype="0" accel="17000" decel="83000" fill="hold" grpId="1" nodeType="withEffect">
                                  <p:stCondLst>
                                    <p:cond delay="1250"/>
                                  </p:stCondLst>
                                  <p:childTnLst>
                                    <p:animMotion origin="layout" path="M -0.0321 3.63437E-06 L 8.8199E-08 3.63437E-06" pathEditMode="relative" rAng="0" ptsTypes="AA">
                                      <p:cBhvr>
                                        <p:cTn id="36" dur="1100" fill="hold"/>
                                        <p:tgtEl>
                                          <p:spTgt spid="79"/>
                                        </p:tgtEl>
                                        <p:attrNameLst>
                                          <p:attrName>ppt_x</p:attrName>
                                          <p:attrName>ppt_y</p:attrName>
                                        </p:attrNameLst>
                                      </p:cBhvr>
                                      <p:rCtr x="1605" y="0"/>
                                    </p:animMotion>
                                  </p:childTnLst>
                                </p:cTn>
                              </p:par>
                              <p:par>
                                <p:cTn id="37" presetID="10" presetClass="entr" presetSubtype="0" fill="hold" nodeType="withEffect">
                                  <p:stCondLst>
                                    <p:cond delay="1500"/>
                                  </p:stCondLst>
                                  <p:childTnLst>
                                    <p:set>
                                      <p:cBhvr>
                                        <p:cTn id="38" dur="1" fill="hold">
                                          <p:stCondLst>
                                            <p:cond delay="0"/>
                                          </p:stCondLst>
                                        </p:cTn>
                                        <p:tgtEl>
                                          <p:spTgt spid="76"/>
                                        </p:tgtEl>
                                        <p:attrNameLst>
                                          <p:attrName>style.visibility</p:attrName>
                                        </p:attrNameLst>
                                      </p:cBhvr>
                                      <p:to>
                                        <p:strVal val="visible"/>
                                      </p:to>
                                    </p:set>
                                    <p:animEffect transition="in" filter="fade">
                                      <p:cBhvr>
                                        <p:cTn id="39" dur="500"/>
                                        <p:tgtEl>
                                          <p:spTgt spid="76"/>
                                        </p:tgtEl>
                                      </p:cBhvr>
                                    </p:animEffect>
                                  </p:childTnLst>
                                </p:cTn>
                              </p:par>
                              <p:par>
                                <p:cTn id="40" presetID="35" presetClass="path" presetSubtype="0" accel="17000" decel="83000" fill="hold" nodeType="withEffect">
                                  <p:stCondLst>
                                    <p:cond delay="1500"/>
                                  </p:stCondLst>
                                  <p:childTnLst>
                                    <p:animMotion origin="layout" path="M -0.0321 3.63437E-06 L 8.8199E-08 3.63437E-06" pathEditMode="relative" rAng="0" ptsTypes="AA">
                                      <p:cBhvr>
                                        <p:cTn id="41" dur="1100" fill="hold"/>
                                        <p:tgtEl>
                                          <p:spTgt spid="76"/>
                                        </p:tgtEl>
                                        <p:attrNameLst>
                                          <p:attrName>ppt_x</p:attrName>
                                          <p:attrName>ppt_y</p:attrName>
                                        </p:attrNameLst>
                                      </p:cBhvr>
                                      <p:rCtr x="1605" y="0"/>
                                    </p:animMotion>
                                  </p:childTnLst>
                                </p:cTn>
                              </p:par>
                              <p:par>
                                <p:cTn id="42" presetID="10" presetClass="entr" presetSubtype="0" fill="hold" grpId="0" nodeType="withEffect">
                                  <p:stCondLst>
                                    <p:cond delay="1500"/>
                                  </p:stCondLst>
                                  <p:childTnLst>
                                    <p:set>
                                      <p:cBhvr>
                                        <p:cTn id="43" dur="1" fill="hold">
                                          <p:stCondLst>
                                            <p:cond delay="0"/>
                                          </p:stCondLst>
                                        </p:cTn>
                                        <p:tgtEl>
                                          <p:spTgt spid="80"/>
                                        </p:tgtEl>
                                        <p:attrNameLst>
                                          <p:attrName>style.visibility</p:attrName>
                                        </p:attrNameLst>
                                      </p:cBhvr>
                                      <p:to>
                                        <p:strVal val="visible"/>
                                      </p:to>
                                    </p:set>
                                    <p:animEffect transition="in" filter="fade">
                                      <p:cBhvr>
                                        <p:cTn id="44" dur="500"/>
                                        <p:tgtEl>
                                          <p:spTgt spid="80"/>
                                        </p:tgtEl>
                                      </p:cBhvr>
                                    </p:animEffect>
                                  </p:childTnLst>
                                </p:cTn>
                              </p:par>
                              <p:par>
                                <p:cTn id="45" presetID="35" presetClass="path" presetSubtype="0" accel="17000" decel="83000" fill="hold" grpId="1" nodeType="withEffect">
                                  <p:stCondLst>
                                    <p:cond delay="1500"/>
                                  </p:stCondLst>
                                  <p:childTnLst>
                                    <p:animMotion origin="layout" path="M -0.0321 3.63437E-06 L 8.8199E-08 3.63437E-06" pathEditMode="relative" rAng="0" ptsTypes="AA">
                                      <p:cBhvr>
                                        <p:cTn id="46" dur="1100" fill="hold"/>
                                        <p:tgtEl>
                                          <p:spTgt spid="80"/>
                                        </p:tgtEl>
                                        <p:attrNameLst>
                                          <p:attrName>ppt_x</p:attrName>
                                          <p:attrName>ppt_y</p:attrName>
                                        </p:attrNameLst>
                                      </p:cBhvr>
                                      <p:rCtr x="1605" y="0"/>
                                    </p:animMotion>
                                  </p:childTnLst>
                                </p:cTn>
                              </p:par>
                              <p:par>
                                <p:cTn id="47" presetID="10" presetClass="entr" presetSubtype="0" fill="hold" grpId="0" nodeType="withEffect">
                                  <p:stCondLst>
                                    <p:cond delay="1750"/>
                                  </p:stCondLst>
                                  <p:childTnLst>
                                    <p:set>
                                      <p:cBhvr>
                                        <p:cTn id="48" dur="1" fill="hold">
                                          <p:stCondLst>
                                            <p:cond delay="0"/>
                                          </p:stCondLst>
                                        </p:cTn>
                                        <p:tgtEl>
                                          <p:spTgt spid="81"/>
                                        </p:tgtEl>
                                        <p:attrNameLst>
                                          <p:attrName>style.visibility</p:attrName>
                                        </p:attrNameLst>
                                      </p:cBhvr>
                                      <p:to>
                                        <p:strVal val="visible"/>
                                      </p:to>
                                    </p:set>
                                    <p:animEffect transition="in" filter="fade">
                                      <p:cBhvr>
                                        <p:cTn id="49" dur="500"/>
                                        <p:tgtEl>
                                          <p:spTgt spid="81"/>
                                        </p:tgtEl>
                                      </p:cBhvr>
                                    </p:animEffect>
                                  </p:childTnLst>
                                </p:cTn>
                              </p:par>
                              <p:par>
                                <p:cTn id="50" presetID="35" presetClass="path" presetSubtype="0" accel="17000" decel="83000" fill="hold" grpId="1" nodeType="withEffect">
                                  <p:stCondLst>
                                    <p:cond delay="1750"/>
                                  </p:stCondLst>
                                  <p:childTnLst>
                                    <p:animMotion origin="layout" path="M -0.0321 3.63437E-06 L 8.8199E-08 3.63437E-06" pathEditMode="relative" rAng="0" ptsTypes="AA">
                                      <p:cBhvr>
                                        <p:cTn id="51" dur="1100" fill="hold"/>
                                        <p:tgtEl>
                                          <p:spTgt spid="81"/>
                                        </p:tgtEl>
                                        <p:attrNameLst>
                                          <p:attrName>ppt_x</p:attrName>
                                          <p:attrName>ppt_y</p:attrName>
                                        </p:attrNameLst>
                                      </p:cBhvr>
                                      <p:rCtr x="1605" y="0"/>
                                    </p:animMotion>
                                  </p:childTnLst>
                                </p:cTn>
                              </p:par>
                              <p:par>
                                <p:cTn id="52" presetID="10" presetClass="entr" presetSubtype="0" fill="hold" nodeType="withEffect">
                                  <p:stCondLst>
                                    <p:cond delay="1750"/>
                                  </p:stCondLst>
                                  <p:childTnLst>
                                    <p:set>
                                      <p:cBhvr>
                                        <p:cTn id="53" dur="1" fill="hold">
                                          <p:stCondLst>
                                            <p:cond delay="0"/>
                                          </p:stCondLst>
                                        </p:cTn>
                                        <p:tgtEl>
                                          <p:spTgt spid="73"/>
                                        </p:tgtEl>
                                        <p:attrNameLst>
                                          <p:attrName>style.visibility</p:attrName>
                                        </p:attrNameLst>
                                      </p:cBhvr>
                                      <p:to>
                                        <p:strVal val="visible"/>
                                      </p:to>
                                    </p:set>
                                    <p:animEffect transition="in" filter="fade">
                                      <p:cBhvr>
                                        <p:cTn id="54" dur="500"/>
                                        <p:tgtEl>
                                          <p:spTgt spid="73"/>
                                        </p:tgtEl>
                                      </p:cBhvr>
                                    </p:animEffect>
                                  </p:childTnLst>
                                </p:cTn>
                              </p:par>
                              <p:par>
                                <p:cTn id="55" presetID="35" presetClass="path" presetSubtype="0" accel="17000" decel="83000" fill="hold" nodeType="withEffect">
                                  <p:stCondLst>
                                    <p:cond delay="1750"/>
                                  </p:stCondLst>
                                  <p:childTnLst>
                                    <p:animMotion origin="layout" path="M -0.0321 3.63437E-06 L 8.8199E-08 3.63437E-06" pathEditMode="relative" rAng="0" ptsTypes="AA">
                                      <p:cBhvr>
                                        <p:cTn id="56" dur="1100" fill="hold"/>
                                        <p:tgtEl>
                                          <p:spTgt spid="73"/>
                                        </p:tgtEl>
                                        <p:attrNameLst>
                                          <p:attrName>ppt_x</p:attrName>
                                          <p:attrName>ppt_y</p:attrName>
                                        </p:attrNameLst>
                                      </p:cBhvr>
                                      <p:rCtr x="1605" y="0"/>
                                    </p:animMotion>
                                  </p:childTnLst>
                                </p:cTn>
                              </p:par>
                              <p:par>
                                <p:cTn id="57" presetID="10" presetClass="entr" presetSubtype="0" fill="hold" nodeType="withEffect">
                                  <p:stCondLst>
                                    <p:cond delay="2000"/>
                                  </p:stCondLst>
                                  <p:childTnLst>
                                    <p:set>
                                      <p:cBhvr>
                                        <p:cTn id="58" dur="1" fill="hold">
                                          <p:stCondLst>
                                            <p:cond delay="0"/>
                                          </p:stCondLst>
                                        </p:cTn>
                                        <p:tgtEl>
                                          <p:spTgt spid="72"/>
                                        </p:tgtEl>
                                        <p:attrNameLst>
                                          <p:attrName>style.visibility</p:attrName>
                                        </p:attrNameLst>
                                      </p:cBhvr>
                                      <p:to>
                                        <p:strVal val="visible"/>
                                      </p:to>
                                    </p:set>
                                    <p:animEffect transition="in" filter="fade">
                                      <p:cBhvr>
                                        <p:cTn id="59" dur="500"/>
                                        <p:tgtEl>
                                          <p:spTgt spid="72"/>
                                        </p:tgtEl>
                                      </p:cBhvr>
                                    </p:animEffect>
                                  </p:childTnLst>
                                </p:cTn>
                              </p:par>
                              <p:par>
                                <p:cTn id="60" presetID="35" presetClass="path" presetSubtype="0" accel="17000" decel="83000" fill="hold" nodeType="withEffect">
                                  <p:stCondLst>
                                    <p:cond delay="2000"/>
                                  </p:stCondLst>
                                  <p:childTnLst>
                                    <p:animMotion origin="layout" path="M -0.0321 3.63437E-06 L 8.8199E-08 3.63437E-06" pathEditMode="relative" rAng="0" ptsTypes="AA">
                                      <p:cBhvr>
                                        <p:cTn id="61" dur="1100" fill="hold"/>
                                        <p:tgtEl>
                                          <p:spTgt spid="72"/>
                                        </p:tgtEl>
                                        <p:attrNameLst>
                                          <p:attrName>ppt_x</p:attrName>
                                          <p:attrName>ppt_y</p:attrName>
                                        </p:attrNameLst>
                                      </p:cBhvr>
                                      <p:rCtr x="1605" y="0"/>
                                    </p:animMotion>
                                  </p:childTnLst>
                                </p:cTn>
                              </p:par>
                              <p:par>
                                <p:cTn id="62" presetID="22" presetClass="entr" presetSubtype="4" fill="hold" nodeType="withEffect">
                                  <p:stCondLst>
                                    <p:cond delay="2250"/>
                                  </p:stCondLst>
                                  <p:childTnLst>
                                    <p:set>
                                      <p:cBhvr>
                                        <p:cTn id="63" dur="1" fill="hold">
                                          <p:stCondLst>
                                            <p:cond delay="0"/>
                                          </p:stCondLst>
                                        </p:cTn>
                                        <p:tgtEl>
                                          <p:spTgt spid="82"/>
                                        </p:tgtEl>
                                        <p:attrNameLst>
                                          <p:attrName>style.visibility</p:attrName>
                                        </p:attrNameLst>
                                      </p:cBhvr>
                                      <p:to>
                                        <p:strVal val="visible"/>
                                      </p:to>
                                    </p:set>
                                    <p:animEffect transition="in" filter="wipe(down)">
                                      <p:cBhvr>
                                        <p:cTn id="64" dur="750"/>
                                        <p:tgtEl>
                                          <p:spTgt spid="82"/>
                                        </p:tgtEl>
                                      </p:cBhvr>
                                    </p:animEffect>
                                  </p:childTnLst>
                                </p:cTn>
                              </p:par>
                              <p:par>
                                <p:cTn id="65" presetID="22" presetClass="entr" presetSubtype="4" fill="hold" nodeType="withEffect">
                                  <p:stCondLst>
                                    <p:cond delay="2250"/>
                                  </p:stCondLst>
                                  <p:childTnLst>
                                    <p:set>
                                      <p:cBhvr>
                                        <p:cTn id="66" dur="1" fill="hold">
                                          <p:stCondLst>
                                            <p:cond delay="0"/>
                                          </p:stCondLst>
                                        </p:cTn>
                                        <p:tgtEl>
                                          <p:spTgt spid="85"/>
                                        </p:tgtEl>
                                        <p:attrNameLst>
                                          <p:attrName>style.visibility</p:attrName>
                                        </p:attrNameLst>
                                      </p:cBhvr>
                                      <p:to>
                                        <p:strVal val="visible"/>
                                      </p:to>
                                    </p:set>
                                    <p:animEffect transition="in" filter="wipe(down)">
                                      <p:cBhvr>
                                        <p:cTn id="67" dur="750"/>
                                        <p:tgtEl>
                                          <p:spTgt spid="85"/>
                                        </p:tgtEl>
                                      </p:cBhvr>
                                    </p:animEffect>
                                  </p:childTnLst>
                                </p:cTn>
                              </p:par>
                              <p:par>
                                <p:cTn id="68" presetID="22" presetClass="entr" presetSubtype="4" fill="hold" nodeType="withEffect">
                                  <p:stCondLst>
                                    <p:cond delay="2250"/>
                                  </p:stCondLst>
                                  <p:childTnLst>
                                    <p:set>
                                      <p:cBhvr>
                                        <p:cTn id="69" dur="1" fill="hold">
                                          <p:stCondLst>
                                            <p:cond delay="0"/>
                                          </p:stCondLst>
                                        </p:cTn>
                                        <p:tgtEl>
                                          <p:spTgt spid="88"/>
                                        </p:tgtEl>
                                        <p:attrNameLst>
                                          <p:attrName>style.visibility</p:attrName>
                                        </p:attrNameLst>
                                      </p:cBhvr>
                                      <p:to>
                                        <p:strVal val="visible"/>
                                      </p:to>
                                    </p:set>
                                    <p:animEffect transition="in" filter="wipe(down)">
                                      <p:cBhvr>
                                        <p:cTn id="70" dur="750"/>
                                        <p:tgtEl>
                                          <p:spTgt spid="88"/>
                                        </p:tgtEl>
                                      </p:cBhvr>
                                    </p:animEffect>
                                  </p:childTnLst>
                                </p:cTn>
                              </p:par>
                              <p:par>
                                <p:cTn id="71" presetID="22" presetClass="entr" presetSubtype="4" fill="hold" nodeType="withEffect">
                                  <p:stCondLst>
                                    <p:cond delay="2250"/>
                                  </p:stCondLst>
                                  <p:childTnLst>
                                    <p:set>
                                      <p:cBhvr>
                                        <p:cTn id="72" dur="1" fill="hold">
                                          <p:stCondLst>
                                            <p:cond delay="0"/>
                                          </p:stCondLst>
                                        </p:cTn>
                                        <p:tgtEl>
                                          <p:spTgt spid="94"/>
                                        </p:tgtEl>
                                        <p:attrNameLst>
                                          <p:attrName>style.visibility</p:attrName>
                                        </p:attrNameLst>
                                      </p:cBhvr>
                                      <p:to>
                                        <p:strVal val="visible"/>
                                      </p:to>
                                    </p:set>
                                    <p:animEffect transition="in" filter="wipe(down)">
                                      <p:cBhvr>
                                        <p:cTn id="73" dur="750"/>
                                        <p:tgtEl>
                                          <p:spTgt spid="94"/>
                                        </p:tgtEl>
                                      </p:cBhvr>
                                    </p:animEffect>
                                  </p:childTnLst>
                                </p:cTn>
                              </p:par>
                              <p:par>
                                <p:cTn id="74" presetID="10" presetClass="entr" presetSubtype="0" fill="hold" grpId="0" nodeType="withEffect">
                                  <p:stCondLst>
                                    <p:cond delay="2500"/>
                                  </p:stCondLst>
                                  <p:childTnLst>
                                    <p:set>
                                      <p:cBhvr>
                                        <p:cTn id="75" dur="1" fill="hold">
                                          <p:stCondLst>
                                            <p:cond delay="0"/>
                                          </p:stCondLst>
                                        </p:cTn>
                                        <p:tgtEl>
                                          <p:spTgt spid="84"/>
                                        </p:tgtEl>
                                        <p:attrNameLst>
                                          <p:attrName>style.visibility</p:attrName>
                                        </p:attrNameLst>
                                      </p:cBhvr>
                                      <p:to>
                                        <p:strVal val="visible"/>
                                      </p:to>
                                    </p:set>
                                    <p:animEffect transition="in" filter="fade">
                                      <p:cBhvr>
                                        <p:cTn id="76" dur="500"/>
                                        <p:tgtEl>
                                          <p:spTgt spid="84"/>
                                        </p:tgtEl>
                                      </p:cBhvr>
                                    </p:animEffect>
                                  </p:childTnLst>
                                </p:cTn>
                              </p:par>
                              <p:par>
                                <p:cTn id="77" presetID="35" presetClass="path" presetSubtype="0" accel="17000" decel="83000" fill="hold" grpId="1" nodeType="withEffect">
                                  <p:stCondLst>
                                    <p:cond delay="2500"/>
                                  </p:stCondLst>
                                  <p:childTnLst>
                                    <p:animMotion origin="layout" path="M 0.02311 9.53277E-07 L 1.62639E-06 9.53277E-07" pathEditMode="relative" rAng="0" ptsTypes="AA">
                                      <p:cBhvr>
                                        <p:cTn id="78" dur="1100" fill="hold"/>
                                        <p:tgtEl>
                                          <p:spTgt spid="84"/>
                                        </p:tgtEl>
                                        <p:attrNameLst>
                                          <p:attrName>ppt_x</p:attrName>
                                          <p:attrName>ppt_y</p:attrName>
                                        </p:attrNameLst>
                                      </p:cBhvr>
                                      <p:rCtr x="-1164" y="0"/>
                                    </p:animMotion>
                                  </p:childTnLst>
                                </p:cTn>
                              </p:par>
                              <p:par>
                                <p:cTn id="79" presetID="10" presetClass="entr" presetSubtype="0" fill="hold" grpId="0" nodeType="withEffect">
                                  <p:stCondLst>
                                    <p:cond delay="2500"/>
                                  </p:stCondLst>
                                  <p:childTnLst>
                                    <p:set>
                                      <p:cBhvr>
                                        <p:cTn id="80" dur="1" fill="hold">
                                          <p:stCondLst>
                                            <p:cond delay="0"/>
                                          </p:stCondLst>
                                        </p:cTn>
                                        <p:tgtEl>
                                          <p:spTgt spid="87"/>
                                        </p:tgtEl>
                                        <p:attrNameLst>
                                          <p:attrName>style.visibility</p:attrName>
                                        </p:attrNameLst>
                                      </p:cBhvr>
                                      <p:to>
                                        <p:strVal val="visible"/>
                                      </p:to>
                                    </p:set>
                                    <p:animEffect transition="in" filter="fade">
                                      <p:cBhvr>
                                        <p:cTn id="81" dur="500"/>
                                        <p:tgtEl>
                                          <p:spTgt spid="87"/>
                                        </p:tgtEl>
                                      </p:cBhvr>
                                    </p:animEffect>
                                  </p:childTnLst>
                                </p:cTn>
                              </p:par>
                              <p:par>
                                <p:cTn id="82" presetID="35" presetClass="path" presetSubtype="0" accel="17000" decel="83000" fill="hold" grpId="1" nodeType="withEffect">
                                  <p:stCondLst>
                                    <p:cond delay="2500"/>
                                  </p:stCondLst>
                                  <p:childTnLst>
                                    <p:animMotion origin="layout" path="M 0.0231 -3.06052E-06 L 3.1487E-06 -3.06052E-06" pathEditMode="relative" rAng="0" ptsTypes="AA">
                                      <p:cBhvr>
                                        <p:cTn id="83" dur="1100" fill="hold"/>
                                        <p:tgtEl>
                                          <p:spTgt spid="87"/>
                                        </p:tgtEl>
                                        <p:attrNameLst>
                                          <p:attrName>ppt_x</p:attrName>
                                          <p:attrName>ppt_y</p:attrName>
                                        </p:attrNameLst>
                                      </p:cBhvr>
                                      <p:rCtr x="-1164" y="0"/>
                                    </p:animMotion>
                                  </p:childTnLst>
                                </p:cTn>
                              </p:par>
                              <p:par>
                                <p:cTn id="84" presetID="10" presetClass="entr" presetSubtype="0" fill="hold" grpId="0" nodeType="withEffect">
                                  <p:stCondLst>
                                    <p:cond delay="2500"/>
                                  </p:stCondLst>
                                  <p:childTnLst>
                                    <p:set>
                                      <p:cBhvr>
                                        <p:cTn id="85" dur="1" fill="hold">
                                          <p:stCondLst>
                                            <p:cond delay="0"/>
                                          </p:stCondLst>
                                        </p:cTn>
                                        <p:tgtEl>
                                          <p:spTgt spid="90"/>
                                        </p:tgtEl>
                                        <p:attrNameLst>
                                          <p:attrName>style.visibility</p:attrName>
                                        </p:attrNameLst>
                                      </p:cBhvr>
                                      <p:to>
                                        <p:strVal val="visible"/>
                                      </p:to>
                                    </p:set>
                                    <p:animEffect transition="in" filter="fade">
                                      <p:cBhvr>
                                        <p:cTn id="86" dur="500"/>
                                        <p:tgtEl>
                                          <p:spTgt spid="90"/>
                                        </p:tgtEl>
                                      </p:cBhvr>
                                    </p:animEffect>
                                  </p:childTnLst>
                                </p:cTn>
                              </p:par>
                              <p:par>
                                <p:cTn id="87" presetID="35" presetClass="path" presetSubtype="0" accel="17000" decel="83000" fill="hold" grpId="1" nodeType="withEffect">
                                  <p:stCondLst>
                                    <p:cond delay="2500"/>
                                  </p:stCondLst>
                                  <p:childTnLst>
                                    <p:animMotion origin="layout" path="M 0.02311 -5.61304E-7 L -4.38173E-6 -5.61304E-7 " pathEditMode="relative" rAng="0" ptsTypes="AA">
                                      <p:cBhvr>
                                        <p:cTn id="88" dur="1100" fill="hold"/>
                                        <p:tgtEl>
                                          <p:spTgt spid="90"/>
                                        </p:tgtEl>
                                        <p:attrNameLst>
                                          <p:attrName>ppt_x</p:attrName>
                                          <p:attrName>ppt_y</p:attrName>
                                        </p:attrNameLst>
                                      </p:cBhvr>
                                      <p:rCtr x="-1164" y="0"/>
                                    </p:animMotion>
                                  </p:childTnLst>
                                </p:cTn>
                              </p:par>
                              <p:par>
                                <p:cTn id="89" presetID="10" presetClass="entr" presetSubtype="0" fill="hold" grpId="0" nodeType="withEffect">
                                  <p:stCondLst>
                                    <p:cond delay="2500"/>
                                  </p:stCondLst>
                                  <p:childTnLst>
                                    <p:set>
                                      <p:cBhvr>
                                        <p:cTn id="90" dur="1" fill="hold">
                                          <p:stCondLst>
                                            <p:cond delay="0"/>
                                          </p:stCondLst>
                                        </p:cTn>
                                        <p:tgtEl>
                                          <p:spTgt spid="96"/>
                                        </p:tgtEl>
                                        <p:attrNameLst>
                                          <p:attrName>style.visibility</p:attrName>
                                        </p:attrNameLst>
                                      </p:cBhvr>
                                      <p:to>
                                        <p:strVal val="visible"/>
                                      </p:to>
                                    </p:set>
                                    <p:animEffect transition="in" filter="fade">
                                      <p:cBhvr>
                                        <p:cTn id="91" dur="500"/>
                                        <p:tgtEl>
                                          <p:spTgt spid="96"/>
                                        </p:tgtEl>
                                      </p:cBhvr>
                                    </p:animEffect>
                                  </p:childTnLst>
                                </p:cTn>
                              </p:par>
                              <p:par>
                                <p:cTn id="92" presetID="35" presetClass="path" presetSubtype="0" accel="17000" decel="83000" fill="hold" grpId="1" nodeType="withEffect">
                                  <p:stCondLst>
                                    <p:cond delay="2500"/>
                                  </p:stCondLst>
                                  <p:childTnLst>
                                    <p:animMotion origin="layout" path="M 0.02311 -2.00376E-06 L 7.62039E-07 -2.00376E-06" pathEditMode="relative" rAng="0" ptsTypes="AA">
                                      <p:cBhvr>
                                        <p:cTn id="93" dur="1100" fill="hold"/>
                                        <p:tgtEl>
                                          <p:spTgt spid="96"/>
                                        </p:tgtEl>
                                        <p:attrNameLst>
                                          <p:attrName>ppt_x</p:attrName>
                                          <p:attrName>ppt_y</p:attrName>
                                        </p:attrNameLst>
                                      </p:cBhvr>
                                      <p:rCtr x="-1164" y="0"/>
                                    </p:animMotion>
                                  </p:childTnLst>
                                </p:cTn>
                              </p:par>
                              <p:par>
                                <p:cTn id="94" presetID="22" presetClass="entr" presetSubtype="4" fill="hold" nodeType="withEffect">
                                  <p:stCondLst>
                                    <p:cond delay="2250"/>
                                  </p:stCondLst>
                                  <p:childTnLst>
                                    <p:set>
                                      <p:cBhvr>
                                        <p:cTn id="95" dur="1" fill="hold">
                                          <p:stCondLst>
                                            <p:cond delay="0"/>
                                          </p:stCondLst>
                                        </p:cTn>
                                        <p:tgtEl>
                                          <p:spTgt spid="20"/>
                                        </p:tgtEl>
                                        <p:attrNameLst>
                                          <p:attrName>style.visibility</p:attrName>
                                        </p:attrNameLst>
                                      </p:cBhvr>
                                      <p:to>
                                        <p:strVal val="visible"/>
                                      </p:to>
                                    </p:set>
                                    <p:animEffect transition="in" filter="wipe(down)">
                                      <p:cBhvr>
                                        <p:cTn id="96" dur="750"/>
                                        <p:tgtEl>
                                          <p:spTgt spid="20"/>
                                        </p:tgtEl>
                                      </p:cBhvr>
                                    </p:animEffect>
                                  </p:childTnLst>
                                </p:cTn>
                              </p:par>
                              <p:par>
                                <p:cTn id="97" presetID="10" presetClass="entr" presetSubtype="0" fill="hold" grpId="0" nodeType="withEffect">
                                  <p:stCondLst>
                                    <p:cond delay="2500"/>
                                  </p:stCondLst>
                                  <p:childTnLst>
                                    <p:set>
                                      <p:cBhvr>
                                        <p:cTn id="98" dur="1" fill="hold">
                                          <p:stCondLst>
                                            <p:cond delay="0"/>
                                          </p:stCondLst>
                                        </p:cTn>
                                        <p:tgtEl>
                                          <p:spTgt spid="22"/>
                                        </p:tgtEl>
                                        <p:attrNameLst>
                                          <p:attrName>style.visibility</p:attrName>
                                        </p:attrNameLst>
                                      </p:cBhvr>
                                      <p:to>
                                        <p:strVal val="visible"/>
                                      </p:to>
                                    </p:set>
                                    <p:animEffect transition="in" filter="fade">
                                      <p:cBhvr>
                                        <p:cTn id="99" dur="500"/>
                                        <p:tgtEl>
                                          <p:spTgt spid="22"/>
                                        </p:tgtEl>
                                      </p:cBhvr>
                                    </p:animEffect>
                                  </p:childTnLst>
                                </p:cTn>
                              </p:par>
                              <p:par>
                                <p:cTn id="100" presetID="35" presetClass="path" presetSubtype="0" accel="17000" decel="83000" fill="hold" grpId="1" nodeType="withEffect">
                                  <p:stCondLst>
                                    <p:cond delay="2500"/>
                                  </p:stCondLst>
                                  <p:childTnLst>
                                    <p:animMotion origin="layout" path="M 0.02311 -9.72092E-7 L -1.72694E-6 -9.72092E-7 " pathEditMode="relative" rAng="0" ptsTypes="AA">
                                      <p:cBhvr>
                                        <p:cTn id="101" dur="1100" fill="hold"/>
                                        <p:tgtEl>
                                          <p:spTgt spid="22"/>
                                        </p:tgtEl>
                                        <p:attrNameLst>
                                          <p:attrName>ppt_x</p:attrName>
                                          <p:attrName>ppt_y</p:attrName>
                                        </p:attrNameLst>
                                      </p:cBhvr>
                                      <p:rCtr x="-11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5" grpId="0" animBg="1"/>
      <p:bldP spid="51" grpId="0" animBg="1"/>
      <p:bldP spid="53" grpId="0"/>
      <p:bldP spid="53" grpId="1"/>
      <p:bldP spid="56" grpId="0"/>
      <p:bldP spid="79" grpId="0"/>
      <p:bldP spid="79" grpId="1"/>
      <p:bldP spid="80" grpId="0"/>
      <p:bldP spid="80" grpId="1"/>
      <p:bldP spid="81" grpId="0"/>
      <p:bldP spid="81" grpId="1"/>
      <p:bldP spid="84" grpId="0"/>
      <p:bldP spid="84" grpId="1"/>
      <p:bldP spid="87" grpId="0"/>
      <p:bldP spid="87" grpId="1"/>
      <p:bldP spid="90" grpId="0"/>
      <p:bldP spid="90" grpId="1"/>
      <p:bldP spid="96" grpId="0"/>
      <p:bldP spid="96" grpId="1"/>
      <p:bldP spid="22" grpId="0"/>
      <p:bldP spid="22"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m 9" descr="Imagem em branco e azul&#10;&#10;Descrição gerada automaticamente com confiança média">
            <a:extLst>
              <a:ext uri="{FF2B5EF4-FFF2-40B4-BE49-F238E27FC236}">
                <a16:creationId xmlns:a16="http://schemas.microsoft.com/office/drawing/2014/main" id="{5A2403A8-46F1-3FCB-5787-A7E451F5BCC3}"/>
              </a:ext>
            </a:extLst>
          </p:cNvPr>
          <p:cNvPicPr>
            <a:picLocks noChangeAspect="1"/>
          </p:cNvPicPr>
          <p:nvPr>
            <p:custDataLst>
              <p:tags r:id="rId1"/>
            </p:custDataLst>
          </p:nvPr>
        </p:nvPicPr>
        <p:blipFill>
          <a:blip r:embed="rId31">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3" name="Imagem 2" descr="Ponte sobre a água&#10;&#10;Descrição gerada automaticamente com confiança média">
            <a:extLst>
              <a:ext uri="{FF2B5EF4-FFF2-40B4-BE49-F238E27FC236}">
                <a16:creationId xmlns:a16="http://schemas.microsoft.com/office/drawing/2014/main" id="{D7EAF6B9-8B05-8114-6A72-9CE3D61124BF}"/>
              </a:ext>
            </a:extLst>
          </p:cNvPr>
          <p:cNvPicPr>
            <a:picLocks noChangeAspect="1"/>
          </p:cNvPicPr>
          <p:nvPr>
            <p:custDataLst>
              <p:tags r:id="rId2"/>
            </p:custDataLst>
          </p:nvPr>
        </p:nvPicPr>
        <p:blipFill>
          <a:blip r:embed="rId32">
            <a:extLst>
              <a:ext uri="{28A0092B-C50C-407E-A947-70E740481C1C}">
                <a14:useLocalDpi xmlns:a14="http://schemas.microsoft.com/office/drawing/2010/main"/>
              </a:ext>
            </a:extLst>
          </a:blip>
          <a:stretch>
            <a:fillRect/>
          </a:stretch>
        </p:blipFill>
        <p:spPr>
          <a:xfrm>
            <a:off x="0" y="0"/>
            <a:ext cx="8999538" cy="5062240"/>
          </a:xfrm>
          <a:prstGeom prst="rect">
            <a:avLst/>
          </a:prstGeom>
        </p:spPr>
      </p:pic>
      <p:sp>
        <p:nvSpPr>
          <p:cNvPr id="12" name="CaixaDeTexto 11">
            <a:extLst>
              <a:ext uri="{FF2B5EF4-FFF2-40B4-BE49-F238E27FC236}">
                <a16:creationId xmlns:a16="http://schemas.microsoft.com/office/drawing/2014/main" id="{7815740D-49FC-8293-2812-576311EF3A71}"/>
              </a:ext>
            </a:extLst>
          </p:cNvPr>
          <p:cNvSpPr txBox="1"/>
          <p:nvPr>
            <p:custDataLst>
              <p:tags r:id="rId3"/>
            </p:custDataLst>
          </p:nvPr>
        </p:nvSpPr>
        <p:spPr>
          <a:xfrm>
            <a:off x="2367710" y="323175"/>
            <a:ext cx="4253782" cy="563231"/>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1600" b="0" i="0" u="none" strike="noStrike" cap="none" spc="300" baseline="0" dirty="0">
                <a:solidFill>
                  <a:srgbClr val="002581"/>
                </a:solidFill>
                <a:effectLst/>
                <a:uFillTx/>
                <a:latin typeface="Segoe UI Light"/>
              </a:rPr>
              <a:t>BENEFITS AND CHALLENGES OF </a:t>
            </a:r>
            <a:r>
              <a:rPr lang="en-US" sz="2000" b="1" dirty="0">
                <a:solidFill>
                  <a:srgbClr val="002581"/>
                </a:solidFill>
                <a:latin typeface="Segoe UI Black"/>
              </a:rPr>
              <a:t>ENERGY STORAGE </a:t>
            </a:r>
            <a:r>
              <a:rPr lang="en-US" sz="1600" b="0" i="0" u="none" strike="noStrike" cap="none" spc="300" baseline="0" dirty="0">
                <a:solidFill>
                  <a:srgbClr val="002581"/>
                </a:solidFill>
                <a:effectLst/>
                <a:uFillTx/>
                <a:latin typeface="Segoe UI Light"/>
              </a:rPr>
              <a:t>FOR THE</a:t>
            </a:r>
          </a:p>
        </p:txBody>
      </p:sp>
      <p:sp>
        <p:nvSpPr>
          <p:cNvPr id="13" name="CaixaDeTexto 12">
            <a:extLst>
              <a:ext uri="{FF2B5EF4-FFF2-40B4-BE49-F238E27FC236}">
                <a16:creationId xmlns:a16="http://schemas.microsoft.com/office/drawing/2014/main" id="{47B6D875-E03B-D044-EBAA-9E7602A54786}"/>
              </a:ext>
            </a:extLst>
          </p:cNvPr>
          <p:cNvSpPr txBox="1"/>
          <p:nvPr>
            <p:custDataLst>
              <p:tags r:id="rId4"/>
            </p:custDataLst>
          </p:nvPr>
        </p:nvSpPr>
        <p:spPr>
          <a:xfrm>
            <a:off x="1457563" y="844578"/>
            <a:ext cx="6084412" cy="301621"/>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1600" spc="300" dirty="0">
                <a:solidFill>
                  <a:srgbClr val="002581"/>
                </a:solidFill>
                <a:latin typeface="Segoe UI Light"/>
              </a:rPr>
              <a:t>NATIONAL INTERCONNECTED SYSTEM (SIN)</a:t>
            </a:r>
          </a:p>
        </p:txBody>
      </p:sp>
      <p:sp>
        <p:nvSpPr>
          <p:cNvPr id="29" name="Retângulo: Cantos Arredondados 28">
            <a:extLst>
              <a:ext uri="{FF2B5EF4-FFF2-40B4-BE49-F238E27FC236}">
                <a16:creationId xmlns:a16="http://schemas.microsoft.com/office/drawing/2014/main" id="{73FCA00F-FAFE-73E8-6EE3-0BB52CBF5030}"/>
              </a:ext>
            </a:extLst>
          </p:cNvPr>
          <p:cNvSpPr/>
          <p:nvPr>
            <p:custDataLst>
              <p:tags r:id="rId5"/>
            </p:custDataLst>
          </p:nvPr>
        </p:nvSpPr>
        <p:spPr>
          <a:xfrm rot="5400000">
            <a:off x="418870" y="1364463"/>
            <a:ext cx="2685333" cy="2491341"/>
          </a:xfrm>
          <a:prstGeom prst="roundRect">
            <a:avLst>
              <a:gd name="adj" fmla="val 6988"/>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 name="Retângulo: Cantos Arredondados 29">
            <a:extLst>
              <a:ext uri="{FF2B5EF4-FFF2-40B4-BE49-F238E27FC236}">
                <a16:creationId xmlns:a16="http://schemas.microsoft.com/office/drawing/2014/main" id="{E66DDDA0-1489-100B-06EB-E6EF1250FF46}"/>
              </a:ext>
            </a:extLst>
          </p:cNvPr>
          <p:cNvSpPr/>
          <p:nvPr>
            <p:custDataLst>
              <p:tags r:id="rId6"/>
            </p:custDataLst>
          </p:nvPr>
        </p:nvSpPr>
        <p:spPr>
          <a:xfrm rot="5400000">
            <a:off x="3930541" y="591024"/>
            <a:ext cx="1138454" cy="2491341"/>
          </a:xfrm>
          <a:prstGeom prst="roundRect">
            <a:avLst>
              <a:gd name="adj" fmla="val 6988"/>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1" name="Retângulo: Cantos Arredondados 30">
            <a:extLst>
              <a:ext uri="{FF2B5EF4-FFF2-40B4-BE49-F238E27FC236}">
                <a16:creationId xmlns:a16="http://schemas.microsoft.com/office/drawing/2014/main" id="{15623770-40E2-EC83-F93B-7C99D9C7BC22}"/>
              </a:ext>
            </a:extLst>
          </p:cNvPr>
          <p:cNvSpPr/>
          <p:nvPr>
            <p:custDataLst>
              <p:tags r:id="rId7"/>
            </p:custDataLst>
          </p:nvPr>
        </p:nvSpPr>
        <p:spPr>
          <a:xfrm rot="5400000">
            <a:off x="6023304" y="1236489"/>
            <a:ext cx="2692476" cy="2754436"/>
          </a:xfrm>
          <a:prstGeom prst="roundRect">
            <a:avLst>
              <a:gd name="adj" fmla="val 6988"/>
            </a:avLst>
          </a:prstGeom>
          <a:gradFill>
            <a:gsLst>
              <a:gs pos="0">
                <a:schemeClr val="bg1">
                  <a:alpha val="0"/>
                </a:schemeClr>
              </a:gs>
              <a:gs pos="100000">
                <a:schemeClr val="bg1">
                  <a:alpha val="80000"/>
                </a:schemeClr>
              </a:gs>
            </a:gsLst>
            <a:lin ang="0" scaled="0"/>
          </a:gradFill>
          <a:ln w="19050">
            <a:gradFill flip="none" rotWithShape="1">
              <a:gsLst>
                <a:gs pos="0">
                  <a:srgbClr val="FE5000"/>
                </a:gs>
                <a:gs pos="100000">
                  <a:srgbClr val="FE5000">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Retângulo: Cantos Arredondados 32">
            <a:extLst>
              <a:ext uri="{FF2B5EF4-FFF2-40B4-BE49-F238E27FC236}">
                <a16:creationId xmlns:a16="http://schemas.microsoft.com/office/drawing/2014/main" id="{91381576-CB1B-EED3-6D58-9DAFAD22E283}"/>
              </a:ext>
            </a:extLst>
          </p:cNvPr>
          <p:cNvSpPr/>
          <p:nvPr>
            <p:custDataLst>
              <p:tags r:id="rId8"/>
            </p:custDataLst>
          </p:nvPr>
        </p:nvSpPr>
        <p:spPr>
          <a:xfrm rot="5400000">
            <a:off x="3793166" y="2000528"/>
            <a:ext cx="1413204" cy="2491341"/>
          </a:xfrm>
          <a:prstGeom prst="roundRect">
            <a:avLst>
              <a:gd name="adj" fmla="val 6988"/>
            </a:avLst>
          </a:prstGeom>
          <a:gradFill>
            <a:gsLst>
              <a:gs pos="0">
                <a:schemeClr val="bg1">
                  <a:alpha val="0"/>
                </a:schemeClr>
              </a:gs>
              <a:gs pos="53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0" name="CaixaDeTexto 19">
            <a:extLst>
              <a:ext uri="{FF2B5EF4-FFF2-40B4-BE49-F238E27FC236}">
                <a16:creationId xmlns:a16="http://schemas.microsoft.com/office/drawing/2014/main" id="{F3DD36C8-A1EB-BBCA-B802-712B5CD16490}"/>
              </a:ext>
            </a:extLst>
          </p:cNvPr>
          <p:cNvSpPr txBox="1"/>
          <p:nvPr>
            <p:custDataLst>
              <p:tags r:id="rId9"/>
            </p:custDataLst>
          </p:nvPr>
        </p:nvSpPr>
        <p:spPr>
          <a:xfrm>
            <a:off x="605181" y="1607458"/>
            <a:ext cx="2347554" cy="2203680"/>
          </a:xfrm>
          <a:prstGeom prst="rect">
            <a:avLst/>
          </a:prstGeom>
          <a:noFill/>
        </p:spPr>
        <p:txBody>
          <a:bodyPr wrap="square" rtlCol="0">
            <a:spAutoFit/>
          </a:bodyPr>
          <a:lstStyle/>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dirty="0">
                <a:solidFill>
                  <a:srgbClr val="011F57"/>
                </a:solidFill>
                <a:latin typeface="Segoe UI"/>
              </a:rPr>
              <a:t>Greater system operational </a:t>
            </a:r>
            <a:r>
              <a:rPr lang="en-US" sz="1200" b="1" dirty="0">
                <a:solidFill>
                  <a:srgbClr val="011F57"/>
                </a:solidFill>
                <a:latin typeface="Segoe UI"/>
              </a:rPr>
              <a:t>flexibility and </a:t>
            </a:r>
            <a:r>
              <a:rPr lang="en-US" sz="1200" b="1" dirty="0" err="1">
                <a:solidFill>
                  <a:srgbClr val="011F57"/>
                </a:solidFill>
                <a:latin typeface="Segoe UI"/>
              </a:rPr>
              <a:t>reability</a:t>
            </a:r>
            <a:endParaRPr lang="en-US" sz="1200" b="1" dirty="0">
              <a:solidFill>
                <a:srgbClr val="011F57"/>
              </a:solidFill>
              <a:latin typeface="Segoe UI"/>
            </a:endParaRP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dirty="0">
                <a:solidFill>
                  <a:srgbClr val="011F57"/>
                </a:solidFill>
                <a:latin typeface="Segoe UI"/>
              </a:rPr>
              <a:t>Greater use of </a:t>
            </a:r>
            <a:r>
              <a:rPr lang="en-US" sz="1200" b="1" dirty="0">
                <a:solidFill>
                  <a:srgbClr val="011F57"/>
                </a:solidFill>
                <a:latin typeface="Segoe UI"/>
              </a:rPr>
              <a:t>non-dispatchable energy sources</a:t>
            </a: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b="1" dirty="0">
                <a:solidFill>
                  <a:srgbClr val="011F57"/>
                </a:solidFill>
                <a:latin typeface="Segoe UI"/>
              </a:rPr>
              <a:t>Less dependence </a:t>
            </a:r>
            <a:r>
              <a:rPr lang="en-US" sz="1200" dirty="0">
                <a:solidFill>
                  <a:srgbClr val="011F57"/>
                </a:solidFill>
                <a:latin typeface="Segoe UI"/>
              </a:rPr>
              <a:t>on hydroelectric plant reservoirs</a:t>
            </a: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dirty="0">
                <a:solidFill>
                  <a:srgbClr val="011F57"/>
                </a:solidFill>
                <a:latin typeface="Segoe UI"/>
              </a:rPr>
              <a:t>Greater </a:t>
            </a:r>
            <a:r>
              <a:rPr lang="en-US" sz="1200" b="1" dirty="0">
                <a:solidFill>
                  <a:srgbClr val="011F57"/>
                </a:solidFill>
                <a:latin typeface="Segoe UI"/>
              </a:rPr>
              <a:t>power reserve</a:t>
            </a: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dirty="0">
                <a:solidFill>
                  <a:srgbClr val="011F57"/>
                </a:solidFill>
                <a:latin typeface="Segoe UI"/>
              </a:rPr>
              <a:t>Provision of </a:t>
            </a:r>
            <a:r>
              <a:rPr lang="en-US" sz="1200" b="1" dirty="0">
                <a:solidFill>
                  <a:srgbClr val="011F57"/>
                </a:solidFill>
                <a:latin typeface="Segoe UI"/>
              </a:rPr>
              <a:t>ancillary services</a:t>
            </a: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b="1" i="0" u="none" strike="noStrike" cap="none" baseline="0" dirty="0">
                <a:solidFill>
                  <a:srgbClr val="011F57"/>
                </a:solidFill>
                <a:effectLst/>
                <a:uFillTx/>
                <a:latin typeface="Segoe UI"/>
              </a:rPr>
              <a:t>Fast implementation</a:t>
            </a:r>
          </a:p>
        </p:txBody>
      </p:sp>
      <p:sp>
        <p:nvSpPr>
          <p:cNvPr id="21" name="CaixaDeTexto 20">
            <a:extLst>
              <a:ext uri="{FF2B5EF4-FFF2-40B4-BE49-F238E27FC236}">
                <a16:creationId xmlns:a16="http://schemas.microsoft.com/office/drawing/2014/main" id="{4B8FC6C5-E59F-6BD5-13D5-E5BFA12E2927}"/>
              </a:ext>
            </a:extLst>
          </p:cNvPr>
          <p:cNvSpPr txBox="1"/>
          <p:nvPr>
            <p:custDataLst>
              <p:tags r:id="rId10"/>
            </p:custDataLst>
          </p:nvPr>
        </p:nvSpPr>
        <p:spPr>
          <a:xfrm>
            <a:off x="822960" y="1329451"/>
            <a:ext cx="2013692" cy="247135"/>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
                <a:srgbClr val="005FD7"/>
              </a:buClr>
              <a:buSzTx/>
              <a:buFontTx/>
              <a:buNone/>
              <a:defRPr/>
            </a:pPr>
            <a:r>
              <a:rPr lang="en-US" sz="1200" b="1" i="0" u="none" strike="noStrike" cap="none" baseline="0" dirty="0">
                <a:solidFill>
                  <a:srgbClr val="005FD7"/>
                </a:solidFill>
                <a:effectLst/>
                <a:uFillTx/>
                <a:latin typeface="Segoe UI"/>
              </a:rPr>
              <a:t>Operational Benefits</a:t>
            </a:r>
          </a:p>
        </p:txBody>
      </p:sp>
      <p:sp>
        <p:nvSpPr>
          <p:cNvPr id="35" name="CaixaDeTexto 34">
            <a:extLst>
              <a:ext uri="{FF2B5EF4-FFF2-40B4-BE49-F238E27FC236}">
                <a16:creationId xmlns:a16="http://schemas.microsoft.com/office/drawing/2014/main" id="{2770BE25-4F9B-71DD-DF53-B01478321FD4}"/>
              </a:ext>
            </a:extLst>
          </p:cNvPr>
          <p:cNvSpPr txBox="1"/>
          <p:nvPr>
            <p:custDataLst>
              <p:tags r:id="rId11"/>
            </p:custDataLst>
          </p:nvPr>
        </p:nvSpPr>
        <p:spPr>
          <a:xfrm>
            <a:off x="3369673" y="1586149"/>
            <a:ext cx="2249857" cy="640175"/>
          </a:xfrm>
          <a:prstGeom prst="rect">
            <a:avLst/>
          </a:prstGeom>
          <a:noFill/>
        </p:spPr>
        <p:txBody>
          <a:bodyPr wrap="square" rtlCol="0">
            <a:spAutoFit/>
          </a:bodyPr>
          <a:lstStyle/>
          <a:p>
            <a:pPr marL="171450" marR="0" lvl="0" indent="-171450" algn="l" defTabSz="675010" rtl="0" eaLnBrk="1" fontAlgn="auto" latinLnBrk="0" hangingPunct="1">
              <a:lnSpc>
                <a:spcPct val="85000"/>
              </a:lnSpc>
              <a:spcBef>
                <a:spcPts val="300"/>
              </a:spcBef>
              <a:spcAft>
                <a:spcPts val="300"/>
              </a:spcAft>
              <a:buClr>
                <a:srgbClr val="005FD7"/>
              </a:buClr>
              <a:buSzTx/>
              <a:buFont typeface="Courier New" panose="02070309020205020404" pitchFamily="49" charset="0"/>
              <a:buChar char="o"/>
              <a:defRPr/>
            </a:pPr>
            <a:r>
              <a:rPr lang="en-US" sz="1200" b="1" i="0" u="none" strike="noStrike" cap="none" baseline="0" dirty="0">
                <a:solidFill>
                  <a:srgbClr val="011F57"/>
                </a:solidFill>
                <a:effectLst/>
                <a:uFillTx/>
                <a:latin typeface="Segoe UI"/>
              </a:rPr>
              <a:t>Lower </a:t>
            </a:r>
            <a:r>
              <a:rPr lang="en-US" sz="1200" b="0" i="0" u="none" strike="noStrike" cap="none" baseline="0" dirty="0">
                <a:solidFill>
                  <a:srgbClr val="011F57"/>
                </a:solidFill>
                <a:effectLst/>
                <a:uFillTx/>
                <a:latin typeface="Segoe UI"/>
              </a:rPr>
              <a:t>operating costs </a:t>
            </a:r>
          </a:p>
          <a:p>
            <a:pPr marL="171450" marR="0" lvl="0" indent="-171450" algn="l" defTabSz="675010" rtl="0" eaLnBrk="1" fontAlgn="auto" latinLnBrk="0" hangingPunct="1">
              <a:lnSpc>
                <a:spcPct val="85000"/>
              </a:lnSpc>
              <a:spcBef>
                <a:spcPts val="300"/>
              </a:spcBef>
              <a:spcAft>
                <a:spcPts val="300"/>
              </a:spcAft>
              <a:buClr>
                <a:srgbClr val="005FD7"/>
              </a:buClr>
              <a:buSzTx/>
              <a:buFont typeface="Courier New" panose="02070309020205020404" pitchFamily="49" charset="0"/>
              <a:buChar char="o"/>
              <a:defRPr/>
            </a:pPr>
            <a:r>
              <a:rPr lang="en-US" sz="1200" b="1" i="0" u="none" strike="noStrike" cap="none" baseline="0" dirty="0">
                <a:solidFill>
                  <a:srgbClr val="011F57"/>
                </a:solidFill>
                <a:effectLst/>
                <a:uFillTx/>
                <a:latin typeface="Segoe UI"/>
              </a:rPr>
              <a:t>Better distribution</a:t>
            </a:r>
            <a:br>
              <a:rPr sz="1200" dirty="0"/>
            </a:br>
            <a:r>
              <a:rPr lang="en-US" sz="1200" b="0" i="0" u="none" strike="noStrike" cap="none" baseline="0">
                <a:solidFill>
                  <a:srgbClr val="011F57"/>
                </a:solidFill>
                <a:effectLst/>
                <a:uFillTx/>
                <a:latin typeface="Segoe UI"/>
              </a:rPr>
              <a:t>of investments</a:t>
            </a:r>
            <a:endParaRPr lang="en-US" sz="1200" b="0" i="0" u="none" strike="noStrike" cap="none" baseline="0" dirty="0">
              <a:solidFill>
                <a:srgbClr val="011F57"/>
              </a:solidFill>
              <a:effectLst/>
              <a:uFillTx/>
              <a:latin typeface="Segoe UI"/>
            </a:endParaRPr>
          </a:p>
        </p:txBody>
      </p:sp>
      <p:sp>
        <p:nvSpPr>
          <p:cNvPr id="36" name="CaixaDeTexto 35">
            <a:extLst>
              <a:ext uri="{FF2B5EF4-FFF2-40B4-BE49-F238E27FC236}">
                <a16:creationId xmlns:a16="http://schemas.microsoft.com/office/drawing/2014/main" id="{454B3D1C-1558-AE57-B250-B55BA4AEA010}"/>
              </a:ext>
            </a:extLst>
          </p:cNvPr>
          <p:cNvSpPr txBox="1"/>
          <p:nvPr>
            <p:custDataLst>
              <p:tags r:id="rId12"/>
            </p:custDataLst>
          </p:nvPr>
        </p:nvSpPr>
        <p:spPr>
          <a:xfrm>
            <a:off x="3538271" y="1329451"/>
            <a:ext cx="2013691" cy="247135"/>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
                <a:srgbClr val="005FD7"/>
              </a:buClr>
              <a:buSzTx/>
              <a:buFontTx/>
              <a:buNone/>
              <a:defRPr/>
            </a:pPr>
            <a:r>
              <a:rPr lang="en-US" sz="1200" b="1" i="0" u="none" strike="noStrike" cap="none" baseline="0" dirty="0">
                <a:solidFill>
                  <a:srgbClr val="005FD7"/>
                </a:solidFill>
                <a:effectLst/>
                <a:uFillTx/>
                <a:latin typeface="Segoe UI"/>
              </a:rPr>
              <a:t>Economic Benefits</a:t>
            </a:r>
          </a:p>
        </p:txBody>
      </p:sp>
      <p:sp>
        <p:nvSpPr>
          <p:cNvPr id="41" name="CaixaDeTexto 40">
            <a:extLst>
              <a:ext uri="{FF2B5EF4-FFF2-40B4-BE49-F238E27FC236}">
                <a16:creationId xmlns:a16="http://schemas.microsoft.com/office/drawing/2014/main" id="{376AF273-D186-5F24-3A5D-730AC63042FD}"/>
              </a:ext>
            </a:extLst>
          </p:cNvPr>
          <p:cNvSpPr txBox="1"/>
          <p:nvPr>
            <p:custDataLst>
              <p:tags r:id="rId13"/>
            </p:custDataLst>
          </p:nvPr>
        </p:nvSpPr>
        <p:spPr>
          <a:xfrm>
            <a:off x="3369673" y="2869917"/>
            <a:ext cx="2249857" cy="797141"/>
          </a:xfrm>
          <a:prstGeom prst="rect">
            <a:avLst/>
          </a:prstGeom>
          <a:noFill/>
        </p:spPr>
        <p:txBody>
          <a:bodyPr wrap="square" rtlCol="0">
            <a:spAutoFit/>
          </a:bodyPr>
          <a:lstStyle/>
          <a:p>
            <a:pPr marL="171450" marR="0" lvl="0" indent="-171450" algn="l" defTabSz="675010" rtl="0" eaLnBrk="1" fontAlgn="auto" latinLnBrk="0" hangingPunct="1">
              <a:lnSpc>
                <a:spcPct val="85000"/>
              </a:lnSpc>
              <a:spcBef>
                <a:spcPts val="300"/>
              </a:spcBef>
              <a:spcAft>
                <a:spcPts val="300"/>
              </a:spcAft>
              <a:buClr>
                <a:srgbClr val="005FD7"/>
              </a:buClr>
              <a:buSzTx/>
              <a:buFont typeface="Courier New" panose="02070309020205020404" pitchFamily="49" charset="0"/>
              <a:buChar char="o"/>
              <a:defRPr/>
            </a:pPr>
            <a:r>
              <a:rPr lang="en-US" sz="1200" b="1" i="0" u="none" strike="noStrike" cap="none" baseline="0" dirty="0">
                <a:solidFill>
                  <a:srgbClr val="011F57"/>
                </a:solidFill>
                <a:effectLst/>
                <a:uFillTx/>
                <a:latin typeface="Segoe UI"/>
              </a:rPr>
              <a:t>Reduction</a:t>
            </a:r>
            <a:r>
              <a:rPr lang="en-US" sz="1200" b="0" i="0" u="none" strike="noStrike" cap="none" baseline="0" dirty="0">
                <a:solidFill>
                  <a:srgbClr val="011F57"/>
                </a:solidFill>
                <a:effectLst/>
                <a:uFillTx/>
                <a:latin typeface="Segoe UI"/>
              </a:rPr>
              <a:t> of greenhouse gas emissions</a:t>
            </a:r>
          </a:p>
          <a:p>
            <a:pPr marL="171450" lvl="0" indent="-171450" defTabSz="675010">
              <a:lnSpc>
                <a:spcPct val="85000"/>
              </a:lnSpc>
              <a:spcBef>
                <a:spcPts val="300"/>
              </a:spcBef>
              <a:spcAft>
                <a:spcPts val="300"/>
              </a:spcAft>
              <a:buClr>
                <a:srgbClr val="005FD7"/>
              </a:buClr>
              <a:buFont typeface="Courier New" panose="02070309020205020404" pitchFamily="49" charset="0"/>
              <a:buChar char="o"/>
              <a:defRPr/>
            </a:pPr>
            <a:r>
              <a:rPr lang="en-US" sz="1200">
                <a:solidFill>
                  <a:srgbClr val="011F57"/>
                </a:solidFill>
                <a:latin typeface="Segoe UI"/>
              </a:rPr>
              <a:t>Enables greater insertion of </a:t>
            </a:r>
            <a:r>
              <a:rPr lang="en-US" sz="1200" b="1">
                <a:solidFill>
                  <a:srgbClr val="011F57"/>
                </a:solidFill>
                <a:latin typeface="Segoe UI"/>
              </a:rPr>
              <a:t>renewable energy</a:t>
            </a:r>
            <a:endParaRPr lang="en-US" sz="1200" b="0" i="0" u="none" strike="noStrike" cap="none" baseline="0" dirty="0">
              <a:solidFill>
                <a:srgbClr val="011F57"/>
              </a:solidFill>
              <a:effectLst/>
              <a:uFillTx/>
              <a:latin typeface="Segoe UI"/>
            </a:endParaRPr>
          </a:p>
        </p:txBody>
      </p:sp>
      <p:sp>
        <p:nvSpPr>
          <p:cNvPr id="42" name="CaixaDeTexto 41">
            <a:extLst>
              <a:ext uri="{FF2B5EF4-FFF2-40B4-BE49-F238E27FC236}">
                <a16:creationId xmlns:a16="http://schemas.microsoft.com/office/drawing/2014/main" id="{C255B9BD-1199-3EB6-DBB9-122E6C313162}"/>
              </a:ext>
            </a:extLst>
          </p:cNvPr>
          <p:cNvSpPr txBox="1"/>
          <p:nvPr>
            <p:custDataLst>
              <p:tags r:id="rId14"/>
            </p:custDataLst>
          </p:nvPr>
        </p:nvSpPr>
        <p:spPr>
          <a:xfrm>
            <a:off x="3538271" y="2640602"/>
            <a:ext cx="2013691" cy="247135"/>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
                <a:srgbClr val="005FD7"/>
              </a:buClr>
              <a:buSzTx/>
              <a:buFontTx/>
              <a:buNone/>
              <a:defRPr/>
            </a:pPr>
            <a:r>
              <a:rPr lang="en-US" sz="1200" b="1" i="0" u="none" strike="noStrike" cap="none" baseline="0" dirty="0">
                <a:solidFill>
                  <a:srgbClr val="005FD7"/>
                </a:solidFill>
                <a:effectLst/>
                <a:uFillTx/>
                <a:latin typeface="Segoe UI"/>
              </a:rPr>
              <a:t>Environmental Benefits</a:t>
            </a:r>
          </a:p>
        </p:txBody>
      </p:sp>
      <p:sp>
        <p:nvSpPr>
          <p:cNvPr id="53" name="CaixaDeTexto 52">
            <a:extLst>
              <a:ext uri="{FF2B5EF4-FFF2-40B4-BE49-F238E27FC236}">
                <a16:creationId xmlns:a16="http://schemas.microsoft.com/office/drawing/2014/main" id="{ACE9FFFA-0254-D806-F65C-3B428A4FC0C4}"/>
              </a:ext>
            </a:extLst>
          </p:cNvPr>
          <p:cNvSpPr txBox="1"/>
          <p:nvPr>
            <p:custDataLst>
              <p:tags r:id="rId15"/>
            </p:custDataLst>
          </p:nvPr>
        </p:nvSpPr>
        <p:spPr>
          <a:xfrm>
            <a:off x="6112992" y="1607458"/>
            <a:ext cx="2523213" cy="1972848"/>
          </a:xfrm>
          <a:prstGeom prst="rect">
            <a:avLst/>
          </a:prstGeom>
          <a:noFill/>
        </p:spPr>
        <p:txBody>
          <a:bodyPr wrap="square" rtlCol="0">
            <a:spAutoFit/>
          </a:bodyPr>
          <a:lstStyle/>
          <a:p>
            <a:pPr marL="171450" lvl="0" indent="-171450" defTabSz="675010">
              <a:lnSpc>
                <a:spcPct val="85000"/>
              </a:lnSpc>
              <a:spcBef>
                <a:spcPts val="300"/>
              </a:spcBef>
              <a:spcAft>
                <a:spcPts val="300"/>
              </a:spcAft>
              <a:buClr>
                <a:srgbClr val="FE5000"/>
              </a:buClr>
              <a:buFont typeface="Courier New" panose="02070309020205020404" pitchFamily="49" charset="0"/>
              <a:buChar char="o"/>
              <a:defRPr/>
            </a:pPr>
            <a:r>
              <a:rPr lang="en-US" sz="1200" b="1" dirty="0">
                <a:solidFill>
                  <a:srgbClr val="011F57"/>
                </a:solidFill>
                <a:latin typeface="Segoe UI" panose="020B0502040204020203" pitchFamily="34" charset="0"/>
                <a:ea typeface="Segoe UI" panose="020B0502040204020203" pitchFamily="34" charset="0"/>
                <a:cs typeface="Segoe UI" panose="020B0502040204020203" pitchFamily="34" charset="0"/>
              </a:rPr>
              <a:t>Regulation </a:t>
            </a:r>
            <a:r>
              <a:rPr lang="en-US" sz="1200" dirty="0">
                <a:solidFill>
                  <a:srgbClr val="011F57"/>
                </a:solidFill>
                <a:latin typeface="Segoe UI" panose="020B0502040204020203" pitchFamily="34" charset="0"/>
                <a:ea typeface="Segoe UI" panose="020B0502040204020203" pitchFamily="34" charset="0"/>
                <a:cs typeface="Segoe UI" panose="020B0502040204020203" pitchFamily="34" charset="0"/>
              </a:rPr>
              <a:t>of storage activities</a:t>
            </a:r>
          </a:p>
          <a:p>
            <a:pPr marL="171450" lvl="0" indent="-171450" defTabSz="675010">
              <a:lnSpc>
                <a:spcPct val="85000"/>
              </a:lnSpc>
              <a:spcBef>
                <a:spcPts val="300"/>
              </a:spcBef>
              <a:spcAft>
                <a:spcPts val="300"/>
              </a:spcAft>
              <a:buClr>
                <a:srgbClr val="FE5000"/>
              </a:buClr>
              <a:buFont typeface="Courier New" panose="02070309020205020404" pitchFamily="49" charset="0"/>
              <a:buChar char="o"/>
              <a:defRPr/>
            </a:pPr>
            <a:r>
              <a:rPr lang="en-US" sz="1200" b="1" dirty="0">
                <a:solidFill>
                  <a:srgbClr val="011F57"/>
                </a:solidFill>
                <a:latin typeface="Segoe UI" panose="020B0502040204020203" pitchFamily="34" charset="0"/>
                <a:ea typeface="Segoe UI" panose="020B0502040204020203" pitchFamily="34" charset="0"/>
                <a:cs typeface="Segoe UI" panose="020B0502040204020203" pitchFamily="34" charset="0"/>
              </a:rPr>
              <a:t>More agile, integrated and flexible sector planning</a:t>
            </a:r>
            <a:r>
              <a:rPr lang="en-US" sz="1200" dirty="0">
                <a:solidFill>
                  <a:srgbClr val="011F57"/>
                </a:solidFill>
                <a:latin typeface="Segoe UI" panose="020B0502040204020203" pitchFamily="34" charset="0"/>
                <a:ea typeface="Segoe UI" panose="020B0502040204020203" pitchFamily="34" charset="0"/>
                <a:cs typeface="Segoe UI" panose="020B0502040204020203" pitchFamily="34" charset="0"/>
              </a:rPr>
              <a:t>, considering all SIN requirements (energy, power and flexibility)</a:t>
            </a:r>
          </a:p>
          <a:p>
            <a:pPr marL="171450" lvl="0" indent="-171450" defTabSz="675010">
              <a:lnSpc>
                <a:spcPct val="85000"/>
              </a:lnSpc>
              <a:spcBef>
                <a:spcPts val="300"/>
              </a:spcBef>
              <a:spcAft>
                <a:spcPts val="300"/>
              </a:spcAft>
              <a:buClr>
                <a:srgbClr val="FE5000"/>
              </a:buClr>
              <a:buFont typeface="Courier New" panose="02070309020205020404" pitchFamily="49" charset="0"/>
              <a:buChar char="o"/>
              <a:defRPr/>
            </a:pPr>
            <a:r>
              <a:rPr lang="en-US" sz="1200" b="1" dirty="0">
                <a:solidFill>
                  <a:srgbClr val="011F57"/>
                </a:solidFill>
                <a:latin typeface="Segoe UI" panose="020B0502040204020203" pitchFamily="34" charset="0"/>
                <a:ea typeface="Segoe UI" panose="020B0502040204020203" pitchFamily="34" charset="0"/>
                <a:cs typeface="Segoe UI" panose="020B0502040204020203" pitchFamily="34" charset="0"/>
              </a:rPr>
              <a:t>Promote economic competitiveness through tax equalization </a:t>
            </a:r>
            <a:r>
              <a:rPr lang="en-US" sz="1200" dirty="0">
                <a:solidFill>
                  <a:srgbClr val="011F57"/>
                </a:solidFill>
                <a:latin typeface="Segoe UI" panose="020B0502040204020203" pitchFamily="34" charset="0"/>
                <a:ea typeface="Segoe UI" panose="020B0502040204020203" pitchFamily="34" charset="0"/>
                <a:cs typeface="Segoe UI" panose="020B0502040204020203" pitchFamily="34" charset="0"/>
              </a:rPr>
              <a:t>with other technologies that support the energy transition</a:t>
            </a:r>
            <a:endParaRPr lang="en-US" sz="1200" i="0" u="none" strike="noStrike" cap="none"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endParaRPr>
          </a:p>
        </p:txBody>
      </p:sp>
      <p:sp>
        <p:nvSpPr>
          <p:cNvPr id="54" name="CaixaDeTexto 53">
            <a:extLst>
              <a:ext uri="{FF2B5EF4-FFF2-40B4-BE49-F238E27FC236}">
                <a16:creationId xmlns:a16="http://schemas.microsoft.com/office/drawing/2014/main" id="{63654F37-50FC-D2E2-A77A-4FF97714DD46}"/>
              </a:ext>
            </a:extLst>
          </p:cNvPr>
          <p:cNvSpPr txBox="1"/>
          <p:nvPr>
            <p:custDataLst>
              <p:tags r:id="rId16"/>
            </p:custDataLst>
          </p:nvPr>
        </p:nvSpPr>
        <p:spPr>
          <a:xfrm>
            <a:off x="6278080" y="1329451"/>
            <a:ext cx="2013691" cy="247135"/>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
                <a:srgbClr val="005FD7"/>
              </a:buClr>
              <a:buSzTx/>
              <a:buFontTx/>
              <a:buNone/>
              <a:defRPr/>
            </a:pPr>
            <a:r>
              <a:rPr lang="en-US" sz="1200" b="1" i="0" u="none" strike="noStrike" cap="none" baseline="0" dirty="0">
                <a:solidFill>
                  <a:srgbClr val="FE5000"/>
                </a:solidFill>
                <a:effectLst/>
                <a:uFillTx/>
                <a:latin typeface="Segoe UI"/>
              </a:rPr>
              <a:t>Challenges</a:t>
            </a:r>
          </a:p>
        </p:txBody>
      </p:sp>
      <p:grpSp>
        <p:nvGrpSpPr>
          <p:cNvPr id="130" name="Agrupar 129">
            <a:extLst>
              <a:ext uri="{FF2B5EF4-FFF2-40B4-BE49-F238E27FC236}">
                <a16:creationId xmlns:a16="http://schemas.microsoft.com/office/drawing/2014/main" id="{40F130C5-F724-A0C6-9FA4-1914F0FE6F06}"/>
              </a:ext>
            </a:extLst>
          </p:cNvPr>
          <p:cNvGrpSpPr/>
          <p:nvPr>
            <p:custDataLst>
              <p:tags r:id="rId17"/>
            </p:custDataLst>
          </p:nvPr>
        </p:nvGrpSpPr>
        <p:grpSpPr>
          <a:xfrm>
            <a:off x="363333" y="1176946"/>
            <a:ext cx="447397" cy="446374"/>
            <a:chOff x="363333" y="993813"/>
            <a:chExt cx="447397" cy="446374"/>
          </a:xfrm>
        </p:grpSpPr>
        <p:sp>
          <p:nvSpPr>
            <p:cNvPr id="15" name="Elipse 14">
              <a:extLst>
                <a:ext uri="{FF2B5EF4-FFF2-40B4-BE49-F238E27FC236}">
                  <a16:creationId xmlns:a16="http://schemas.microsoft.com/office/drawing/2014/main" id="{17D7BC34-0738-180A-C5AE-709FB6A9BAC4}"/>
                </a:ext>
              </a:extLst>
            </p:cNvPr>
            <p:cNvSpPr/>
            <p:nvPr>
              <p:custDataLst>
                <p:tags r:id="rId27"/>
              </p:custDataLst>
            </p:nvPr>
          </p:nvSpPr>
          <p:spPr>
            <a:xfrm>
              <a:off x="363333" y="993813"/>
              <a:ext cx="447397" cy="44637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2" name="Forma Livre: Forma 61">
              <a:extLst>
                <a:ext uri="{FF2B5EF4-FFF2-40B4-BE49-F238E27FC236}">
                  <a16:creationId xmlns:a16="http://schemas.microsoft.com/office/drawing/2014/main" id="{92A7D0D3-9CCA-82EA-FFB6-CFE706A623E1}"/>
                </a:ext>
              </a:extLst>
            </p:cNvPr>
            <p:cNvSpPr/>
            <p:nvPr>
              <p:custDataLst>
                <p:tags r:id="rId28"/>
              </p:custDataLst>
            </p:nvPr>
          </p:nvSpPr>
          <p:spPr>
            <a:xfrm>
              <a:off x="441286" y="1075683"/>
              <a:ext cx="284384" cy="284384"/>
            </a:xfrm>
            <a:custGeom>
              <a:avLst/>
              <a:gdLst>
                <a:gd name="connsiteX0" fmla="*/ 885346 w 904874"/>
                <a:gd name="connsiteY0" fmla="*/ 374322 h 904874"/>
                <a:gd name="connsiteX1" fmla="*/ 813740 w 904874"/>
                <a:gd name="connsiteY1" fmla="*/ 361301 h 904874"/>
                <a:gd name="connsiteX2" fmla="*/ 774683 w 904874"/>
                <a:gd name="connsiteY2" fmla="*/ 263651 h 904874"/>
                <a:gd name="connsiteX3" fmla="*/ 813740 w 904874"/>
                <a:gd name="connsiteY3" fmla="*/ 205065 h 904874"/>
                <a:gd name="connsiteX4" fmla="*/ 810483 w 904874"/>
                <a:gd name="connsiteY4" fmla="*/ 172514 h 904874"/>
                <a:gd name="connsiteX5" fmla="*/ 735620 w 904874"/>
                <a:gd name="connsiteY5" fmla="*/ 97651 h 904874"/>
                <a:gd name="connsiteX6" fmla="*/ 699813 w 904874"/>
                <a:gd name="connsiteY6" fmla="*/ 94394 h 904874"/>
                <a:gd name="connsiteX7" fmla="*/ 644478 w 904874"/>
                <a:gd name="connsiteY7" fmla="*/ 133451 h 904874"/>
                <a:gd name="connsiteX8" fmla="*/ 546828 w 904874"/>
                <a:gd name="connsiteY8" fmla="*/ 91137 h 904874"/>
                <a:gd name="connsiteX9" fmla="*/ 533807 w 904874"/>
                <a:gd name="connsiteY9" fmla="*/ 22786 h 904874"/>
                <a:gd name="connsiteX10" fmla="*/ 507772 w 904874"/>
                <a:gd name="connsiteY10" fmla="*/ 0 h 904874"/>
                <a:gd name="connsiteX11" fmla="*/ 400358 w 904874"/>
                <a:gd name="connsiteY11" fmla="*/ 0 h 904874"/>
                <a:gd name="connsiteX12" fmla="*/ 374322 w 904874"/>
                <a:gd name="connsiteY12" fmla="*/ 22786 h 904874"/>
                <a:gd name="connsiteX13" fmla="*/ 361301 w 904874"/>
                <a:gd name="connsiteY13" fmla="*/ 91137 h 904874"/>
                <a:gd name="connsiteX14" fmla="*/ 263651 w 904874"/>
                <a:gd name="connsiteY14" fmla="*/ 133451 h 904874"/>
                <a:gd name="connsiteX15" fmla="*/ 205065 w 904874"/>
                <a:gd name="connsiteY15" fmla="*/ 94394 h 904874"/>
                <a:gd name="connsiteX16" fmla="*/ 172514 w 904874"/>
                <a:gd name="connsiteY16" fmla="*/ 97651 h 904874"/>
                <a:gd name="connsiteX17" fmla="*/ 97651 w 904874"/>
                <a:gd name="connsiteY17" fmla="*/ 172514 h 904874"/>
                <a:gd name="connsiteX18" fmla="*/ 94394 w 904874"/>
                <a:gd name="connsiteY18" fmla="*/ 205065 h 904874"/>
                <a:gd name="connsiteX19" fmla="*/ 133451 w 904874"/>
                <a:gd name="connsiteY19" fmla="*/ 263651 h 904874"/>
                <a:gd name="connsiteX20" fmla="*/ 91136 w 904874"/>
                <a:gd name="connsiteY20" fmla="*/ 361301 h 904874"/>
                <a:gd name="connsiteX21" fmla="*/ 22786 w 904874"/>
                <a:gd name="connsiteY21" fmla="*/ 374322 h 904874"/>
                <a:gd name="connsiteX22" fmla="*/ 0 w 904874"/>
                <a:gd name="connsiteY22" fmla="*/ 400358 h 904874"/>
                <a:gd name="connsiteX23" fmla="*/ 0 w 904874"/>
                <a:gd name="connsiteY23" fmla="*/ 507772 h 904874"/>
                <a:gd name="connsiteX24" fmla="*/ 22786 w 904874"/>
                <a:gd name="connsiteY24" fmla="*/ 533807 h 904874"/>
                <a:gd name="connsiteX25" fmla="*/ 91136 w 904874"/>
                <a:gd name="connsiteY25" fmla="*/ 546828 h 904874"/>
                <a:gd name="connsiteX26" fmla="*/ 133451 w 904874"/>
                <a:gd name="connsiteY26" fmla="*/ 644478 h 904874"/>
                <a:gd name="connsiteX27" fmla="*/ 94394 w 904874"/>
                <a:gd name="connsiteY27" fmla="*/ 699813 h 904874"/>
                <a:gd name="connsiteX28" fmla="*/ 97651 w 904874"/>
                <a:gd name="connsiteY28" fmla="*/ 735620 h 904874"/>
                <a:gd name="connsiteX29" fmla="*/ 172514 w 904874"/>
                <a:gd name="connsiteY29" fmla="*/ 810483 h 904874"/>
                <a:gd name="connsiteX30" fmla="*/ 205065 w 904874"/>
                <a:gd name="connsiteY30" fmla="*/ 813740 h 904874"/>
                <a:gd name="connsiteX31" fmla="*/ 263651 w 904874"/>
                <a:gd name="connsiteY31" fmla="*/ 774683 h 904874"/>
                <a:gd name="connsiteX32" fmla="*/ 361301 w 904874"/>
                <a:gd name="connsiteY32" fmla="*/ 813740 h 904874"/>
                <a:gd name="connsiteX33" fmla="*/ 374322 w 904874"/>
                <a:gd name="connsiteY33" fmla="*/ 885346 h 904874"/>
                <a:gd name="connsiteX34" fmla="*/ 400358 w 904874"/>
                <a:gd name="connsiteY34" fmla="*/ 904875 h 904874"/>
                <a:gd name="connsiteX35" fmla="*/ 507772 w 904874"/>
                <a:gd name="connsiteY35" fmla="*/ 904875 h 904874"/>
                <a:gd name="connsiteX36" fmla="*/ 533807 w 904874"/>
                <a:gd name="connsiteY36" fmla="*/ 885346 h 904874"/>
                <a:gd name="connsiteX37" fmla="*/ 546828 w 904874"/>
                <a:gd name="connsiteY37" fmla="*/ 813740 h 904874"/>
                <a:gd name="connsiteX38" fmla="*/ 644478 w 904874"/>
                <a:gd name="connsiteY38" fmla="*/ 774683 h 904874"/>
                <a:gd name="connsiteX39" fmla="*/ 699813 w 904874"/>
                <a:gd name="connsiteY39" fmla="*/ 813740 h 904874"/>
                <a:gd name="connsiteX40" fmla="*/ 735620 w 904874"/>
                <a:gd name="connsiteY40" fmla="*/ 810483 h 904874"/>
                <a:gd name="connsiteX41" fmla="*/ 810483 w 904874"/>
                <a:gd name="connsiteY41" fmla="*/ 735620 h 904874"/>
                <a:gd name="connsiteX42" fmla="*/ 813740 w 904874"/>
                <a:gd name="connsiteY42" fmla="*/ 699813 h 904874"/>
                <a:gd name="connsiteX43" fmla="*/ 774683 w 904874"/>
                <a:gd name="connsiteY43" fmla="*/ 644478 h 904874"/>
                <a:gd name="connsiteX44" fmla="*/ 813740 w 904874"/>
                <a:gd name="connsiteY44" fmla="*/ 546828 h 904874"/>
                <a:gd name="connsiteX45" fmla="*/ 885346 w 904874"/>
                <a:gd name="connsiteY45" fmla="*/ 533807 h 904874"/>
                <a:gd name="connsiteX46" fmla="*/ 904875 w 904874"/>
                <a:gd name="connsiteY46" fmla="*/ 507772 h 904874"/>
                <a:gd name="connsiteX47" fmla="*/ 904875 w 904874"/>
                <a:gd name="connsiteY47" fmla="*/ 400357 h 904874"/>
                <a:gd name="connsiteX48" fmla="*/ 885346 w 904874"/>
                <a:gd name="connsiteY48" fmla="*/ 374322 h 904874"/>
                <a:gd name="connsiteX49" fmla="*/ 885346 w 904874"/>
                <a:gd name="connsiteY49" fmla="*/ 374322 h 904874"/>
                <a:gd name="connsiteX50" fmla="*/ 452455 w 904874"/>
                <a:gd name="connsiteY50" fmla="*/ 250637 h 904874"/>
                <a:gd name="connsiteX51" fmla="*/ 657517 w 904874"/>
                <a:gd name="connsiteY51" fmla="*/ 452435 h 904874"/>
                <a:gd name="connsiteX52" fmla="*/ 452455 w 904874"/>
                <a:gd name="connsiteY52" fmla="*/ 657497 h 904874"/>
                <a:gd name="connsiteX53" fmla="*/ 250656 w 904874"/>
                <a:gd name="connsiteY53" fmla="*/ 452435 h 904874"/>
                <a:gd name="connsiteX54" fmla="*/ 452455 w 904874"/>
                <a:gd name="connsiteY54" fmla="*/ 250637 h 904874"/>
                <a:gd name="connsiteX55" fmla="*/ 452455 w 904874"/>
                <a:gd name="connsiteY55" fmla="*/ 250637 h 90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04874" h="904874">
                  <a:moveTo>
                    <a:pt x="885346" y="374322"/>
                  </a:moveTo>
                  <a:lnTo>
                    <a:pt x="813740" y="361301"/>
                  </a:lnTo>
                  <a:cubicBezTo>
                    <a:pt x="774683" y="351536"/>
                    <a:pt x="751898" y="296201"/>
                    <a:pt x="774683" y="263651"/>
                  </a:cubicBezTo>
                  <a:lnTo>
                    <a:pt x="813740" y="205065"/>
                  </a:lnTo>
                  <a:cubicBezTo>
                    <a:pt x="820247" y="195301"/>
                    <a:pt x="820247" y="179029"/>
                    <a:pt x="810483" y="172514"/>
                  </a:cubicBezTo>
                  <a:lnTo>
                    <a:pt x="735620" y="97651"/>
                  </a:lnTo>
                  <a:cubicBezTo>
                    <a:pt x="725855" y="87886"/>
                    <a:pt x="712833" y="84630"/>
                    <a:pt x="699813" y="94394"/>
                  </a:cubicBezTo>
                  <a:lnTo>
                    <a:pt x="644478" y="133451"/>
                  </a:lnTo>
                  <a:cubicBezTo>
                    <a:pt x="608672" y="152980"/>
                    <a:pt x="553343" y="130195"/>
                    <a:pt x="546828" y="91137"/>
                  </a:cubicBezTo>
                  <a:lnTo>
                    <a:pt x="533807" y="22786"/>
                  </a:lnTo>
                  <a:cubicBezTo>
                    <a:pt x="530550" y="9765"/>
                    <a:pt x="517536" y="0"/>
                    <a:pt x="507772" y="0"/>
                  </a:cubicBezTo>
                  <a:lnTo>
                    <a:pt x="400358" y="0"/>
                  </a:lnTo>
                  <a:cubicBezTo>
                    <a:pt x="387336" y="0"/>
                    <a:pt x="377571" y="9764"/>
                    <a:pt x="374322" y="22786"/>
                  </a:cubicBezTo>
                  <a:lnTo>
                    <a:pt x="361301" y="91137"/>
                  </a:lnTo>
                  <a:cubicBezTo>
                    <a:pt x="351536" y="130194"/>
                    <a:pt x="296201" y="152978"/>
                    <a:pt x="263651" y="133451"/>
                  </a:cubicBezTo>
                  <a:lnTo>
                    <a:pt x="205065" y="94394"/>
                  </a:lnTo>
                  <a:cubicBezTo>
                    <a:pt x="195301" y="84630"/>
                    <a:pt x="179029" y="87887"/>
                    <a:pt x="172514" y="97651"/>
                  </a:cubicBezTo>
                  <a:lnTo>
                    <a:pt x="97651" y="172514"/>
                  </a:lnTo>
                  <a:cubicBezTo>
                    <a:pt x="87886" y="179022"/>
                    <a:pt x="84630" y="195301"/>
                    <a:pt x="94394" y="205065"/>
                  </a:cubicBezTo>
                  <a:lnTo>
                    <a:pt x="133451" y="263651"/>
                  </a:lnTo>
                  <a:cubicBezTo>
                    <a:pt x="152980" y="296202"/>
                    <a:pt x="130195" y="351530"/>
                    <a:pt x="91136" y="361301"/>
                  </a:cubicBezTo>
                  <a:lnTo>
                    <a:pt x="22786" y="374322"/>
                  </a:lnTo>
                  <a:cubicBezTo>
                    <a:pt x="9765" y="377579"/>
                    <a:pt x="0" y="387343"/>
                    <a:pt x="0" y="400358"/>
                  </a:cubicBezTo>
                  <a:lnTo>
                    <a:pt x="0" y="507772"/>
                  </a:lnTo>
                  <a:cubicBezTo>
                    <a:pt x="0" y="517536"/>
                    <a:pt x="9764" y="530558"/>
                    <a:pt x="22786" y="533807"/>
                  </a:cubicBezTo>
                  <a:lnTo>
                    <a:pt x="91136" y="546828"/>
                  </a:lnTo>
                  <a:cubicBezTo>
                    <a:pt x="130194" y="553336"/>
                    <a:pt x="152978" y="608670"/>
                    <a:pt x="133451" y="644478"/>
                  </a:cubicBezTo>
                  <a:lnTo>
                    <a:pt x="94394" y="699813"/>
                  </a:lnTo>
                  <a:cubicBezTo>
                    <a:pt x="84630" y="712834"/>
                    <a:pt x="87887" y="725849"/>
                    <a:pt x="97651" y="735620"/>
                  </a:cubicBezTo>
                  <a:lnTo>
                    <a:pt x="172514" y="810483"/>
                  </a:lnTo>
                  <a:cubicBezTo>
                    <a:pt x="179022" y="820248"/>
                    <a:pt x="195301" y="820248"/>
                    <a:pt x="205065" y="813740"/>
                  </a:cubicBezTo>
                  <a:lnTo>
                    <a:pt x="263651" y="774683"/>
                  </a:lnTo>
                  <a:cubicBezTo>
                    <a:pt x="296201" y="751897"/>
                    <a:pt x="351530" y="774683"/>
                    <a:pt x="361301" y="813740"/>
                  </a:cubicBezTo>
                  <a:lnTo>
                    <a:pt x="374322" y="885346"/>
                  </a:lnTo>
                  <a:cubicBezTo>
                    <a:pt x="377579" y="898367"/>
                    <a:pt x="387343" y="904875"/>
                    <a:pt x="400358" y="904875"/>
                  </a:cubicBezTo>
                  <a:lnTo>
                    <a:pt x="507772" y="904875"/>
                  </a:lnTo>
                  <a:cubicBezTo>
                    <a:pt x="517536" y="904875"/>
                    <a:pt x="530558" y="898368"/>
                    <a:pt x="533807" y="885346"/>
                  </a:cubicBezTo>
                  <a:lnTo>
                    <a:pt x="546828" y="813740"/>
                  </a:lnTo>
                  <a:cubicBezTo>
                    <a:pt x="553336" y="774683"/>
                    <a:pt x="608670" y="751898"/>
                    <a:pt x="644478" y="774683"/>
                  </a:cubicBezTo>
                  <a:lnTo>
                    <a:pt x="699813" y="813740"/>
                  </a:lnTo>
                  <a:cubicBezTo>
                    <a:pt x="712834" y="820247"/>
                    <a:pt x="725849" y="820247"/>
                    <a:pt x="735620" y="810483"/>
                  </a:cubicBezTo>
                  <a:lnTo>
                    <a:pt x="810483" y="735620"/>
                  </a:lnTo>
                  <a:cubicBezTo>
                    <a:pt x="820248" y="725855"/>
                    <a:pt x="820248" y="712833"/>
                    <a:pt x="813740" y="699813"/>
                  </a:cubicBezTo>
                  <a:lnTo>
                    <a:pt x="774683" y="644478"/>
                  </a:lnTo>
                  <a:cubicBezTo>
                    <a:pt x="751897" y="608672"/>
                    <a:pt x="774683" y="553343"/>
                    <a:pt x="813740" y="546828"/>
                  </a:cubicBezTo>
                  <a:lnTo>
                    <a:pt x="885346" y="533807"/>
                  </a:lnTo>
                  <a:cubicBezTo>
                    <a:pt x="898368" y="530550"/>
                    <a:pt x="904875" y="517536"/>
                    <a:pt x="904875" y="507772"/>
                  </a:cubicBezTo>
                  <a:lnTo>
                    <a:pt x="904875" y="400357"/>
                  </a:lnTo>
                  <a:cubicBezTo>
                    <a:pt x="904875" y="387336"/>
                    <a:pt x="898368" y="377571"/>
                    <a:pt x="885346" y="374322"/>
                  </a:cubicBezTo>
                  <a:lnTo>
                    <a:pt x="885346" y="374322"/>
                  </a:lnTo>
                  <a:close/>
                  <a:moveTo>
                    <a:pt x="452455" y="250637"/>
                  </a:moveTo>
                  <a:cubicBezTo>
                    <a:pt x="566376" y="250637"/>
                    <a:pt x="657517" y="341772"/>
                    <a:pt x="657517" y="452435"/>
                  </a:cubicBezTo>
                  <a:cubicBezTo>
                    <a:pt x="657517" y="566356"/>
                    <a:pt x="566382" y="657497"/>
                    <a:pt x="452455" y="657497"/>
                  </a:cubicBezTo>
                  <a:cubicBezTo>
                    <a:pt x="341791" y="657497"/>
                    <a:pt x="250656" y="566363"/>
                    <a:pt x="250656" y="452435"/>
                  </a:cubicBezTo>
                  <a:cubicBezTo>
                    <a:pt x="250656" y="341771"/>
                    <a:pt x="341791" y="250637"/>
                    <a:pt x="452455" y="250637"/>
                  </a:cubicBezTo>
                  <a:lnTo>
                    <a:pt x="452455" y="250637"/>
                  </a:ln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37" name="Agrupar 136">
            <a:extLst>
              <a:ext uri="{FF2B5EF4-FFF2-40B4-BE49-F238E27FC236}">
                <a16:creationId xmlns:a16="http://schemas.microsoft.com/office/drawing/2014/main" id="{80D2363D-63C0-8EC3-CC12-94C4BD7339D0}"/>
              </a:ext>
            </a:extLst>
          </p:cNvPr>
          <p:cNvGrpSpPr/>
          <p:nvPr>
            <p:custDataLst>
              <p:tags r:id="rId18"/>
            </p:custDataLst>
          </p:nvPr>
        </p:nvGrpSpPr>
        <p:grpSpPr>
          <a:xfrm>
            <a:off x="3078644" y="1176946"/>
            <a:ext cx="447397" cy="446374"/>
            <a:chOff x="3078644" y="993813"/>
            <a:chExt cx="447397" cy="446374"/>
          </a:xfrm>
        </p:grpSpPr>
        <p:sp>
          <p:nvSpPr>
            <p:cNvPr id="34" name="Elipse 33">
              <a:extLst>
                <a:ext uri="{FF2B5EF4-FFF2-40B4-BE49-F238E27FC236}">
                  <a16:creationId xmlns:a16="http://schemas.microsoft.com/office/drawing/2014/main" id="{0694AA5B-9C1F-05AC-E39C-77CA56FD6390}"/>
                </a:ext>
              </a:extLst>
            </p:cNvPr>
            <p:cNvSpPr/>
            <p:nvPr>
              <p:custDataLst>
                <p:tags r:id="rId25"/>
              </p:custDataLst>
            </p:nvPr>
          </p:nvSpPr>
          <p:spPr>
            <a:xfrm>
              <a:off x="3078644" y="993813"/>
              <a:ext cx="447397" cy="44637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4" name="Forma Livre: Forma 133">
              <a:extLst>
                <a:ext uri="{FF2B5EF4-FFF2-40B4-BE49-F238E27FC236}">
                  <a16:creationId xmlns:a16="http://schemas.microsoft.com/office/drawing/2014/main" id="{239B95B9-33E2-1DD5-D895-EF90C522288C}"/>
                </a:ext>
              </a:extLst>
            </p:cNvPr>
            <p:cNvSpPr/>
            <p:nvPr>
              <p:custDataLst>
                <p:tags r:id="rId26"/>
              </p:custDataLst>
            </p:nvPr>
          </p:nvSpPr>
          <p:spPr>
            <a:xfrm>
              <a:off x="3175702" y="1088210"/>
              <a:ext cx="251901" cy="232471"/>
            </a:xfrm>
            <a:custGeom>
              <a:avLst/>
              <a:gdLst>
                <a:gd name="connsiteX0" fmla="*/ 395051 w 572150"/>
                <a:gd name="connsiteY0" fmla="*/ 104322 h 528019"/>
                <a:gd name="connsiteX1" fmla="*/ 395051 w 572150"/>
                <a:gd name="connsiteY1" fmla="*/ 104331 h 528019"/>
                <a:gd name="connsiteX2" fmla="*/ 279775 w 572150"/>
                <a:gd name="connsiteY2" fmla="*/ 152944 h 528019"/>
                <a:gd name="connsiteX3" fmla="*/ 455122 w 572150"/>
                <a:gd name="connsiteY3" fmla="*/ 153783 h 528019"/>
                <a:gd name="connsiteX4" fmla="*/ 455122 w 572150"/>
                <a:gd name="connsiteY4" fmla="*/ 153792 h 528019"/>
                <a:gd name="connsiteX5" fmla="*/ 442354 w 572150"/>
                <a:gd name="connsiteY5" fmla="*/ 123526 h 528019"/>
                <a:gd name="connsiteX6" fmla="*/ 442350 w 572150"/>
                <a:gd name="connsiteY6" fmla="*/ 123517 h 528019"/>
                <a:gd name="connsiteX7" fmla="*/ 438923 w 572150"/>
                <a:gd name="connsiteY7" fmla="*/ 124962 h 528019"/>
                <a:gd name="connsiteX8" fmla="*/ 426345 w 572150"/>
                <a:gd name="connsiteY8" fmla="*/ 127518 h 528019"/>
                <a:gd name="connsiteX9" fmla="*/ 396489 w 572150"/>
                <a:gd name="connsiteY9" fmla="*/ 107712 h 528019"/>
                <a:gd name="connsiteX10" fmla="*/ 448996 w 572150"/>
                <a:gd name="connsiteY10" fmla="*/ 0 h 528019"/>
                <a:gd name="connsiteX11" fmla="*/ 448996 w 572150"/>
                <a:gd name="connsiteY11" fmla="*/ 9 h 528019"/>
                <a:gd name="connsiteX12" fmla="*/ 448996 w 572150"/>
                <a:gd name="connsiteY12" fmla="*/ 19 h 528019"/>
                <a:gd name="connsiteX13" fmla="*/ 448996 w 572150"/>
                <a:gd name="connsiteY13" fmla="*/ 28 h 528019"/>
                <a:gd name="connsiteX14" fmla="*/ 448996 w 572150"/>
                <a:gd name="connsiteY14" fmla="*/ 37 h 528019"/>
                <a:gd name="connsiteX15" fmla="*/ 448996 w 572150"/>
                <a:gd name="connsiteY15" fmla="*/ 47 h 528019"/>
                <a:gd name="connsiteX16" fmla="*/ 448996 w 572150"/>
                <a:gd name="connsiteY16" fmla="*/ 56 h 528019"/>
                <a:gd name="connsiteX17" fmla="*/ 448996 w 572150"/>
                <a:gd name="connsiteY17" fmla="*/ 65 h 528019"/>
                <a:gd name="connsiteX18" fmla="*/ 448711 w 572150"/>
                <a:gd name="connsiteY18" fmla="*/ 36 h 528019"/>
                <a:gd name="connsiteX19" fmla="*/ 433613 w 572150"/>
                <a:gd name="connsiteY19" fmla="*/ 3006 h 528019"/>
                <a:gd name="connsiteX20" fmla="*/ 142163 w 572150"/>
                <a:gd name="connsiteY20" fmla="*/ 124758 h 528019"/>
                <a:gd name="connsiteX21" fmla="*/ 133396 w 572150"/>
                <a:gd name="connsiteY21" fmla="*/ 137964 h 528019"/>
                <a:gd name="connsiteX22" fmla="*/ 133396 w 572150"/>
                <a:gd name="connsiteY22" fmla="*/ 137974 h 528019"/>
                <a:gd name="connsiteX23" fmla="*/ 147716 w 572150"/>
                <a:gd name="connsiteY23" fmla="*/ 152293 h 528019"/>
                <a:gd name="connsiteX24" fmla="*/ 206829 w 572150"/>
                <a:gd name="connsiteY24" fmla="*/ 152594 h 528019"/>
                <a:gd name="connsiteX25" fmla="*/ 397106 w 572150"/>
                <a:gd name="connsiteY25" fmla="*/ 72297 h 528019"/>
                <a:gd name="connsiteX26" fmla="*/ 402671 w 572150"/>
                <a:gd name="connsiteY26" fmla="*/ 71167 h 528019"/>
                <a:gd name="connsiteX27" fmla="*/ 415884 w 572150"/>
                <a:gd name="connsiteY27" fmla="*/ 79931 h 528019"/>
                <a:gd name="connsiteX28" fmla="*/ 422906 w 572150"/>
                <a:gd name="connsiteY28" fmla="*/ 96565 h 528019"/>
                <a:gd name="connsiteX29" fmla="*/ 426343 w 572150"/>
                <a:gd name="connsiteY29" fmla="*/ 98841 h 528019"/>
                <a:gd name="connsiteX30" fmla="*/ 427718 w 572150"/>
                <a:gd name="connsiteY30" fmla="*/ 98578 h 528019"/>
                <a:gd name="connsiteX31" fmla="*/ 444411 w 572150"/>
                <a:gd name="connsiteY31" fmla="*/ 91524 h 528019"/>
                <a:gd name="connsiteX32" fmla="*/ 449997 w 572150"/>
                <a:gd name="connsiteY32" fmla="*/ 90388 h 528019"/>
                <a:gd name="connsiteX33" fmla="*/ 463177 w 572150"/>
                <a:gd name="connsiteY33" fmla="*/ 99133 h 528019"/>
                <a:gd name="connsiteX34" fmla="*/ 486301 w 572150"/>
                <a:gd name="connsiteY34" fmla="*/ 153932 h 528019"/>
                <a:gd name="connsiteX35" fmla="*/ 519200 w 572150"/>
                <a:gd name="connsiteY35" fmla="*/ 154097 h 528019"/>
                <a:gd name="connsiteX36" fmla="*/ 533520 w 572150"/>
                <a:gd name="connsiteY36" fmla="*/ 139778 h 528019"/>
                <a:gd name="connsiteX37" fmla="*/ 533520 w 572150"/>
                <a:gd name="connsiteY37" fmla="*/ 139768 h 528019"/>
                <a:gd name="connsiteX38" fmla="*/ 532507 w 572150"/>
                <a:gd name="connsiteY38" fmla="*/ 134469 h 528019"/>
                <a:gd name="connsiteX39" fmla="*/ 486864 w 572150"/>
                <a:gd name="connsiteY39" fmla="*/ 25135 h 528019"/>
                <a:gd name="connsiteX40" fmla="*/ 448996 w 572150"/>
                <a:gd name="connsiteY40" fmla="*/ 0 h 528019"/>
                <a:gd name="connsiteX41" fmla="*/ 448996 w 572150"/>
                <a:gd name="connsiteY41" fmla="*/ 9 h 528019"/>
                <a:gd name="connsiteX42" fmla="*/ 277607 w 572150"/>
                <a:gd name="connsiteY42" fmla="*/ 293141 h 528019"/>
                <a:gd name="connsiteX43" fmla="*/ 277607 w 572150"/>
                <a:gd name="connsiteY43" fmla="*/ 293150 h 528019"/>
                <a:gd name="connsiteX44" fmla="*/ 277607 w 572150"/>
                <a:gd name="connsiteY44" fmla="*/ 293159 h 528019"/>
                <a:gd name="connsiteX45" fmla="*/ 265572 w 572150"/>
                <a:gd name="connsiteY45" fmla="*/ 311807 h 528019"/>
                <a:gd name="connsiteX46" fmla="*/ 277641 w 572150"/>
                <a:gd name="connsiteY46" fmla="*/ 330508 h 528019"/>
                <a:gd name="connsiteX47" fmla="*/ 277641 w 572150"/>
                <a:gd name="connsiteY47" fmla="*/ 330499 h 528019"/>
                <a:gd name="connsiteX48" fmla="*/ 277641 w 572150"/>
                <a:gd name="connsiteY48" fmla="*/ 330490 h 528019"/>
                <a:gd name="connsiteX49" fmla="*/ 277607 w 572150"/>
                <a:gd name="connsiteY49" fmla="*/ 293141 h 528019"/>
                <a:gd name="connsiteX50" fmla="*/ 277607 w 572150"/>
                <a:gd name="connsiteY50" fmla="*/ 293150 h 528019"/>
                <a:gd name="connsiteX51" fmla="*/ 294496 w 572150"/>
                <a:gd name="connsiteY51" fmla="*/ 362808 h 528019"/>
                <a:gd name="connsiteX52" fmla="*/ 294496 w 572150"/>
                <a:gd name="connsiteY52" fmla="*/ 362817 h 528019"/>
                <a:gd name="connsiteX53" fmla="*/ 294496 w 572150"/>
                <a:gd name="connsiteY53" fmla="*/ 362826 h 528019"/>
                <a:gd name="connsiteX54" fmla="*/ 294510 w 572150"/>
                <a:gd name="connsiteY54" fmla="*/ 400116 h 528019"/>
                <a:gd name="connsiteX55" fmla="*/ 306542 w 572150"/>
                <a:gd name="connsiteY55" fmla="*/ 381450 h 528019"/>
                <a:gd name="connsiteX56" fmla="*/ 294532 w 572150"/>
                <a:gd name="connsiteY56" fmla="*/ 362814 h 528019"/>
                <a:gd name="connsiteX57" fmla="*/ 294496 w 572150"/>
                <a:gd name="connsiteY57" fmla="*/ 362808 h 528019"/>
                <a:gd name="connsiteX58" fmla="*/ 294496 w 572150"/>
                <a:gd name="connsiteY58" fmla="*/ 362817 h 528019"/>
                <a:gd name="connsiteX59" fmla="*/ 207747 w 572150"/>
                <a:gd name="connsiteY59" fmla="*/ 255888 h 528019"/>
                <a:gd name="connsiteX60" fmla="*/ 207747 w 572150"/>
                <a:gd name="connsiteY60" fmla="*/ 255898 h 528019"/>
                <a:gd name="connsiteX61" fmla="*/ 222066 w 572150"/>
                <a:gd name="connsiteY61" fmla="*/ 270216 h 528019"/>
                <a:gd name="connsiteX62" fmla="*/ 222066 w 572150"/>
                <a:gd name="connsiteY62" fmla="*/ 270225 h 528019"/>
                <a:gd name="connsiteX63" fmla="*/ 219138 w 572150"/>
                <a:gd name="connsiteY63" fmla="*/ 278957 h 528019"/>
                <a:gd name="connsiteX64" fmla="*/ 219128 w 572150"/>
                <a:gd name="connsiteY64" fmla="*/ 278971 h 528019"/>
                <a:gd name="connsiteX65" fmla="*/ 199809 w 572150"/>
                <a:gd name="connsiteY65" fmla="*/ 346627 h 528019"/>
                <a:gd name="connsiteX66" fmla="*/ 219671 w 572150"/>
                <a:gd name="connsiteY66" fmla="*/ 415092 h 528019"/>
                <a:gd name="connsiteX67" fmla="*/ 219677 w 572150"/>
                <a:gd name="connsiteY67" fmla="*/ 415101 h 528019"/>
                <a:gd name="connsiteX68" fmla="*/ 222067 w 572150"/>
                <a:gd name="connsiteY68" fmla="*/ 423031 h 528019"/>
                <a:gd name="connsiteX69" fmla="*/ 222067 w 572150"/>
                <a:gd name="connsiteY69" fmla="*/ 423040 h 528019"/>
                <a:gd name="connsiteX70" fmla="*/ 207730 w 572150"/>
                <a:gd name="connsiteY70" fmla="*/ 437376 h 528019"/>
                <a:gd name="connsiteX71" fmla="*/ 195132 w 572150"/>
                <a:gd name="connsiteY71" fmla="*/ 429898 h 528019"/>
                <a:gd name="connsiteX72" fmla="*/ 195130 w 572150"/>
                <a:gd name="connsiteY72" fmla="*/ 429895 h 528019"/>
                <a:gd name="connsiteX73" fmla="*/ 171135 w 572150"/>
                <a:gd name="connsiteY73" fmla="*/ 346627 h 528019"/>
                <a:gd name="connsiteX74" fmla="*/ 194810 w 572150"/>
                <a:gd name="connsiteY74" fmla="*/ 263929 h 528019"/>
                <a:gd name="connsiteX75" fmla="*/ 194813 w 572150"/>
                <a:gd name="connsiteY75" fmla="*/ 263925 h 528019"/>
                <a:gd name="connsiteX76" fmla="*/ 207634 w 572150"/>
                <a:gd name="connsiteY76" fmla="*/ 255916 h 528019"/>
                <a:gd name="connsiteX77" fmla="*/ 207729 w 572150"/>
                <a:gd name="connsiteY77" fmla="*/ 255916 h 528019"/>
                <a:gd name="connsiteX78" fmla="*/ 207729 w 572150"/>
                <a:gd name="connsiteY78" fmla="*/ 255907 h 528019"/>
                <a:gd name="connsiteX79" fmla="*/ 207729 w 572150"/>
                <a:gd name="connsiteY79" fmla="*/ 255898 h 528019"/>
                <a:gd name="connsiteX80" fmla="*/ 207729 w 572150"/>
                <a:gd name="connsiteY80" fmla="*/ 255888 h 528019"/>
                <a:gd name="connsiteX81" fmla="*/ 207747 w 572150"/>
                <a:gd name="connsiteY81" fmla="*/ 255888 h 528019"/>
                <a:gd name="connsiteX82" fmla="*/ 207747 w 572150"/>
                <a:gd name="connsiteY82" fmla="*/ 255898 h 528019"/>
                <a:gd name="connsiteX83" fmla="*/ 364445 w 572150"/>
                <a:gd name="connsiteY83" fmla="*/ 255888 h 528019"/>
                <a:gd name="connsiteX84" fmla="*/ 364445 w 572150"/>
                <a:gd name="connsiteY84" fmla="*/ 255898 h 528019"/>
                <a:gd name="connsiteX85" fmla="*/ 377328 w 572150"/>
                <a:gd name="connsiteY85" fmla="*/ 263897 h 528019"/>
                <a:gd name="connsiteX86" fmla="*/ 377340 w 572150"/>
                <a:gd name="connsiteY86" fmla="*/ 263920 h 528019"/>
                <a:gd name="connsiteX87" fmla="*/ 401015 w 572150"/>
                <a:gd name="connsiteY87" fmla="*/ 346627 h 528019"/>
                <a:gd name="connsiteX88" fmla="*/ 377010 w 572150"/>
                <a:gd name="connsiteY88" fmla="*/ 429907 h 528019"/>
                <a:gd name="connsiteX89" fmla="*/ 376998 w 572150"/>
                <a:gd name="connsiteY89" fmla="*/ 429926 h 528019"/>
                <a:gd name="connsiteX90" fmla="*/ 364420 w 572150"/>
                <a:gd name="connsiteY90" fmla="*/ 437376 h 528019"/>
                <a:gd name="connsiteX91" fmla="*/ 350083 w 572150"/>
                <a:gd name="connsiteY91" fmla="*/ 423040 h 528019"/>
                <a:gd name="connsiteX92" fmla="*/ 350083 w 572150"/>
                <a:gd name="connsiteY92" fmla="*/ 423031 h 528019"/>
                <a:gd name="connsiteX93" fmla="*/ 352484 w 572150"/>
                <a:gd name="connsiteY93" fmla="*/ 415083 h 528019"/>
                <a:gd name="connsiteX94" fmla="*/ 352498 w 572150"/>
                <a:gd name="connsiteY94" fmla="*/ 415063 h 528019"/>
                <a:gd name="connsiteX95" fmla="*/ 372341 w 572150"/>
                <a:gd name="connsiteY95" fmla="*/ 346627 h 528019"/>
                <a:gd name="connsiteX96" fmla="*/ 352978 w 572150"/>
                <a:gd name="connsiteY96" fmla="*/ 278920 h 528019"/>
                <a:gd name="connsiteX97" fmla="*/ 352966 w 572150"/>
                <a:gd name="connsiteY97" fmla="*/ 278905 h 528019"/>
                <a:gd name="connsiteX98" fmla="*/ 350084 w 572150"/>
                <a:gd name="connsiteY98" fmla="*/ 270225 h 528019"/>
                <a:gd name="connsiteX99" fmla="*/ 350084 w 572150"/>
                <a:gd name="connsiteY99" fmla="*/ 270216 h 528019"/>
                <a:gd name="connsiteX100" fmla="*/ 364352 w 572150"/>
                <a:gd name="connsiteY100" fmla="*/ 255916 h 528019"/>
                <a:gd name="connsiteX101" fmla="*/ 364421 w 572150"/>
                <a:gd name="connsiteY101" fmla="*/ 255926 h 528019"/>
                <a:gd name="connsiteX102" fmla="*/ 364421 w 572150"/>
                <a:gd name="connsiteY102" fmla="*/ 255907 h 528019"/>
                <a:gd name="connsiteX103" fmla="*/ 364421 w 572150"/>
                <a:gd name="connsiteY103" fmla="*/ 255898 h 528019"/>
                <a:gd name="connsiteX104" fmla="*/ 364421 w 572150"/>
                <a:gd name="connsiteY104" fmla="*/ 255888 h 528019"/>
                <a:gd name="connsiteX105" fmla="*/ 364445 w 572150"/>
                <a:gd name="connsiteY105" fmla="*/ 255888 h 528019"/>
                <a:gd name="connsiteX106" fmla="*/ 364445 w 572150"/>
                <a:gd name="connsiteY106" fmla="*/ 255898 h 528019"/>
                <a:gd name="connsiteX107" fmla="*/ 286092 w 572150"/>
                <a:gd name="connsiteY107" fmla="*/ 247767 h 528019"/>
                <a:gd name="connsiteX108" fmla="*/ 286092 w 572150"/>
                <a:gd name="connsiteY108" fmla="*/ 247777 h 528019"/>
                <a:gd name="connsiteX109" fmla="*/ 294509 w 572150"/>
                <a:gd name="connsiteY109" fmla="*/ 256192 h 528019"/>
                <a:gd name="connsiteX110" fmla="*/ 294509 w 572150"/>
                <a:gd name="connsiteY110" fmla="*/ 263388 h 528019"/>
                <a:gd name="connsiteX111" fmla="*/ 294544 w 572150"/>
                <a:gd name="connsiteY111" fmla="*/ 263379 h 528019"/>
                <a:gd name="connsiteX112" fmla="*/ 333565 w 572150"/>
                <a:gd name="connsiteY112" fmla="*/ 299178 h 528019"/>
                <a:gd name="connsiteX113" fmla="*/ 333569 w 572150"/>
                <a:gd name="connsiteY113" fmla="*/ 299190 h 528019"/>
                <a:gd name="connsiteX114" fmla="*/ 323403 w 572150"/>
                <a:gd name="connsiteY114" fmla="*/ 316643 h 528019"/>
                <a:gd name="connsiteX115" fmla="*/ 323394 w 572150"/>
                <a:gd name="connsiteY115" fmla="*/ 316646 h 528019"/>
                <a:gd name="connsiteX116" fmla="*/ 319677 w 572150"/>
                <a:gd name="connsiteY116" fmla="*/ 317137 h 528019"/>
                <a:gd name="connsiteX117" fmla="*/ 305871 w 572150"/>
                <a:gd name="connsiteY117" fmla="*/ 306647 h 528019"/>
                <a:gd name="connsiteX118" fmla="*/ 305866 w 572150"/>
                <a:gd name="connsiteY118" fmla="*/ 306628 h 528019"/>
                <a:gd name="connsiteX119" fmla="*/ 294544 w 572150"/>
                <a:gd name="connsiteY119" fmla="*/ 293167 h 528019"/>
                <a:gd name="connsiteX120" fmla="*/ 294544 w 572150"/>
                <a:gd name="connsiteY120" fmla="*/ 333022 h 528019"/>
                <a:gd name="connsiteX121" fmla="*/ 335216 w 572150"/>
                <a:gd name="connsiteY121" fmla="*/ 381450 h 528019"/>
                <a:gd name="connsiteX122" fmla="*/ 294492 w 572150"/>
                <a:gd name="connsiteY122" fmla="*/ 429953 h 528019"/>
                <a:gd name="connsiteX123" fmla="*/ 294510 w 572150"/>
                <a:gd name="connsiteY123" fmla="*/ 437066 h 528019"/>
                <a:gd name="connsiteX124" fmla="*/ 286076 w 572150"/>
                <a:gd name="connsiteY124" fmla="*/ 445500 h 528019"/>
                <a:gd name="connsiteX125" fmla="*/ 277641 w 572150"/>
                <a:gd name="connsiteY125" fmla="*/ 437066 h 528019"/>
                <a:gd name="connsiteX126" fmla="*/ 277676 w 572150"/>
                <a:gd name="connsiteY126" fmla="*/ 429898 h 528019"/>
                <a:gd name="connsiteX127" fmla="*/ 238524 w 572150"/>
                <a:gd name="connsiteY127" fmla="*/ 394045 h 528019"/>
                <a:gd name="connsiteX128" fmla="*/ 238522 w 572150"/>
                <a:gd name="connsiteY128" fmla="*/ 394038 h 528019"/>
                <a:gd name="connsiteX129" fmla="*/ 248712 w 572150"/>
                <a:gd name="connsiteY129" fmla="*/ 376614 h 528019"/>
                <a:gd name="connsiteX130" fmla="*/ 248721 w 572150"/>
                <a:gd name="connsiteY130" fmla="*/ 376612 h 528019"/>
                <a:gd name="connsiteX131" fmla="*/ 252441 w 572150"/>
                <a:gd name="connsiteY131" fmla="*/ 376119 h 528019"/>
                <a:gd name="connsiteX132" fmla="*/ 266279 w 572150"/>
                <a:gd name="connsiteY132" fmla="*/ 386749 h 528019"/>
                <a:gd name="connsiteX133" fmla="*/ 266524 w 572150"/>
                <a:gd name="connsiteY133" fmla="*/ 387640 h 528019"/>
                <a:gd name="connsiteX134" fmla="*/ 277641 w 572150"/>
                <a:gd name="connsiteY134" fmla="*/ 400133 h 528019"/>
                <a:gd name="connsiteX135" fmla="*/ 277527 w 572150"/>
                <a:gd name="connsiteY135" fmla="*/ 360244 h 528019"/>
                <a:gd name="connsiteX136" fmla="*/ 236898 w 572150"/>
                <a:gd name="connsiteY136" fmla="*/ 311807 h 528019"/>
                <a:gd name="connsiteX137" fmla="*/ 277607 w 572150"/>
                <a:gd name="connsiteY137" fmla="*/ 263381 h 528019"/>
                <a:gd name="connsiteX138" fmla="*/ 277641 w 572150"/>
                <a:gd name="connsiteY138" fmla="*/ 263372 h 528019"/>
                <a:gd name="connsiteX139" fmla="*/ 277641 w 572150"/>
                <a:gd name="connsiteY139" fmla="*/ 256192 h 528019"/>
                <a:gd name="connsiteX140" fmla="*/ 286007 w 572150"/>
                <a:gd name="connsiteY140" fmla="*/ 247795 h 528019"/>
                <a:gd name="connsiteX141" fmla="*/ 286075 w 572150"/>
                <a:gd name="connsiteY141" fmla="*/ 247805 h 528019"/>
                <a:gd name="connsiteX142" fmla="*/ 286075 w 572150"/>
                <a:gd name="connsiteY142" fmla="*/ 247786 h 528019"/>
                <a:gd name="connsiteX143" fmla="*/ 286075 w 572150"/>
                <a:gd name="connsiteY143" fmla="*/ 247777 h 528019"/>
                <a:gd name="connsiteX144" fmla="*/ 286075 w 572150"/>
                <a:gd name="connsiteY144" fmla="*/ 247767 h 528019"/>
                <a:gd name="connsiteX145" fmla="*/ 286092 w 572150"/>
                <a:gd name="connsiteY145" fmla="*/ 247767 h 528019"/>
                <a:gd name="connsiteX146" fmla="*/ 286092 w 572150"/>
                <a:gd name="connsiteY146" fmla="*/ 247777 h 528019"/>
                <a:gd name="connsiteX147" fmla="*/ 115203 w 572150"/>
                <a:gd name="connsiteY147" fmla="*/ 243582 h 528019"/>
                <a:gd name="connsiteX148" fmla="*/ 115203 w 572150"/>
                <a:gd name="connsiteY148" fmla="*/ 243591 h 528019"/>
                <a:gd name="connsiteX149" fmla="*/ 115169 w 572150"/>
                <a:gd name="connsiteY149" fmla="*/ 247281 h 528019"/>
                <a:gd name="connsiteX150" fmla="*/ 82778 w 572150"/>
                <a:gd name="connsiteY150" fmla="*/ 279671 h 528019"/>
                <a:gd name="connsiteX151" fmla="*/ 79059 w 572150"/>
                <a:gd name="connsiteY151" fmla="*/ 279673 h 528019"/>
                <a:gd name="connsiteX152" fmla="*/ 79059 w 572150"/>
                <a:gd name="connsiteY152" fmla="*/ 413576 h 528019"/>
                <a:gd name="connsiteX153" fmla="*/ 79059 w 572150"/>
                <a:gd name="connsiteY153" fmla="*/ 413585 h 528019"/>
                <a:gd name="connsiteX154" fmla="*/ 82778 w 572150"/>
                <a:gd name="connsiteY154" fmla="*/ 413587 h 528019"/>
                <a:gd name="connsiteX155" fmla="*/ 115169 w 572150"/>
                <a:gd name="connsiteY155" fmla="*/ 445977 h 528019"/>
                <a:gd name="connsiteX156" fmla="*/ 115167 w 572150"/>
                <a:gd name="connsiteY156" fmla="*/ 449695 h 528019"/>
                <a:gd name="connsiteX157" fmla="*/ 456983 w 572150"/>
                <a:gd name="connsiteY157" fmla="*/ 449685 h 528019"/>
                <a:gd name="connsiteX158" fmla="*/ 456982 w 572150"/>
                <a:gd name="connsiteY158" fmla="*/ 445977 h 528019"/>
                <a:gd name="connsiteX159" fmla="*/ 489372 w 572150"/>
                <a:gd name="connsiteY159" fmla="*/ 413587 h 528019"/>
                <a:gd name="connsiteX160" fmla="*/ 493091 w 572150"/>
                <a:gd name="connsiteY160" fmla="*/ 413576 h 528019"/>
                <a:gd name="connsiteX161" fmla="*/ 493091 w 572150"/>
                <a:gd name="connsiteY161" fmla="*/ 279682 h 528019"/>
                <a:gd name="connsiteX162" fmla="*/ 493091 w 572150"/>
                <a:gd name="connsiteY162" fmla="*/ 279673 h 528019"/>
                <a:gd name="connsiteX163" fmla="*/ 489372 w 572150"/>
                <a:gd name="connsiteY163" fmla="*/ 279671 h 528019"/>
                <a:gd name="connsiteX164" fmla="*/ 456982 w 572150"/>
                <a:gd name="connsiteY164" fmla="*/ 247281 h 528019"/>
                <a:gd name="connsiteX165" fmla="*/ 456983 w 572150"/>
                <a:gd name="connsiteY165" fmla="*/ 243600 h 528019"/>
                <a:gd name="connsiteX166" fmla="*/ 456983 w 572150"/>
                <a:gd name="connsiteY166" fmla="*/ 243591 h 528019"/>
                <a:gd name="connsiteX167" fmla="*/ 456983 w 572150"/>
                <a:gd name="connsiteY167" fmla="*/ 243582 h 528019"/>
                <a:gd name="connsiteX168" fmla="*/ 115203 w 572150"/>
                <a:gd name="connsiteY168" fmla="*/ 243572 h 528019"/>
                <a:gd name="connsiteX169" fmla="*/ 471330 w 572150"/>
                <a:gd name="connsiteY169" fmla="*/ 214900 h 528019"/>
                <a:gd name="connsiteX170" fmla="*/ 471336 w 572150"/>
                <a:gd name="connsiteY170" fmla="*/ 214900 h 528019"/>
                <a:gd name="connsiteX171" fmla="*/ 485652 w 572150"/>
                <a:gd name="connsiteY171" fmla="*/ 229224 h 528019"/>
                <a:gd name="connsiteX172" fmla="*/ 485656 w 572150"/>
                <a:gd name="connsiteY172" fmla="*/ 247281 h 528019"/>
                <a:gd name="connsiteX173" fmla="*/ 489306 w 572150"/>
                <a:gd name="connsiteY173" fmla="*/ 251006 h 528019"/>
                <a:gd name="connsiteX174" fmla="*/ 507429 w 572150"/>
                <a:gd name="connsiteY174" fmla="*/ 250996 h 528019"/>
                <a:gd name="connsiteX175" fmla="*/ 521759 w 572150"/>
                <a:gd name="connsiteY175" fmla="*/ 265302 h 528019"/>
                <a:gd name="connsiteX176" fmla="*/ 521759 w 572150"/>
                <a:gd name="connsiteY176" fmla="*/ 427956 h 528019"/>
                <a:gd name="connsiteX177" fmla="*/ 507428 w 572150"/>
                <a:gd name="connsiteY177" fmla="*/ 442262 h 528019"/>
                <a:gd name="connsiteX178" fmla="*/ 489306 w 572150"/>
                <a:gd name="connsiteY178" fmla="*/ 442252 h 528019"/>
                <a:gd name="connsiteX179" fmla="*/ 485656 w 572150"/>
                <a:gd name="connsiteY179" fmla="*/ 445977 h 528019"/>
                <a:gd name="connsiteX180" fmla="*/ 485652 w 572150"/>
                <a:gd name="connsiteY180" fmla="*/ 464034 h 528019"/>
                <a:gd name="connsiteX181" fmla="*/ 471319 w 572150"/>
                <a:gd name="connsiteY181" fmla="*/ 478377 h 528019"/>
                <a:gd name="connsiteX182" fmla="*/ 100832 w 572150"/>
                <a:gd name="connsiteY182" fmla="*/ 478367 h 528019"/>
                <a:gd name="connsiteX183" fmla="*/ 86499 w 572150"/>
                <a:gd name="connsiteY183" fmla="*/ 464034 h 528019"/>
                <a:gd name="connsiteX184" fmla="*/ 86495 w 572150"/>
                <a:gd name="connsiteY184" fmla="*/ 445977 h 528019"/>
                <a:gd name="connsiteX185" fmla="*/ 82845 w 572150"/>
                <a:gd name="connsiteY185" fmla="*/ 442252 h 528019"/>
                <a:gd name="connsiteX186" fmla="*/ 64723 w 572150"/>
                <a:gd name="connsiteY186" fmla="*/ 442262 h 528019"/>
                <a:gd name="connsiteX187" fmla="*/ 50391 w 572150"/>
                <a:gd name="connsiteY187" fmla="*/ 427956 h 528019"/>
                <a:gd name="connsiteX188" fmla="*/ 50391 w 572150"/>
                <a:gd name="connsiteY188" fmla="*/ 265302 h 528019"/>
                <a:gd name="connsiteX189" fmla="*/ 64722 w 572150"/>
                <a:gd name="connsiteY189" fmla="*/ 250996 h 528019"/>
                <a:gd name="connsiteX190" fmla="*/ 82844 w 572150"/>
                <a:gd name="connsiteY190" fmla="*/ 251006 h 528019"/>
                <a:gd name="connsiteX191" fmla="*/ 86495 w 572150"/>
                <a:gd name="connsiteY191" fmla="*/ 247281 h 528019"/>
                <a:gd name="connsiteX192" fmla="*/ 86498 w 572150"/>
                <a:gd name="connsiteY192" fmla="*/ 229224 h 528019"/>
                <a:gd name="connsiteX193" fmla="*/ 100794 w 572150"/>
                <a:gd name="connsiteY193" fmla="*/ 214900 h 528019"/>
                <a:gd name="connsiteX194" fmla="*/ 40931 w 572150"/>
                <a:gd name="connsiteY194" fmla="*/ 165252 h 528019"/>
                <a:gd name="connsiteX195" fmla="*/ 40409 w 572150"/>
                <a:gd name="connsiteY195" fmla="*/ 165260 h 528019"/>
                <a:gd name="connsiteX196" fmla="*/ 0 w 572150"/>
                <a:gd name="connsiteY196" fmla="*/ 206107 h 528019"/>
                <a:gd name="connsiteX197" fmla="*/ 0 w 572150"/>
                <a:gd name="connsiteY197" fmla="*/ 487164 h 528019"/>
                <a:gd name="connsiteX198" fmla="*/ 40593 w 572150"/>
                <a:gd name="connsiteY198" fmla="*/ 528007 h 528019"/>
                <a:gd name="connsiteX199" fmla="*/ 531540 w 572150"/>
                <a:gd name="connsiteY199" fmla="*/ 528020 h 528019"/>
                <a:gd name="connsiteX200" fmla="*/ 572149 w 572150"/>
                <a:gd name="connsiteY200" fmla="*/ 487377 h 528019"/>
                <a:gd name="connsiteX201" fmla="*/ 572151 w 572150"/>
                <a:gd name="connsiteY201" fmla="*/ 206182 h 528019"/>
                <a:gd name="connsiteX202" fmla="*/ 531548 w 572150"/>
                <a:gd name="connsiteY202" fmla="*/ 165250 h 528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572150" h="528019">
                  <a:moveTo>
                    <a:pt x="395051" y="104322"/>
                  </a:moveTo>
                  <a:lnTo>
                    <a:pt x="395051" y="104331"/>
                  </a:lnTo>
                  <a:lnTo>
                    <a:pt x="279775" y="152944"/>
                  </a:lnTo>
                  <a:lnTo>
                    <a:pt x="455122" y="153783"/>
                  </a:lnTo>
                  <a:lnTo>
                    <a:pt x="455122" y="153792"/>
                  </a:lnTo>
                  <a:lnTo>
                    <a:pt x="442354" y="123526"/>
                  </a:lnTo>
                  <a:lnTo>
                    <a:pt x="442350" y="123517"/>
                  </a:lnTo>
                  <a:lnTo>
                    <a:pt x="438923" y="124962"/>
                  </a:lnTo>
                  <a:cubicBezTo>
                    <a:pt x="434812" y="126697"/>
                    <a:pt x="430544" y="127518"/>
                    <a:pt x="426345" y="127518"/>
                  </a:cubicBezTo>
                  <a:cubicBezTo>
                    <a:pt x="413712" y="127518"/>
                    <a:pt x="401708" y="120083"/>
                    <a:pt x="396489" y="107712"/>
                  </a:cubicBezTo>
                  <a:close/>
                  <a:moveTo>
                    <a:pt x="448996" y="0"/>
                  </a:moveTo>
                  <a:lnTo>
                    <a:pt x="448996" y="9"/>
                  </a:lnTo>
                  <a:lnTo>
                    <a:pt x="448996" y="19"/>
                  </a:lnTo>
                  <a:lnTo>
                    <a:pt x="448996" y="28"/>
                  </a:lnTo>
                  <a:lnTo>
                    <a:pt x="448996" y="37"/>
                  </a:lnTo>
                  <a:lnTo>
                    <a:pt x="448996" y="47"/>
                  </a:lnTo>
                  <a:lnTo>
                    <a:pt x="448996" y="56"/>
                  </a:lnTo>
                  <a:lnTo>
                    <a:pt x="448996" y="65"/>
                  </a:lnTo>
                  <a:cubicBezTo>
                    <a:pt x="448901" y="37"/>
                    <a:pt x="448806" y="36"/>
                    <a:pt x="448711" y="36"/>
                  </a:cubicBezTo>
                  <a:cubicBezTo>
                    <a:pt x="443673" y="36"/>
                    <a:pt x="438560" y="1005"/>
                    <a:pt x="433613" y="3006"/>
                  </a:cubicBezTo>
                  <a:lnTo>
                    <a:pt x="142163" y="124758"/>
                  </a:lnTo>
                  <a:cubicBezTo>
                    <a:pt x="137015" y="126919"/>
                    <a:pt x="133396" y="132027"/>
                    <a:pt x="133396" y="137964"/>
                  </a:cubicBezTo>
                  <a:lnTo>
                    <a:pt x="133396" y="137974"/>
                  </a:lnTo>
                  <a:cubicBezTo>
                    <a:pt x="133396" y="145882"/>
                    <a:pt x="139807" y="152293"/>
                    <a:pt x="147716" y="152293"/>
                  </a:cubicBezTo>
                  <a:lnTo>
                    <a:pt x="206829" y="152594"/>
                  </a:lnTo>
                  <a:lnTo>
                    <a:pt x="397106" y="72297"/>
                  </a:lnTo>
                  <a:cubicBezTo>
                    <a:pt x="398925" y="71530"/>
                    <a:pt x="400813" y="71167"/>
                    <a:pt x="402671" y="71167"/>
                  </a:cubicBezTo>
                  <a:cubicBezTo>
                    <a:pt x="408261" y="71167"/>
                    <a:pt x="413573" y="74457"/>
                    <a:pt x="415884" y="79931"/>
                  </a:cubicBezTo>
                  <a:cubicBezTo>
                    <a:pt x="422901" y="96553"/>
                    <a:pt x="422906" y="96565"/>
                    <a:pt x="422906" y="96565"/>
                  </a:cubicBezTo>
                  <a:cubicBezTo>
                    <a:pt x="423507" y="97988"/>
                    <a:pt x="424889" y="98841"/>
                    <a:pt x="426343" y="98841"/>
                  </a:cubicBezTo>
                  <a:cubicBezTo>
                    <a:pt x="426802" y="98841"/>
                    <a:pt x="427268" y="98756"/>
                    <a:pt x="427718" y="98578"/>
                  </a:cubicBezTo>
                  <a:lnTo>
                    <a:pt x="444411" y="91524"/>
                  </a:lnTo>
                  <a:cubicBezTo>
                    <a:pt x="446238" y="90754"/>
                    <a:pt x="448133" y="90388"/>
                    <a:pt x="449997" y="90388"/>
                  </a:cubicBezTo>
                  <a:cubicBezTo>
                    <a:pt x="455575" y="90388"/>
                    <a:pt x="460867" y="93661"/>
                    <a:pt x="463177" y="99133"/>
                  </a:cubicBezTo>
                  <a:lnTo>
                    <a:pt x="486301" y="153932"/>
                  </a:lnTo>
                  <a:cubicBezTo>
                    <a:pt x="519104" y="154097"/>
                    <a:pt x="519200" y="154097"/>
                    <a:pt x="519200" y="154097"/>
                  </a:cubicBezTo>
                  <a:cubicBezTo>
                    <a:pt x="527109" y="154097"/>
                    <a:pt x="533520" y="147686"/>
                    <a:pt x="533520" y="139778"/>
                  </a:cubicBezTo>
                  <a:lnTo>
                    <a:pt x="533520" y="139768"/>
                  </a:lnTo>
                  <a:cubicBezTo>
                    <a:pt x="533520" y="137896"/>
                    <a:pt x="533160" y="136108"/>
                    <a:pt x="532507" y="134469"/>
                  </a:cubicBezTo>
                  <a:lnTo>
                    <a:pt x="486864" y="25135"/>
                  </a:lnTo>
                  <a:cubicBezTo>
                    <a:pt x="480242" y="9438"/>
                    <a:pt x="465022" y="0"/>
                    <a:pt x="448996" y="0"/>
                  </a:cubicBezTo>
                  <a:lnTo>
                    <a:pt x="448996" y="9"/>
                  </a:lnTo>
                  <a:close/>
                  <a:moveTo>
                    <a:pt x="277607" y="293141"/>
                  </a:moveTo>
                  <a:lnTo>
                    <a:pt x="277607" y="293150"/>
                  </a:lnTo>
                  <a:lnTo>
                    <a:pt x="277607" y="293159"/>
                  </a:lnTo>
                  <a:cubicBezTo>
                    <a:pt x="270509" y="296359"/>
                    <a:pt x="265572" y="303507"/>
                    <a:pt x="265572" y="311807"/>
                  </a:cubicBezTo>
                  <a:cubicBezTo>
                    <a:pt x="265572" y="320122"/>
                    <a:pt x="270525" y="327279"/>
                    <a:pt x="277641" y="330508"/>
                  </a:cubicBezTo>
                  <a:lnTo>
                    <a:pt x="277641" y="330499"/>
                  </a:lnTo>
                  <a:lnTo>
                    <a:pt x="277641" y="330490"/>
                  </a:lnTo>
                  <a:lnTo>
                    <a:pt x="277607" y="293141"/>
                  </a:lnTo>
                  <a:lnTo>
                    <a:pt x="277607" y="293150"/>
                  </a:lnTo>
                  <a:close/>
                  <a:moveTo>
                    <a:pt x="294496" y="362808"/>
                  </a:moveTo>
                  <a:lnTo>
                    <a:pt x="294496" y="362817"/>
                  </a:lnTo>
                  <a:lnTo>
                    <a:pt x="294496" y="362826"/>
                  </a:lnTo>
                  <a:lnTo>
                    <a:pt x="294510" y="400116"/>
                  </a:lnTo>
                  <a:cubicBezTo>
                    <a:pt x="301606" y="396897"/>
                    <a:pt x="306542" y="389751"/>
                    <a:pt x="306542" y="381450"/>
                  </a:cubicBezTo>
                  <a:cubicBezTo>
                    <a:pt x="306542" y="373164"/>
                    <a:pt x="301610" y="366018"/>
                    <a:pt x="294532" y="362814"/>
                  </a:cubicBezTo>
                  <a:lnTo>
                    <a:pt x="294496" y="362808"/>
                  </a:lnTo>
                  <a:lnTo>
                    <a:pt x="294496" y="362817"/>
                  </a:lnTo>
                  <a:close/>
                  <a:moveTo>
                    <a:pt x="207747" y="255888"/>
                  </a:moveTo>
                  <a:lnTo>
                    <a:pt x="207747" y="255898"/>
                  </a:lnTo>
                  <a:cubicBezTo>
                    <a:pt x="215657" y="255888"/>
                    <a:pt x="222066" y="262304"/>
                    <a:pt x="222066" y="270216"/>
                  </a:cubicBezTo>
                  <a:lnTo>
                    <a:pt x="222066" y="270225"/>
                  </a:lnTo>
                  <a:cubicBezTo>
                    <a:pt x="222066" y="273490"/>
                    <a:pt x="220975" y="276500"/>
                    <a:pt x="219138" y="278957"/>
                  </a:cubicBezTo>
                  <a:lnTo>
                    <a:pt x="219128" y="278971"/>
                  </a:lnTo>
                  <a:cubicBezTo>
                    <a:pt x="207173" y="297080"/>
                    <a:pt x="199809" y="320351"/>
                    <a:pt x="199809" y="346627"/>
                  </a:cubicBezTo>
                  <a:cubicBezTo>
                    <a:pt x="199809" y="373279"/>
                    <a:pt x="207412" y="396855"/>
                    <a:pt x="219671" y="415092"/>
                  </a:cubicBezTo>
                  <a:lnTo>
                    <a:pt x="219677" y="415101"/>
                  </a:lnTo>
                  <a:cubicBezTo>
                    <a:pt x="221191" y="417375"/>
                    <a:pt x="222067" y="420095"/>
                    <a:pt x="222067" y="423031"/>
                  </a:cubicBezTo>
                  <a:lnTo>
                    <a:pt x="222067" y="423040"/>
                  </a:lnTo>
                  <a:cubicBezTo>
                    <a:pt x="222067" y="430957"/>
                    <a:pt x="215648" y="437376"/>
                    <a:pt x="207730" y="437376"/>
                  </a:cubicBezTo>
                  <a:cubicBezTo>
                    <a:pt x="202293" y="437376"/>
                    <a:pt x="197562" y="434349"/>
                    <a:pt x="195132" y="429898"/>
                  </a:cubicBezTo>
                  <a:lnTo>
                    <a:pt x="195130" y="429895"/>
                  </a:lnTo>
                  <a:cubicBezTo>
                    <a:pt x="179928" y="406521"/>
                    <a:pt x="171135" y="377369"/>
                    <a:pt x="171135" y="346627"/>
                  </a:cubicBezTo>
                  <a:cubicBezTo>
                    <a:pt x="171135" y="316124"/>
                    <a:pt x="179827" y="287195"/>
                    <a:pt x="194810" y="263929"/>
                  </a:cubicBezTo>
                  <a:lnTo>
                    <a:pt x="194813" y="263925"/>
                  </a:lnTo>
                  <a:cubicBezTo>
                    <a:pt x="197131" y="259189"/>
                    <a:pt x="202015" y="255916"/>
                    <a:pt x="207634" y="255916"/>
                  </a:cubicBezTo>
                  <a:cubicBezTo>
                    <a:pt x="207666" y="255916"/>
                    <a:pt x="207698" y="255916"/>
                    <a:pt x="207729" y="255916"/>
                  </a:cubicBezTo>
                  <a:lnTo>
                    <a:pt x="207729" y="255907"/>
                  </a:lnTo>
                  <a:lnTo>
                    <a:pt x="207729" y="255898"/>
                  </a:lnTo>
                  <a:lnTo>
                    <a:pt x="207729" y="255888"/>
                  </a:lnTo>
                  <a:cubicBezTo>
                    <a:pt x="207735" y="255888"/>
                    <a:pt x="207741" y="255888"/>
                    <a:pt x="207747" y="255888"/>
                  </a:cubicBezTo>
                  <a:lnTo>
                    <a:pt x="207747" y="255898"/>
                  </a:lnTo>
                  <a:close/>
                  <a:moveTo>
                    <a:pt x="364445" y="255888"/>
                  </a:moveTo>
                  <a:lnTo>
                    <a:pt x="364445" y="255898"/>
                  </a:lnTo>
                  <a:cubicBezTo>
                    <a:pt x="370094" y="255888"/>
                    <a:pt x="375000" y="259132"/>
                    <a:pt x="377328" y="263897"/>
                  </a:cubicBezTo>
                  <a:lnTo>
                    <a:pt x="377340" y="263920"/>
                  </a:lnTo>
                  <a:cubicBezTo>
                    <a:pt x="392323" y="287195"/>
                    <a:pt x="401015" y="316124"/>
                    <a:pt x="401015" y="346627"/>
                  </a:cubicBezTo>
                  <a:cubicBezTo>
                    <a:pt x="401015" y="377369"/>
                    <a:pt x="392212" y="406487"/>
                    <a:pt x="377010" y="429907"/>
                  </a:cubicBezTo>
                  <a:lnTo>
                    <a:pt x="376998" y="429926"/>
                  </a:lnTo>
                  <a:cubicBezTo>
                    <a:pt x="374561" y="434365"/>
                    <a:pt x="369842" y="437376"/>
                    <a:pt x="364420" y="437376"/>
                  </a:cubicBezTo>
                  <a:cubicBezTo>
                    <a:pt x="356502" y="437376"/>
                    <a:pt x="350083" y="430957"/>
                    <a:pt x="350083" y="423040"/>
                  </a:cubicBezTo>
                  <a:lnTo>
                    <a:pt x="350083" y="423031"/>
                  </a:lnTo>
                  <a:cubicBezTo>
                    <a:pt x="350083" y="420091"/>
                    <a:pt x="350966" y="417348"/>
                    <a:pt x="352484" y="415083"/>
                  </a:cubicBezTo>
                  <a:lnTo>
                    <a:pt x="352498" y="415063"/>
                  </a:lnTo>
                  <a:cubicBezTo>
                    <a:pt x="364757" y="396845"/>
                    <a:pt x="372341" y="373279"/>
                    <a:pt x="372341" y="346627"/>
                  </a:cubicBezTo>
                  <a:cubicBezTo>
                    <a:pt x="372341" y="320333"/>
                    <a:pt x="364946" y="297023"/>
                    <a:pt x="352978" y="278920"/>
                  </a:cubicBezTo>
                  <a:lnTo>
                    <a:pt x="352966" y="278905"/>
                  </a:lnTo>
                  <a:cubicBezTo>
                    <a:pt x="351128" y="276494"/>
                    <a:pt x="350084" y="273490"/>
                    <a:pt x="350084" y="270225"/>
                  </a:cubicBezTo>
                  <a:lnTo>
                    <a:pt x="350084" y="270216"/>
                  </a:lnTo>
                  <a:cubicBezTo>
                    <a:pt x="350084" y="262321"/>
                    <a:pt x="356465" y="255916"/>
                    <a:pt x="364352" y="255916"/>
                  </a:cubicBezTo>
                  <a:lnTo>
                    <a:pt x="364421" y="255926"/>
                  </a:lnTo>
                  <a:lnTo>
                    <a:pt x="364421" y="255907"/>
                  </a:lnTo>
                  <a:lnTo>
                    <a:pt x="364421" y="255898"/>
                  </a:lnTo>
                  <a:lnTo>
                    <a:pt x="364421" y="255888"/>
                  </a:lnTo>
                  <a:cubicBezTo>
                    <a:pt x="364429" y="255888"/>
                    <a:pt x="364437" y="255888"/>
                    <a:pt x="364445" y="255888"/>
                  </a:cubicBezTo>
                  <a:lnTo>
                    <a:pt x="364445" y="255898"/>
                  </a:lnTo>
                  <a:close/>
                  <a:moveTo>
                    <a:pt x="286092" y="247767"/>
                  </a:moveTo>
                  <a:lnTo>
                    <a:pt x="286092" y="247777"/>
                  </a:lnTo>
                  <a:cubicBezTo>
                    <a:pt x="290743" y="247767"/>
                    <a:pt x="294509" y="251540"/>
                    <a:pt x="294509" y="256192"/>
                  </a:cubicBezTo>
                  <a:lnTo>
                    <a:pt x="294509" y="263388"/>
                  </a:lnTo>
                  <a:lnTo>
                    <a:pt x="294544" y="263379"/>
                  </a:lnTo>
                  <a:cubicBezTo>
                    <a:pt x="313472" y="266673"/>
                    <a:pt x="328684" y="280772"/>
                    <a:pt x="333565" y="299178"/>
                  </a:cubicBezTo>
                  <a:lnTo>
                    <a:pt x="333569" y="299190"/>
                  </a:lnTo>
                  <a:cubicBezTo>
                    <a:pt x="335548" y="306805"/>
                    <a:pt x="331016" y="314601"/>
                    <a:pt x="323403" y="316643"/>
                  </a:cubicBezTo>
                  <a:lnTo>
                    <a:pt x="323394" y="316646"/>
                  </a:lnTo>
                  <a:cubicBezTo>
                    <a:pt x="322152" y="316978"/>
                    <a:pt x="320904" y="317137"/>
                    <a:pt x="319677" y="317137"/>
                  </a:cubicBezTo>
                  <a:cubicBezTo>
                    <a:pt x="313389" y="317137"/>
                    <a:pt x="307631" y="312970"/>
                    <a:pt x="305871" y="306647"/>
                  </a:cubicBezTo>
                  <a:lnTo>
                    <a:pt x="305866" y="306628"/>
                  </a:lnTo>
                  <a:cubicBezTo>
                    <a:pt x="304303" y="300618"/>
                    <a:pt x="300097" y="295689"/>
                    <a:pt x="294544" y="293167"/>
                  </a:cubicBezTo>
                  <a:lnTo>
                    <a:pt x="294544" y="333022"/>
                  </a:lnTo>
                  <a:cubicBezTo>
                    <a:pt x="317649" y="337042"/>
                    <a:pt x="335216" y="357195"/>
                    <a:pt x="335216" y="381450"/>
                  </a:cubicBezTo>
                  <a:cubicBezTo>
                    <a:pt x="335216" y="405725"/>
                    <a:pt x="317623" y="425889"/>
                    <a:pt x="294492" y="429953"/>
                  </a:cubicBezTo>
                  <a:lnTo>
                    <a:pt x="294510" y="437066"/>
                  </a:lnTo>
                  <a:cubicBezTo>
                    <a:pt x="294510" y="441724"/>
                    <a:pt x="290734" y="445500"/>
                    <a:pt x="286076" y="445500"/>
                  </a:cubicBezTo>
                  <a:cubicBezTo>
                    <a:pt x="281417" y="445500"/>
                    <a:pt x="277641" y="441724"/>
                    <a:pt x="277641" y="437066"/>
                  </a:cubicBezTo>
                  <a:lnTo>
                    <a:pt x="277676" y="429898"/>
                  </a:lnTo>
                  <a:cubicBezTo>
                    <a:pt x="258665" y="426633"/>
                    <a:pt x="243386" y="412452"/>
                    <a:pt x="238524" y="394045"/>
                  </a:cubicBezTo>
                  <a:lnTo>
                    <a:pt x="238522" y="394038"/>
                  </a:lnTo>
                  <a:cubicBezTo>
                    <a:pt x="236566" y="386435"/>
                    <a:pt x="241110" y="378651"/>
                    <a:pt x="248712" y="376614"/>
                  </a:cubicBezTo>
                  <a:lnTo>
                    <a:pt x="248721" y="376612"/>
                  </a:lnTo>
                  <a:cubicBezTo>
                    <a:pt x="249964" y="376279"/>
                    <a:pt x="251213" y="376119"/>
                    <a:pt x="252441" y="376119"/>
                  </a:cubicBezTo>
                  <a:cubicBezTo>
                    <a:pt x="258771" y="376119"/>
                    <a:pt x="264581" y="380340"/>
                    <a:pt x="266279" y="386749"/>
                  </a:cubicBezTo>
                  <a:cubicBezTo>
                    <a:pt x="266358" y="387048"/>
                    <a:pt x="266524" y="387640"/>
                    <a:pt x="266524" y="387640"/>
                  </a:cubicBezTo>
                  <a:cubicBezTo>
                    <a:pt x="268270" y="393220"/>
                    <a:pt x="272372" y="397755"/>
                    <a:pt x="277641" y="400133"/>
                  </a:cubicBezTo>
                  <a:lnTo>
                    <a:pt x="277527" y="360244"/>
                  </a:lnTo>
                  <a:cubicBezTo>
                    <a:pt x="254369" y="356267"/>
                    <a:pt x="236898" y="336101"/>
                    <a:pt x="236898" y="311807"/>
                  </a:cubicBezTo>
                  <a:cubicBezTo>
                    <a:pt x="236898" y="287539"/>
                    <a:pt x="254484" y="267378"/>
                    <a:pt x="277607" y="263381"/>
                  </a:cubicBezTo>
                  <a:lnTo>
                    <a:pt x="277641" y="263372"/>
                  </a:lnTo>
                  <a:lnTo>
                    <a:pt x="277641" y="256192"/>
                  </a:lnTo>
                  <a:cubicBezTo>
                    <a:pt x="277641" y="251557"/>
                    <a:pt x="281380" y="247795"/>
                    <a:pt x="286007" y="247795"/>
                  </a:cubicBezTo>
                  <a:lnTo>
                    <a:pt x="286075" y="247805"/>
                  </a:lnTo>
                  <a:lnTo>
                    <a:pt x="286075" y="247786"/>
                  </a:lnTo>
                  <a:lnTo>
                    <a:pt x="286075" y="247777"/>
                  </a:lnTo>
                  <a:lnTo>
                    <a:pt x="286075" y="247767"/>
                  </a:lnTo>
                  <a:cubicBezTo>
                    <a:pt x="286081" y="247767"/>
                    <a:pt x="286087" y="247767"/>
                    <a:pt x="286092" y="247767"/>
                  </a:cubicBezTo>
                  <a:lnTo>
                    <a:pt x="286092" y="247777"/>
                  </a:lnTo>
                  <a:close/>
                  <a:moveTo>
                    <a:pt x="115203" y="243582"/>
                  </a:moveTo>
                  <a:lnTo>
                    <a:pt x="115203" y="243591"/>
                  </a:lnTo>
                  <a:lnTo>
                    <a:pt x="115169" y="247281"/>
                  </a:lnTo>
                  <a:cubicBezTo>
                    <a:pt x="115169" y="265170"/>
                    <a:pt x="100666" y="279671"/>
                    <a:pt x="82778" y="279671"/>
                  </a:cubicBezTo>
                  <a:lnTo>
                    <a:pt x="79059" y="279673"/>
                  </a:lnTo>
                  <a:lnTo>
                    <a:pt x="79059" y="413576"/>
                  </a:lnTo>
                  <a:lnTo>
                    <a:pt x="79059" y="413585"/>
                  </a:lnTo>
                  <a:lnTo>
                    <a:pt x="82778" y="413587"/>
                  </a:lnTo>
                  <a:cubicBezTo>
                    <a:pt x="100667" y="413587"/>
                    <a:pt x="115169" y="428088"/>
                    <a:pt x="115169" y="445977"/>
                  </a:cubicBezTo>
                  <a:cubicBezTo>
                    <a:pt x="115169" y="446020"/>
                    <a:pt x="115167" y="449695"/>
                    <a:pt x="115167" y="449695"/>
                  </a:cubicBezTo>
                  <a:lnTo>
                    <a:pt x="456983" y="449685"/>
                  </a:lnTo>
                  <a:cubicBezTo>
                    <a:pt x="456982" y="446020"/>
                    <a:pt x="456982" y="445977"/>
                    <a:pt x="456982" y="445977"/>
                  </a:cubicBezTo>
                  <a:cubicBezTo>
                    <a:pt x="456982" y="428088"/>
                    <a:pt x="471484" y="413587"/>
                    <a:pt x="489372" y="413587"/>
                  </a:cubicBezTo>
                  <a:lnTo>
                    <a:pt x="493091" y="413576"/>
                  </a:lnTo>
                  <a:lnTo>
                    <a:pt x="493091" y="279682"/>
                  </a:lnTo>
                  <a:lnTo>
                    <a:pt x="493091" y="279673"/>
                  </a:lnTo>
                  <a:lnTo>
                    <a:pt x="489372" y="279671"/>
                  </a:lnTo>
                  <a:cubicBezTo>
                    <a:pt x="471484" y="279671"/>
                    <a:pt x="456982" y="265170"/>
                    <a:pt x="456982" y="247281"/>
                  </a:cubicBezTo>
                  <a:lnTo>
                    <a:pt x="456983" y="243600"/>
                  </a:lnTo>
                  <a:lnTo>
                    <a:pt x="456983" y="243591"/>
                  </a:lnTo>
                  <a:lnTo>
                    <a:pt x="456983" y="243582"/>
                  </a:lnTo>
                  <a:lnTo>
                    <a:pt x="115203" y="243572"/>
                  </a:lnTo>
                  <a:close/>
                  <a:moveTo>
                    <a:pt x="471330" y="214900"/>
                  </a:moveTo>
                  <a:cubicBezTo>
                    <a:pt x="471330" y="214900"/>
                    <a:pt x="471336" y="214900"/>
                    <a:pt x="471336" y="214900"/>
                  </a:cubicBezTo>
                  <a:cubicBezTo>
                    <a:pt x="479243" y="214900"/>
                    <a:pt x="485651" y="221313"/>
                    <a:pt x="485652" y="229224"/>
                  </a:cubicBezTo>
                  <a:cubicBezTo>
                    <a:pt x="485656" y="247267"/>
                    <a:pt x="485656" y="247281"/>
                    <a:pt x="485656" y="247281"/>
                  </a:cubicBezTo>
                  <a:cubicBezTo>
                    <a:pt x="485656" y="249312"/>
                    <a:pt x="487285" y="250961"/>
                    <a:pt x="489306" y="251006"/>
                  </a:cubicBezTo>
                  <a:lnTo>
                    <a:pt x="507429" y="250996"/>
                  </a:lnTo>
                  <a:cubicBezTo>
                    <a:pt x="515345" y="250996"/>
                    <a:pt x="521759" y="257377"/>
                    <a:pt x="521759" y="265302"/>
                  </a:cubicBezTo>
                  <a:lnTo>
                    <a:pt x="521759" y="427956"/>
                  </a:lnTo>
                  <a:cubicBezTo>
                    <a:pt x="521759" y="435882"/>
                    <a:pt x="515344" y="442262"/>
                    <a:pt x="507428" y="442262"/>
                  </a:cubicBezTo>
                  <a:lnTo>
                    <a:pt x="489306" y="442252"/>
                  </a:lnTo>
                  <a:cubicBezTo>
                    <a:pt x="487285" y="442296"/>
                    <a:pt x="485656" y="443946"/>
                    <a:pt x="485656" y="445977"/>
                  </a:cubicBezTo>
                  <a:cubicBezTo>
                    <a:pt x="485656" y="445990"/>
                    <a:pt x="485652" y="464034"/>
                    <a:pt x="485652" y="464034"/>
                  </a:cubicBezTo>
                  <a:cubicBezTo>
                    <a:pt x="485651" y="471951"/>
                    <a:pt x="479234" y="478367"/>
                    <a:pt x="471319" y="478377"/>
                  </a:cubicBezTo>
                  <a:lnTo>
                    <a:pt x="100832" y="478367"/>
                  </a:lnTo>
                  <a:cubicBezTo>
                    <a:pt x="92917" y="478367"/>
                    <a:pt x="86500" y="471951"/>
                    <a:pt x="86499" y="464034"/>
                  </a:cubicBezTo>
                  <a:cubicBezTo>
                    <a:pt x="86495" y="445990"/>
                    <a:pt x="86495" y="445977"/>
                    <a:pt x="86495" y="445977"/>
                  </a:cubicBezTo>
                  <a:cubicBezTo>
                    <a:pt x="86495" y="443946"/>
                    <a:pt x="84866" y="442296"/>
                    <a:pt x="82845" y="442252"/>
                  </a:cubicBezTo>
                  <a:lnTo>
                    <a:pt x="64723" y="442262"/>
                  </a:lnTo>
                  <a:cubicBezTo>
                    <a:pt x="56806" y="442262"/>
                    <a:pt x="50392" y="435882"/>
                    <a:pt x="50391" y="427956"/>
                  </a:cubicBezTo>
                  <a:lnTo>
                    <a:pt x="50391" y="265302"/>
                  </a:lnTo>
                  <a:cubicBezTo>
                    <a:pt x="50392" y="257377"/>
                    <a:pt x="56806" y="250996"/>
                    <a:pt x="64722" y="250996"/>
                  </a:cubicBezTo>
                  <a:lnTo>
                    <a:pt x="82844" y="251006"/>
                  </a:lnTo>
                  <a:cubicBezTo>
                    <a:pt x="84866" y="250961"/>
                    <a:pt x="86494" y="249312"/>
                    <a:pt x="86495" y="247281"/>
                  </a:cubicBezTo>
                  <a:cubicBezTo>
                    <a:pt x="86495" y="247267"/>
                    <a:pt x="86498" y="229224"/>
                    <a:pt x="86498" y="229224"/>
                  </a:cubicBezTo>
                  <a:cubicBezTo>
                    <a:pt x="86500" y="221318"/>
                    <a:pt x="92895" y="214900"/>
                    <a:pt x="100794" y="214900"/>
                  </a:cubicBezTo>
                  <a:close/>
                  <a:moveTo>
                    <a:pt x="40931" y="165252"/>
                  </a:moveTo>
                  <a:cubicBezTo>
                    <a:pt x="40931" y="165252"/>
                    <a:pt x="40409" y="165260"/>
                    <a:pt x="40409" y="165260"/>
                  </a:cubicBezTo>
                  <a:cubicBezTo>
                    <a:pt x="18105" y="165607"/>
                    <a:pt x="121" y="183738"/>
                    <a:pt x="0" y="206107"/>
                  </a:cubicBezTo>
                  <a:lnTo>
                    <a:pt x="0" y="487164"/>
                  </a:lnTo>
                  <a:cubicBezTo>
                    <a:pt x="124" y="509583"/>
                    <a:pt x="18206" y="527748"/>
                    <a:pt x="40593" y="528007"/>
                  </a:cubicBezTo>
                  <a:lnTo>
                    <a:pt x="531540" y="528020"/>
                  </a:lnTo>
                  <a:cubicBezTo>
                    <a:pt x="553894" y="527761"/>
                    <a:pt x="571959" y="509755"/>
                    <a:pt x="572149" y="487377"/>
                  </a:cubicBezTo>
                  <a:lnTo>
                    <a:pt x="572151" y="206182"/>
                  </a:lnTo>
                  <a:cubicBezTo>
                    <a:pt x="572064" y="183706"/>
                    <a:pt x="553967" y="165501"/>
                    <a:pt x="531548" y="165250"/>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153" name="Agrupar 152">
            <a:extLst>
              <a:ext uri="{FF2B5EF4-FFF2-40B4-BE49-F238E27FC236}">
                <a16:creationId xmlns:a16="http://schemas.microsoft.com/office/drawing/2014/main" id="{1BEF54F7-FC96-B0EF-B888-84DB71A726FA}"/>
              </a:ext>
            </a:extLst>
          </p:cNvPr>
          <p:cNvGrpSpPr/>
          <p:nvPr>
            <p:custDataLst>
              <p:tags r:id="rId19"/>
            </p:custDataLst>
          </p:nvPr>
        </p:nvGrpSpPr>
        <p:grpSpPr>
          <a:xfrm>
            <a:off x="3078644" y="2446563"/>
            <a:ext cx="447397" cy="446374"/>
            <a:chOff x="3078644" y="3017779"/>
            <a:chExt cx="447397" cy="446374"/>
          </a:xfrm>
        </p:grpSpPr>
        <p:sp>
          <p:nvSpPr>
            <p:cNvPr id="43" name="Elipse 42">
              <a:extLst>
                <a:ext uri="{FF2B5EF4-FFF2-40B4-BE49-F238E27FC236}">
                  <a16:creationId xmlns:a16="http://schemas.microsoft.com/office/drawing/2014/main" id="{CC317F07-9C69-486E-5984-BCAF7D7A2312}"/>
                </a:ext>
              </a:extLst>
            </p:cNvPr>
            <p:cNvSpPr/>
            <p:nvPr>
              <p:custDataLst>
                <p:tags r:id="rId21"/>
              </p:custDataLst>
            </p:nvPr>
          </p:nvSpPr>
          <p:spPr>
            <a:xfrm>
              <a:off x="3078644" y="3017779"/>
              <a:ext cx="447397" cy="44637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48" name="Gráfico 145">
              <a:extLst>
                <a:ext uri="{FF2B5EF4-FFF2-40B4-BE49-F238E27FC236}">
                  <a16:creationId xmlns:a16="http://schemas.microsoft.com/office/drawing/2014/main" id="{56C5BAB4-B539-8323-58A4-E70C3043E861}"/>
                </a:ext>
              </a:extLst>
            </p:cNvPr>
            <p:cNvGrpSpPr/>
            <p:nvPr>
              <p:custDataLst>
                <p:tags r:id="rId22"/>
              </p:custDataLst>
            </p:nvPr>
          </p:nvGrpSpPr>
          <p:grpSpPr>
            <a:xfrm>
              <a:off x="3161872" y="3117486"/>
              <a:ext cx="273462" cy="246438"/>
              <a:chOff x="7760237" y="2343280"/>
              <a:chExt cx="903832" cy="814514"/>
            </a:xfrm>
            <a:solidFill>
              <a:srgbClr val="000000"/>
            </a:solidFill>
          </p:grpSpPr>
          <p:sp>
            <p:nvSpPr>
              <p:cNvPr id="149" name="Forma Livre: Forma 148">
                <a:extLst>
                  <a:ext uri="{FF2B5EF4-FFF2-40B4-BE49-F238E27FC236}">
                    <a16:creationId xmlns:a16="http://schemas.microsoft.com/office/drawing/2014/main" id="{869594C8-F984-59E3-26FE-6EA629932510}"/>
                  </a:ext>
                </a:extLst>
              </p:cNvPr>
              <p:cNvSpPr/>
              <p:nvPr>
                <p:custDataLst>
                  <p:tags r:id="rId23"/>
                </p:custDataLst>
              </p:nvPr>
            </p:nvSpPr>
            <p:spPr>
              <a:xfrm>
                <a:off x="7934010" y="2343280"/>
                <a:ext cx="730059" cy="451067"/>
              </a:xfrm>
              <a:custGeom>
                <a:avLst/>
                <a:gdLst>
                  <a:gd name="connsiteX0" fmla="*/ 704432 w 730059"/>
                  <a:gd name="connsiteY0" fmla="*/ 43397 h 451067"/>
                  <a:gd name="connsiteX1" fmla="*/ 464402 w 730059"/>
                  <a:gd name="connsiteY1" fmla="*/ 73877 h 451067"/>
                  <a:gd name="connsiteX2" fmla="*/ 399632 w 730059"/>
                  <a:gd name="connsiteY2" fmla="*/ 191035 h 451067"/>
                  <a:gd name="connsiteX3" fmla="*/ 547270 w 730059"/>
                  <a:gd name="connsiteY3" fmla="*/ 153887 h 451067"/>
                  <a:gd name="connsiteX4" fmla="*/ 309145 w 730059"/>
                  <a:gd name="connsiteY4" fmla="*/ 332957 h 451067"/>
                  <a:gd name="connsiteX5" fmla="*/ 151030 w 730059"/>
                  <a:gd name="connsiteY5" fmla="*/ 143410 h 451067"/>
                  <a:gd name="connsiteX6" fmla="*/ 292000 w 730059"/>
                  <a:gd name="connsiteY6" fmla="*/ 217705 h 451067"/>
                  <a:gd name="connsiteX7" fmla="*/ 258662 w 730059"/>
                  <a:gd name="connsiteY7" fmla="*/ 89117 h 451067"/>
                  <a:gd name="connsiteX8" fmla="*/ 32920 w 730059"/>
                  <a:gd name="connsiteY8" fmla="*/ 535 h 451067"/>
                  <a:gd name="connsiteX9" fmla="*/ 535 w 730059"/>
                  <a:gd name="connsiteY9" fmla="*/ 32920 h 451067"/>
                  <a:gd name="connsiteX10" fmla="*/ 91022 w 730059"/>
                  <a:gd name="connsiteY10" fmla="*/ 257710 h 451067"/>
                  <a:gd name="connsiteX11" fmla="*/ 224372 w 730059"/>
                  <a:gd name="connsiteY11" fmla="*/ 288190 h 451067"/>
                  <a:gd name="connsiteX12" fmla="*/ 282475 w 730059"/>
                  <a:gd name="connsiteY12" fmla="*/ 451067 h 451067"/>
                  <a:gd name="connsiteX13" fmla="*/ 299620 w 730059"/>
                  <a:gd name="connsiteY13" fmla="*/ 451067 h 451067"/>
                  <a:gd name="connsiteX14" fmla="*/ 334862 w 730059"/>
                  <a:gd name="connsiteY14" fmla="*/ 449162 h 451067"/>
                  <a:gd name="connsiteX15" fmla="*/ 327242 w 730059"/>
                  <a:gd name="connsiteY15" fmla="*/ 393917 h 451067"/>
                  <a:gd name="connsiteX16" fmla="*/ 447257 w 730059"/>
                  <a:gd name="connsiteY16" fmla="*/ 274855 h 451067"/>
                  <a:gd name="connsiteX17" fmla="*/ 584417 w 730059"/>
                  <a:gd name="connsiteY17" fmla="*/ 278665 h 451067"/>
                  <a:gd name="connsiteX18" fmla="*/ 727292 w 730059"/>
                  <a:gd name="connsiteY18" fmla="*/ 83402 h 451067"/>
                  <a:gd name="connsiteX19" fmla="*/ 704432 w 730059"/>
                  <a:gd name="connsiteY19" fmla="*/ 43397 h 45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30059" h="451067">
                    <a:moveTo>
                      <a:pt x="704432" y="43397"/>
                    </a:moveTo>
                    <a:cubicBezTo>
                      <a:pt x="640615" y="40540"/>
                      <a:pt x="519647" y="41492"/>
                      <a:pt x="464402" y="73877"/>
                    </a:cubicBezTo>
                    <a:cubicBezTo>
                      <a:pt x="409157" y="106262"/>
                      <a:pt x="392012" y="148172"/>
                      <a:pt x="399632" y="191035"/>
                    </a:cubicBezTo>
                    <a:cubicBezTo>
                      <a:pt x="426302" y="179605"/>
                      <a:pt x="486310" y="154840"/>
                      <a:pt x="547270" y="153887"/>
                    </a:cubicBezTo>
                    <a:cubicBezTo>
                      <a:pt x="493930" y="176747"/>
                      <a:pt x="397727" y="229135"/>
                      <a:pt x="309145" y="332957"/>
                    </a:cubicBezTo>
                    <a:cubicBezTo>
                      <a:pt x="270092" y="236755"/>
                      <a:pt x="196750" y="174842"/>
                      <a:pt x="151030" y="143410"/>
                    </a:cubicBezTo>
                    <a:cubicBezTo>
                      <a:pt x="211990" y="157697"/>
                      <a:pt x="268187" y="198655"/>
                      <a:pt x="292000" y="217705"/>
                    </a:cubicBezTo>
                    <a:cubicBezTo>
                      <a:pt x="310097" y="178652"/>
                      <a:pt x="304382" y="133885"/>
                      <a:pt x="258662" y="89117"/>
                    </a:cubicBezTo>
                    <a:cubicBezTo>
                      <a:pt x="212942" y="44350"/>
                      <a:pt x="95785" y="13870"/>
                      <a:pt x="32920" y="535"/>
                    </a:cubicBezTo>
                    <a:cubicBezTo>
                      <a:pt x="13870" y="-3275"/>
                      <a:pt x="-3275" y="13870"/>
                      <a:pt x="535" y="32920"/>
                    </a:cubicBezTo>
                    <a:cubicBezTo>
                      <a:pt x="13870" y="94832"/>
                      <a:pt x="45302" y="211990"/>
                      <a:pt x="91022" y="257710"/>
                    </a:cubicBezTo>
                    <a:cubicBezTo>
                      <a:pt x="138647" y="304382"/>
                      <a:pt x="185320" y="309145"/>
                      <a:pt x="224372" y="288190"/>
                    </a:cubicBezTo>
                    <a:cubicBezTo>
                      <a:pt x="253900" y="330100"/>
                      <a:pt x="277712" y="384392"/>
                      <a:pt x="282475" y="451067"/>
                    </a:cubicBezTo>
                    <a:cubicBezTo>
                      <a:pt x="289142" y="451067"/>
                      <a:pt x="294857" y="451067"/>
                      <a:pt x="299620" y="451067"/>
                    </a:cubicBezTo>
                    <a:cubicBezTo>
                      <a:pt x="312002" y="451067"/>
                      <a:pt x="322480" y="450115"/>
                      <a:pt x="334862" y="449162"/>
                    </a:cubicBezTo>
                    <a:cubicBezTo>
                      <a:pt x="333910" y="430112"/>
                      <a:pt x="331052" y="411062"/>
                      <a:pt x="327242" y="393917"/>
                    </a:cubicBezTo>
                    <a:cubicBezTo>
                      <a:pt x="366295" y="343435"/>
                      <a:pt x="408205" y="304382"/>
                      <a:pt x="447257" y="274855"/>
                    </a:cubicBezTo>
                    <a:cubicBezTo>
                      <a:pt x="480595" y="305335"/>
                      <a:pt x="527267" y="312955"/>
                      <a:pt x="584417" y="278665"/>
                    </a:cubicBezTo>
                    <a:cubicBezTo>
                      <a:pt x="639662" y="246280"/>
                      <a:pt x="698717" y="139600"/>
                      <a:pt x="727292" y="83402"/>
                    </a:cubicBezTo>
                    <a:cubicBezTo>
                      <a:pt x="735865" y="65305"/>
                      <a:pt x="723482" y="44350"/>
                      <a:pt x="704432" y="43397"/>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0" name="Forma Livre: Forma 149">
                <a:extLst>
                  <a:ext uri="{FF2B5EF4-FFF2-40B4-BE49-F238E27FC236}">
                    <a16:creationId xmlns:a16="http://schemas.microsoft.com/office/drawing/2014/main" id="{4B034F76-93E6-D695-0D2E-A91C77BC4B54}"/>
                  </a:ext>
                </a:extLst>
              </p:cNvPr>
              <p:cNvSpPr/>
              <p:nvPr>
                <p:custDataLst>
                  <p:tags r:id="rId24"/>
                </p:custDataLst>
              </p:nvPr>
            </p:nvSpPr>
            <p:spPr>
              <a:xfrm>
                <a:off x="7760237" y="2816290"/>
                <a:ext cx="870527" cy="341504"/>
              </a:xfrm>
              <a:custGeom>
                <a:avLst/>
                <a:gdLst>
                  <a:gd name="connsiteX0" fmla="*/ 817245 w 870527"/>
                  <a:gd name="connsiteY0" fmla="*/ 61878 h 341504"/>
                  <a:gd name="connsiteX1" fmla="*/ 712470 w 870527"/>
                  <a:gd name="connsiteY1" fmla="*/ 74260 h 341504"/>
                  <a:gd name="connsiteX2" fmla="*/ 712470 w 870527"/>
                  <a:gd name="connsiteY2" fmla="*/ 79023 h 341504"/>
                  <a:gd name="connsiteX3" fmla="*/ 671513 w 870527"/>
                  <a:gd name="connsiteY3" fmla="*/ 133315 h 341504"/>
                  <a:gd name="connsiteX4" fmla="*/ 514350 w 870527"/>
                  <a:gd name="connsiteY4" fmla="*/ 172368 h 341504"/>
                  <a:gd name="connsiteX5" fmla="*/ 509588 w 870527"/>
                  <a:gd name="connsiteY5" fmla="*/ 172368 h 341504"/>
                  <a:gd name="connsiteX6" fmla="*/ 509588 w 870527"/>
                  <a:gd name="connsiteY6" fmla="*/ 172368 h 341504"/>
                  <a:gd name="connsiteX7" fmla="*/ 388620 w 870527"/>
                  <a:gd name="connsiteY7" fmla="*/ 169510 h 341504"/>
                  <a:gd name="connsiteX8" fmla="*/ 366713 w 870527"/>
                  <a:gd name="connsiteY8" fmla="*/ 146650 h 341504"/>
                  <a:gd name="connsiteX9" fmla="*/ 389573 w 870527"/>
                  <a:gd name="connsiteY9" fmla="*/ 124743 h 341504"/>
                  <a:gd name="connsiteX10" fmla="*/ 502920 w 870527"/>
                  <a:gd name="connsiteY10" fmla="*/ 127600 h 341504"/>
                  <a:gd name="connsiteX11" fmla="*/ 513398 w 870527"/>
                  <a:gd name="connsiteY11" fmla="*/ 126648 h 341504"/>
                  <a:gd name="connsiteX12" fmla="*/ 654368 w 870527"/>
                  <a:gd name="connsiteY12" fmla="*/ 92358 h 341504"/>
                  <a:gd name="connsiteX13" fmla="*/ 669608 w 870527"/>
                  <a:gd name="connsiteY13" fmla="*/ 74260 h 341504"/>
                  <a:gd name="connsiteX14" fmla="*/ 645795 w 870527"/>
                  <a:gd name="connsiteY14" fmla="*/ 19968 h 341504"/>
                  <a:gd name="connsiteX15" fmla="*/ 541973 w 870527"/>
                  <a:gd name="connsiteY15" fmla="*/ 18063 h 341504"/>
                  <a:gd name="connsiteX16" fmla="*/ 447675 w 870527"/>
                  <a:gd name="connsiteY16" fmla="*/ 20920 h 341504"/>
                  <a:gd name="connsiteX17" fmla="*/ 374333 w 870527"/>
                  <a:gd name="connsiteY17" fmla="*/ 7585 h 341504"/>
                  <a:gd name="connsiteX18" fmla="*/ 222885 w 870527"/>
                  <a:gd name="connsiteY18" fmla="*/ 16158 h 341504"/>
                  <a:gd name="connsiteX19" fmla="*/ 178118 w 870527"/>
                  <a:gd name="connsiteY19" fmla="*/ 34255 h 341504"/>
                  <a:gd name="connsiteX20" fmla="*/ 84773 w 870527"/>
                  <a:gd name="connsiteY20" fmla="*/ 61878 h 341504"/>
                  <a:gd name="connsiteX21" fmla="*/ 24765 w 870527"/>
                  <a:gd name="connsiteY21" fmla="*/ 73308 h 341504"/>
                  <a:gd name="connsiteX22" fmla="*/ 0 w 870527"/>
                  <a:gd name="connsiteY22" fmla="*/ 102835 h 341504"/>
                  <a:gd name="connsiteX23" fmla="*/ 0 w 870527"/>
                  <a:gd name="connsiteY23" fmla="*/ 274285 h 341504"/>
                  <a:gd name="connsiteX24" fmla="*/ 37148 w 870527"/>
                  <a:gd name="connsiteY24" fmla="*/ 303813 h 341504"/>
                  <a:gd name="connsiteX25" fmla="*/ 98108 w 870527"/>
                  <a:gd name="connsiteY25" fmla="*/ 291430 h 341504"/>
                  <a:gd name="connsiteX26" fmla="*/ 171450 w 870527"/>
                  <a:gd name="connsiteY26" fmla="*/ 291430 h 341504"/>
                  <a:gd name="connsiteX27" fmla="*/ 357188 w 870527"/>
                  <a:gd name="connsiteY27" fmla="*/ 334293 h 341504"/>
                  <a:gd name="connsiteX28" fmla="*/ 484823 w 870527"/>
                  <a:gd name="connsiteY28" fmla="*/ 324768 h 341504"/>
                  <a:gd name="connsiteX29" fmla="*/ 853440 w 870527"/>
                  <a:gd name="connsiteY29" fmla="*/ 148555 h 341504"/>
                  <a:gd name="connsiteX30" fmla="*/ 864870 w 870527"/>
                  <a:gd name="connsiteY30" fmla="*/ 137125 h 341504"/>
                  <a:gd name="connsiteX31" fmla="*/ 817245 w 870527"/>
                  <a:gd name="connsiteY31" fmla="*/ 61878 h 34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70527" h="341504">
                    <a:moveTo>
                      <a:pt x="817245" y="61878"/>
                    </a:moveTo>
                    <a:lnTo>
                      <a:pt x="712470" y="74260"/>
                    </a:lnTo>
                    <a:cubicBezTo>
                      <a:pt x="712470" y="76165"/>
                      <a:pt x="712470" y="77118"/>
                      <a:pt x="712470" y="79023"/>
                    </a:cubicBezTo>
                    <a:cubicBezTo>
                      <a:pt x="709613" y="106645"/>
                      <a:pt x="695325" y="125695"/>
                      <a:pt x="671513" y="133315"/>
                    </a:cubicBezTo>
                    <a:cubicBezTo>
                      <a:pt x="625793" y="147603"/>
                      <a:pt x="519113" y="171415"/>
                      <a:pt x="514350" y="172368"/>
                    </a:cubicBezTo>
                    <a:cubicBezTo>
                      <a:pt x="512445" y="172368"/>
                      <a:pt x="511493" y="172368"/>
                      <a:pt x="509588" y="172368"/>
                    </a:cubicBezTo>
                    <a:cubicBezTo>
                      <a:pt x="509588" y="172368"/>
                      <a:pt x="509588" y="172368"/>
                      <a:pt x="509588" y="172368"/>
                    </a:cubicBezTo>
                    <a:lnTo>
                      <a:pt x="388620" y="169510"/>
                    </a:lnTo>
                    <a:cubicBezTo>
                      <a:pt x="376238" y="169510"/>
                      <a:pt x="366713" y="159033"/>
                      <a:pt x="366713" y="146650"/>
                    </a:cubicBezTo>
                    <a:cubicBezTo>
                      <a:pt x="366713" y="134268"/>
                      <a:pt x="377190" y="123790"/>
                      <a:pt x="389573" y="124743"/>
                    </a:cubicBezTo>
                    <a:lnTo>
                      <a:pt x="502920" y="127600"/>
                    </a:lnTo>
                    <a:cubicBezTo>
                      <a:pt x="506730" y="127600"/>
                      <a:pt x="509588" y="127600"/>
                      <a:pt x="513398" y="126648"/>
                    </a:cubicBezTo>
                    <a:cubicBezTo>
                      <a:pt x="539115" y="120933"/>
                      <a:pt x="617220" y="103788"/>
                      <a:pt x="654368" y="92358"/>
                    </a:cubicBezTo>
                    <a:cubicBezTo>
                      <a:pt x="661988" y="89500"/>
                      <a:pt x="668655" y="87595"/>
                      <a:pt x="669608" y="74260"/>
                    </a:cubicBezTo>
                    <a:cubicBezTo>
                      <a:pt x="671513" y="53305"/>
                      <a:pt x="658178" y="26635"/>
                      <a:pt x="645795" y="19968"/>
                    </a:cubicBezTo>
                    <a:cubicBezTo>
                      <a:pt x="630555" y="11395"/>
                      <a:pt x="583883" y="15205"/>
                      <a:pt x="541973" y="18063"/>
                    </a:cubicBezTo>
                    <a:cubicBezTo>
                      <a:pt x="505778" y="20920"/>
                      <a:pt x="485775" y="23778"/>
                      <a:pt x="447675" y="20920"/>
                    </a:cubicBezTo>
                    <a:cubicBezTo>
                      <a:pt x="425768" y="19968"/>
                      <a:pt x="397193" y="12348"/>
                      <a:pt x="374333" y="7585"/>
                    </a:cubicBezTo>
                    <a:cubicBezTo>
                      <a:pt x="307658" y="-6702"/>
                      <a:pt x="262890" y="918"/>
                      <a:pt x="222885" y="16158"/>
                    </a:cubicBezTo>
                    <a:cubicBezTo>
                      <a:pt x="207645" y="21873"/>
                      <a:pt x="191453" y="28540"/>
                      <a:pt x="178118" y="34255"/>
                    </a:cubicBezTo>
                    <a:cubicBezTo>
                      <a:pt x="147638" y="46638"/>
                      <a:pt x="117158" y="56163"/>
                      <a:pt x="84773" y="61878"/>
                    </a:cubicBezTo>
                    <a:lnTo>
                      <a:pt x="24765" y="73308"/>
                    </a:lnTo>
                    <a:cubicBezTo>
                      <a:pt x="10478" y="76165"/>
                      <a:pt x="0" y="88548"/>
                      <a:pt x="0" y="102835"/>
                    </a:cubicBezTo>
                    <a:lnTo>
                      <a:pt x="0" y="274285"/>
                    </a:lnTo>
                    <a:cubicBezTo>
                      <a:pt x="0" y="293335"/>
                      <a:pt x="18098" y="308576"/>
                      <a:pt x="37148" y="303813"/>
                    </a:cubicBezTo>
                    <a:lnTo>
                      <a:pt x="98108" y="291430"/>
                    </a:lnTo>
                    <a:cubicBezTo>
                      <a:pt x="121920" y="286668"/>
                      <a:pt x="147638" y="286668"/>
                      <a:pt x="171450" y="291430"/>
                    </a:cubicBezTo>
                    <a:lnTo>
                      <a:pt x="357188" y="334293"/>
                    </a:lnTo>
                    <a:cubicBezTo>
                      <a:pt x="399098" y="346676"/>
                      <a:pt x="444818" y="342865"/>
                      <a:pt x="484823" y="324768"/>
                    </a:cubicBezTo>
                    <a:lnTo>
                      <a:pt x="853440" y="148555"/>
                    </a:lnTo>
                    <a:cubicBezTo>
                      <a:pt x="858203" y="145698"/>
                      <a:pt x="862965" y="141888"/>
                      <a:pt x="864870" y="137125"/>
                    </a:cubicBezTo>
                    <a:cubicBezTo>
                      <a:pt x="883920" y="91405"/>
                      <a:pt x="851535" y="58068"/>
                      <a:pt x="817245" y="61878"/>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27" name="CaixaDeTexto 26">
            <a:extLst>
              <a:ext uri="{FF2B5EF4-FFF2-40B4-BE49-F238E27FC236}">
                <a16:creationId xmlns:a16="http://schemas.microsoft.com/office/drawing/2014/main" id="{DFF12318-D205-8FA7-70F4-8A1372D95F02}"/>
              </a:ext>
            </a:extLst>
          </p:cNvPr>
          <p:cNvSpPr txBox="1"/>
          <p:nvPr>
            <p:custDataLst>
              <p:tags r:id="rId20"/>
            </p:custDataLst>
          </p:nvPr>
        </p:nvSpPr>
        <p:spPr>
          <a:xfrm>
            <a:off x="646910" y="154048"/>
            <a:ext cx="1805033"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2" name="Forma Livre: Forma 1">
            <a:extLst>
              <a:ext uri="{FF2B5EF4-FFF2-40B4-BE49-F238E27FC236}">
                <a16:creationId xmlns:a16="http://schemas.microsoft.com/office/drawing/2014/main" id="{3A1E063C-3A02-2ED8-3442-6F6C2003AEAE}"/>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4" name="CaixaDeTexto 3">
            <a:extLst>
              <a:ext uri="{FF2B5EF4-FFF2-40B4-BE49-F238E27FC236}">
                <a16:creationId xmlns:a16="http://schemas.microsoft.com/office/drawing/2014/main" id="{A7B3A162-65D5-3D2F-DA57-66EF7399FF6E}"/>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5" name="Imagem 4" descr="Uma imagem contendo Interface gráfica do usuário&#10;&#10;Descrição gerada automaticamente">
            <a:extLst>
              <a:ext uri="{FF2B5EF4-FFF2-40B4-BE49-F238E27FC236}">
                <a16:creationId xmlns:a16="http://schemas.microsoft.com/office/drawing/2014/main" id="{1C782EF8-C33E-D1A7-B459-1782BD385CF0}"/>
              </a:ext>
            </a:extLst>
          </p:cNvPr>
          <p:cNvPicPr>
            <a:picLocks noChangeAspect="1"/>
          </p:cNvPicPr>
          <p:nvPr/>
        </p:nvPicPr>
        <p:blipFill>
          <a:blip r:embed="rId33"/>
          <a:stretch>
            <a:fillRect/>
          </a:stretch>
        </p:blipFill>
        <p:spPr>
          <a:xfrm>
            <a:off x="8039840" y="60434"/>
            <a:ext cx="920231" cy="509571"/>
          </a:xfrm>
          <a:prstGeom prst="rect">
            <a:avLst/>
          </a:prstGeom>
        </p:spPr>
      </p:pic>
    </p:spTree>
    <p:extLst>
      <p:ext uri="{BB962C8B-B14F-4D97-AF65-F5344CB8AC3E}">
        <p14:creationId xmlns:p14="http://schemas.microsoft.com/office/powerpoint/2010/main" val="1313551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75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35" presetClass="path" presetSubtype="0" accel="17000" decel="83000" fill="hold" grpId="1" nodeType="withEffect">
                                  <p:stCondLst>
                                    <p:cond delay="750"/>
                                  </p:stCondLst>
                                  <p:childTnLst>
                                    <p:animMotion origin="layout" path="M -0.00124 0.04923 L 4.29176E-6 2.48354E-6 " pathEditMode="relative" rAng="0" ptsTypes="AA">
                                      <p:cBhvr>
                                        <p:cTn id="9" dur="1100" fill="hold"/>
                                        <p:tgtEl>
                                          <p:spTgt spid="20"/>
                                        </p:tgtEl>
                                        <p:attrNameLst>
                                          <p:attrName>ppt_x</p:attrName>
                                          <p:attrName>ppt_y</p:attrName>
                                        </p:attrNameLst>
                                      </p:cBhvr>
                                      <p:rCtr x="53" y="-2477"/>
                                    </p:animMotion>
                                  </p:childTnLst>
                                </p:cTn>
                              </p:par>
                              <p:par>
                                <p:cTn id="10" presetID="10" presetClass="entr" presetSubtype="0" fill="hold" grpId="0" nodeType="withEffect">
                                  <p:stCondLst>
                                    <p:cond delay="75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35" presetClass="path" presetSubtype="0" accel="17000" decel="83000" fill="hold" grpId="1" nodeType="withEffect">
                                  <p:stCondLst>
                                    <p:cond delay="750"/>
                                  </p:stCondLst>
                                  <p:childTnLst>
                                    <p:animMotion origin="layout" path="M 0.00053 -0.04484 L -4.42759E-07 -3.80056E-06" pathEditMode="relative" rAng="0" ptsTypes="AA">
                                      <p:cBhvr>
                                        <p:cTn id="14" dur="1100" fill="hold"/>
                                        <p:tgtEl>
                                          <p:spTgt spid="21"/>
                                        </p:tgtEl>
                                        <p:attrNameLst>
                                          <p:attrName>ppt_x</p:attrName>
                                          <p:attrName>ppt_y</p:attrName>
                                        </p:attrNameLst>
                                      </p:cBhvr>
                                      <p:rCtr x="-35" y="2226"/>
                                    </p:animMotion>
                                  </p:childTnLst>
                                </p:cTn>
                              </p:par>
                              <p:par>
                                <p:cTn id="15" presetID="10" presetClass="entr" presetSubtype="0" fill="hold" grpId="0" nodeType="withEffect">
                                  <p:stCondLst>
                                    <p:cond delay="1000"/>
                                  </p:stCondLst>
                                  <p:childTnLst>
                                    <p:set>
                                      <p:cBhvr>
                                        <p:cTn id="16" dur="1" fill="hold">
                                          <p:stCondLst>
                                            <p:cond delay="0"/>
                                          </p:stCondLst>
                                        </p:cTn>
                                        <p:tgtEl>
                                          <p:spTgt spid="36"/>
                                        </p:tgtEl>
                                        <p:attrNameLst>
                                          <p:attrName>style.visibility</p:attrName>
                                        </p:attrNameLst>
                                      </p:cBhvr>
                                      <p:to>
                                        <p:strVal val="visible"/>
                                      </p:to>
                                    </p:set>
                                    <p:animEffect transition="in" filter="fade">
                                      <p:cBhvr>
                                        <p:cTn id="17" dur="500"/>
                                        <p:tgtEl>
                                          <p:spTgt spid="36"/>
                                        </p:tgtEl>
                                      </p:cBhvr>
                                    </p:animEffect>
                                  </p:childTnLst>
                                </p:cTn>
                              </p:par>
                              <p:par>
                                <p:cTn id="18" presetID="35" presetClass="path" presetSubtype="0" accel="17000" decel="83000" fill="hold" grpId="1" nodeType="withEffect">
                                  <p:stCondLst>
                                    <p:cond delay="1000"/>
                                  </p:stCondLst>
                                  <p:childTnLst>
                                    <p:animMotion origin="layout" path="M 0.00053 -0.04484 L -9.43729E-07 -3.80056E-06" pathEditMode="relative" rAng="0" ptsTypes="AA">
                                      <p:cBhvr>
                                        <p:cTn id="19" dur="1100" fill="hold"/>
                                        <p:tgtEl>
                                          <p:spTgt spid="36"/>
                                        </p:tgtEl>
                                        <p:attrNameLst>
                                          <p:attrName>ppt_x</p:attrName>
                                          <p:attrName>ppt_y</p:attrName>
                                        </p:attrNameLst>
                                      </p:cBhvr>
                                      <p:rCtr x="-35" y="2226"/>
                                    </p:animMotion>
                                  </p:childTnLst>
                                </p:cTn>
                              </p:par>
                              <p:par>
                                <p:cTn id="20" presetID="10" presetClass="entr" presetSubtype="0" fill="hold" grpId="0" nodeType="withEffect">
                                  <p:stCondLst>
                                    <p:cond delay="1250"/>
                                  </p:stCondLst>
                                  <p:childTnLst>
                                    <p:set>
                                      <p:cBhvr>
                                        <p:cTn id="21" dur="1" fill="hold">
                                          <p:stCondLst>
                                            <p:cond delay="0"/>
                                          </p:stCondLst>
                                        </p:cTn>
                                        <p:tgtEl>
                                          <p:spTgt spid="42"/>
                                        </p:tgtEl>
                                        <p:attrNameLst>
                                          <p:attrName>style.visibility</p:attrName>
                                        </p:attrNameLst>
                                      </p:cBhvr>
                                      <p:to>
                                        <p:strVal val="visible"/>
                                      </p:to>
                                    </p:set>
                                    <p:animEffect transition="in" filter="fade">
                                      <p:cBhvr>
                                        <p:cTn id="22" dur="500"/>
                                        <p:tgtEl>
                                          <p:spTgt spid="42"/>
                                        </p:tgtEl>
                                      </p:cBhvr>
                                    </p:animEffect>
                                  </p:childTnLst>
                                </p:cTn>
                              </p:par>
                              <p:par>
                                <p:cTn id="23" presetID="35" presetClass="path" presetSubtype="0" accel="17000" decel="83000" fill="hold" grpId="1" nodeType="withEffect">
                                  <p:stCondLst>
                                    <p:cond delay="1250"/>
                                  </p:stCondLst>
                                  <p:childTnLst>
                                    <p:animMotion origin="layout" path="M 0.00053 -0.04484 L 2.65832E-6 8.34117E-7 " pathEditMode="relative" rAng="0" ptsTypes="AA">
                                      <p:cBhvr>
                                        <p:cTn id="24" dur="1100" fill="hold"/>
                                        <p:tgtEl>
                                          <p:spTgt spid="42"/>
                                        </p:tgtEl>
                                        <p:attrNameLst>
                                          <p:attrName>ppt_x</p:attrName>
                                          <p:attrName>ppt_y</p:attrName>
                                        </p:attrNameLst>
                                      </p:cBhvr>
                                      <p:rCtr x="-35" y="2226"/>
                                    </p:animMotion>
                                  </p:childTnLst>
                                </p:cTn>
                              </p:par>
                              <p:par>
                                <p:cTn id="25" presetID="10" presetClass="entr" presetSubtype="0" fill="hold" grpId="0" nodeType="withEffect">
                                  <p:stCondLst>
                                    <p:cond delay="150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35" presetClass="path" presetSubtype="0" accel="17000" decel="83000" fill="hold" grpId="1" nodeType="withEffect">
                                  <p:stCondLst>
                                    <p:cond delay="1500"/>
                                  </p:stCondLst>
                                  <p:childTnLst>
                                    <p:animMotion origin="layout" path="M 0.00053 -0.04484 L -3.81196E-06 -3.80056E-06" pathEditMode="relative" rAng="0" ptsTypes="AA">
                                      <p:cBhvr>
                                        <p:cTn id="29" dur="1100" fill="hold"/>
                                        <p:tgtEl>
                                          <p:spTgt spid="54"/>
                                        </p:tgtEl>
                                        <p:attrNameLst>
                                          <p:attrName>ppt_x</p:attrName>
                                          <p:attrName>ppt_y</p:attrName>
                                        </p:attrNameLst>
                                      </p:cBhvr>
                                      <p:rCtr x="-35" y="2226"/>
                                    </p:animMotion>
                                  </p:childTnLst>
                                </p:cTn>
                              </p:par>
                              <p:par>
                                <p:cTn id="30" presetID="53" presetClass="entr" presetSubtype="0" fill="hold" nodeType="withEffect">
                                  <p:stCondLst>
                                    <p:cond delay="500"/>
                                  </p:stCondLst>
                                  <p:childTnLst>
                                    <p:set>
                                      <p:cBhvr>
                                        <p:cTn id="31" dur="1" fill="hold">
                                          <p:stCondLst>
                                            <p:cond delay="0"/>
                                          </p:stCondLst>
                                        </p:cTn>
                                        <p:tgtEl>
                                          <p:spTgt spid="130"/>
                                        </p:tgtEl>
                                        <p:attrNameLst>
                                          <p:attrName>style.visibility</p:attrName>
                                        </p:attrNameLst>
                                      </p:cBhvr>
                                      <p:to>
                                        <p:strVal val="visible"/>
                                      </p:to>
                                    </p:set>
                                    <p:anim calcmode="lin" valueType="num">
                                      <p:cBhvr>
                                        <p:cTn id="32" dur="500" fill="hold"/>
                                        <p:tgtEl>
                                          <p:spTgt spid="130"/>
                                        </p:tgtEl>
                                        <p:attrNameLst>
                                          <p:attrName>ppt_w</p:attrName>
                                        </p:attrNameLst>
                                      </p:cBhvr>
                                      <p:tavLst>
                                        <p:tav tm="0">
                                          <p:val>
                                            <p:fltVal val="0"/>
                                          </p:val>
                                        </p:tav>
                                        <p:tav tm="100000">
                                          <p:val>
                                            <p:strVal val="#ppt_w"/>
                                          </p:val>
                                        </p:tav>
                                      </p:tavLst>
                                    </p:anim>
                                    <p:anim calcmode="lin" valueType="num">
                                      <p:cBhvr>
                                        <p:cTn id="33" dur="500" fill="hold"/>
                                        <p:tgtEl>
                                          <p:spTgt spid="130"/>
                                        </p:tgtEl>
                                        <p:attrNameLst>
                                          <p:attrName>ppt_h</p:attrName>
                                        </p:attrNameLst>
                                      </p:cBhvr>
                                      <p:tavLst>
                                        <p:tav tm="0">
                                          <p:val>
                                            <p:fltVal val="0"/>
                                          </p:val>
                                        </p:tav>
                                        <p:tav tm="100000">
                                          <p:val>
                                            <p:strVal val="#ppt_h"/>
                                          </p:val>
                                        </p:tav>
                                      </p:tavLst>
                                    </p:anim>
                                    <p:animEffect transition="in" filter="fade">
                                      <p:cBhvr>
                                        <p:cTn id="34" dur="500"/>
                                        <p:tgtEl>
                                          <p:spTgt spid="130"/>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fade">
                                      <p:cBhvr>
                                        <p:cTn id="37" dur="500"/>
                                        <p:tgtEl>
                                          <p:spTgt spid="12"/>
                                        </p:tgtEl>
                                      </p:cBhvr>
                                    </p:animEffect>
                                  </p:childTnLst>
                                </p:cTn>
                              </p:par>
                              <p:par>
                                <p:cTn id="38" presetID="35" presetClass="path" presetSubtype="0" accel="17000" decel="83000" fill="hold" grpId="1" nodeType="withEffect">
                                  <p:stCondLst>
                                    <p:cond delay="0"/>
                                  </p:stCondLst>
                                  <p:childTnLst>
                                    <p:animMotion origin="layout" path="M 0.02311 -3.18909E-6 L -2.60716E-6 -3.18909E-6 " pathEditMode="relative" rAng="0" ptsTypes="AA">
                                      <p:cBhvr>
                                        <p:cTn id="39" dur="1100" fill="hold"/>
                                        <p:tgtEl>
                                          <p:spTgt spid="12"/>
                                        </p:tgtEl>
                                        <p:attrNameLst>
                                          <p:attrName>ppt_x</p:attrName>
                                          <p:attrName>ppt_y</p:attrName>
                                        </p:attrNameLst>
                                      </p:cBhvr>
                                      <p:rCtr x="-1164" y="0"/>
                                    </p:animMotion>
                                  </p:childTnLst>
                                </p:cTn>
                              </p:par>
                              <p:par>
                                <p:cTn id="40" presetID="10" presetClass="entr" presetSubtype="0" fill="hold" grpId="0"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500"/>
                                        <p:tgtEl>
                                          <p:spTgt spid="13"/>
                                        </p:tgtEl>
                                      </p:cBhvr>
                                    </p:animEffect>
                                  </p:childTnLst>
                                </p:cTn>
                              </p:par>
                              <p:par>
                                <p:cTn id="43" presetID="35" presetClass="path" presetSubtype="0" accel="17000" decel="83000" fill="hold" grpId="1" nodeType="withEffect">
                                  <p:stCondLst>
                                    <p:cond delay="0"/>
                                  </p:stCondLst>
                                  <p:childTnLst>
                                    <p:animMotion origin="layout" path="M -0.0321 -3.35842E-6 L -1.80102E-6 -3.35842E-6 " pathEditMode="relative" rAng="0" ptsTypes="AA">
                                      <p:cBhvr>
                                        <p:cTn id="44" dur="1100" fill="hold"/>
                                        <p:tgtEl>
                                          <p:spTgt spid="13"/>
                                        </p:tgtEl>
                                        <p:attrNameLst>
                                          <p:attrName>ppt_x</p:attrName>
                                          <p:attrName>ppt_y</p:attrName>
                                        </p:attrNameLst>
                                      </p:cBhvr>
                                      <p:rCtr x="1605" y="0"/>
                                    </p:animMotion>
                                  </p:childTnLst>
                                </p:cTn>
                              </p:par>
                              <p:par>
                                <p:cTn id="45" presetID="10" presetClass="entr" presetSubtype="0" fill="hold" nodeType="withEffect">
                                  <p:stCondLst>
                                    <p:cond delay="0"/>
                                  </p:stCondLst>
                                  <p:childTnLst>
                                    <p:set>
                                      <p:cBhvr>
                                        <p:cTn id="46" dur="1" fill="hold">
                                          <p:stCondLst>
                                            <p:cond delay="0"/>
                                          </p:stCondLst>
                                        </p:cTn>
                                        <p:tgtEl>
                                          <p:spTgt spid="3"/>
                                        </p:tgtEl>
                                        <p:attrNameLst>
                                          <p:attrName>style.visibility</p:attrName>
                                        </p:attrNameLst>
                                      </p:cBhvr>
                                      <p:to>
                                        <p:strVal val="visible"/>
                                      </p:to>
                                    </p:set>
                                    <p:animEffect transition="in" filter="fade">
                                      <p:cBhvr>
                                        <p:cTn id="47" dur="1000"/>
                                        <p:tgtEl>
                                          <p:spTgt spid="3"/>
                                        </p:tgtEl>
                                      </p:cBhvr>
                                    </p:animEffect>
                                  </p:childTnLst>
                                </p:cTn>
                              </p:par>
                              <p:par>
                                <p:cTn id="48" presetID="22" presetClass="entr" presetSubtype="4" fill="hold" grpId="0" nodeType="withEffect">
                                  <p:stCondLst>
                                    <p:cond delay="500"/>
                                  </p:stCondLst>
                                  <p:childTnLst>
                                    <p:set>
                                      <p:cBhvr>
                                        <p:cTn id="49" dur="1" fill="hold">
                                          <p:stCondLst>
                                            <p:cond delay="0"/>
                                          </p:stCondLst>
                                        </p:cTn>
                                        <p:tgtEl>
                                          <p:spTgt spid="29"/>
                                        </p:tgtEl>
                                        <p:attrNameLst>
                                          <p:attrName>style.visibility</p:attrName>
                                        </p:attrNameLst>
                                      </p:cBhvr>
                                      <p:to>
                                        <p:strVal val="visible"/>
                                      </p:to>
                                    </p:set>
                                    <p:animEffect transition="in" filter="wipe(down)">
                                      <p:cBhvr>
                                        <p:cTn id="50" dur="750"/>
                                        <p:tgtEl>
                                          <p:spTgt spid="29"/>
                                        </p:tgtEl>
                                      </p:cBhvr>
                                    </p:animEffect>
                                  </p:childTnLst>
                                </p:cTn>
                              </p:par>
                              <p:par>
                                <p:cTn id="51" presetID="53" presetClass="entr" presetSubtype="0" fill="hold" nodeType="withEffect">
                                  <p:stCondLst>
                                    <p:cond delay="750"/>
                                  </p:stCondLst>
                                  <p:childTnLst>
                                    <p:set>
                                      <p:cBhvr>
                                        <p:cTn id="52" dur="1" fill="hold">
                                          <p:stCondLst>
                                            <p:cond delay="0"/>
                                          </p:stCondLst>
                                        </p:cTn>
                                        <p:tgtEl>
                                          <p:spTgt spid="137"/>
                                        </p:tgtEl>
                                        <p:attrNameLst>
                                          <p:attrName>style.visibility</p:attrName>
                                        </p:attrNameLst>
                                      </p:cBhvr>
                                      <p:to>
                                        <p:strVal val="visible"/>
                                      </p:to>
                                    </p:set>
                                    <p:anim calcmode="lin" valueType="num">
                                      <p:cBhvr>
                                        <p:cTn id="53" dur="500" fill="hold"/>
                                        <p:tgtEl>
                                          <p:spTgt spid="137"/>
                                        </p:tgtEl>
                                        <p:attrNameLst>
                                          <p:attrName>ppt_w</p:attrName>
                                        </p:attrNameLst>
                                      </p:cBhvr>
                                      <p:tavLst>
                                        <p:tav tm="0">
                                          <p:val>
                                            <p:fltVal val="0"/>
                                          </p:val>
                                        </p:tav>
                                        <p:tav tm="100000">
                                          <p:val>
                                            <p:strVal val="#ppt_w"/>
                                          </p:val>
                                        </p:tav>
                                      </p:tavLst>
                                    </p:anim>
                                    <p:anim calcmode="lin" valueType="num">
                                      <p:cBhvr>
                                        <p:cTn id="54" dur="500" fill="hold"/>
                                        <p:tgtEl>
                                          <p:spTgt spid="137"/>
                                        </p:tgtEl>
                                        <p:attrNameLst>
                                          <p:attrName>ppt_h</p:attrName>
                                        </p:attrNameLst>
                                      </p:cBhvr>
                                      <p:tavLst>
                                        <p:tav tm="0">
                                          <p:val>
                                            <p:fltVal val="0"/>
                                          </p:val>
                                        </p:tav>
                                        <p:tav tm="100000">
                                          <p:val>
                                            <p:strVal val="#ppt_h"/>
                                          </p:val>
                                        </p:tav>
                                      </p:tavLst>
                                    </p:anim>
                                    <p:animEffect transition="in" filter="fade">
                                      <p:cBhvr>
                                        <p:cTn id="55" dur="500"/>
                                        <p:tgtEl>
                                          <p:spTgt spid="137"/>
                                        </p:tgtEl>
                                      </p:cBhvr>
                                    </p:animEffect>
                                  </p:childTnLst>
                                </p:cTn>
                              </p:par>
                              <p:par>
                                <p:cTn id="56" presetID="22" presetClass="entr" presetSubtype="4" fill="hold" grpId="0" nodeType="withEffect">
                                  <p:stCondLst>
                                    <p:cond delay="750"/>
                                  </p:stCondLst>
                                  <p:childTnLst>
                                    <p:set>
                                      <p:cBhvr>
                                        <p:cTn id="57" dur="1" fill="hold">
                                          <p:stCondLst>
                                            <p:cond delay="0"/>
                                          </p:stCondLst>
                                        </p:cTn>
                                        <p:tgtEl>
                                          <p:spTgt spid="30"/>
                                        </p:tgtEl>
                                        <p:attrNameLst>
                                          <p:attrName>style.visibility</p:attrName>
                                        </p:attrNameLst>
                                      </p:cBhvr>
                                      <p:to>
                                        <p:strVal val="visible"/>
                                      </p:to>
                                    </p:set>
                                    <p:animEffect transition="in" filter="wipe(down)">
                                      <p:cBhvr>
                                        <p:cTn id="58" dur="750"/>
                                        <p:tgtEl>
                                          <p:spTgt spid="30"/>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35"/>
                                        </p:tgtEl>
                                        <p:attrNameLst>
                                          <p:attrName>style.visibility</p:attrName>
                                        </p:attrNameLst>
                                      </p:cBhvr>
                                      <p:to>
                                        <p:strVal val="visible"/>
                                      </p:to>
                                    </p:set>
                                    <p:animEffect transition="in" filter="fade">
                                      <p:cBhvr>
                                        <p:cTn id="61" dur="500"/>
                                        <p:tgtEl>
                                          <p:spTgt spid="35"/>
                                        </p:tgtEl>
                                      </p:cBhvr>
                                    </p:animEffect>
                                  </p:childTnLst>
                                </p:cTn>
                              </p:par>
                              <p:par>
                                <p:cTn id="62" presetID="35" presetClass="path" presetSubtype="0" accel="17000" decel="83000" fill="hold" grpId="1" nodeType="withEffect">
                                  <p:stCondLst>
                                    <p:cond delay="1000"/>
                                  </p:stCondLst>
                                  <p:childTnLst>
                                    <p:animMotion origin="layout" path="M -0.00123 0.04924 L -2.60716E-6 -3.50894E-6 " pathEditMode="relative" rAng="0" ptsTypes="AA">
                                      <p:cBhvr>
                                        <p:cTn id="63" dur="1100" fill="hold"/>
                                        <p:tgtEl>
                                          <p:spTgt spid="35"/>
                                        </p:tgtEl>
                                        <p:attrNameLst>
                                          <p:attrName>ppt_x</p:attrName>
                                          <p:attrName>ppt_y</p:attrName>
                                        </p:attrNameLst>
                                      </p:cBhvr>
                                      <p:rCtr x="53" y="-2477"/>
                                    </p:animMotion>
                                  </p:childTnLst>
                                </p:cTn>
                              </p:par>
                              <p:par>
                                <p:cTn id="64" presetID="53" presetClass="entr" presetSubtype="0" fill="hold" nodeType="withEffect">
                                  <p:stCondLst>
                                    <p:cond delay="1000"/>
                                  </p:stCondLst>
                                  <p:childTnLst>
                                    <p:set>
                                      <p:cBhvr>
                                        <p:cTn id="65" dur="1" fill="hold">
                                          <p:stCondLst>
                                            <p:cond delay="0"/>
                                          </p:stCondLst>
                                        </p:cTn>
                                        <p:tgtEl>
                                          <p:spTgt spid="153"/>
                                        </p:tgtEl>
                                        <p:attrNameLst>
                                          <p:attrName>style.visibility</p:attrName>
                                        </p:attrNameLst>
                                      </p:cBhvr>
                                      <p:to>
                                        <p:strVal val="visible"/>
                                      </p:to>
                                    </p:set>
                                    <p:anim calcmode="lin" valueType="num">
                                      <p:cBhvr>
                                        <p:cTn id="66" dur="500" fill="hold"/>
                                        <p:tgtEl>
                                          <p:spTgt spid="153"/>
                                        </p:tgtEl>
                                        <p:attrNameLst>
                                          <p:attrName>ppt_w</p:attrName>
                                        </p:attrNameLst>
                                      </p:cBhvr>
                                      <p:tavLst>
                                        <p:tav tm="0">
                                          <p:val>
                                            <p:fltVal val="0"/>
                                          </p:val>
                                        </p:tav>
                                        <p:tav tm="100000">
                                          <p:val>
                                            <p:strVal val="#ppt_w"/>
                                          </p:val>
                                        </p:tav>
                                      </p:tavLst>
                                    </p:anim>
                                    <p:anim calcmode="lin" valueType="num">
                                      <p:cBhvr>
                                        <p:cTn id="67" dur="500" fill="hold"/>
                                        <p:tgtEl>
                                          <p:spTgt spid="153"/>
                                        </p:tgtEl>
                                        <p:attrNameLst>
                                          <p:attrName>ppt_h</p:attrName>
                                        </p:attrNameLst>
                                      </p:cBhvr>
                                      <p:tavLst>
                                        <p:tav tm="0">
                                          <p:val>
                                            <p:fltVal val="0"/>
                                          </p:val>
                                        </p:tav>
                                        <p:tav tm="100000">
                                          <p:val>
                                            <p:strVal val="#ppt_h"/>
                                          </p:val>
                                        </p:tav>
                                      </p:tavLst>
                                    </p:anim>
                                    <p:animEffect transition="in" filter="fade">
                                      <p:cBhvr>
                                        <p:cTn id="68" dur="500"/>
                                        <p:tgtEl>
                                          <p:spTgt spid="153"/>
                                        </p:tgtEl>
                                      </p:cBhvr>
                                    </p:animEffect>
                                  </p:childTnLst>
                                </p:cTn>
                              </p:par>
                              <p:par>
                                <p:cTn id="69" presetID="22" presetClass="entr" presetSubtype="4" fill="hold" grpId="0" nodeType="withEffect">
                                  <p:stCondLst>
                                    <p:cond delay="1000"/>
                                  </p:stCondLst>
                                  <p:childTnLst>
                                    <p:set>
                                      <p:cBhvr>
                                        <p:cTn id="70" dur="1" fill="hold">
                                          <p:stCondLst>
                                            <p:cond delay="0"/>
                                          </p:stCondLst>
                                        </p:cTn>
                                        <p:tgtEl>
                                          <p:spTgt spid="33"/>
                                        </p:tgtEl>
                                        <p:attrNameLst>
                                          <p:attrName>style.visibility</p:attrName>
                                        </p:attrNameLst>
                                      </p:cBhvr>
                                      <p:to>
                                        <p:strVal val="visible"/>
                                      </p:to>
                                    </p:set>
                                    <p:animEffect transition="in" filter="wipe(down)">
                                      <p:cBhvr>
                                        <p:cTn id="71" dur="750"/>
                                        <p:tgtEl>
                                          <p:spTgt spid="33"/>
                                        </p:tgtEl>
                                      </p:cBhvr>
                                    </p:animEffect>
                                  </p:childTnLst>
                                </p:cTn>
                              </p:par>
                              <p:par>
                                <p:cTn id="72" presetID="10" presetClass="entr" presetSubtype="0" fill="hold" grpId="0" nodeType="withEffect">
                                  <p:stCondLst>
                                    <p:cond delay="1250"/>
                                  </p:stCondLst>
                                  <p:childTnLst>
                                    <p:set>
                                      <p:cBhvr>
                                        <p:cTn id="73" dur="1" fill="hold">
                                          <p:stCondLst>
                                            <p:cond delay="0"/>
                                          </p:stCondLst>
                                        </p:cTn>
                                        <p:tgtEl>
                                          <p:spTgt spid="41"/>
                                        </p:tgtEl>
                                        <p:attrNameLst>
                                          <p:attrName>style.visibility</p:attrName>
                                        </p:attrNameLst>
                                      </p:cBhvr>
                                      <p:to>
                                        <p:strVal val="visible"/>
                                      </p:to>
                                    </p:set>
                                    <p:animEffect transition="in" filter="fade">
                                      <p:cBhvr>
                                        <p:cTn id="74" dur="500"/>
                                        <p:tgtEl>
                                          <p:spTgt spid="41"/>
                                        </p:tgtEl>
                                      </p:cBhvr>
                                    </p:animEffect>
                                  </p:childTnLst>
                                </p:cTn>
                              </p:par>
                              <p:par>
                                <p:cTn id="75" presetID="35" presetClass="path" presetSubtype="0" accel="17000" decel="83000" fill="hold" grpId="1" nodeType="withEffect">
                                  <p:stCondLst>
                                    <p:cond delay="1250"/>
                                  </p:stCondLst>
                                  <p:childTnLst>
                                    <p:animMotion origin="layout" path="M -0.00123 0.04923 L -2.60716E-6 3.05425E-6 " pathEditMode="relative" rAng="0" ptsTypes="AA">
                                      <p:cBhvr>
                                        <p:cTn id="76" dur="1100" fill="hold"/>
                                        <p:tgtEl>
                                          <p:spTgt spid="41"/>
                                        </p:tgtEl>
                                        <p:attrNameLst>
                                          <p:attrName>ppt_x</p:attrName>
                                          <p:attrName>ppt_y</p:attrName>
                                        </p:attrNameLst>
                                      </p:cBhvr>
                                      <p:rCtr x="53" y="-2477"/>
                                    </p:animMotion>
                                  </p:childTnLst>
                                </p:cTn>
                              </p:par>
                              <p:par>
                                <p:cTn id="77" presetID="22" presetClass="entr" presetSubtype="4" fill="hold" grpId="0" nodeType="withEffect">
                                  <p:stCondLst>
                                    <p:cond delay="1250"/>
                                  </p:stCondLst>
                                  <p:childTnLst>
                                    <p:set>
                                      <p:cBhvr>
                                        <p:cTn id="78" dur="1" fill="hold">
                                          <p:stCondLst>
                                            <p:cond delay="0"/>
                                          </p:stCondLst>
                                        </p:cTn>
                                        <p:tgtEl>
                                          <p:spTgt spid="31"/>
                                        </p:tgtEl>
                                        <p:attrNameLst>
                                          <p:attrName>style.visibility</p:attrName>
                                        </p:attrNameLst>
                                      </p:cBhvr>
                                      <p:to>
                                        <p:strVal val="visible"/>
                                      </p:to>
                                    </p:set>
                                    <p:animEffect transition="in" filter="wipe(down)">
                                      <p:cBhvr>
                                        <p:cTn id="79" dur="750"/>
                                        <p:tgtEl>
                                          <p:spTgt spid="31"/>
                                        </p:tgtEl>
                                      </p:cBhvr>
                                    </p:animEffect>
                                  </p:childTnLst>
                                </p:cTn>
                              </p:par>
                              <p:par>
                                <p:cTn id="80" presetID="10" presetClass="entr" presetSubtype="0" fill="hold" grpId="0" nodeType="withEffect">
                                  <p:stCondLst>
                                    <p:cond delay="1500"/>
                                  </p:stCondLst>
                                  <p:childTnLst>
                                    <p:set>
                                      <p:cBhvr>
                                        <p:cTn id="81" dur="1" fill="hold">
                                          <p:stCondLst>
                                            <p:cond delay="0"/>
                                          </p:stCondLst>
                                        </p:cTn>
                                        <p:tgtEl>
                                          <p:spTgt spid="53"/>
                                        </p:tgtEl>
                                        <p:attrNameLst>
                                          <p:attrName>style.visibility</p:attrName>
                                        </p:attrNameLst>
                                      </p:cBhvr>
                                      <p:to>
                                        <p:strVal val="visible"/>
                                      </p:to>
                                    </p:set>
                                    <p:animEffect transition="in" filter="fade">
                                      <p:cBhvr>
                                        <p:cTn id="82" dur="500"/>
                                        <p:tgtEl>
                                          <p:spTgt spid="53"/>
                                        </p:tgtEl>
                                      </p:cBhvr>
                                    </p:animEffect>
                                  </p:childTnLst>
                                </p:cTn>
                              </p:par>
                              <p:par>
                                <p:cTn id="83" presetID="35" presetClass="path" presetSubtype="0" accel="17000" decel="83000" fill="hold" grpId="1" nodeType="withEffect">
                                  <p:stCondLst>
                                    <p:cond delay="1500"/>
                                  </p:stCondLst>
                                  <p:childTnLst>
                                    <p:animMotion origin="layout" path="M -0.00124 0.04923 L 1.50467E-6 3.672E-6 " pathEditMode="relative" rAng="0" ptsTypes="AA">
                                      <p:cBhvr>
                                        <p:cTn id="84" dur="1100" fill="hold"/>
                                        <p:tgtEl>
                                          <p:spTgt spid="53"/>
                                        </p:tgtEl>
                                        <p:attrNameLst>
                                          <p:attrName>ppt_x</p:attrName>
                                          <p:attrName>ppt_y</p:attrName>
                                        </p:attrNameLst>
                                      </p:cBhvr>
                                      <p:rCtr x="53" y="-2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29" grpId="0" animBg="1"/>
      <p:bldP spid="30" grpId="0" animBg="1"/>
      <p:bldP spid="31" grpId="0" animBg="1"/>
      <p:bldP spid="33" grpId="0" animBg="1"/>
      <p:bldP spid="20" grpId="0"/>
      <p:bldP spid="20" grpId="1"/>
      <p:bldP spid="21" grpId="0"/>
      <p:bldP spid="21" grpId="1"/>
      <p:bldP spid="35" grpId="0"/>
      <p:bldP spid="35" grpId="1"/>
      <p:bldP spid="36" grpId="0"/>
      <p:bldP spid="36" grpId="1"/>
      <p:bldP spid="41" grpId="0"/>
      <p:bldP spid="41" grpId="1"/>
      <p:bldP spid="42" grpId="0"/>
      <p:bldP spid="42" grpId="1"/>
      <p:bldP spid="53" grpId="0"/>
      <p:bldP spid="53" grpId="1"/>
      <p:bldP spid="54" grpId="0"/>
      <p:bldP spid="54"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m 40">
            <a:extLst>
              <a:ext uri="{FF2B5EF4-FFF2-40B4-BE49-F238E27FC236}">
                <a16:creationId xmlns:a16="http://schemas.microsoft.com/office/drawing/2014/main" id="{76D2058A-605E-9C81-86F7-85EA5AB0C623}"/>
              </a:ext>
            </a:extLst>
          </p:cNvPr>
          <p:cNvPicPr>
            <a:picLocks noChangeAspect="1"/>
          </p:cNvPicPr>
          <p:nvPr>
            <p:custDataLst>
              <p:tags r:id="rId1"/>
            </p:custDataLst>
          </p:nvPr>
        </p:nvPicPr>
        <p:blipFill>
          <a:blip r:embed="rId54">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43" name="Imagem 42">
            <a:extLst>
              <a:ext uri="{FF2B5EF4-FFF2-40B4-BE49-F238E27FC236}">
                <a16:creationId xmlns:a16="http://schemas.microsoft.com/office/drawing/2014/main" id="{14224C91-AF6E-4E33-B5AD-1852CACA6DC2}"/>
              </a:ext>
            </a:extLst>
          </p:cNvPr>
          <p:cNvPicPr>
            <a:picLocks noChangeAspect="1"/>
          </p:cNvPicPr>
          <p:nvPr>
            <p:custDataLst>
              <p:tags r:id="rId2"/>
            </p:custDataLst>
          </p:nvPr>
        </p:nvPicPr>
        <p:blipFill>
          <a:blip r:embed="rId55">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45" name="Imagem 44" descr="Imagem em preto e branco&#10;&#10;Descrição gerada automaticamente com confiança média">
            <a:extLst>
              <a:ext uri="{FF2B5EF4-FFF2-40B4-BE49-F238E27FC236}">
                <a16:creationId xmlns:a16="http://schemas.microsoft.com/office/drawing/2014/main" id="{FF957548-FA78-BF53-30A0-2FF816A6263B}"/>
              </a:ext>
            </a:extLst>
          </p:cNvPr>
          <p:cNvPicPr>
            <a:picLocks noChangeAspect="1"/>
          </p:cNvPicPr>
          <p:nvPr>
            <p:custDataLst>
              <p:tags r:id="rId3"/>
            </p:custDataLst>
          </p:nvPr>
        </p:nvPicPr>
        <p:blipFill>
          <a:blip r:embed="rId56">
            <a:extLst>
              <a:ext uri="{28A0092B-C50C-407E-A947-70E740481C1C}">
                <a14:useLocalDpi xmlns:a14="http://schemas.microsoft.com/office/drawing/2010/main"/>
              </a:ext>
            </a:extLst>
          </a:blip>
          <a:stretch>
            <a:fillRect/>
          </a:stretch>
        </p:blipFill>
        <p:spPr>
          <a:xfrm>
            <a:off x="0" y="0"/>
            <a:ext cx="8999538" cy="2531269"/>
          </a:xfrm>
          <a:prstGeom prst="rect">
            <a:avLst/>
          </a:prstGeom>
        </p:spPr>
      </p:pic>
      <p:pic>
        <p:nvPicPr>
          <p:cNvPr id="81" name="Imagem 80" descr="Homem em pé em frente a espelho&#10;&#10;Descrição gerada automaticamente">
            <a:extLst>
              <a:ext uri="{FF2B5EF4-FFF2-40B4-BE49-F238E27FC236}">
                <a16:creationId xmlns:a16="http://schemas.microsoft.com/office/drawing/2014/main" id="{EC314BF0-69CC-AE0A-7A6A-2FA34DFF60E1}"/>
              </a:ext>
            </a:extLst>
          </p:cNvPr>
          <p:cNvPicPr>
            <a:picLocks noChangeAspect="1"/>
          </p:cNvPicPr>
          <p:nvPr>
            <p:custDataLst>
              <p:tags r:id="rId4"/>
            </p:custDataLst>
          </p:nvPr>
        </p:nvPicPr>
        <p:blipFill>
          <a:blip r:embed="rId57">
            <a:extLst>
              <a:ext uri="{28A0092B-C50C-407E-A947-70E740481C1C}">
                <a14:useLocalDpi xmlns:a14="http://schemas.microsoft.com/office/drawing/2010/main"/>
              </a:ext>
            </a:extLst>
          </a:blip>
          <a:stretch>
            <a:fillRect/>
          </a:stretch>
        </p:blipFill>
        <p:spPr>
          <a:xfrm>
            <a:off x="3146199" y="1055911"/>
            <a:ext cx="2793598" cy="2705820"/>
          </a:xfrm>
          <a:prstGeom prst="rect">
            <a:avLst/>
          </a:prstGeom>
        </p:spPr>
      </p:pic>
      <p:grpSp>
        <p:nvGrpSpPr>
          <p:cNvPr id="22" name="Agrupar 21">
            <a:extLst>
              <a:ext uri="{FF2B5EF4-FFF2-40B4-BE49-F238E27FC236}">
                <a16:creationId xmlns:a16="http://schemas.microsoft.com/office/drawing/2014/main" id="{396D6710-A16F-999F-132E-BDE7D643EFFA}"/>
              </a:ext>
            </a:extLst>
          </p:cNvPr>
          <p:cNvGrpSpPr/>
          <p:nvPr>
            <p:custDataLst>
              <p:tags r:id="rId5"/>
            </p:custDataLst>
          </p:nvPr>
        </p:nvGrpSpPr>
        <p:grpSpPr>
          <a:xfrm>
            <a:off x="2135210" y="1122128"/>
            <a:ext cx="531904" cy="522878"/>
            <a:chOff x="2195520" y="1122128"/>
            <a:chExt cx="531904" cy="522878"/>
          </a:xfrm>
        </p:grpSpPr>
        <p:sp>
          <p:nvSpPr>
            <p:cNvPr id="3" name="Elipse 2">
              <a:extLst>
                <a:ext uri="{FF2B5EF4-FFF2-40B4-BE49-F238E27FC236}">
                  <a16:creationId xmlns:a16="http://schemas.microsoft.com/office/drawing/2014/main" id="{F8220F77-C646-3A5D-96E8-EDF1B7E2B963}"/>
                </a:ext>
              </a:extLst>
            </p:cNvPr>
            <p:cNvSpPr/>
            <p:nvPr>
              <p:custDataLst>
                <p:tags r:id="rId50"/>
              </p:custDataLst>
            </p:nvPr>
          </p:nvSpPr>
          <p:spPr>
            <a:xfrm>
              <a:off x="2204546" y="1122128"/>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18" name="CaixaDeTexto 17">
              <a:extLst>
                <a:ext uri="{FF2B5EF4-FFF2-40B4-BE49-F238E27FC236}">
                  <a16:creationId xmlns:a16="http://schemas.microsoft.com/office/drawing/2014/main" id="{32A452D0-4CCB-7833-130E-DFEE67A72182}"/>
                </a:ext>
              </a:extLst>
            </p:cNvPr>
            <p:cNvSpPr txBox="1"/>
            <p:nvPr>
              <p:custDataLst>
                <p:tags r:id="rId51"/>
              </p:custDataLst>
            </p:nvPr>
          </p:nvSpPr>
          <p:spPr>
            <a:xfrm>
              <a:off x="2195520" y="1185377"/>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1</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23" name="Agrupar 22">
            <a:extLst>
              <a:ext uri="{FF2B5EF4-FFF2-40B4-BE49-F238E27FC236}">
                <a16:creationId xmlns:a16="http://schemas.microsoft.com/office/drawing/2014/main" id="{2D7B933F-2B23-67E5-7782-648151DCACE5}"/>
              </a:ext>
            </a:extLst>
          </p:cNvPr>
          <p:cNvGrpSpPr/>
          <p:nvPr>
            <p:custDataLst>
              <p:tags r:id="rId6"/>
            </p:custDataLst>
          </p:nvPr>
        </p:nvGrpSpPr>
        <p:grpSpPr>
          <a:xfrm>
            <a:off x="2142244" y="1839377"/>
            <a:ext cx="524870" cy="522952"/>
            <a:chOff x="2202554" y="1839377"/>
            <a:chExt cx="524870" cy="522952"/>
          </a:xfrm>
        </p:grpSpPr>
        <p:sp>
          <p:nvSpPr>
            <p:cNvPr id="9" name="Elipse 8">
              <a:extLst>
                <a:ext uri="{FF2B5EF4-FFF2-40B4-BE49-F238E27FC236}">
                  <a16:creationId xmlns:a16="http://schemas.microsoft.com/office/drawing/2014/main" id="{F90ABA57-1839-340B-F48F-CCC931601F26}"/>
                </a:ext>
              </a:extLst>
            </p:cNvPr>
            <p:cNvSpPr/>
            <p:nvPr>
              <p:custDataLst>
                <p:tags r:id="rId48"/>
              </p:custDataLst>
            </p:nvPr>
          </p:nvSpPr>
          <p:spPr>
            <a:xfrm>
              <a:off x="2204546" y="1839377"/>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19" name="CaixaDeTexto 18">
              <a:extLst>
                <a:ext uri="{FF2B5EF4-FFF2-40B4-BE49-F238E27FC236}">
                  <a16:creationId xmlns:a16="http://schemas.microsoft.com/office/drawing/2014/main" id="{80000899-49EF-774D-2DC5-90E1BBF4F874}"/>
                </a:ext>
              </a:extLst>
            </p:cNvPr>
            <p:cNvSpPr txBox="1"/>
            <p:nvPr>
              <p:custDataLst>
                <p:tags r:id="rId49"/>
              </p:custDataLst>
            </p:nvPr>
          </p:nvSpPr>
          <p:spPr>
            <a:xfrm>
              <a:off x="2202554" y="1903742"/>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2</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24" name="Agrupar 23">
            <a:extLst>
              <a:ext uri="{FF2B5EF4-FFF2-40B4-BE49-F238E27FC236}">
                <a16:creationId xmlns:a16="http://schemas.microsoft.com/office/drawing/2014/main" id="{A9AEFA08-F478-4E02-5A9A-69C706E83448}"/>
              </a:ext>
            </a:extLst>
          </p:cNvPr>
          <p:cNvGrpSpPr/>
          <p:nvPr>
            <p:custDataLst>
              <p:tags r:id="rId7"/>
            </p:custDataLst>
          </p:nvPr>
        </p:nvGrpSpPr>
        <p:grpSpPr>
          <a:xfrm>
            <a:off x="2144236" y="2556626"/>
            <a:ext cx="534954" cy="522878"/>
            <a:chOff x="2204546" y="2556626"/>
            <a:chExt cx="534954" cy="522878"/>
          </a:xfrm>
        </p:grpSpPr>
        <p:sp>
          <p:nvSpPr>
            <p:cNvPr id="10" name="Elipse 9">
              <a:extLst>
                <a:ext uri="{FF2B5EF4-FFF2-40B4-BE49-F238E27FC236}">
                  <a16:creationId xmlns:a16="http://schemas.microsoft.com/office/drawing/2014/main" id="{F3F8D91E-8418-EEEF-8133-907312A5FF10}"/>
                </a:ext>
              </a:extLst>
            </p:cNvPr>
            <p:cNvSpPr/>
            <p:nvPr>
              <p:custDataLst>
                <p:tags r:id="rId46"/>
              </p:custDataLst>
            </p:nvPr>
          </p:nvSpPr>
          <p:spPr>
            <a:xfrm>
              <a:off x="2204546" y="2556626"/>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20" name="CaixaDeTexto 19">
              <a:extLst>
                <a:ext uri="{FF2B5EF4-FFF2-40B4-BE49-F238E27FC236}">
                  <a16:creationId xmlns:a16="http://schemas.microsoft.com/office/drawing/2014/main" id="{A9F472A4-9D14-EEF8-A457-A8452A158EE2}"/>
                </a:ext>
              </a:extLst>
            </p:cNvPr>
            <p:cNvSpPr txBox="1"/>
            <p:nvPr>
              <p:custDataLst>
                <p:tags r:id="rId47"/>
              </p:custDataLst>
            </p:nvPr>
          </p:nvSpPr>
          <p:spPr>
            <a:xfrm>
              <a:off x="2216622" y="2613966"/>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3</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25" name="Agrupar 24">
            <a:extLst>
              <a:ext uri="{FF2B5EF4-FFF2-40B4-BE49-F238E27FC236}">
                <a16:creationId xmlns:a16="http://schemas.microsoft.com/office/drawing/2014/main" id="{5F35D1AB-CDEC-6F15-22C1-6B35BB15BD34}"/>
              </a:ext>
            </a:extLst>
          </p:cNvPr>
          <p:cNvGrpSpPr/>
          <p:nvPr>
            <p:custDataLst>
              <p:tags r:id="rId8"/>
            </p:custDataLst>
          </p:nvPr>
        </p:nvGrpSpPr>
        <p:grpSpPr>
          <a:xfrm>
            <a:off x="2135210" y="3273876"/>
            <a:ext cx="531904" cy="522878"/>
            <a:chOff x="2195520" y="3273876"/>
            <a:chExt cx="531904" cy="522878"/>
          </a:xfrm>
        </p:grpSpPr>
        <p:sp>
          <p:nvSpPr>
            <p:cNvPr id="11" name="Elipse 10">
              <a:extLst>
                <a:ext uri="{FF2B5EF4-FFF2-40B4-BE49-F238E27FC236}">
                  <a16:creationId xmlns:a16="http://schemas.microsoft.com/office/drawing/2014/main" id="{129547C1-E2A1-4058-4D2E-9C8DB7EE1145}"/>
                </a:ext>
              </a:extLst>
            </p:cNvPr>
            <p:cNvSpPr/>
            <p:nvPr>
              <p:custDataLst>
                <p:tags r:id="rId44"/>
              </p:custDataLst>
            </p:nvPr>
          </p:nvSpPr>
          <p:spPr>
            <a:xfrm>
              <a:off x="2204546" y="3273876"/>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21" name="CaixaDeTexto 20">
              <a:extLst>
                <a:ext uri="{FF2B5EF4-FFF2-40B4-BE49-F238E27FC236}">
                  <a16:creationId xmlns:a16="http://schemas.microsoft.com/office/drawing/2014/main" id="{DCA33893-8121-8BF9-E80F-60EFE6E924C8}"/>
                </a:ext>
              </a:extLst>
            </p:cNvPr>
            <p:cNvSpPr txBox="1"/>
            <p:nvPr>
              <p:custDataLst>
                <p:tags r:id="rId45"/>
              </p:custDataLst>
            </p:nvPr>
          </p:nvSpPr>
          <p:spPr>
            <a:xfrm>
              <a:off x="2195520" y="3320089"/>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4</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26" name="Agrupar 25">
            <a:extLst>
              <a:ext uri="{FF2B5EF4-FFF2-40B4-BE49-F238E27FC236}">
                <a16:creationId xmlns:a16="http://schemas.microsoft.com/office/drawing/2014/main" id="{D02621AA-83ED-D339-408A-936B99900636}"/>
              </a:ext>
            </a:extLst>
          </p:cNvPr>
          <p:cNvGrpSpPr/>
          <p:nvPr>
            <p:custDataLst>
              <p:tags r:id="rId9"/>
            </p:custDataLst>
          </p:nvPr>
        </p:nvGrpSpPr>
        <p:grpSpPr>
          <a:xfrm>
            <a:off x="6336408" y="1122128"/>
            <a:ext cx="527920" cy="522878"/>
            <a:chOff x="2204546" y="1122128"/>
            <a:chExt cx="527920" cy="522878"/>
          </a:xfrm>
        </p:grpSpPr>
        <p:sp>
          <p:nvSpPr>
            <p:cNvPr id="27" name="Elipse 26">
              <a:extLst>
                <a:ext uri="{FF2B5EF4-FFF2-40B4-BE49-F238E27FC236}">
                  <a16:creationId xmlns:a16="http://schemas.microsoft.com/office/drawing/2014/main" id="{E09B60BE-1805-1775-25C5-D2738FCF3C51}"/>
                </a:ext>
              </a:extLst>
            </p:cNvPr>
            <p:cNvSpPr/>
            <p:nvPr>
              <p:custDataLst>
                <p:tags r:id="rId42"/>
              </p:custDataLst>
            </p:nvPr>
          </p:nvSpPr>
          <p:spPr>
            <a:xfrm>
              <a:off x="2204546" y="1122128"/>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28" name="CaixaDeTexto 27">
              <a:extLst>
                <a:ext uri="{FF2B5EF4-FFF2-40B4-BE49-F238E27FC236}">
                  <a16:creationId xmlns:a16="http://schemas.microsoft.com/office/drawing/2014/main" id="{50703A97-D237-9B94-7791-82D188517695}"/>
                </a:ext>
              </a:extLst>
            </p:cNvPr>
            <p:cNvSpPr txBox="1"/>
            <p:nvPr>
              <p:custDataLst>
                <p:tags r:id="rId43"/>
              </p:custDataLst>
            </p:nvPr>
          </p:nvSpPr>
          <p:spPr>
            <a:xfrm>
              <a:off x="2209588" y="1185377"/>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rPr>
                <a:t>5</a:t>
              </a:r>
            </a:p>
          </p:txBody>
        </p:sp>
      </p:grpSp>
      <p:grpSp>
        <p:nvGrpSpPr>
          <p:cNvPr id="29" name="Agrupar 28">
            <a:extLst>
              <a:ext uri="{FF2B5EF4-FFF2-40B4-BE49-F238E27FC236}">
                <a16:creationId xmlns:a16="http://schemas.microsoft.com/office/drawing/2014/main" id="{31F83A52-169F-2410-3B99-17361521A0AE}"/>
              </a:ext>
            </a:extLst>
          </p:cNvPr>
          <p:cNvGrpSpPr/>
          <p:nvPr>
            <p:custDataLst>
              <p:tags r:id="rId10"/>
            </p:custDataLst>
          </p:nvPr>
        </p:nvGrpSpPr>
        <p:grpSpPr>
          <a:xfrm>
            <a:off x="6327382" y="1839377"/>
            <a:ext cx="531904" cy="522952"/>
            <a:chOff x="2195520" y="1839377"/>
            <a:chExt cx="531904" cy="522952"/>
          </a:xfrm>
        </p:grpSpPr>
        <p:sp>
          <p:nvSpPr>
            <p:cNvPr id="30" name="Elipse 29">
              <a:extLst>
                <a:ext uri="{FF2B5EF4-FFF2-40B4-BE49-F238E27FC236}">
                  <a16:creationId xmlns:a16="http://schemas.microsoft.com/office/drawing/2014/main" id="{4F9AC078-3115-F1A8-40F2-56BCAA0389BE}"/>
                </a:ext>
              </a:extLst>
            </p:cNvPr>
            <p:cNvSpPr/>
            <p:nvPr>
              <p:custDataLst>
                <p:tags r:id="rId40"/>
              </p:custDataLst>
            </p:nvPr>
          </p:nvSpPr>
          <p:spPr>
            <a:xfrm>
              <a:off x="2204546" y="1839377"/>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31" name="CaixaDeTexto 30">
              <a:extLst>
                <a:ext uri="{FF2B5EF4-FFF2-40B4-BE49-F238E27FC236}">
                  <a16:creationId xmlns:a16="http://schemas.microsoft.com/office/drawing/2014/main" id="{8FCC2446-EB8D-24FE-2311-12C345606895}"/>
                </a:ext>
              </a:extLst>
            </p:cNvPr>
            <p:cNvSpPr txBox="1"/>
            <p:nvPr>
              <p:custDataLst>
                <p:tags r:id="rId41"/>
              </p:custDataLst>
            </p:nvPr>
          </p:nvSpPr>
          <p:spPr>
            <a:xfrm>
              <a:off x="2195520" y="1903742"/>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6</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32" name="Agrupar 31">
            <a:extLst>
              <a:ext uri="{FF2B5EF4-FFF2-40B4-BE49-F238E27FC236}">
                <a16:creationId xmlns:a16="http://schemas.microsoft.com/office/drawing/2014/main" id="{26855A78-4C03-1814-31AE-82F372F08D40}"/>
              </a:ext>
            </a:extLst>
          </p:cNvPr>
          <p:cNvGrpSpPr/>
          <p:nvPr>
            <p:custDataLst>
              <p:tags r:id="rId11"/>
            </p:custDataLst>
          </p:nvPr>
        </p:nvGrpSpPr>
        <p:grpSpPr>
          <a:xfrm>
            <a:off x="6336408" y="2556626"/>
            <a:ext cx="527920" cy="522878"/>
            <a:chOff x="2204546" y="2556626"/>
            <a:chExt cx="527920" cy="522878"/>
          </a:xfrm>
        </p:grpSpPr>
        <p:sp>
          <p:nvSpPr>
            <p:cNvPr id="33" name="Elipse 32">
              <a:extLst>
                <a:ext uri="{FF2B5EF4-FFF2-40B4-BE49-F238E27FC236}">
                  <a16:creationId xmlns:a16="http://schemas.microsoft.com/office/drawing/2014/main" id="{AB2DCF33-62F2-ABE9-80D3-E0FCE5528632}"/>
                </a:ext>
              </a:extLst>
            </p:cNvPr>
            <p:cNvSpPr/>
            <p:nvPr>
              <p:custDataLst>
                <p:tags r:id="rId38"/>
              </p:custDataLst>
            </p:nvPr>
          </p:nvSpPr>
          <p:spPr>
            <a:xfrm>
              <a:off x="2204546" y="2556626"/>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34" name="CaixaDeTexto 33">
              <a:extLst>
                <a:ext uri="{FF2B5EF4-FFF2-40B4-BE49-F238E27FC236}">
                  <a16:creationId xmlns:a16="http://schemas.microsoft.com/office/drawing/2014/main" id="{27C4CC58-07F8-825F-2E7D-0365808AF1A9}"/>
                </a:ext>
              </a:extLst>
            </p:cNvPr>
            <p:cNvSpPr txBox="1"/>
            <p:nvPr>
              <p:custDataLst>
                <p:tags r:id="rId39"/>
              </p:custDataLst>
            </p:nvPr>
          </p:nvSpPr>
          <p:spPr>
            <a:xfrm>
              <a:off x="2209588" y="2613966"/>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7</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35" name="Agrupar 34">
            <a:extLst>
              <a:ext uri="{FF2B5EF4-FFF2-40B4-BE49-F238E27FC236}">
                <a16:creationId xmlns:a16="http://schemas.microsoft.com/office/drawing/2014/main" id="{BCE193D1-2D62-0B6B-097E-70D2424115FE}"/>
              </a:ext>
            </a:extLst>
          </p:cNvPr>
          <p:cNvGrpSpPr/>
          <p:nvPr>
            <p:custDataLst>
              <p:tags r:id="rId12"/>
            </p:custDataLst>
          </p:nvPr>
        </p:nvGrpSpPr>
        <p:grpSpPr>
          <a:xfrm>
            <a:off x="6334416" y="3273876"/>
            <a:ext cx="524870" cy="522878"/>
            <a:chOff x="2202554" y="3273876"/>
            <a:chExt cx="524870" cy="522878"/>
          </a:xfrm>
        </p:grpSpPr>
        <p:sp>
          <p:nvSpPr>
            <p:cNvPr id="36" name="Elipse 35">
              <a:extLst>
                <a:ext uri="{FF2B5EF4-FFF2-40B4-BE49-F238E27FC236}">
                  <a16:creationId xmlns:a16="http://schemas.microsoft.com/office/drawing/2014/main" id="{EE2CFD6F-F064-FB7D-A5E1-4AEB7355A100}"/>
                </a:ext>
              </a:extLst>
            </p:cNvPr>
            <p:cNvSpPr/>
            <p:nvPr>
              <p:custDataLst>
                <p:tags r:id="rId36"/>
              </p:custDataLst>
            </p:nvPr>
          </p:nvSpPr>
          <p:spPr>
            <a:xfrm>
              <a:off x="2204546" y="3273876"/>
              <a:ext cx="522878" cy="522878"/>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sp>
          <p:nvSpPr>
            <p:cNvPr id="37" name="CaixaDeTexto 36">
              <a:extLst>
                <a:ext uri="{FF2B5EF4-FFF2-40B4-BE49-F238E27FC236}">
                  <a16:creationId xmlns:a16="http://schemas.microsoft.com/office/drawing/2014/main" id="{E4B3DE48-B5AC-5472-36C1-3D696FCE3211}"/>
                </a:ext>
              </a:extLst>
            </p:cNvPr>
            <p:cNvSpPr txBox="1"/>
            <p:nvPr>
              <p:custDataLst>
                <p:tags r:id="rId37"/>
              </p:custDataLst>
            </p:nvPr>
          </p:nvSpPr>
          <p:spPr>
            <a:xfrm>
              <a:off x="2202554" y="3320089"/>
              <a:ext cx="522878" cy="458587"/>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800" b="1" noProof="0" dirty="0">
                  <a:solidFill>
                    <a:schemeClr val="bg1"/>
                  </a:solidFill>
                  <a:latin typeface="Segoe UI Black" panose="020B0A02040204020203" pitchFamily="34" charset="0"/>
                  <a:ea typeface="Segoe UI Black" panose="020B0A02040204020203" pitchFamily="34" charset="0"/>
                  <a:cs typeface="Segoe UI" panose="020B0502040204020203" pitchFamily="34" charset="0"/>
                </a:rPr>
                <a:t>8</a:t>
              </a:r>
              <a:endParaRPr kumimoji="0" lang="pt-BR" sz="2800" b="1" i="0" u="none" strike="noStrike" kern="1200" cap="none" normalizeH="0" baseline="0" noProof="0" dirty="0">
                <a:ln>
                  <a:noFill/>
                </a:ln>
                <a:solidFill>
                  <a:schemeClr val="bg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cxnSp>
        <p:nvCxnSpPr>
          <p:cNvPr id="39" name="Conector reto 38">
            <a:extLst>
              <a:ext uri="{FF2B5EF4-FFF2-40B4-BE49-F238E27FC236}">
                <a16:creationId xmlns:a16="http://schemas.microsoft.com/office/drawing/2014/main" id="{09AACB9D-15A9-730F-8DAA-D074244540E0}"/>
              </a:ext>
            </a:extLst>
          </p:cNvPr>
          <p:cNvCxnSpPr/>
          <p:nvPr>
            <p:custDataLst>
              <p:tags r:id="rId13"/>
            </p:custDataLst>
          </p:nvPr>
        </p:nvCxnSpPr>
        <p:spPr>
          <a:xfrm rot="5400000" flipH="1">
            <a:off x="3272578" y="832601"/>
            <a:ext cx="0" cy="1059561"/>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40" name="Conector reto 39">
            <a:extLst>
              <a:ext uri="{FF2B5EF4-FFF2-40B4-BE49-F238E27FC236}">
                <a16:creationId xmlns:a16="http://schemas.microsoft.com/office/drawing/2014/main" id="{8935F51D-CA08-68ED-98B0-568572D31436}"/>
              </a:ext>
            </a:extLst>
          </p:cNvPr>
          <p:cNvCxnSpPr/>
          <p:nvPr>
            <p:custDataLst>
              <p:tags r:id="rId14"/>
            </p:custDataLst>
          </p:nvPr>
        </p:nvCxnSpPr>
        <p:spPr>
          <a:xfrm flipH="1">
            <a:off x="2742798" y="2065767"/>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47" name="Conector reto 46">
            <a:extLst>
              <a:ext uri="{FF2B5EF4-FFF2-40B4-BE49-F238E27FC236}">
                <a16:creationId xmlns:a16="http://schemas.microsoft.com/office/drawing/2014/main" id="{5F01694B-83B6-0437-658B-9D36F9FFA6A0}"/>
              </a:ext>
            </a:extLst>
          </p:cNvPr>
          <p:cNvCxnSpPr/>
          <p:nvPr>
            <p:custDataLst>
              <p:tags r:id="rId15"/>
            </p:custDataLst>
          </p:nvPr>
        </p:nvCxnSpPr>
        <p:spPr>
          <a:xfrm flipH="1">
            <a:off x="2742798" y="2769152"/>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48" name="Conector reto 47">
            <a:extLst>
              <a:ext uri="{FF2B5EF4-FFF2-40B4-BE49-F238E27FC236}">
                <a16:creationId xmlns:a16="http://schemas.microsoft.com/office/drawing/2014/main" id="{315CC81C-FF28-9E3E-E8C1-9647C1D6E283}"/>
              </a:ext>
            </a:extLst>
          </p:cNvPr>
          <p:cNvCxnSpPr/>
          <p:nvPr>
            <p:custDataLst>
              <p:tags r:id="rId16"/>
            </p:custDataLst>
          </p:nvPr>
        </p:nvCxnSpPr>
        <p:spPr>
          <a:xfrm flipH="1">
            <a:off x="2742798" y="3556943"/>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51" name="Conector reto 50">
            <a:extLst>
              <a:ext uri="{FF2B5EF4-FFF2-40B4-BE49-F238E27FC236}">
                <a16:creationId xmlns:a16="http://schemas.microsoft.com/office/drawing/2014/main" id="{0B3B26B9-0751-1FD7-B138-5585402B9D87}"/>
              </a:ext>
            </a:extLst>
          </p:cNvPr>
          <p:cNvCxnSpPr/>
          <p:nvPr>
            <p:custDataLst>
              <p:tags r:id="rId17"/>
            </p:custDataLst>
          </p:nvPr>
        </p:nvCxnSpPr>
        <p:spPr>
          <a:xfrm rot="16200000" flipH="1">
            <a:off x="5735833" y="832601"/>
            <a:ext cx="0" cy="1059561"/>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52" name="Conector reto 51">
            <a:extLst>
              <a:ext uri="{FF2B5EF4-FFF2-40B4-BE49-F238E27FC236}">
                <a16:creationId xmlns:a16="http://schemas.microsoft.com/office/drawing/2014/main" id="{DDCF45F5-07F2-2A3F-0036-8A2EB3D6C605}"/>
              </a:ext>
            </a:extLst>
          </p:cNvPr>
          <p:cNvCxnSpPr/>
          <p:nvPr>
            <p:custDataLst>
              <p:tags r:id="rId18"/>
            </p:custDataLst>
          </p:nvPr>
        </p:nvCxnSpPr>
        <p:spPr>
          <a:xfrm>
            <a:off x="5723605" y="2065767"/>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53" name="Conector reto 52">
            <a:extLst>
              <a:ext uri="{FF2B5EF4-FFF2-40B4-BE49-F238E27FC236}">
                <a16:creationId xmlns:a16="http://schemas.microsoft.com/office/drawing/2014/main" id="{1542B009-1D56-3C8D-3FAA-66232B2073BC}"/>
              </a:ext>
            </a:extLst>
          </p:cNvPr>
          <p:cNvCxnSpPr/>
          <p:nvPr>
            <p:custDataLst>
              <p:tags r:id="rId19"/>
            </p:custDataLst>
          </p:nvPr>
        </p:nvCxnSpPr>
        <p:spPr>
          <a:xfrm>
            <a:off x="5723605" y="2769152"/>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54" name="Conector reto 53">
            <a:extLst>
              <a:ext uri="{FF2B5EF4-FFF2-40B4-BE49-F238E27FC236}">
                <a16:creationId xmlns:a16="http://schemas.microsoft.com/office/drawing/2014/main" id="{98339548-DE50-D480-8AAD-775ABF3B7AF8}"/>
              </a:ext>
            </a:extLst>
          </p:cNvPr>
          <p:cNvCxnSpPr/>
          <p:nvPr>
            <p:custDataLst>
              <p:tags r:id="rId20"/>
            </p:custDataLst>
          </p:nvPr>
        </p:nvCxnSpPr>
        <p:spPr>
          <a:xfrm>
            <a:off x="5723605" y="3556943"/>
            <a:ext cx="542008" cy="0"/>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55" name="CaixaDeTexto 54">
            <a:extLst>
              <a:ext uri="{FF2B5EF4-FFF2-40B4-BE49-F238E27FC236}">
                <a16:creationId xmlns:a16="http://schemas.microsoft.com/office/drawing/2014/main" id="{47B37625-9168-5755-3395-25FCBAFC4C1E}"/>
              </a:ext>
            </a:extLst>
          </p:cNvPr>
          <p:cNvSpPr txBox="1"/>
          <p:nvPr>
            <p:custDataLst>
              <p:tags r:id="rId21"/>
            </p:custDataLst>
          </p:nvPr>
        </p:nvSpPr>
        <p:spPr>
          <a:xfrm>
            <a:off x="511865" y="1105666"/>
            <a:ext cx="1607077" cy="56015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60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Corporate</a:t>
            </a:r>
            <a:r>
              <a:rPr lang="en-US"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 </a:t>
            </a:r>
            <a:r>
              <a:rPr lang="en-US" sz="1600" b="1" i="0" u="none" strike="noStrike" cap="none" spc="0" baseline="0" dirty="0">
                <a:solidFill>
                  <a:srgbClr val="005FD7"/>
                </a:solidFill>
                <a:effectLst/>
                <a:uFillTx/>
                <a:latin typeface="Segoe UI" panose="020B0502040204020203" pitchFamily="34" charset="0"/>
                <a:ea typeface="Segoe UI" panose="020B0502040204020203" pitchFamily="34" charset="0"/>
                <a:cs typeface="Segoe UI" panose="020B0502040204020203" pitchFamily="34" charset="0"/>
              </a:rPr>
              <a:t>Governance</a:t>
            </a:r>
          </a:p>
        </p:txBody>
      </p:sp>
      <p:sp>
        <p:nvSpPr>
          <p:cNvPr id="60" name="CaixaDeTexto 59">
            <a:extLst>
              <a:ext uri="{FF2B5EF4-FFF2-40B4-BE49-F238E27FC236}">
                <a16:creationId xmlns:a16="http://schemas.microsoft.com/office/drawing/2014/main" id="{0DCAAFFE-0839-A07A-A62B-9A0255B0E3DE}"/>
              </a:ext>
            </a:extLst>
          </p:cNvPr>
          <p:cNvSpPr txBox="1"/>
          <p:nvPr>
            <p:custDataLst>
              <p:tags r:id="rId22"/>
            </p:custDataLst>
          </p:nvPr>
        </p:nvSpPr>
        <p:spPr>
          <a:xfrm>
            <a:off x="385854" y="1824733"/>
            <a:ext cx="1733089" cy="482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600" i="0" u="none" strike="noStrike" cap="none" spc="0" baseline="0" dirty="0">
                <a:solidFill>
                  <a:srgbClr val="011F57"/>
                </a:solidFill>
                <a:effectLst/>
                <a:uFillTx/>
                <a:latin typeface="Segoe UI"/>
              </a:rPr>
              <a:t>Visible</a:t>
            </a:r>
            <a:r>
              <a:rPr lang="en-US" sz="1600" b="1" i="0" u="none" strike="noStrike" cap="none" spc="0" baseline="0" dirty="0">
                <a:solidFill>
                  <a:srgbClr val="005FD7"/>
                </a:solidFill>
                <a:effectLst/>
                <a:uFillTx/>
                <a:latin typeface="Segoe UI"/>
              </a:rPr>
              <a:t> </a:t>
            </a:r>
            <a:r>
              <a:rPr lang="en-US" sz="1600" b="0" i="0" u="none" strike="noStrike" cap="none" spc="0" baseline="0" dirty="0">
                <a:solidFill>
                  <a:srgbClr val="011F57"/>
                </a:solidFill>
                <a:effectLst/>
                <a:uFillTx/>
                <a:latin typeface="Segoe UI Light"/>
              </a:rPr>
              <a:t> </a:t>
            </a:r>
            <a:r>
              <a:rPr lang="en-US" sz="1600" b="1" i="0" u="none" strike="noStrike" cap="none" spc="0" baseline="0" dirty="0">
                <a:solidFill>
                  <a:srgbClr val="005FD7"/>
                </a:solidFill>
                <a:effectLst/>
                <a:uFillTx/>
                <a:latin typeface="Segoe UI"/>
              </a:rPr>
              <a:t>leadership</a:t>
            </a:r>
          </a:p>
        </p:txBody>
      </p:sp>
      <p:sp>
        <p:nvSpPr>
          <p:cNvPr id="61" name="CaixaDeTexto 60">
            <a:extLst>
              <a:ext uri="{FF2B5EF4-FFF2-40B4-BE49-F238E27FC236}">
                <a16:creationId xmlns:a16="http://schemas.microsoft.com/office/drawing/2014/main" id="{49232433-1BBB-FEF1-5454-1E3732D418E5}"/>
              </a:ext>
            </a:extLst>
          </p:cNvPr>
          <p:cNvSpPr txBox="1"/>
          <p:nvPr>
            <p:custDataLst>
              <p:tags r:id="rId23"/>
            </p:custDataLst>
          </p:nvPr>
        </p:nvSpPr>
        <p:spPr>
          <a:xfrm>
            <a:off x="385854" y="2698603"/>
            <a:ext cx="1733089"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600" b="1" i="0" u="none" strike="noStrike" cap="none" spc="0" baseline="0" dirty="0">
                <a:solidFill>
                  <a:srgbClr val="005FD7"/>
                </a:solidFill>
                <a:effectLst/>
                <a:uFillTx/>
                <a:latin typeface="Segoe UI"/>
              </a:rPr>
              <a:t>Cultural</a:t>
            </a:r>
            <a:r>
              <a:rPr lang="en-US" sz="1600" spc="0" dirty="0">
                <a:solidFill>
                  <a:srgbClr val="005FD7"/>
                </a:solidFill>
                <a:latin typeface="Segoe UI"/>
              </a:rPr>
              <a:t> </a:t>
            </a:r>
            <a:r>
              <a:rPr lang="en-US" sz="1600" i="0" u="none" strike="noStrike" cap="none" spc="0" baseline="0" dirty="0">
                <a:solidFill>
                  <a:srgbClr val="011F57"/>
                </a:solidFill>
                <a:effectLst/>
                <a:uFillTx/>
                <a:latin typeface="Segoe UI"/>
              </a:rPr>
              <a:t>rituals </a:t>
            </a:r>
          </a:p>
        </p:txBody>
      </p:sp>
      <p:sp>
        <p:nvSpPr>
          <p:cNvPr id="62" name="CaixaDeTexto 61">
            <a:extLst>
              <a:ext uri="{FF2B5EF4-FFF2-40B4-BE49-F238E27FC236}">
                <a16:creationId xmlns:a16="http://schemas.microsoft.com/office/drawing/2014/main" id="{75B159E3-BAF8-382D-4D39-8747C06B635B}"/>
              </a:ext>
            </a:extLst>
          </p:cNvPr>
          <p:cNvSpPr txBox="1"/>
          <p:nvPr>
            <p:custDataLst>
              <p:tags r:id="rId24"/>
            </p:custDataLst>
          </p:nvPr>
        </p:nvSpPr>
        <p:spPr>
          <a:xfrm>
            <a:off x="385854" y="3317464"/>
            <a:ext cx="1733089"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600" b="1" i="0" u="none" strike="noStrike" cap="none" spc="0" baseline="0" dirty="0">
                <a:solidFill>
                  <a:srgbClr val="005FD7"/>
                </a:solidFill>
                <a:effectLst/>
                <a:uFillTx/>
                <a:latin typeface="Segoe UI"/>
              </a:rPr>
              <a:t>Information</a:t>
            </a:r>
            <a:r>
              <a:rPr lang="en-US" sz="1600" b="0" i="0" u="none" strike="noStrike" cap="none" spc="0" baseline="0" dirty="0">
                <a:solidFill>
                  <a:srgbClr val="005FD7"/>
                </a:solidFill>
                <a:effectLst/>
                <a:uFillTx/>
                <a:latin typeface="Segoe UI"/>
              </a:rPr>
              <a:t> </a:t>
            </a:r>
            <a:r>
              <a:rPr lang="en-US" sz="1600" i="0" u="none" strike="noStrike" cap="none" spc="0" baseline="0" dirty="0">
                <a:solidFill>
                  <a:srgbClr val="011F57"/>
                </a:solidFill>
                <a:effectLst/>
                <a:uFillTx/>
                <a:latin typeface="Segoe UI"/>
              </a:rPr>
              <a:t>management</a:t>
            </a:r>
          </a:p>
        </p:txBody>
      </p:sp>
      <p:sp>
        <p:nvSpPr>
          <p:cNvPr id="63" name="CaixaDeTexto 62">
            <a:extLst>
              <a:ext uri="{FF2B5EF4-FFF2-40B4-BE49-F238E27FC236}">
                <a16:creationId xmlns:a16="http://schemas.microsoft.com/office/drawing/2014/main" id="{08092717-21F5-3E68-7DC0-DF7266520704}"/>
              </a:ext>
            </a:extLst>
          </p:cNvPr>
          <p:cNvSpPr txBox="1"/>
          <p:nvPr>
            <p:custDataLst>
              <p:tags r:id="rId25"/>
            </p:custDataLst>
          </p:nvPr>
        </p:nvSpPr>
        <p:spPr>
          <a:xfrm>
            <a:off x="6880596" y="1142600"/>
            <a:ext cx="1920986"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600" b="1" i="0" u="none" strike="noStrike" cap="none" spc="0" baseline="0" dirty="0">
                <a:solidFill>
                  <a:srgbClr val="005FD7"/>
                </a:solidFill>
                <a:effectLst/>
                <a:uFillTx/>
                <a:latin typeface="Segoe UI"/>
              </a:rPr>
              <a:t>Technical </a:t>
            </a:r>
            <a:r>
              <a:rPr lang="en-US" sz="1600" i="0" u="none" strike="noStrike" cap="none" spc="0" baseline="0" dirty="0">
                <a:solidFill>
                  <a:srgbClr val="011F57"/>
                </a:solidFill>
                <a:effectLst/>
                <a:uFillTx/>
                <a:latin typeface="Segoe UI"/>
              </a:rPr>
              <a:t>field</a:t>
            </a:r>
            <a:r>
              <a:rPr lang="en-US" sz="1600" b="1" i="0" u="none" strike="noStrike" cap="none" spc="0" baseline="0" dirty="0">
                <a:solidFill>
                  <a:srgbClr val="011F57"/>
                </a:solidFill>
                <a:effectLst/>
                <a:uFillTx/>
                <a:latin typeface="Segoe UI"/>
              </a:rPr>
              <a:t> </a:t>
            </a:r>
            <a:r>
              <a:rPr lang="en-US" sz="1600" b="1" i="0" u="none" strike="noStrike" cap="none" spc="0" baseline="0" dirty="0">
                <a:solidFill>
                  <a:srgbClr val="005FD7"/>
                </a:solidFill>
                <a:effectLst/>
                <a:uFillTx/>
                <a:latin typeface="Segoe UI"/>
              </a:rPr>
              <a:t>knowledge</a:t>
            </a:r>
          </a:p>
        </p:txBody>
      </p:sp>
      <p:sp>
        <p:nvSpPr>
          <p:cNvPr id="64" name="CaixaDeTexto 63">
            <a:extLst>
              <a:ext uri="{FF2B5EF4-FFF2-40B4-BE49-F238E27FC236}">
                <a16:creationId xmlns:a16="http://schemas.microsoft.com/office/drawing/2014/main" id="{208F5E07-1E2E-7016-282A-A658900233A2}"/>
              </a:ext>
            </a:extLst>
          </p:cNvPr>
          <p:cNvSpPr txBox="1"/>
          <p:nvPr>
            <p:custDataLst>
              <p:tags r:id="rId26"/>
            </p:custDataLst>
          </p:nvPr>
        </p:nvSpPr>
        <p:spPr>
          <a:xfrm>
            <a:off x="6880592" y="1921111"/>
            <a:ext cx="1976992"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600" b="1" i="0" u="none" strike="noStrike" cap="none" spc="0" baseline="0" dirty="0">
                <a:solidFill>
                  <a:srgbClr val="005FD7"/>
                </a:solidFill>
                <a:effectLst/>
                <a:uFillTx/>
                <a:latin typeface="Segoe UI"/>
              </a:rPr>
              <a:t>Risk</a:t>
            </a:r>
            <a:r>
              <a:rPr lang="en-US" sz="1600" b="0" i="0" u="none" strike="noStrike" cap="none" spc="0" baseline="0" dirty="0">
                <a:solidFill>
                  <a:srgbClr val="011F57"/>
                </a:solidFill>
                <a:effectLst/>
                <a:uFillTx/>
                <a:latin typeface="Segoe UI"/>
              </a:rPr>
              <a:t> perception</a:t>
            </a:r>
          </a:p>
        </p:txBody>
      </p:sp>
      <p:sp>
        <p:nvSpPr>
          <p:cNvPr id="65" name="CaixaDeTexto 64">
            <a:extLst>
              <a:ext uri="{FF2B5EF4-FFF2-40B4-BE49-F238E27FC236}">
                <a16:creationId xmlns:a16="http://schemas.microsoft.com/office/drawing/2014/main" id="{0B5F16BA-4410-FC59-D655-A3A5118F3A3A}"/>
              </a:ext>
            </a:extLst>
          </p:cNvPr>
          <p:cNvSpPr txBox="1"/>
          <p:nvPr>
            <p:custDataLst>
              <p:tags r:id="rId27"/>
            </p:custDataLst>
          </p:nvPr>
        </p:nvSpPr>
        <p:spPr>
          <a:xfrm>
            <a:off x="6880596" y="2600115"/>
            <a:ext cx="140668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600" b="1" i="0" u="none" strike="noStrike" cap="none" spc="0" baseline="0" dirty="0">
                <a:solidFill>
                  <a:srgbClr val="005FD7"/>
                </a:solidFill>
                <a:effectLst/>
                <a:uFillTx/>
                <a:latin typeface="Segoe UI"/>
              </a:rPr>
              <a:t>Control</a:t>
            </a:r>
            <a:r>
              <a:rPr lang="en-US" sz="1600" b="0" i="0" u="none" strike="noStrike" cap="none" spc="0" baseline="0" dirty="0">
                <a:solidFill>
                  <a:srgbClr val="005FD7"/>
                </a:solidFill>
                <a:effectLst/>
                <a:uFillTx/>
                <a:latin typeface="Segoe UI"/>
              </a:rPr>
              <a:t> </a:t>
            </a:r>
            <a:r>
              <a:rPr lang="en-US" sz="1600" b="0" i="0" u="none" strike="noStrike" cap="none" spc="0" baseline="0" dirty="0">
                <a:solidFill>
                  <a:srgbClr val="011F57"/>
                </a:solidFill>
                <a:effectLst/>
                <a:uFillTx/>
                <a:latin typeface="Segoe UI"/>
              </a:rPr>
              <a:t>hierarchies</a:t>
            </a:r>
          </a:p>
        </p:txBody>
      </p:sp>
      <p:sp>
        <p:nvSpPr>
          <p:cNvPr id="66" name="CaixaDeTexto 65">
            <a:extLst>
              <a:ext uri="{FF2B5EF4-FFF2-40B4-BE49-F238E27FC236}">
                <a16:creationId xmlns:a16="http://schemas.microsoft.com/office/drawing/2014/main" id="{07F14C22-64C3-145F-DA4B-FAF605A6F7C8}"/>
              </a:ext>
            </a:extLst>
          </p:cNvPr>
          <p:cNvSpPr txBox="1"/>
          <p:nvPr>
            <p:custDataLst>
              <p:tags r:id="rId28"/>
            </p:custDataLst>
          </p:nvPr>
        </p:nvSpPr>
        <p:spPr>
          <a:xfrm>
            <a:off x="6880596" y="3415952"/>
            <a:ext cx="1733089"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600" b="1" i="0" u="none" strike="noStrike" cap="none" spc="0" baseline="0" dirty="0">
                <a:solidFill>
                  <a:srgbClr val="005FD7"/>
                </a:solidFill>
                <a:effectLst/>
                <a:uFillTx/>
                <a:latin typeface="Segoe UI"/>
              </a:rPr>
              <a:t>Productivity </a:t>
            </a:r>
          </a:p>
        </p:txBody>
      </p:sp>
      <p:grpSp>
        <p:nvGrpSpPr>
          <p:cNvPr id="84" name="Agrupar 83">
            <a:extLst>
              <a:ext uri="{FF2B5EF4-FFF2-40B4-BE49-F238E27FC236}">
                <a16:creationId xmlns:a16="http://schemas.microsoft.com/office/drawing/2014/main" id="{432BBF19-5A43-7FB8-3623-21E742762196}"/>
              </a:ext>
            </a:extLst>
          </p:cNvPr>
          <p:cNvGrpSpPr/>
          <p:nvPr>
            <p:custDataLst>
              <p:tags r:id="rId29"/>
            </p:custDataLst>
          </p:nvPr>
        </p:nvGrpSpPr>
        <p:grpSpPr>
          <a:xfrm flipH="1">
            <a:off x="2047402" y="4050348"/>
            <a:ext cx="1263576" cy="1270628"/>
            <a:chOff x="3472635" y="786320"/>
            <a:chExt cx="950037" cy="955339"/>
          </a:xfrm>
          <a:gradFill>
            <a:gsLst>
              <a:gs pos="0">
                <a:srgbClr val="306FE4"/>
              </a:gs>
              <a:gs pos="100000">
                <a:srgbClr val="193A8D"/>
              </a:gs>
            </a:gsLst>
            <a:lin ang="5400000" scaled="1"/>
          </a:gradFill>
        </p:grpSpPr>
        <p:sp>
          <p:nvSpPr>
            <p:cNvPr id="85" name="Forma Livre: Forma 84">
              <a:extLst>
                <a:ext uri="{FF2B5EF4-FFF2-40B4-BE49-F238E27FC236}">
                  <a16:creationId xmlns:a16="http://schemas.microsoft.com/office/drawing/2014/main" id="{7B3616F1-8D24-1A24-1EA1-09694BFBEE94}"/>
                </a:ext>
              </a:extLst>
            </p:cNvPr>
            <p:cNvSpPr/>
            <p:nvPr>
              <p:custDataLst>
                <p:tags r:id="rId30"/>
              </p:custDataLst>
            </p:nvPr>
          </p:nvSpPr>
          <p:spPr>
            <a:xfrm>
              <a:off x="3489321" y="786320"/>
              <a:ext cx="933351" cy="940323"/>
            </a:xfrm>
            <a:custGeom>
              <a:avLst/>
              <a:gdLst>
                <a:gd name="connsiteX0" fmla="*/ 409552 w 933351"/>
                <a:gd name="connsiteY0" fmla="*/ 940323 h 940323"/>
                <a:gd name="connsiteX1" fmla="*/ 126327 w 933351"/>
                <a:gd name="connsiteY1" fmla="*/ 814302 h 940323"/>
                <a:gd name="connsiteX2" fmla="*/ 126399 w 933351"/>
                <a:gd name="connsiteY2" fmla="*/ 780390 h 940323"/>
                <a:gd name="connsiteX3" fmla="*/ 160311 w 933351"/>
                <a:gd name="connsiteY3" fmla="*/ 780461 h 940323"/>
                <a:gd name="connsiteX4" fmla="*/ 433549 w 933351"/>
                <a:gd name="connsiteY4" fmla="*/ 891323 h 940323"/>
                <a:gd name="connsiteX5" fmla="*/ 700824 w 933351"/>
                <a:gd name="connsiteY5" fmla="*/ 714792 h 940323"/>
                <a:gd name="connsiteX6" fmla="*/ 882240 w 933351"/>
                <a:gd name="connsiteY6" fmla="*/ 51133 h 940323"/>
                <a:gd name="connsiteX7" fmla="*/ 212186 w 933351"/>
                <a:gd name="connsiteY7" fmla="*/ 229100 h 940323"/>
                <a:gd name="connsiteX8" fmla="*/ 110736 w 933351"/>
                <a:gd name="connsiteY8" fmla="*/ 719678 h 940323"/>
                <a:gd name="connsiteX9" fmla="*/ 103911 w 933351"/>
                <a:gd name="connsiteY9" fmla="*/ 752872 h 940323"/>
                <a:gd name="connsiteX10" fmla="*/ 70717 w 933351"/>
                <a:gd name="connsiteY10" fmla="*/ 746046 h 940323"/>
                <a:gd name="connsiteX11" fmla="*/ 184237 w 933351"/>
                <a:gd name="connsiteY11" fmla="*/ 190159 h 940323"/>
                <a:gd name="connsiteX12" fmla="*/ 906956 w 933351"/>
                <a:gd name="connsiteY12" fmla="*/ 121 h 940323"/>
                <a:gd name="connsiteX13" fmla="*/ 926283 w 933351"/>
                <a:gd name="connsiteY13" fmla="*/ 6946 h 940323"/>
                <a:gd name="connsiteX14" fmla="*/ 933252 w 933351"/>
                <a:gd name="connsiteY14" fmla="*/ 26202 h 940323"/>
                <a:gd name="connsiteX15" fmla="*/ 739981 w 933351"/>
                <a:gd name="connsiteY15" fmla="*/ 742382 h 940323"/>
                <a:gd name="connsiteX16" fmla="*/ 437573 w 933351"/>
                <a:gd name="connsiteY16" fmla="*/ 939030 h 940323"/>
                <a:gd name="connsiteX17" fmla="*/ 409552 w 933351"/>
                <a:gd name="connsiteY17" fmla="*/ 940180 h 94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3351" h="940323">
                  <a:moveTo>
                    <a:pt x="409552" y="940323"/>
                  </a:moveTo>
                  <a:cubicBezTo>
                    <a:pt x="308749" y="940323"/>
                    <a:pt x="206941" y="895346"/>
                    <a:pt x="126327" y="814302"/>
                  </a:cubicBezTo>
                  <a:cubicBezTo>
                    <a:pt x="116987" y="804890"/>
                    <a:pt x="117059" y="789730"/>
                    <a:pt x="126399" y="780390"/>
                  </a:cubicBezTo>
                  <a:cubicBezTo>
                    <a:pt x="135811" y="771049"/>
                    <a:pt x="150971" y="771121"/>
                    <a:pt x="160311" y="780461"/>
                  </a:cubicBezTo>
                  <a:cubicBezTo>
                    <a:pt x="238410" y="858919"/>
                    <a:pt x="337920" y="899298"/>
                    <a:pt x="433549" y="891323"/>
                  </a:cubicBezTo>
                  <a:cubicBezTo>
                    <a:pt x="532628" y="882989"/>
                    <a:pt x="625096" y="821990"/>
                    <a:pt x="700824" y="714792"/>
                  </a:cubicBezTo>
                  <a:cubicBezTo>
                    <a:pt x="816715" y="550907"/>
                    <a:pt x="869379" y="161348"/>
                    <a:pt x="882240" y="51133"/>
                  </a:cubicBezTo>
                  <a:cubicBezTo>
                    <a:pt x="769510" y="64568"/>
                    <a:pt x="364934" y="119460"/>
                    <a:pt x="212186" y="229100"/>
                  </a:cubicBezTo>
                  <a:cubicBezTo>
                    <a:pt x="68562" y="332274"/>
                    <a:pt x="-18518" y="523964"/>
                    <a:pt x="110736" y="719678"/>
                  </a:cubicBezTo>
                  <a:cubicBezTo>
                    <a:pt x="118065" y="730743"/>
                    <a:pt x="114975" y="745615"/>
                    <a:pt x="103911" y="752872"/>
                  </a:cubicBezTo>
                  <a:cubicBezTo>
                    <a:pt x="92846" y="760200"/>
                    <a:pt x="77974" y="757111"/>
                    <a:pt x="70717" y="746046"/>
                  </a:cubicBezTo>
                  <a:cubicBezTo>
                    <a:pt x="-35043" y="585897"/>
                    <a:pt x="-41007" y="351888"/>
                    <a:pt x="184237" y="190159"/>
                  </a:cubicBezTo>
                  <a:cubicBezTo>
                    <a:pt x="371976" y="55372"/>
                    <a:pt x="885185" y="2276"/>
                    <a:pt x="906956" y="121"/>
                  </a:cubicBezTo>
                  <a:cubicBezTo>
                    <a:pt x="914140" y="-598"/>
                    <a:pt x="921181" y="1917"/>
                    <a:pt x="926283" y="6946"/>
                  </a:cubicBezTo>
                  <a:cubicBezTo>
                    <a:pt x="931384" y="11976"/>
                    <a:pt x="933899" y="19089"/>
                    <a:pt x="933252" y="26202"/>
                  </a:cubicBezTo>
                  <a:cubicBezTo>
                    <a:pt x="931240" y="47109"/>
                    <a:pt x="882312" y="541208"/>
                    <a:pt x="739981" y="742382"/>
                  </a:cubicBezTo>
                  <a:cubicBezTo>
                    <a:pt x="655775" y="861506"/>
                    <a:pt x="551164" y="929474"/>
                    <a:pt x="437573" y="939030"/>
                  </a:cubicBezTo>
                  <a:cubicBezTo>
                    <a:pt x="428232" y="939820"/>
                    <a:pt x="418892" y="940180"/>
                    <a:pt x="409552" y="940180"/>
                  </a:cubicBezTo>
                  <a:close/>
                </a:path>
              </a:pathLst>
            </a:custGeom>
            <a:grpFill/>
            <a:ln w="0" cap="flat">
              <a:noFill/>
              <a:prstDash val="solid"/>
              <a:miter/>
            </a:ln>
          </p:spPr>
          <p:txBody>
            <a:bodyPr rtlCol="0" anchor="ctr"/>
            <a:lstStyle/>
            <a:p>
              <a:endParaRPr lang="pt-BR" dirty="0"/>
            </a:p>
          </p:txBody>
        </p:sp>
        <p:sp>
          <p:nvSpPr>
            <p:cNvPr id="86" name="Forma Livre: Forma 85">
              <a:extLst>
                <a:ext uri="{FF2B5EF4-FFF2-40B4-BE49-F238E27FC236}">
                  <a16:creationId xmlns:a16="http://schemas.microsoft.com/office/drawing/2014/main" id="{9154B5C7-1B94-E7E1-A2E9-CABF86B4E015}"/>
                </a:ext>
              </a:extLst>
            </p:cNvPr>
            <p:cNvSpPr/>
            <p:nvPr>
              <p:custDataLst>
                <p:tags r:id="rId31"/>
              </p:custDataLst>
            </p:nvPr>
          </p:nvSpPr>
          <p:spPr>
            <a:xfrm>
              <a:off x="3760031" y="1413425"/>
              <a:ext cx="324529" cy="73892"/>
            </a:xfrm>
            <a:custGeom>
              <a:avLst/>
              <a:gdLst>
                <a:gd name="connsiteX0" fmla="*/ 300644 w 324529"/>
                <a:gd name="connsiteY0" fmla="*/ 73892 h 73892"/>
                <a:gd name="connsiteX1" fmla="*/ 298345 w 324529"/>
                <a:gd name="connsiteY1" fmla="*/ 73749 h 73892"/>
                <a:gd name="connsiteX2" fmla="*/ 21730 w 324529"/>
                <a:gd name="connsiteY2" fmla="*/ 47812 h 73892"/>
                <a:gd name="connsiteX3" fmla="*/ 104 w 324529"/>
                <a:gd name="connsiteY3" fmla="*/ 21731 h 73892"/>
                <a:gd name="connsiteX4" fmla="*/ 26185 w 324529"/>
                <a:gd name="connsiteY4" fmla="*/ 104 h 73892"/>
                <a:gd name="connsiteX5" fmla="*/ 302799 w 324529"/>
                <a:gd name="connsiteY5" fmla="*/ 26042 h 73892"/>
                <a:gd name="connsiteX6" fmla="*/ 324426 w 324529"/>
                <a:gd name="connsiteY6" fmla="*/ 52122 h 73892"/>
                <a:gd name="connsiteX7" fmla="*/ 300572 w 324529"/>
                <a:gd name="connsiteY7" fmla="*/ 73820 h 7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29" h="73892">
                  <a:moveTo>
                    <a:pt x="300644" y="73892"/>
                  </a:moveTo>
                  <a:cubicBezTo>
                    <a:pt x="299925" y="73892"/>
                    <a:pt x="299135" y="73892"/>
                    <a:pt x="298345" y="73749"/>
                  </a:cubicBezTo>
                  <a:lnTo>
                    <a:pt x="21730" y="47812"/>
                  </a:lnTo>
                  <a:cubicBezTo>
                    <a:pt x="8582" y="46590"/>
                    <a:pt x="-1118" y="34879"/>
                    <a:pt x="104" y="21731"/>
                  </a:cubicBezTo>
                  <a:cubicBezTo>
                    <a:pt x="1325" y="8511"/>
                    <a:pt x="13037" y="-1117"/>
                    <a:pt x="26185" y="104"/>
                  </a:cubicBezTo>
                  <a:lnTo>
                    <a:pt x="302799" y="26042"/>
                  </a:lnTo>
                  <a:cubicBezTo>
                    <a:pt x="315948" y="27263"/>
                    <a:pt x="325647" y="38974"/>
                    <a:pt x="324426" y="52122"/>
                  </a:cubicBezTo>
                  <a:cubicBezTo>
                    <a:pt x="323276" y="64552"/>
                    <a:pt x="312786" y="73820"/>
                    <a:pt x="300572" y="73820"/>
                  </a:cubicBezTo>
                  <a:close/>
                </a:path>
              </a:pathLst>
            </a:custGeom>
            <a:grpFill/>
            <a:ln w="0" cap="flat">
              <a:noFill/>
              <a:prstDash val="solid"/>
              <a:miter/>
            </a:ln>
          </p:spPr>
          <p:txBody>
            <a:bodyPr rtlCol="0" anchor="ctr"/>
            <a:lstStyle/>
            <a:p>
              <a:endParaRPr lang="pt-BR" dirty="0"/>
            </a:p>
          </p:txBody>
        </p:sp>
        <p:sp>
          <p:nvSpPr>
            <p:cNvPr id="87" name="Forma Livre: Forma 86">
              <a:extLst>
                <a:ext uri="{FF2B5EF4-FFF2-40B4-BE49-F238E27FC236}">
                  <a16:creationId xmlns:a16="http://schemas.microsoft.com/office/drawing/2014/main" id="{BD67414A-4234-F1F0-FF28-2E9B0B8F5E44}"/>
                </a:ext>
              </a:extLst>
            </p:cNvPr>
            <p:cNvSpPr/>
            <p:nvPr>
              <p:custDataLst>
                <p:tags r:id="rId32"/>
              </p:custDataLst>
            </p:nvPr>
          </p:nvSpPr>
          <p:spPr>
            <a:xfrm>
              <a:off x="3939072" y="1232422"/>
              <a:ext cx="227901" cy="57672"/>
            </a:xfrm>
            <a:custGeom>
              <a:avLst/>
              <a:gdLst>
                <a:gd name="connsiteX0" fmla="*/ 203941 w 227901"/>
                <a:gd name="connsiteY0" fmla="*/ 57673 h 57672"/>
                <a:gd name="connsiteX1" fmla="*/ 202647 w 227901"/>
                <a:gd name="connsiteY1" fmla="*/ 57673 h 57672"/>
                <a:gd name="connsiteX2" fmla="*/ 22668 w 227901"/>
                <a:gd name="connsiteY2" fmla="*/ 47901 h 57672"/>
                <a:gd name="connsiteX3" fmla="*/ 36 w 227901"/>
                <a:gd name="connsiteY3" fmla="*/ 22683 h 57672"/>
                <a:gd name="connsiteX4" fmla="*/ 25255 w 227901"/>
                <a:gd name="connsiteY4" fmla="*/ 51 h 57672"/>
                <a:gd name="connsiteX5" fmla="*/ 205234 w 227901"/>
                <a:gd name="connsiteY5" fmla="*/ 9822 h 57672"/>
                <a:gd name="connsiteX6" fmla="*/ 227866 w 227901"/>
                <a:gd name="connsiteY6" fmla="*/ 35040 h 57672"/>
                <a:gd name="connsiteX7" fmla="*/ 203941 w 227901"/>
                <a:gd name="connsiteY7" fmla="*/ 57673 h 5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900" h="57672">
                  <a:moveTo>
                    <a:pt x="203941" y="57673"/>
                  </a:moveTo>
                  <a:cubicBezTo>
                    <a:pt x="203509" y="57673"/>
                    <a:pt x="203078" y="57673"/>
                    <a:pt x="202647" y="57673"/>
                  </a:cubicBezTo>
                  <a:lnTo>
                    <a:pt x="22668" y="47901"/>
                  </a:lnTo>
                  <a:cubicBezTo>
                    <a:pt x="9448" y="47183"/>
                    <a:pt x="-683" y="35903"/>
                    <a:pt x="36" y="22683"/>
                  </a:cubicBezTo>
                  <a:cubicBezTo>
                    <a:pt x="755" y="9463"/>
                    <a:pt x="12035" y="-812"/>
                    <a:pt x="25255" y="51"/>
                  </a:cubicBezTo>
                  <a:lnTo>
                    <a:pt x="205234" y="9822"/>
                  </a:lnTo>
                  <a:cubicBezTo>
                    <a:pt x="218454" y="10540"/>
                    <a:pt x="228584" y="21820"/>
                    <a:pt x="227866" y="35040"/>
                  </a:cubicBezTo>
                  <a:cubicBezTo>
                    <a:pt x="227148" y="47829"/>
                    <a:pt x="216586" y="57673"/>
                    <a:pt x="203941" y="57673"/>
                  </a:cubicBezTo>
                  <a:close/>
                </a:path>
              </a:pathLst>
            </a:custGeom>
            <a:grpFill/>
            <a:ln w="0" cap="flat">
              <a:noFill/>
              <a:prstDash val="solid"/>
              <a:miter/>
            </a:ln>
          </p:spPr>
          <p:txBody>
            <a:bodyPr rtlCol="0" anchor="ctr"/>
            <a:lstStyle/>
            <a:p>
              <a:endParaRPr lang="pt-BR" dirty="0"/>
            </a:p>
          </p:txBody>
        </p:sp>
        <p:sp>
          <p:nvSpPr>
            <p:cNvPr id="88" name="Forma Livre: Forma 87">
              <a:extLst>
                <a:ext uri="{FF2B5EF4-FFF2-40B4-BE49-F238E27FC236}">
                  <a16:creationId xmlns:a16="http://schemas.microsoft.com/office/drawing/2014/main" id="{E0156278-B946-6190-D69A-C2971DA3B282}"/>
                </a:ext>
              </a:extLst>
            </p:cNvPr>
            <p:cNvSpPr/>
            <p:nvPr>
              <p:custDataLst>
                <p:tags r:id="rId33"/>
              </p:custDataLst>
            </p:nvPr>
          </p:nvSpPr>
          <p:spPr>
            <a:xfrm>
              <a:off x="3472635" y="1004823"/>
              <a:ext cx="736800" cy="736836"/>
            </a:xfrm>
            <a:custGeom>
              <a:avLst/>
              <a:gdLst>
                <a:gd name="connsiteX0" fmla="*/ 23961 w 736800"/>
                <a:gd name="connsiteY0" fmla="*/ 736837 h 736836"/>
                <a:gd name="connsiteX1" fmla="*/ 7005 w 736800"/>
                <a:gd name="connsiteY1" fmla="*/ 729796 h 736836"/>
                <a:gd name="connsiteX2" fmla="*/ 7005 w 736800"/>
                <a:gd name="connsiteY2" fmla="*/ 695883 h 736836"/>
                <a:gd name="connsiteX3" fmla="*/ 695883 w 736800"/>
                <a:gd name="connsiteY3" fmla="*/ 7005 h 736836"/>
                <a:gd name="connsiteX4" fmla="*/ 729796 w 736800"/>
                <a:gd name="connsiteY4" fmla="*/ 7005 h 736836"/>
                <a:gd name="connsiteX5" fmla="*/ 729796 w 736800"/>
                <a:gd name="connsiteY5" fmla="*/ 40917 h 736836"/>
                <a:gd name="connsiteX6" fmla="*/ 40918 w 736800"/>
                <a:gd name="connsiteY6" fmla="*/ 729796 h 736836"/>
                <a:gd name="connsiteX7" fmla="*/ 23961 w 736800"/>
                <a:gd name="connsiteY7" fmla="*/ 736837 h 73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800" h="736836">
                  <a:moveTo>
                    <a:pt x="23961" y="736837"/>
                  </a:moveTo>
                  <a:cubicBezTo>
                    <a:pt x="17854" y="736837"/>
                    <a:pt x="11675" y="734466"/>
                    <a:pt x="7005" y="729796"/>
                  </a:cubicBezTo>
                  <a:cubicBezTo>
                    <a:pt x="-2335" y="720455"/>
                    <a:pt x="-2335" y="705296"/>
                    <a:pt x="7005" y="695883"/>
                  </a:cubicBezTo>
                  <a:lnTo>
                    <a:pt x="695883" y="7005"/>
                  </a:lnTo>
                  <a:cubicBezTo>
                    <a:pt x="705224" y="-2335"/>
                    <a:pt x="720384" y="-2335"/>
                    <a:pt x="729796" y="7005"/>
                  </a:cubicBezTo>
                  <a:cubicBezTo>
                    <a:pt x="739136" y="16345"/>
                    <a:pt x="739136" y="31505"/>
                    <a:pt x="729796" y="40917"/>
                  </a:cubicBezTo>
                  <a:lnTo>
                    <a:pt x="40918" y="729796"/>
                  </a:lnTo>
                  <a:cubicBezTo>
                    <a:pt x="36247" y="734466"/>
                    <a:pt x="30140" y="736837"/>
                    <a:pt x="23961" y="736837"/>
                  </a:cubicBezTo>
                  <a:close/>
                </a:path>
              </a:pathLst>
            </a:custGeom>
            <a:grpFill/>
            <a:ln w="0" cap="flat">
              <a:noFill/>
              <a:prstDash val="solid"/>
              <a:miter/>
            </a:ln>
          </p:spPr>
          <p:txBody>
            <a:bodyPr rtlCol="0" anchor="ctr"/>
            <a:lstStyle/>
            <a:p>
              <a:endParaRPr lang="pt-BR" dirty="0"/>
            </a:p>
          </p:txBody>
        </p:sp>
        <p:sp>
          <p:nvSpPr>
            <p:cNvPr id="89" name="Forma Livre: Forma 88">
              <a:extLst>
                <a:ext uri="{FF2B5EF4-FFF2-40B4-BE49-F238E27FC236}">
                  <a16:creationId xmlns:a16="http://schemas.microsoft.com/office/drawing/2014/main" id="{481176B5-7BF4-183E-5F63-73CC463E85AC}"/>
                </a:ext>
              </a:extLst>
            </p:cNvPr>
            <p:cNvSpPr/>
            <p:nvPr>
              <p:custDataLst>
                <p:tags r:id="rId34"/>
              </p:custDataLst>
            </p:nvPr>
          </p:nvSpPr>
          <p:spPr>
            <a:xfrm>
              <a:off x="3916145" y="1025787"/>
              <a:ext cx="53613" cy="144824"/>
            </a:xfrm>
            <a:custGeom>
              <a:avLst/>
              <a:gdLst>
                <a:gd name="connsiteX0" fmla="*/ 29645 w 53613"/>
                <a:gd name="connsiteY0" fmla="*/ 144825 h 144824"/>
                <a:gd name="connsiteX1" fmla="*/ 5719 w 53613"/>
                <a:gd name="connsiteY1" fmla="*/ 122264 h 144824"/>
                <a:gd name="connsiteX2" fmla="*/ 43 w 53613"/>
                <a:gd name="connsiteY2" fmla="*/ 25341 h 144824"/>
                <a:gd name="connsiteX3" fmla="*/ 22604 w 53613"/>
                <a:gd name="connsiteY3" fmla="*/ 51 h 144824"/>
                <a:gd name="connsiteX4" fmla="*/ 47894 w 53613"/>
                <a:gd name="connsiteY4" fmla="*/ 22611 h 144824"/>
                <a:gd name="connsiteX5" fmla="*/ 53570 w 53613"/>
                <a:gd name="connsiteY5" fmla="*/ 119534 h 144824"/>
                <a:gd name="connsiteX6" fmla="*/ 31010 w 53613"/>
                <a:gd name="connsiteY6" fmla="*/ 144825 h 144824"/>
                <a:gd name="connsiteX7" fmla="*/ 29573 w 53613"/>
                <a:gd name="connsiteY7" fmla="*/ 144825 h 14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13" h="144824">
                  <a:moveTo>
                    <a:pt x="29645" y="144825"/>
                  </a:moveTo>
                  <a:cubicBezTo>
                    <a:pt x="17071" y="144825"/>
                    <a:pt x="6510" y="134981"/>
                    <a:pt x="5719" y="122264"/>
                  </a:cubicBezTo>
                  <a:lnTo>
                    <a:pt x="43" y="25341"/>
                  </a:lnTo>
                  <a:cubicBezTo>
                    <a:pt x="-747" y="12121"/>
                    <a:pt x="9384" y="769"/>
                    <a:pt x="22604" y="51"/>
                  </a:cubicBezTo>
                  <a:cubicBezTo>
                    <a:pt x="35752" y="-811"/>
                    <a:pt x="47176" y="9391"/>
                    <a:pt x="47894" y="22611"/>
                  </a:cubicBezTo>
                  <a:lnTo>
                    <a:pt x="53570" y="119534"/>
                  </a:lnTo>
                  <a:cubicBezTo>
                    <a:pt x="54360" y="132754"/>
                    <a:pt x="44230" y="144106"/>
                    <a:pt x="31010" y="144825"/>
                  </a:cubicBezTo>
                  <a:cubicBezTo>
                    <a:pt x="30507" y="144825"/>
                    <a:pt x="30076" y="144825"/>
                    <a:pt x="29573" y="144825"/>
                  </a:cubicBezTo>
                  <a:close/>
                </a:path>
              </a:pathLst>
            </a:custGeom>
            <a:grpFill/>
            <a:ln w="0" cap="flat">
              <a:noFill/>
              <a:prstDash val="solid"/>
              <a:miter/>
            </a:ln>
          </p:spPr>
          <p:txBody>
            <a:bodyPr rtlCol="0" anchor="ctr"/>
            <a:lstStyle/>
            <a:p>
              <a:endParaRPr lang="pt-BR" dirty="0"/>
            </a:p>
          </p:txBody>
        </p:sp>
        <p:sp>
          <p:nvSpPr>
            <p:cNvPr id="90" name="Forma Livre: Forma 89">
              <a:extLst>
                <a:ext uri="{FF2B5EF4-FFF2-40B4-BE49-F238E27FC236}">
                  <a16:creationId xmlns:a16="http://schemas.microsoft.com/office/drawing/2014/main" id="{10E0D958-10BE-6411-0789-03B4BA5873BC}"/>
                </a:ext>
              </a:extLst>
            </p:cNvPr>
            <p:cNvSpPr/>
            <p:nvPr>
              <p:custDataLst>
                <p:tags r:id="rId35"/>
              </p:custDataLst>
            </p:nvPr>
          </p:nvSpPr>
          <p:spPr>
            <a:xfrm>
              <a:off x="3718346" y="1106993"/>
              <a:ext cx="67338" cy="247693"/>
            </a:xfrm>
            <a:custGeom>
              <a:avLst/>
              <a:gdLst>
                <a:gd name="connsiteX0" fmla="*/ 43369 w 67338"/>
                <a:gd name="connsiteY0" fmla="*/ 247621 h 247693"/>
                <a:gd name="connsiteX1" fmla="*/ 19515 w 67338"/>
                <a:gd name="connsiteY1" fmla="*/ 225995 h 247693"/>
                <a:gd name="connsiteX2" fmla="*/ 116 w 67338"/>
                <a:gd name="connsiteY2" fmla="*/ 26258 h 247693"/>
                <a:gd name="connsiteX3" fmla="*/ 21671 w 67338"/>
                <a:gd name="connsiteY3" fmla="*/ 105 h 247693"/>
                <a:gd name="connsiteX4" fmla="*/ 47823 w 67338"/>
                <a:gd name="connsiteY4" fmla="*/ 21660 h 247693"/>
                <a:gd name="connsiteX5" fmla="*/ 67222 w 67338"/>
                <a:gd name="connsiteY5" fmla="*/ 221397 h 247693"/>
                <a:gd name="connsiteX6" fmla="*/ 45668 w 67338"/>
                <a:gd name="connsiteY6" fmla="*/ 247550 h 247693"/>
                <a:gd name="connsiteX7" fmla="*/ 43297 w 67338"/>
                <a:gd name="connsiteY7" fmla="*/ 247693 h 24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38" h="247692">
                  <a:moveTo>
                    <a:pt x="43369" y="247621"/>
                  </a:moveTo>
                  <a:cubicBezTo>
                    <a:pt x="31155" y="247621"/>
                    <a:pt x="20737" y="238353"/>
                    <a:pt x="19515" y="225995"/>
                  </a:cubicBezTo>
                  <a:lnTo>
                    <a:pt x="116" y="26258"/>
                  </a:lnTo>
                  <a:cubicBezTo>
                    <a:pt x="-1177" y="13110"/>
                    <a:pt x="8451" y="1398"/>
                    <a:pt x="21671" y="105"/>
                  </a:cubicBezTo>
                  <a:cubicBezTo>
                    <a:pt x="34747" y="-1116"/>
                    <a:pt x="46530" y="8440"/>
                    <a:pt x="47823" y="21660"/>
                  </a:cubicBezTo>
                  <a:lnTo>
                    <a:pt x="67222" y="221397"/>
                  </a:lnTo>
                  <a:cubicBezTo>
                    <a:pt x="68516" y="234545"/>
                    <a:pt x="58888" y="246256"/>
                    <a:pt x="45668" y="247550"/>
                  </a:cubicBezTo>
                  <a:cubicBezTo>
                    <a:pt x="44878" y="247621"/>
                    <a:pt x="44087" y="247693"/>
                    <a:pt x="43297" y="247693"/>
                  </a:cubicBezTo>
                  <a:close/>
                </a:path>
              </a:pathLst>
            </a:custGeom>
            <a:grpFill/>
            <a:ln w="0" cap="flat">
              <a:noFill/>
              <a:prstDash val="solid"/>
              <a:miter/>
            </a:ln>
          </p:spPr>
          <p:txBody>
            <a:bodyPr rtlCol="0" anchor="ctr"/>
            <a:lstStyle/>
            <a:p>
              <a:endParaRPr lang="pt-BR" dirty="0"/>
            </a:p>
          </p:txBody>
        </p:sp>
      </p:grpSp>
      <p:pic>
        <p:nvPicPr>
          <p:cNvPr id="2" name="Imagem 1" descr="Uma imagem contendo Interface gráfica do usuário&#10;&#10;Descrição gerada automaticamente">
            <a:extLst>
              <a:ext uri="{FF2B5EF4-FFF2-40B4-BE49-F238E27FC236}">
                <a16:creationId xmlns:a16="http://schemas.microsoft.com/office/drawing/2014/main" id="{5586A8CF-66D7-808A-165A-715128CBAF69}"/>
              </a:ext>
            </a:extLst>
          </p:cNvPr>
          <p:cNvPicPr>
            <a:picLocks noChangeAspect="1"/>
          </p:cNvPicPr>
          <p:nvPr/>
        </p:nvPicPr>
        <p:blipFill>
          <a:blip r:embed="rId58"/>
          <a:stretch>
            <a:fillRect/>
          </a:stretch>
        </p:blipFill>
        <p:spPr>
          <a:xfrm>
            <a:off x="8039840" y="60434"/>
            <a:ext cx="920231" cy="509571"/>
          </a:xfrm>
          <a:prstGeom prst="rect">
            <a:avLst/>
          </a:prstGeom>
        </p:spPr>
      </p:pic>
      <p:pic>
        <p:nvPicPr>
          <p:cNvPr id="4" name="Imagem 3" descr="Logotipo&#10;&#10;Descrição gerada automaticamente">
            <a:extLst>
              <a:ext uri="{FF2B5EF4-FFF2-40B4-BE49-F238E27FC236}">
                <a16:creationId xmlns:a16="http://schemas.microsoft.com/office/drawing/2014/main" id="{374F7291-0273-50C8-FB07-CB92825DC077}"/>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3372841" y="272959"/>
            <a:ext cx="2253858" cy="863180"/>
          </a:xfrm>
          <a:prstGeom prst="rect">
            <a:avLst/>
          </a:prstGeom>
        </p:spPr>
      </p:pic>
    </p:spTree>
    <p:extLst>
      <p:ext uri="{BB962C8B-B14F-4D97-AF65-F5344CB8AC3E}">
        <p14:creationId xmlns:p14="http://schemas.microsoft.com/office/powerpoint/2010/main" val="31709947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fade">
                                      <p:cBhvr>
                                        <p:cTn id="7" dur="750"/>
                                        <p:tgtEl>
                                          <p:spTgt spid="81"/>
                                        </p:tgtEl>
                                      </p:cBhvr>
                                    </p:animEffect>
                                  </p:childTnLst>
                                </p:cTn>
                              </p:par>
                              <p:par>
                                <p:cTn id="8" presetID="10" presetClass="entr" presetSubtype="0" fill="hold" grpId="0" nodeType="withEffect">
                                  <p:stCondLst>
                                    <p:cond delay="250"/>
                                  </p:stCondLst>
                                  <p:childTnLst>
                                    <p:set>
                                      <p:cBhvr>
                                        <p:cTn id="9" dur="1" fill="hold">
                                          <p:stCondLst>
                                            <p:cond delay="0"/>
                                          </p:stCondLst>
                                        </p:cTn>
                                        <p:tgtEl>
                                          <p:spTgt spid="55"/>
                                        </p:tgtEl>
                                        <p:attrNameLst>
                                          <p:attrName>style.visibility</p:attrName>
                                        </p:attrNameLst>
                                      </p:cBhvr>
                                      <p:to>
                                        <p:strVal val="visible"/>
                                      </p:to>
                                    </p:set>
                                    <p:animEffect transition="in" filter="fade">
                                      <p:cBhvr>
                                        <p:cTn id="10" dur="500"/>
                                        <p:tgtEl>
                                          <p:spTgt spid="55"/>
                                        </p:tgtEl>
                                      </p:cBhvr>
                                    </p:animEffect>
                                  </p:childTnLst>
                                </p:cTn>
                              </p:par>
                              <p:par>
                                <p:cTn id="11" presetID="35" presetClass="path" presetSubtype="0" accel="17000" decel="83000" fill="hold" grpId="1" nodeType="withEffect">
                                  <p:stCondLst>
                                    <p:cond delay="250"/>
                                  </p:stCondLst>
                                  <p:childTnLst>
                                    <p:animMotion origin="layout" path="M -0.02469 -3.52775E-06 L -3.90369E-06 -3.52775E-06" pathEditMode="relative" rAng="0" ptsTypes="AA">
                                      <p:cBhvr>
                                        <p:cTn id="12" dur="1100" fill="hold"/>
                                        <p:tgtEl>
                                          <p:spTgt spid="55"/>
                                        </p:tgtEl>
                                        <p:attrNameLst>
                                          <p:attrName>ppt_x</p:attrName>
                                          <p:attrName>ppt_y</p:attrName>
                                        </p:attrNameLst>
                                      </p:cBhvr>
                                      <p:rCtr x="1235" y="0"/>
                                    </p:animMotion>
                                  </p:childTnLst>
                                </p:cTn>
                              </p:par>
                              <p:par>
                                <p:cTn id="13" presetID="10" presetClass="entr" presetSubtype="0" fill="hold" grpId="0" nodeType="withEffect">
                                  <p:stCondLst>
                                    <p:cond delay="500"/>
                                  </p:stCondLst>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35" presetClass="path" presetSubtype="0" accel="17000" decel="83000" fill="hold" grpId="1" nodeType="withEffect">
                                  <p:stCondLst>
                                    <p:cond delay="500"/>
                                  </p:stCondLst>
                                  <p:childTnLst>
                                    <p:animMotion origin="layout" path="M -0.0247 -3.52775E-06 L 2.01446E-06 -3.52775E-06" pathEditMode="relative" rAng="0" ptsTypes="AA">
                                      <p:cBhvr>
                                        <p:cTn id="17" dur="1100" fill="hold"/>
                                        <p:tgtEl>
                                          <p:spTgt spid="60"/>
                                        </p:tgtEl>
                                        <p:attrNameLst>
                                          <p:attrName>ppt_x</p:attrName>
                                          <p:attrName>ppt_y</p:attrName>
                                        </p:attrNameLst>
                                      </p:cBhvr>
                                      <p:rCtr x="1235" y="0"/>
                                    </p:animMotion>
                                  </p:childTnLst>
                                </p:cTn>
                              </p:par>
                              <p:par>
                                <p:cTn id="18" presetID="10" presetClass="entr" presetSubtype="0" fill="hold" grpId="0" nodeType="withEffect">
                                  <p:stCondLst>
                                    <p:cond delay="750"/>
                                  </p:stCondLst>
                                  <p:childTnLst>
                                    <p:set>
                                      <p:cBhvr>
                                        <p:cTn id="19" dur="1" fill="hold">
                                          <p:stCondLst>
                                            <p:cond delay="0"/>
                                          </p:stCondLst>
                                        </p:cTn>
                                        <p:tgtEl>
                                          <p:spTgt spid="61"/>
                                        </p:tgtEl>
                                        <p:attrNameLst>
                                          <p:attrName>style.visibility</p:attrName>
                                        </p:attrNameLst>
                                      </p:cBhvr>
                                      <p:to>
                                        <p:strVal val="visible"/>
                                      </p:to>
                                    </p:set>
                                    <p:animEffect transition="in" filter="fade">
                                      <p:cBhvr>
                                        <p:cTn id="20" dur="500"/>
                                        <p:tgtEl>
                                          <p:spTgt spid="61"/>
                                        </p:tgtEl>
                                      </p:cBhvr>
                                    </p:animEffect>
                                  </p:childTnLst>
                                </p:cTn>
                              </p:par>
                              <p:par>
                                <p:cTn id="21" presetID="35" presetClass="path" presetSubtype="0" accel="17000" decel="83000" fill="hold" grpId="1" nodeType="withEffect">
                                  <p:stCondLst>
                                    <p:cond delay="750"/>
                                  </p:stCondLst>
                                  <p:childTnLst>
                                    <p:animMotion origin="layout" path="M -0.0247 -3.52775E-06 L 2.01446E-06 -3.52775E-06" pathEditMode="relative" rAng="0" ptsTypes="AA">
                                      <p:cBhvr>
                                        <p:cTn id="22" dur="1100" fill="hold"/>
                                        <p:tgtEl>
                                          <p:spTgt spid="61"/>
                                        </p:tgtEl>
                                        <p:attrNameLst>
                                          <p:attrName>ppt_x</p:attrName>
                                          <p:attrName>ppt_y</p:attrName>
                                        </p:attrNameLst>
                                      </p:cBhvr>
                                      <p:rCtr x="1235" y="0"/>
                                    </p:animMotion>
                                  </p:childTnLst>
                                </p:cTn>
                              </p:par>
                              <p:par>
                                <p:cTn id="23" presetID="10" presetClass="entr" presetSubtype="0" fill="hold" grpId="0" nodeType="withEffect">
                                  <p:stCondLst>
                                    <p:cond delay="1000"/>
                                  </p:stCondLst>
                                  <p:childTnLst>
                                    <p:set>
                                      <p:cBhvr>
                                        <p:cTn id="24" dur="1" fill="hold">
                                          <p:stCondLst>
                                            <p:cond delay="0"/>
                                          </p:stCondLst>
                                        </p:cTn>
                                        <p:tgtEl>
                                          <p:spTgt spid="62"/>
                                        </p:tgtEl>
                                        <p:attrNameLst>
                                          <p:attrName>style.visibility</p:attrName>
                                        </p:attrNameLst>
                                      </p:cBhvr>
                                      <p:to>
                                        <p:strVal val="visible"/>
                                      </p:to>
                                    </p:set>
                                    <p:animEffect transition="in" filter="fade">
                                      <p:cBhvr>
                                        <p:cTn id="25" dur="500"/>
                                        <p:tgtEl>
                                          <p:spTgt spid="62"/>
                                        </p:tgtEl>
                                      </p:cBhvr>
                                    </p:animEffect>
                                  </p:childTnLst>
                                </p:cTn>
                              </p:par>
                              <p:par>
                                <p:cTn id="26" presetID="35" presetClass="path" presetSubtype="0" accel="17000" decel="83000" fill="hold" grpId="1" nodeType="withEffect">
                                  <p:stCondLst>
                                    <p:cond delay="1000"/>
                                  </p:stCondLst>
                                  <p:childTnLst>
                                    <p:animMotion origin="layout" path="M -0.0247 -3.52775E-06 L 2.01446E-06 -3.52775E-06" pathEditMode="relative" rAng="0" ptsTypes="AA">
                                      <p:cBhvr>
                                        <p:cTn id="27" dur="1100" fill="hold"/>
                                        <p:tgtEl>
                                          <p:spTgt spid="62"/>
                                        </p:tgtEl>
                                        <p:attrNameLst>
                                          <p:attrName>ppt_x</p:attrName>
                                          <p:attrName>ppt_y</p:attrName>
                                        </p:attrNameLst>
                                      </p:cBhvr>
                                      <p:rCtr x="1235" y="0"/>
                                    </p:animMotion>
                                  </p:childTnLst>
                                </p:cTn>
                              </p:par>
                              <p:par>
                                <p:cTn id="28" presetID="10" presetClass="entr" presetSubtype="0" fill="hold" grpId="0" nodeType="withEffect">
                                  <p:stCondLst>
                                    <p:cond delay="1250"/>
                                  </p:stCondLst>
                                  <p:childTnLst>
                                    <p:set>
                                      <p:cBhvr>
                                        <p:cTn id="29" dur="1" fill="hold">
                                          <p:stCondLst>
                                            <p:cond delay="0"/>
                                          </p:stCondLst>
                                        </p:cTn>
                                        <p:tgtEl>
                                          <p:spTgt spid="63"/>
                                        </p:tgtEl>
                                        <p:attrNameLst>
                                          <p:attrName>style.visibility</p:attrName>
                                        </p:attrNameLst>
                                      </p:cBhvr>
                                      <p:to>
                                        <p:strVal val="visible"/>
                                      </p:to>
                                    </p:set>
                                    <p:animEffect transition="in" filter="fade">
                                      <p:cBhvr>
                                        <p:cTn id="30" dur="500"/>
                                        <p:tgtEl>
                                          <p:spTgt spid="63"/>
                                        </p:tgtEl>
                                      </p:cBhvr>
                                    </p:animEffect>
                                  </p:childTnLst>
                                </p:cTn>
                              </p:par>
                              <p:par>
                                <p:cTn id="31" presetID="35" presetClass="path" presetSubtype="0" accel="17000" decel="83000" fill="hold" grpId="1" nodeType="withEffect">
                                  <p:stCondLst>
                                    <p:cond delay="1250"/>
                                  </p:stCondLst>
                                  <p:childTnLst>
                                    <p:animMotion origin="layout" path="M 0.03352 -3.52775E-06 L -3.09578E-06 -3.52775E-06" pathEditMode="relative" rAng="0" ptsTypes="AA">
                                      <p:cBhvr>
                                        <p:cTn id="32" dur="1100" fill="hold"/>
                                        <p:tgtEl>
                                          <p:spTgt spid="63"/>
                                        </p:tgtEl>
                                        <p:attrNameLst>
                                          <p:attrName>ppt_x</p:attrName>
                                          <p:attrName>ppt_y</p:attrName>
                                        </p:attrNameLst>
                                      </p:cBhvr>
                                      <p:rCtr x="-1676" y="0"/>
                                    </p:animMotion>
                                  </p:childTnLst>
                                </p:cTn>
                              </p:par>
                              <p:par>
                                <p:cTn id="33" presetID="10" presetClass="entr" presetSubtype="0" fill="hold" grpId="0" nodeType="withEffect">
                                  <p:stCondLst>
                                    <p:cond delay="1500"/>
                                  </p:stCondLst>
                                  <p:childTnLst>
                                    <p:set>
                                      <p:cBhvr>
                                        <p:cTn id="34" dur="1" fill="hold">
                                          <p:stCondLst>
                                            <p:cond delay="0"/>
                                          </p:stCondLst>
                                        </p:cTn>
                                        <p:tgtEl>
                                          <p:spTgt spid="64"/>
                                        </p:tgtEl>
                                        <p:attrNameLst>
                                          <p:attrName>style.visibility</p:attrName>
                                        </p:attrNameLst>
                                      </p:cBhvr>
                                      <p:to>
                                        <p:strVal val="visible"/>
                                      </p:to>
                                    </p:set>
                                    <p:animEffect transition="in" filter="fade">
                                      <p:cBhvr>
                                        <p:cTn id="35" dur="500"/>
                                        <p:tgtEl>
                                          <p:spTgt spid="64"/>
                                        </p:tgtEl>
                                      </p:cBhvr>
                                    </p:animEffect>
                                  </p:childTnLst>
                                </p:cTn>
                              </p:par>
                              <p:par>
                                <p:cTn id="36" presetID="35" presetClass="path" presetSubtype="0" accel="17000" decel="83000" fill="hold" grpId="1" nodeType="withEffect">
                                  <p:stCondLst>
                                    <p:cond delay="1500"/>
                                  </p:stCondLst>
                                  <p:childTnLst>
                                    <p:animMotion origin="layout" path="M 0.02787 -4.87927E-06 L 1.74105E-06 -4.87927E-06" pathEditMode="relative" rAng="0" ptsTypes="AA">
                                      <p:cBhvr>
                                        <p:cTn id="37" dur="1100" fill="hold"/>
                                        <p:tgtEl>
                                          <p:spTgt spid="64"/>
                                        </p:tgtEl>
                                        <p:attrNameLst>
                                          <p:attrName>ppt_x</p:attrName>
                                          <p:attrName>ppt_y</p:attrName>
                                        </p:attrNameLst>
                                      </p:cBhvr>
                                      <p:rCtr x="-1394" y="0"/>
                                    </p:animMotion>
                                  </p:childTnLst>
                                </p:cTn>
                              </p:par>
                              <p:par>
                                <p:cTn id="38" presetID="10" presetClass="entr" presetSubtype="0" fill="hold" grpId="0" nodeType="withEffect">
                                  <p:stCondLst>
                                    <p:cond delay="1750"/>
                                  </p:stCondLst>
                                  <p:childTnLst>
                                    <p:set>
                                      <p:cBhvr>
                                        <p:cTn id="39" dur="1" fill="hold">
                                          <p:stCondLst>
                                            <p:cond delay="0"/>
                                          </p:stCondLst>
                                        </p:cTn>
                                        <p:tgtEl>
                                          <p:spTgt spid="65"/>
                                        </p:tgtEl>
                                        <p:attrNameLst>
                                          <p:attrName>style.visibility</p:attrName>
                                        </p:attrNameLst>
                                      </p:cBhvr>
                                      <p:to>
                                        <p:strVal val="visible"/>
                                      </p:to>
                                    </p:set>
                                    <p:animEffect transition="in" filter="fade">
                                      <p:cBhvr>
                                        <p:cTn id="40" dur="500"/>
                                        <p:tgtEl>
                                          <p:spTgt spid="65"/>
                                        </p:tgtEl>
                                      </p:cBhvr>
                                    </p:animEffect>
                                  </p:childTnLst>
                                </p:cTn>
                              </p:par>
                              <p:par>
                                <p:cTn id="41" presetID="35" presetClass="path" presetSubtype="0" accel="17000" decel="83000" fill="hold" grpId="1" nodeType="withEffect">
                                  <p:stCondLst>
                                    <p:cond delay="1750"/>
                                  </p:stCondLst>
                                  <p:childTnLst>
                                    <p:animMotion origin="layout" path="M 0.02434 1.93791E-06 L 3.37273E-06 1.93791E-06" pathEditMode="relative" rAng="0" ptsTypes="AA">
                                      <p:cBhvr>
                                        <p:cTn id="42" dur="1100" fill="hold"/>
                                        <p:tgtEl>
                                          <p:spTgt spid="65"/>
                                        </p:tgtEl>
                                        <p:attrNameLst>
                                          <p:attrName>ppt_x</p:attrName>
                                          <p:attrName>ppt_y</p:attrName>
                                        </p:attrNameLst>
                                      </p:cBhvr>
                                      <p:rCtr x="-1217" y="0"/>
                                    </p:animMotion>
                                  </p:childTnLst>
                                </p:cTn>
                              </p:par>
                              <p:par>
                                <p:cTn id="43" presetID="10" presetClass="entr" presetSubtype="0" fill="hold" grpId="0" nodeType="withEffect">
                                  <p:stCondLst>
                                    <p:cond delay="2000"/>
                                  </p:stCondLst>
                                  <p:childTnLst>
                                    <p:set>
                                      <p:cBhvr>
                                        <p:cTn id="44" dur="1" fill="hold">
                                          <p:stCondLst>
                                            <p:cond delay="0"/>
                                          </p:stCondLst>
                                        </p:cTn>
                                        <p:tgtEl>
                                          <p:spTgt spid="66"/>
                                        </p:tgtEl>
                                        <p:attrNameLst>
                                          <p:attrName>style.visibility</p:attrName>
                                        </p:attrNameLst>
                                      </p:cBhvr>
                                      <p:to>
                                        <p:strVal val="visible"/>
                                      </p:to>
                                    </p:set>
                                    <p:animEffect transition="in" filter="fade">
                                      <p:cBhvr>
                                        <p:cTn id="45" dur="500"/>
                                        <p:tgtEl>
                                          <p:spTgt spid="66"/>
                                        </p:tgtEl>
                                      </p:cBhvr>
                                    </p:animEffect>
                                  </p:childTnLst>
                                </p:cTn>
                              </p:par>
                              <p:par>
                                <p:cTn id="46" presetID="35" presetClass="path" presetSubtype="0" accel="17000" decel="83000" fill="hold" grpId="1" nodeType="withEffect">
                                  <p:stCondLst>
                                    <p:cond delay="2000"/>
                                  </p:stCondLst>
                                  <p:childTnLst>
                                    <p:animMotion origin="layout" path="M 0.02646 4.71621E-06 L 4.38349E-06 4.71621E-06" pathEditMode="relative" rAng="0" ptsTypes="AA">
                                      <p:cBhvr>
                                        <p:cTn id="47" dur="1100" fill="hold"/>
                                        <p:tgtEl>
                                          <p:spTgt spid="66"/>
                                        </p:tgtEl>
                                        <p:attrNameLst>
                                          <p:attrName>ppt_x</p:attrName>
                                          <p:attrName>ppt_y</p:attrName>
                                        </p:attrNameLst>
                                      </p:cBhvr>
                                      <p:rCtr x="-1323" y="0"/>
                                    </p:animMotion>
                                  </p:childTnLst>
                                </p:cTn>
                              </p:par>
                              <p:par>
                                <p:cTn id="48" presetID="22" presetClass="entr" presetSubtype="8" fill="hold" nodeType="withEffect">
                                  <p:stCondLst>
                                    <p:cond delay="250"/>
                                  </p:stCondLst>
                                  <p:childTnLst>
                                    <p:set>
                                      <p:cBhvr>
                                        <p:cTn id="49" dur="1" fill="hold">
                                          <p:stCondLst>
                                            <p:cond delay="0"/>
                                          </p:stCondLst>
                                        </p:cTn>
                                        <p:tgtEl>
                                          <p:spTgt spid="39"/>
                                        </p:tgtEl>
                                        <p:attrNameLst>
                                          <p:attrName>style.visibility</p:attrName>
                                        </p:attrNameLst>
                                      </p:cBhvr>
                                      <p:to>
                                        <p:strVal val="visible"/>
                                      </p:to>
                                    </p:set>
                                    <p:animEffect transition="in" filter="wipe(left)">
                                      <p:cBhvr>
                                        <p:cTn id="50" dur="500"/>
                                        <p:tgtEl>
                                          <p:spTgt spid="39"/>
                                        </p:tgtEl>
                                      </p:cBhvr>
                                    </p:animEffect>
                                  </p:childTnLst>
                                </p:cTn>
                              </p:par>
                              <p:par>
                                <p:cTn id="51" presetID="22" presetClass="entr" presetSubtype="8" fill="hold" nodeType="withEffect">
                                  <p:stCondLst>
                                    <p:cond delay="500"/>
                                  </p:stCondLst>
                                  <p:childTnLst>
                                    <p:set>
                                      <p:cBhvr>
                                        <p:cTn id="52" dur="1" fill="hold">
                                          <p:stCondLst>
                                            <p:cond delay="0"/>
                                          </p:stCondLst>
                                        </p:cTn>
                                        <p:tgtEl>
                                          <p:spTgt spid="40"/>
                                        </p:tgtEl>
                                        <p:attrNameLst>
                                          <p:attrName>style.visibility</p:attrName>
                                        </p:attrNameLst>
                                      </p:cBhvr>
                                      <p:to>
                                        <p:strVal val="visible"/>
                                      </p:to>
                                    </p:set>
                                    <p:animEffect transition="in" filter="wipe(left)">
                                      <p:cBhvr>
                                        <p:cTn id="53" dur="500"/>
                                        <p:tgtEl>
                                          <p:spTgt spid="40"/>
                                        </p:tgtEl>
                                      </p:cBhvr>
                                    </p:animEffect>
                                  </p:childTnLst>
                                </p:cTn>
                              </p:par>
                              <p:par>
                                <p:cTn id="54" presetID="22" presetClass="entr" presetSubtype="8" fill="hold" nodeType="withEffect">
                                  <p:stCondLst>
                                    <p:cond delay="750"/>
                                  </p:stCondLst>
                                  <p:childTnLst>
                                    <p:set>
                                      <p:cBhvr>
                                        <p:cTn id="55" dur="1" fill="hold">
                                          <p:stCondLst>
                                            <p:cond delay="0"/>
                                          </p:stCondLst>
                                        </p:cTn>
                                        <p:tgtEl>
                                          <p:spTgt spid="47"/>
                                        </p:tgtEl>
                                        <p:attrNameLst>
                                          <p:attrName>style.visibility</p:attrName>
                                        </p:attrNameLst>
                                      </p:cBhvr>
                                      <p:to>
                                        <p:strVal val="visible"/>
                                      </p:to>
                                    </p:set>
                                    <p:animEffect transition="in" filter="wipe(left)">
                                      <p:cBhvr>
                                        <p:cTn id="56" dur="500"/>
                                        <p:tgtEl>
                                          <p:spTgt spid="47"/>
                                        </p:tgtEl>
                                      </p:cBhvr>
                                    </p:animEffect>
                                  </p:childTnLst>
                                </p:cTn>
                              </p:par>
                              <p:par>
                                <p:cTn id="57" presetID="22" presetClass="entr" presetSubtype="8" fill="hold" nodeType="withEffect">
                                  <p:stCondLst>
                                    <p:cond delay="1000"/>
                                  </p:stCondLst>
                                  <p:childTnLst>
                                    <p:set>
                                      <p:cBhvr>
                                        <p:cTn id="58" dur="1" fill="hold">
                                          <p:stCondLst>
                                            <p:cond delay="0"/>
                                          </p:stCondLst>
                                        </p:cTn>
                                        <p:tgtEl>
                                          <p:spTgt spid="48"/>
                                        </p:tgtEl>
                                        <p:attrNameLst>
                                          <p:attrName>style.visibility</p:attrName>
                                        </p:attrNameLst>
                                      </p:cBhvr>
                                      <p:to>
                                        <p:strVal val="visible"/>
                                      </p:to>
                                    </p:set>
                                    <p:animEffect transition="in" filter="wipe(left)">
                                      <p:cBhvr>
                                        <p:cTn id="59" dur="500"/>
                                        <p:tgtEl>
                                          <p:spTgt spid="48"/>
                                        </p:tgtEl>
                                      </p:cBhvr>
                                    </p:animEffect>
                                  </p:childTnLst>
                                </p:cTn>
                              </p:par>
                              <p:par>
                                <p:cTn id="60" presetID="22" presetClass="entr" presetSubtype="2" fill="hold" nodeType="withEffect">
                                  <p:stCondLst>
                                    <p:cond delay="1250"/>
                                  </p:stCondLst>
                                  <p:childTnLst>
                                    <p:set>
                                      <p:cBhvr>
                                        <p:cTn id="61" dur="1" fill="hold">
                                          <p:stCondLst>
                                            <p:cond delay="0"/>
                                          </p:stCondLst>
                                        </p:cTn>
                                        <p:tgtEl>
                                          <p:spTgt spid="51"/>
                                        </p:tgtEl>
                                        <p:attrNameLst>
                                          <p:attrName>style.visibility</p:attrName>
                                        </p:attrNameLst>
                                      </p:cBhvr>
                                      <p:to>
                                        <p:strVal val="visible"/>
                                      </p:to>
                                    </p:set>
                                    <p:animEffect transition="in" filter="wipe(right)">
                                      <p:cBhvr>
                                        <p:cTn id="62" dur="500"/>
                                        <p:tgtEl>
                                          <p:spTgt spid="51"/>
                                        </p:tgtEl>
                                      </p:cBhvr>
                                    </p:animEffect>
                                  </p:childTnLst>
                                </p:cTn>
                              </p:par>
                              <p:par>
                                <p:cTn id="63" presetID="22" presetClass="entr" presetSubtype="2" fill="hold" nodeType="withEffect">
                                  <p:stCondLst>
                                    <p:cond delay="1500"/>
                                  </p:stCondLst>
                                  <p:childTnLst>
                                    <p:set>
                                      <p:cBhvr>
                                        <p:cTn id="64" dur="1" fill="hold">
                                          <p:stCondLst>
                                            <p:cond delay="0"/>
                                          </p:stCondLst>
                                        </p:cTn>
                                        <p:tgtEl>
                                          <p:spTgt spid="52"/>
                                        </p:tgtEl>
                                        <p:attrNameLst>
                                          <p:attrName>style.visibility</p:attrName>
                                        </p:attrNameLst>
                                      </p:cBhvr>
                                      <p:to>
                                        <p:strVal val="visible"/>
                                      </p:to>
                                    </p:set>
                                    <p:animEffect transition="in" filter="wipe(right)">
                                      <p:cBhvr>
                                        <p:cTn id="65" dur="500"/>
                                        <p:tgtEl>
                                          <p:spTgt spid="52"/>
                                        </p:tgtEl>
                                      </p:cBhvr>
                                    </p:animEffect>
                                  </p:childTnLst>
                                </p:cTn>
                              </p:par>
                              <p:par>
                                <p:cTn id="66" presetID="22" presetClass="entr" presetSubtype="2" fill="hold" nodeType="withEffect">
                                  <p:stCondLst>
                                    <p:cond delay="1750"/>
                                  </p:stCondLst>
                                  <p:childTnLst>
                                    <p:set>
                                      <p:cBhvr>
                                        <p:cTn id="67" dur="1" fill="hold">
                                          <p:stCondLst>
                                            <p:cond delay="0"/>
                                          </p:stCondLst>
                                        </p:cTn>
                                        <p:tgtEl>
                                          <p:spTgt spid="53"/>
                                        </p:tgtEl>
                                        <p:attrNameLst>
                                          <p:attrName>style.visibility</p:attrName>
                                        </p:attrNameLst>
                                      </p:cBhvr>
                                      <p:to>
                                        <p:strVal val="visible"/>
                                      </p:to>
                                    </p:set>
                                    <p:animEffect transition="in" filter="wipe(right)">
                                      <p:cBhvr>
                                        <p:cTn id="68" dur="500"/>
                                        <p:tgtEl>
                                          <p:spTgt spid="53"/>
                                        </p:tgtEl>
                                      </p:cBhvr>
                                    </p:animEffect>
                                  </p:childTnLst>
                                </p:cTn>
                              </p:par>
                              <p:par>
                                <p:cTn id="69" presetID="22" presetClass="entr" presetSubtype="2" fill="hold" nodeType="withEffect">
                                  <p:stCondLst>
                                    <p:cond delay="2000"/>
                                  </p:stCondLst>
                                  <p:childTnLst>
                                    <p:set>
                                      <p:cBhvr>
                                        <p:cTn id="70" dur="1" fill="hold">
                                          <p:stCondLst>
                                            <p:cond delay="0"/>
                                          </p:stCondLst>
                                        </p:cTn>
                                        <p:tgtEl>
                                          <p:spTgt spid="54"/>
                                        </p:tgtEl>
                                        <p:attrNameLst>
                                          <p:attrName>style.visibility</p:attrName>
                                        </p:attrNameLst>
                                      </p:cBhvr>
                                      <p:to>
                                        <p:strVal val="visible"/>
                                      </p:to>
                                    </p:set>
                                    <p:animEffect transition="in" filter="wipe(right)">
                                      <p:cBhvr>
                                        <p:cTn id="71" dur="500"/>
                                        <p:tgtEl>
                                          <p:spTgt spid="54"/>
                                        </p:tgtEl>
                                      </p:cBhvr>
                                    </p:animEffect>
                                  </p:childTnLst>
                                </p:cTn>
                              </p:par>
                              <p:par>
                                <p:cTn id="72" presetID="53" presetClass="entr" presetSubtype="0" fill="hold" nodeType="withEffect">
                                  <p:stCondLst>
                                    <p:cond delay="250"/>
                                  </p:stCondLst>
                                  <p:childTnLst>
                                    <p:set>
                                      <p:cBhvr>
                                        <p:cTn id="73" dur="1" fill="hold">
                                          <p:stCondLst>
                                            <p:cond delay="0"/>
                                          </p:stCondLst>
                                        </p:cTn>
                                        <p:tgtEl>
                                          <p:spTgt spid="22"/>
                                        </p:tgtEl>
                                        <p:attrNameLst>
                                          <p:attrName>style.visibility</p:attrName>
                                        </p:attrNameLst>
                                      </p:cBhvr>
                                      <p:to>
                                        <p:strVal val="visible"/>
                                      </p:to>
                                    </p:set>
                                    <p:anim calcmode="lin" valueType="num">
                                      <p:cBhvr>
                                        <p:cTn id="74" dur="500" fill="hold"/>
                                        <p:tgtEl>
                                          <p:spTgt spid="22"/>
                                        </p:tgtEl>
                                        <p:attrNameLst>
                                          <p:attrName>ppt_w</p:attrName>
                                        </p:attrNameLst>
                                      </p:cBhvr>
                                      <p:tavLst>
                                        <p:tav tm="0">
                                          <p:val>
                                            <p:fltVal val="0"/>
                                          </p:val>
                                        </p:tav>
                                        <p:tav tm="100000">
                                          <p:val>
                                            <p:strVal val="#ppt_w"/>
                                          </p:val>
                                        </p:tav>
                                      </p:tavLst>
                                    </p:anim>
                                    <p:anim calcmode="lin" valueType="num">
                                      <p:cBhvr>
                                        <p:cTn id="75" dur="500" fill="hold"/>
                                        <p:tgtEl>
                                          <p:spTgt spid="22"/>
                                        </p:tgtEl>
                                        <p:attrNameLst>
                                          <p:attrName>ppt_h</p:attrName>
                                        </p:attrNameLst>
                                      </p:cBhvr>
                                      <p:tavLst>
                                        <p:tav tm="0">
                                          <p:val>
                                            <p:fltVal val="0"/>
                                          </p:val>
                                        </p:tav>
                                        <p:tav tm="100000">
                                          <p:val>
                                            <p:strVal val="#ppt_h"/>
                                          </p:val>
                                        </p:tav>
                                      </p:tavLst>
                                    </p:anim>
                                    <p:animEffect transition="in" filter="fade">
                                      <p:cBhvr>
                                        <p:cTn id="76" dur="500"/>
                                        <p:tgtEl>
                                          <p:spTgt spid="22"/>
                                        </p:tgtEl>
                                      </p:cBhvr>
                                    </p:animEffect>
                                  </p:childTnLst>
                                </p:cTn>
                              </p:par>
                              <p:par>
                                <p:cTn id="77" presetID="53" presetClass="entr" presetSubtype="0" fill="hold" nodeType="withEffect">
                                  <p:stCondLst>
                                    <p:cond delay="500"/>
                                  </p:stCondLst>
                                  <p:childTnLst>
                                    <p:set>
                                      <p:cBhvr>
                                        <p:cTn id="78" dur="1" fill="hold">
                                          <p:stCondLst>
                                            <p:cond delay="0"/>
                                          </p:stCondLst>
                                        </p:cTn>
                                        <p:tgtEl>
                                          <p:spTgt spid="23"/>
                                        </p:tgtEl>
                                        <p:attrNameLst>
                                          <p:attrName>style.visibility</p:attrName>
                                        </p:attrNameLst>
                                      </p:cBhvr>
                                      <p:to>
                                        <p:strVal val="visible"/>
                                      </p:to>
                                    </p:set>
                                    <p:anim calcmode="lin" valueType="num">
                                      <p:cBhvr>
                                        <p:cTn id="79" dur="500" fill="hold"/>
                                        <p:tgtEl>
                                          <p:spTgt spid="23"/>
                                        </p:tgtEl>
                                        <p:attrNameLst>
                                          <p:attrName>ppt_w</p:attrName>
                                        </p:attrNameLst>
                                      </p:cBhvr>
                                      <p:tavLst>
                                        <p:tav tm="0">
                                          <p:val>
                                            <p:fltVal val="0"/>
                                          </p:val>
                                        </p:tav>
                                        <p:tav tm="100000">
                                          <p:val>
                                            <p:strVal val="#ppt_w"/>
                                          </p:val>
                                        </p:tav>
                                      </p:tavLst>
                                    </p:anim>
                                    <p:anim calcmode="lin" valueType="num">
                                      <p:cBhvr>
                                        <p:cTn id="80" dur="500" fill="hold"/>
                                        <p:tgtEl>
                                          <p:spTgt spid="23"/>
                                        </p:tgtEl>
                                        <p:attrNameLst>
                                          <p:attrName>ppt_h</p:attrName>
                                        </p:attrNameLst>
                                      </p:cBhvr>
                                      <p:tavLst>
                                        <p:tav tm="0">
                                          <p:val>
                                            <p:fltVal val="0"/>
                                          </p:val>
                                        </p:tav>
                                        <p:tav tm="100000">
                                          <p:val>
                                            <p:strVal val="#ppt_h"/>
                                          </p:val>
                                        </p:tav>
                                      </p:tavLst>
                                    </p:anim>
                                    <p:animEffect transition="in" filter="fade">
                                      <p:cBhvr>
                                        <p:cTn id="81" dur="500"/>
                                        <p:tgtEl>
                                          <p:spTgt spid="23"/>
                                        </p:tgtEl>
                                      </p:cBhvr>
                                    </p:animEffect>
                                  </p:childTnLst>
                                </p:cTn>
                              </p:par>
                              <p:par>
                                <p:cTn id="82" presetID="53" presetClass="entr" presetSubtype="0" fill="hold" nodeType="withEffect">
                                  <p:stCondLst>
                                    <p:cond delay="750"/>
                                  </p:stCondLst>
                                  <p:childTnLst>
                                    <p:set>
                                      <p:cBhvr>
                                        <p:cTn id="83" dur="1" fill="hold">
                                          <p:stCondLst>
                                            <p:cond delay="0"/>
                                          </p:stCondLst>
                                        </p:cTn>
                                        <p:tgtEl>
                                          <p:spTgt spid="24"/>
                                        </p:tgtEl>
                                        <p:attrNameLst>
                                          <p:attrName>style.visibility</p:attrName>
                                        </p:attrNameLst>
                                      </p:cBhvr>
                                      <p:to>
                                        <p:strVal val="visible"/>
                                      </p:to>
                                    </p:set>
                                    <p:anim calcmode="lin" valueType="num">
                                      <p:cBhvr>
                                        <p:cTn id="84" dur="500" fill="hold"/>
                                        <p:tgtEl>
                                          <p:spTgt spid="24"/>
                                        </p:tgtEl>
                                        <p:attrNameLst>
                                          <p:attrName>ppt_w</p:attrName>
                                        </p:attrNameLst>
                                      </p:cBhvr>
                                      <p:tavLst>
                                        <p:tav tm="0">
                                          <p:val>
                                            <p:fltVal val="0"/>
                                          </p:val>
                                        </p:tav>
                                        <p:tav tm="100000">
                                          <p:val>
                                            <p:strVal val="#ppt_w"/>
                                          </p:val>
                                        </p:tav>
                                      </p:tavLst>
                                    </p:anim>
                                    <p:anim calcmode="lin" valueType="num">
                                      <p:cBhvr>
                                        <p:cTn id="85" dur="500" fill="hold"/>
                                        <p:tgtEl>
                                          <p:spTgt spid="24"/>
                                        </p:tgtEl>
                                        <p:attrNameLst>
                                          <p:attrName>ppt_h</p:attrName>
                                        </p:attrNameLst>
                                      </p:cBhvr>
                                      <p:tavLst>
                                        <p:tav tm="0">
                                          <p:val>
                                            <p:fltVal val="0"/>
                                          </p:val>
                                        </p:tav>
                                        <p:tav tm="100000">
                                          <p:val>
                                            <p:strVal val="#ppt_h"/>
                                          </p:val>
                                        </p:tav>
                                      </p:tavLst>
                                    </p:anim>
                                    <p:animEffect transition="in" filter="fade">
                                      <p:cBhvr>
                                        <p:cTn id="86" dur="500"/>
                                        <p:tgtEl>
                                          <p:spTgt spid="24"/>
                                        </p:tgtEl>
                                      </p:cBhvr>
                                    </p:animEffect>
                                  </p:childTnLst>
                                </p:cTn>
                              </p:par>
                              <p:par>
                                <p:cTn id="87" presetID="53" presetClass="entr" presetSubtype="0" fill="hold" nodeType="withEffect">
                                  <p:stCondLst>
                                    <p:cond delay="1000"/>
                                  </p:stCondLst>
                                  <p:childTnLst>
                                    <p:set>
                                      <p:cBhvr>
                                        <p:cTn id="88" dur="1" fill="hold">
                                          <p:stCondLst>
                                            <p:cond delay="0"/>
                                          </p:stCondLst>
                                        </p:cTn>
                                        <p:tgtEl>
                                          <p:spTgt spid="25"/>
                                        </p:tgtEl>
                                        <p:attrNameLst>
                                          <p:attrName>style.visibility</p:attrName>
                                        </p:attrNameLst>
                                      </p:cBhvr>
                                      <p:to>
                                        <p:strVal val="visible"/>
                                      </p:to>
                                    </p:set>
                                    <p:anim calcmode="lin" valueType="num">
                                      <p:cBhvr>
                                        <p:cTn id="89" dur="500" fill="hold"/>
                                        <p:tgtEl>
                                          <p:spTgt spid="25"/>
                                        </p:tgtEl>
                                        <p:attrNameLst>
                                          <p:attrName>ppt_w</p:attrName>
                                        </p:attrNameLst>
                                      </p:cBhvr>
                                      <p:tavLst>
                                        <p:tav tm="0">
                                          <p:val>
                                            <p:fltVal val="0"/>
                                          </p:val>
                                        </p:tav>
                                        <p:tav tm="100000">
                                          <p:val>
                                            <p:strVal val="#ppt_w"/>
                                          </p:val>
                                        </p:tav>
                                      </p:tavLst>
                                    </p:anim>
                                    <p:anim calcmode="lin" valueType="num">
                                      <p:cBhvr>
                                        <p:cTn id="90" dur="500" fill="hold"/>
                                        <p:tgtEl>
                                          <p:spTgt spid="25"/>
                                        </p:tgtEl>
                                        <p:attrNameLst>
                                          <p:attrName>ppt_h</p:attrName>
                                        </p:attrNameLst>
                                      </p:cBhvr>
                                      <p:tavLst>
                                        <p:tav tm="0">
                                          <p:val>
                                            <p:fltVal val="0"/>
                                          </p:val>
                                        </p:tav>
                                        <p:tav tm="100000">
                                          <p:val>
                                            <p:strVal val="#ppt_h"/>
                                          </p:val>
                                        </p:tav>
                                      </p:tavLst>
                                    </p:anim>
                                    <p:animEffect transition="in" filter="fade">
                                      <p:cBhvr>
                                        <p:cTn id="91" dur="500"/>
                                        <p:tgtEl>
                                          <p:spTgt spid="25"/>
                                        </p:tgtEl>
                                      </p:cBhvr>
                                    </p:animEffect>
                                  </p:childTnLst>
                                </p:cTn>
                              </p:par>
                              <p:par>
                                <p:cTn id="92" presetID="53" presetClass="entr" presetSubtype="0" fill="hold" nodeType="withEffect">
                                  <p:stCondLst>
                                    <p:cond delay="1250"/>
                                  </p:stCondLst>
                                  <p:childTnLst>
                                    <p:set>
                                      <p:cBhvr>
                                        <p:cTn id="93" dur="1" fill="hold">
                                          <p:stCondLst>
                                            <p:cond delay="0"/>
                                          </p:stCondLst>
                                        </p:cTn>
                                        <p:tgtEl>
                                          <p:spTgt spid="26"/>
                                        </p:tgtEl>
                                        <p:attrNameLst>
                                          <p:attrName>style.visibility</p:attrName>
                                        </p:attrNameLst>
                                      </p:cBhvr>
                                      <p:to>
                                        <p:strVal val="visible"/>
                                      </p:to>
                                    </p:set>
                                    <p:anim calcmode="lin" valueType="num">
                                      <p:cBhvr>
                                        <p:cTn id="94" dur="500" fill="hold"/>
                                        <p:tgtEl>
                                          <p:spTgt spid="26"/>
                                        </p:tgtEl>
                                        <p:attrNameLst>
                                          <p:attrName>ppt_w</p:attrName>
                                        </p:attrNameLst>
                                      </p:cBhvr>
                                      <p:tavLst>
                                        <p:tav tm="0">
                                          <p:val>
                                            <p:fltVal val="0"/>
                                          </p:val>
                                        </p:tav>
                                        <p:tav tm="100000">
                                          <p:val>
                                            <p:strVal val="#ppt_w"/>
                                          </p:val>
                                        </p:tav>
                                      </p:tavLst>
                                    </p:anim>
                                    <p:anim calcmode="lin" valueType="num">
                                      <p:cBhvr>
                                        <p:cTn id="95" dur="500" fill="hold"/>
                                        <p:tgtEl>
                                          <p:spTgt spid="26"/>
                                        </p:tgtEl>
                                        <p:attrNameLst>
                                          <p:attrName>ppt_h</p:attrName>
                                        </p:attrNameLst>
                                      </p:cBhvr>
                                      <p:tavLst>
                                        <p:tav tm="0">
                                          <p:val>
                                            <p:fltVal val="0"/>
                                          </p:val>
                                        </p:tav>
                                        <p:tav tm="100000">
                                          <p:val>
                                            <p:strVal val="#ppt_h"/>
                                          </p:val>
                                        </p:tav>
                                      </p:tavLst>
                                    </p:anim>
                                    <p:animEffect transition="in" filter="fade">
                                      <p:cBhvr>
                                        <p:cTn id="96" dur="500"/>
                                        <p:tgtEl>
                                          <p:spTgt spid="26"/>
                                        </p:tgtEl>
                                      </p:cBhvr>
                                    </p:animEffect>
                                  </p:childTnLst>
                                </p:cTn>
                              </p:par>
                              <p:par>
                                <p:cTn id="97" presetID="53" presetClass="entr" presetSubtype="0" fill="hold" nodeType="withEffect">
                                  <p:stCondLst>
                                    <p:cond delay="1500"/>
                                  </p:stCondLst>
                                  <p:childTnLst>
                                    <p:set>
                                      <p:cBhvr>
                                        <p:cTn id="98" dur="1" fill="hold">
                                          <p:stCondLst>
                                            <p:cond delay="0"/>
                                          </p:stCondLst>
                                        </p:cTn>
                                        <p:tgtEl>
                                          <p:spTgt spid="29"/>
                                        </p:tgtEl>
                                        <p:attrNameLst>
                                          <p:attrName>style.visibility</p:attrName>
                                        </p:attrNameLst>
                                      </p:cBhvr>
                                      <p:to>
                                        <p:strVal val="visible"/>
                                      </p:to>
                                    </p:set>
                                    <p:anim calcmode="lin" valueType="num">
                                      <p:cBhvr>
                                        <p:cTn id="99" dur="500" fill="hold"/>
                                        <p:tgtEl>
                                          <p:spTgt spid="29"/>
                                        </p:tgtEl>
                                        <p:attrNameLst>
                                          <p:attrName>ppt_w</p:attrName>
                                        </p:attrNameLst>
                                      </p:cBhvr>
                                      <p:tavLst>
                                        <p:tav tm="0">
                                          <p:val>
                                            <p:fltVal val="0"/>
                                          </p:val>
                                        </p:tav>
                                        <p:tav tm="100000">
                                          <p:val>
                                            <p:strVal val="#ppt_w"/>
                                          </p:val>
                                        </p:tav>
                                      </p:tavLst>
                                    </p:anim>
                                    <p:anim calcmode="lin" valueType="num">
                                      <p:cBhvr>
                                        <p:cTn id="100" dur="500" fill="hold"/>
                                        <p:tgtEl>
                                          <p:spTgt spid="29"/>
                                        </p:tgtEl>
                                        <p:attrNameLst>
                                          <p:attrName>ppt_h</p:attrName>
                                        </p:attrNameLst>
                                      </p:cBhvr>
                                      <p:tavLst>
                                        <p:tav tm="0">
                                          <p:val>
                                            <p:fltVal val="0"/>
                                          </p:val>
                                        </p:tav>
                                        <p:tav tm="100000">
                                          <p:val>
                                            <p:strVal val="#ppt_h"/>
                                          </p:val>
                                        </p:tav>
                                      </p:tavLst>
                                    </p:anim>
                                    <p:animEffect transition="in" filter="fade">
                                      <p:cBhvr>
                                        <p:cTn id="101" dur="500"/>
                                        <p:tgtEl>
                                          <p:spTgt spid="29"/>
                                        </p:tgtEl>
                                      </p:cBhvr>
                                    </p:animEffect>
                                  </p:childTnLst>
                                </p:cTn>
                              </p:par>
                              <p:par>
                                <p:cTn id="102" presetID="53" presetClass="entr" presetSubtype="0" fill="hold" nodeType="withEffect">
                                  <p:stCondLst>
                                    <p:cond delay="1750"/>
                                  </p:stCondLst>
                                  <p:childTnLst>
                                    <p:set>
                                      <p:cBhvr>
                                        <p:cTn id="103" dur="1" fill="hold">
                                          <p:stCondLst>
                                            <p:cond delay="0"/>
                                          </p:stCondLst>
                                        </p:cTn>
                                        <p:tgtEl>
                                          <p:spTgt spid="32"/>
                                        </p:tgtEl>
                                        <p:attrNameLst>
                                          <p:attrName>style.visibility</p:attrName>
                                        </p:attrNameLst>
                                      </p:cBhvr>
                                      <p:to>
                                        <p:strVal val="visible"/>
                                      </p:to>
                                    </p:set>
                                    <p:anim calcmode="lin" valueType="num">
                                      <p:cBhvr>
                                        <p:cTn id="104" dur="500" fill="hold"/>
                                        <p:tgtEl>
                                          <p:spTgt spid="32"/>
                                        </p:tgtEl>
                                        <p:attrNameLst>
                                          <p:attrName>ppt_w</p:attrName>
                                        </p:attrNameLst>
                                      </p:cBhvr>
                                      <p:tavLst>
                                        <p:tav tm="0">
                                          <p:val>
                                            <p:fltVal val="0"/>
                                          </p:val>
                                        </p:tav>
                                        <p:tav tm="100000">
                                          <p:val>
                                            <p:strVal val="#ppt_w"/>
                                          </p:val>
                                        </p:tav>
                                      </p:tavLst>
                                    </p:anim>
                                    <p:anim calcmode="lin" valueType="num">
                                      <p:cBhvr>
                                        <p:cTn id="105" dur="500" fill="hold"/>
                                        <p:tgtEl>
                                          <p:spTgt spid="32"/>
                                        </p:tgtEl>
                                        <p:attrNameLst>
                                          <p:attrName>ppt_h</p:attrName>
                                        </p:attrNameLst>
                                      </p:cBhvr>
                                      <p:tavLst>
                                        <p:tav tm="0">
                                          <p:val>
                                            <p:fltVal val="0"/>
                                          </p:val>
                                        </p:tav>
                                        <p:tav tm="100000">
                                          <p:val>
                                            <p:strVal val="#ppt_h"/>
                                          </p:val>
                                        </p:tav>
                                      </p:tavLst>
                                    </p:anim>
                                    <p:animEffect transition="in" filter="fade">
                                      <p:cBhvr>
                                        <p:cTn id="106" dur="500"/>
                                        <p:tgtEl>
                                          <p:spTgt spid="32"/>
                                        </p:tgtEl>
                                      </p:cBhvr>
                                    </p:animEffect>
                                  </p:childTnLst>
                                </p:cTn>
                              </p:par>
                              <p:par>
                                <p:cTn id="107" presetID="53" presetClass="entr" presetSubtype="0" fill="hold" nodeType="withEffect">
                                  <p:stCondLst>
                                    <p:cond delay="2000"/>
                                  </p:stCondLst>
                                  <p:childTnLst>
                                    <p:set>
                                      <p:cBhvr>
                                        <p:cTn id="108" dur="1" fill="hold">
                                          <p:stCondLst>
                                            <p:cond delay="0"/>
                                          </p:stCondLst>
                                        </p:cTn>
                                        <p:tgtEl>
                                          <p:spTgt spid="35"/>
                                        </p:tgtEl>
                                        <p:attrNameLst>
                                          <p:attrName>style.visibility</p:attrName>
                                        </p:attrNameLst>
                                      </p:cBhvr>
                                      <p:to>
                                        <p:strVal val="visible"/>
                                      </p:to>
                                    </p:set>
                                    <p:anim calcmode="lin" valueType="num">
                                      <p:cBhvr>
                                        <p:cTn id="109" dur="500" fill="hold"/>
                                        <p:tgtEl>
                                          <p:spTgt spid="35"/>
                                        </p:tgtEl>
                                        <p:attrNameLst>
                                          <p:attrName>ppt_w</p:attrName>
                                        </p:attrNameLst>
                                      </p:cBhvr>
                                      <p:tavLst>
                                        <p:tav tm="0">
                                          <p:val>
                                            <p:fltVal val="0"/>
                                          </p:val>
                                        </p:tav>
                                        <p:tav tm="100000">
                                          <p:val>
                                            <p:strVal val="#ppt_w"/>
                                          </p:val>
                                        </p:tav>
                                      </p:tavLst>
                                    </p:anim>
                                    <p:anim calcmode="lin" valueType="num">
                                      <p:cBhvr>
                                        <p:cTn id="110" dur="500" fill="hold"/>
                                        <p:tgtEl>
                                          <p:spTgt spid="35"/>
                                        </p:tgtEl>
                                        <p:attrNameLst>
                                          <p:attrName>ppt_h</p:attrName>
                                        </p:attrNameLst>
                                      </p:cBhvr>
                                      <p:tavLst>
                                        <p:tav tm="0">
                                          <p:val>
                                            <p:fltVal val="0"/>
                                          </p:val>
                                        </p:tav>
                                        <p:tav tm="100000">
                                          <p:val>
                                            <p:strVal val="#ppt_h"/>
                                          </p:val>
                                        </p:tav>
                                      </p:tavLst>
                                    </p:anim>
                                    <p:animEffect transition="in" filter="fade">
                                      <p:cBhvr>
                                        <p:cTn id="11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P spid="60" grpId="0"/>
      <p:bldP spid="60" grpId="1"/>
      <p:bldP spid="61" grpId="0"/>
      <p:bldP spid="61" grpId="1"/>
      <p:bldP spid="62" grpId="0"/>
      <p:bldP spid="62" grpId="1"/>
      <p:bldP spid="63" grpId="0"/>
      <p:bldP spid="63" grpId="1"/>
      <p:bldP spid="64" grpId="0"/>
      <p:bldP spid="64" grpId="1"/>
      <p:bldP spid="65" grpId="0"/>
      <p:bldP spid="65" grpId="1"/>
      <p:bldP spid="66" grpId="0"/>
      <p:bldP spid="66"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m 15" descr="Imagem em branco e azul&#10;&#10;Descrição gerada automaticamente com confiança média">
            <a:extLst>
              <a:ext uri="{FF2B5EF4-FFF2-40B4-BE49-F238E27FC236}">
                <a16:creationId xmlns:a16="http://schemas.microsoft.com/office/drawing/2014/main" id="{E91DB152-A6DA-FCDF-16CE-7024A6043C0A}"/>
              </a:ext>
            </a:extLst>
          </p:cNvPr>
          <p:cNvPicPr>
            <a:picLocks noChangeAspect="1"/>
          </p:cNvPicPr>
          <p:nvPr>
            <p:custDataLst>
              <p:tags r:id="rId1"/>
            </p:custDataLst>
          </p:nvPr>
        </p:nvPicPr>
        <p:blipFill>
          <a:blip r:embed="rId29">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17" name="Imagem 16">
            <a:extLst>
              <a:ext uri="{FF2B5EF4-FFF2-40B4-BE49-F238E27FC236}">
                <a16:creationId xmlns:a16="http://schemas.microsoft.com/office/drawing/2014/main" id="{6860D2B4-7067-6F17-FEE8-A21725FBA875}"/>
              </a:ext>
            </a:extLst>
          </p:cNvPr>
          <p:cNvPicPr>
            <a:picLocks noChangeAspect="1"/>
          </p:cNvPicPr>
          <p:nvPr>
            <p:custDataLst>
              <p:tags r:id="rId2"/>
            </p:custDataLst>
          </p:nvPr>
        </p:nvPicPr>
        <p:blipFill>
          <a:blip r:embed="rId30">
            <a:extLst>
              <a:ext uri="{28A0092B-C50C-407E-A947-70E740481C1C}">
                <a14:useLocalDpi xmlns:a14="http://schemas.microsoft.com/office/drawing/2010/main"/>
              </a:ext>
            </a:extLst>
          </a:blip>
          <a:stretch>
            <a:fillRect/>
          </a:stretch>
        </p:blipFill>
        <p:spPr>
          <a:xfrm>
            <a:off x="0" y="149"/>
            <a:ext cx="8999538" cy="5062240"/>
          </a:xfrm>
          <a:prstGeom prst="rect">
            <a:avLst/>
          </a:prstGeom>
        </p:spPr>
      </p:pic>
      <p:graphicFrame>
        <p:nvGraphicFramePr>
          <p:cNvPr id="51" name="think-cell data - do not delete" hidden="1">
            <a:extLst>
              <a:ext uri="{FF2B5EF4-FFF2-40B4-BE49-F238E27FC236}">
                <a16:creationId xmlns:a16="http://schemas.microsoft.com/office/drawing/2014/main" id="{F3C17E12-AC73-34AA-6B97-FECE7CF3C96F}"/>
              </a:ext>
            </a:extLst>
          </p:cNvPr>
          <p:cNvGraphicFramePr>
            <a:graphicFrameLocks noChangeAspect="1"/>
          </p:cNvGraphicFramePr>
          <p:nvPr>
            <p:custDataLst>
              <p:tags r:id="rId3"/>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31" imgW="0" imgH="0" progId="TCLayout.ActiveDocument.1">
                  <p:embed/>
                </p:oleObj>
              </mc:Choice>
              <mc:Fallback>
                <p:oleObj name="Slide do think-cell" r:id="rId31" imgW="0" imgH="0" progId="TCLayout.ActiveDocument.1">
                  <p:embed/>
                  <p:pic>
                    <p:nvPicPr>
                      <p:cNvPr id="0" name="OLE substitute image"/>
                      <p:cNvPicPr/>
                      <p:nvPr/>
                    </p:nvPicPr>
                    <p:blipFill>
                      <a:blip r:embed="rId32"/>
                      <a:stretch>
                        <a:fillRect/>
                      </a:stretch>
                    </p:blipFill>
                    <p:spPr>
                      <a:xfrm>
                        <a:off x="1173" y="1321"/>
                        <a:ext cx="1172" cy="1172"/>
                      </a:xfrm>
                      <a:prstGeom prst="rect">
                        <a:avLst/>
                      </a:prstGeom>
                    </p:spPr>
                  </p:pic>
                </p:oleObj>
              </mc:Fallback>
            </mc:AlternateContent>
          </a:graphicData>
        </a:graphic>
      </p:graphicFrame>
      <p:sp>
        <p:nvSpPr>
          <p:cNvPr id="21" name="CaixaDeTexto 20">
            <a:extLst>
              <a:ext uri="{FF2B5EF4-FFF2-40B4-BE49-F238E27FC236}">
                <a16:creationId xmlns:a16="http://schemas.microsoft.com/office/drawing/2014/main" id="{11A4483A-196D-699F-F061-D722C36EAD88}"/>
              </a:ext>
            </a:extLst>
          </p:cNvPr>
          <p:cNvSpPr txBox="1"/>
          <p:nvPr>
            <p:custDataLst>
              <p:tags r:id="rId4"/>
            </p:custDataLst>
          </p:nvPr>
        </p:nvSpPr>
        <p:spPr>
          <a:xfrm>
            <a:off x="574289" y="808315"/>
            <a:ext cx="7850962" cy="584775"/>
          </a:xfrm>
          <a:prstGeom prst="rect">
            <a:avLst/>
          </a:prstGeom>
          <a:noFill/>
        </p:spPr>
        <p:txBody>
          <a:bodyPr wrap="square" rtlCol="0" anchor="ctr">
            <a:spAutoFit/>
          </a:bodyPr>
          <a:lstStyle/>
          <a:p>
            <a:pPr lvl="0" algn="ctr" defTabSz="449931">
              <a:lnSpc>
                <a:spcPct val="80000"/>
              </a:lnSpc>
              <a:spcBef>
                <a:spcPts val="148"/>
              </a:spcBef>
              <a:spcAft>
                <a:spcPts val="148"/>
              </a:spcAft>
              <a:defRPr/>
            </a:pPr>
            <a:r>
              <a:rPr lang="en-US" sz="2000" b="1" dirty="0">
                <a:solidFill>
                  <a:srgbClr val="002581"/>
                </a:solidFill>
                <a:latin typeface="Segoe UI Black" panose="020B0A02040204020203" pitchFamily="34" charset="0"/>
                <a:ea typeface="Segoe UI Black" panose="020B0A02040204020203" pitchFamily="34" charset="0"/>
                <a:cs typeface="Segoe UI" panose="020B0502040204020203" pitchFamily="34" charset="0"/>
              </a:rPr>
              <a:t>INTEGRATED PLANNING </a:t>
            </a:r>
            <a:r>
              <a:rPr lang="en-US" sz="1600" spc="300" dirty="0">
                <a:solidFill>
                  <a:srgbClr val="002581"/>
                </a:solidFill>
                <a:latin typeface="Segoe UI Light" panose="020B0502040204020203" pitchFamily="34" charset="0"/>
                <a:ea typeface="Tahoma" panose="020B0604030504040204" pitchFamily="34" charset="0"/>
                <a:cs typeface="Segoe UI Light" panose="020B0502040204020203" pitchFamily="34" charset="0"/>
              </a:rPr>
              <a:t>WITH THE EVOLUTION OF THE </a:t>
            </a:r>
            <a:r>
              <a:rPr lang="en-US" sz="2000" b="1" dirty="0">
                <a:solidFill>
                  <a:srgbClr val="002581"/>
                </a:solidFill>
                <a:latin typeface="Segoe UI Black" panose="020B0A02040204020203" pitchFamily="34" charset="0"/>
                <a:ea typeface="Segoe UI Black" panose="020B0A02040204020203" pitchFamily="34" charset="0"/>
                <a:cs typeface="Segoe UI" panose="020B0502040204020203" pitchFamily="34" charset="0"/>
              </a:rPr>
              <a:t>ENERGY TRANSITION</a:t>
            </a:r>
          </a:p>
        </p:txBody>
      </p:sp>
      <p:grpSp>
        <p:nvGrpSpPr>
          <p:cNvPr id="30" name="Agrupar 29">
            <a:extLst>
              <a:ext uri="{FF2B5EF4-FFF2-40B4-BE49-F238E27FC236}">
                <a16:creationId xmlns:a16="http://schemas.microsoft.com/office/drawing/2014/main" id="{34653AA3-C2AD-90F9-7EC9-2FC486C7114F}"/>
              </a:ext>
            </a:extLst>
          </p:cNvPr>
          <p:cNvGrpSpPr/>
          <p:nvPr>
            <p:custDataLst>
              <p:tags r:id="rId5"/>
            </p:custDataLst>
          </p:nvPr>
        </p:nvGrpSpPr>
        <p:grpSpPr>
          <a:xfrm>
            <a:off x="104138" y="1369791"/>
            <a:ext cx="2886535" cy="251325"/>
            <a:chOff x="337644" y="1212813"/>
            <a:chExt cx="2882913" cy="303657"/>
          </a:xfrm>
        </p:grpSpPr>
        <p:sp>
          <p:nvSpPr>
            <p:cNvPr id="31" name="Retângulo: Cantos Arredondados 30">
              <a:extLst>
                <a:ext uri="{FF2B5EF4-FFF2-40B4-BE49-F238E27FC236}">
                  <a16:creationId xmlns:a16="http://schemas.microsoft.com/office/drawing/2014/main" id="{2FB43409-DB4B-9AFB-DF3A-24EB7D615824}"/>
                </a:ext>
              </a:extLst>
            </p:cNvPr>
            <p:cNvSpPr/>
            <p:nvPr>
              <p:custDataLst>
                <p:tags r:id="rId25"/>
              </p:custDataLst>
            </p:nvPr>
          </p:nvSpPr>
          <p:spPr>
            <a:xfrm>
              <a:off x="391319" y="1212813"/>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32" name="CaixaDeTexto 31">
              <a:extLst>
                <a:ext uri="{FF2B5EF4-FFF2-40B4-BE49-F238E27FC236}">
                  <a16:creationId xmlns:a16="http://schemas.microsoft.com/office/drawing/2014/main" id="{C41FE988-3E7A-0E79-CABA-9A3D000F3B42}"/>
                </a:ext>
              </a:extLst>
            </p:cNvPr>
            <p:cNvSpPr txBox="1"/>
            <p:nvPr>
              <p:custDataLst>
                <p:tags r:id="rId26"/>
              </p:custDataLst>
            </p:nvPr>
          </p:nvSpPr>
          <p:spPr>
            <a:xfrm>
              <a:off x="337644" y="1226416"/>
              <a:ext cx="2829238" cy="2900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Management of risks and uncertainties</a:t>
              </a:r>
            </a:p>
          </p:txBody>
        </p:sp>
      </p:grpSp>
      <p:grpSp>
        <p:nvGrpSpPr>
          <p:cNvPr id="33" name="Agrupar 32">
            <a:extLst>
              <a:ext uri="{FF2B5EF4-FFF2-40B4-BE49-F238E27FC236}">
                <a16:creationId xmlns:a16="http://schemas.microsoft.com/office/drawing/2014/main" id="{7F5A7A8B-FAEA-BC1A-2E44-43E1C12F1142}"/>
              </a:ext>
            </a:extLst>
          </p:cNvPr>
          <p:cNvGrpSpPr/>
          <p:nvPr>
            <p:custDataLst>
              <p:tags r:id="rId6"/>
            </p:custDataLst>
          </p:nvPr>
        </p:nvGrpSpPr>
        <p:grpSpPr>
          <a:xfrm>
            <a:off x="3083372" y="1369791"/>
            <a:ext cx="2832793" cy="251326"/>
            <a:chOff x="391319" y="1212813"/>
            <a:chExt cx="2829238" cy="303658"/>
          </a:xfrm>
        </p:grpSpPr>
        <p:sp>
          <p:nvSpPr>
            <p:cNvPr id="35" name="Retângulo: Cantos Arredondados 34">
              <a:extLst>
                <a:ext uri="{FF2B5EF4-FFF2-40B4-BE49-F238E27FC236}">
                  <a16:creationId xmlns:a16="http://schemas.microsoft.com/office/drawing/2014/main" id="{8FAA7908-6980-E97B-4989-61A523611E53}"/>
                </a:ext>
              </a:extLst>
            </p:cNvPr>
            <p:cNvSpPr/>
            <p:nvPr>
              <p:custDataLst>
                <p:tags r:id="rId23"/>
              </p:custDataLst>
            </p:nvPr>
          </p:nvSpPr>
          <p:spPr>
            <a:xfrm>
              <a:off x="391319" y="1212813"/>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36" name="CaixaDeTexto 35">
              <a:extLst>
                <a:ext uri="{FF2B5EF4-FFF2-40B4-BE49-F238E27FC236}">
                  <a16:creationId xmlns:a16="http://schemas.microsoft.com/office/drawing/2014/main" id="{720A84C2-5520-7E1B-7576-373440D93BFB}"/>
                </a:ext>
              </a:extLst>
            </p:cNvPr>
            <p:cNvSpPr txBox="1"/>
            <p:nvPr>
              <p:custDataLst>
                <p:tags r:id="rId24"/>
              </p:custDataLst>
            </p:nvPr>
          </p:nvSpPr>
          <p:spPr>
            <a:xfrm>
              <a:off x="421909" y="1227677"/>
              <a:ext cx="2744975" cy="28753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FFFFFF"/>
                  </a:solidFill>
                  <a:effectLst/>
                  <a:uFillTx/>
                  <a:latin typeface="Segoe UI"/>
                </a:rPr>
                <a:t>Market intelligence</a:t>
              </a:r>
            </a:p>
          </p:txBody>
        </p:sp>
      </p:grpSp>
      <p:grpSp>
        <p:nvGrpSpPr>
          <p:cNvPr id="37" name="Agrupar 36">
            <a:extLst>
              <a:ext uri="{FF2B5EF4-FFF2-40B4-BE49-F238E27FC236}">
                <a16:creationId xmlns:a16="http://schemas.microsoft.com/office/drawing/2014/main" id="{C39561DD-B87D-500C-23F4-E87838051129}"/>
              </a:ext>
            </a:extLst>
          </p:cNvPr>
          <p:cNvGrpSpPr/>
          <p:nvPr>
            <p:custDataLst>
              <p:tags r:id="rId7"/>
            </p:custDataLst>
          </p:nvPr>
        </p:nvGrpSpPr>
        <p:grpSpPr>
          <a:xfrm>
            <a:off x="5978228" y="1369792"/>
            <a:ext cx="2863430" cy="251324"/>
            <a:chOff x="360721" y="1212813"/>
            <a:chExt cx="2859836" cy="303656"/>
          </a:xfrm>
        </p:grpSpPr>
        <p:sp>
          <p:nvSpPr>
            <p:cNvPr id="38" name="Retângulo: Cantos Arredondados 37">
              <a:extLst>
                <a:ext uri="{FF2B5EF4-FFF2-40B4-BE49-F238E27FC236}">
                  <a16:creationId xmlns:a16="http://schemas.microsoft.com/office/drawing/2014/main" id="{6F0BF316-65A7-294F-96D9-DD63436A4915}"/>
                </a:ext>
              </a:extLst>
            </p:cNvPr>
            <p:cNvSpPr/>
            <p:nvPr>
              <p:custDataLst>
                <p:tags r:id="rId21"/>
              </p:custDataLst>
            </p:nvPr>
          </p:nvSpPr>
          <p:spPr>
            <a:xfrm>
              <a:off x="391319" y="1212813"/>
              <a:ext cx="2829238" cy="28649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schemeClr val="bg1"/>
                </a:solidFill>
                <a:effectLst/>
                <a:uLnTx/>
                <a:uFillTx/>
                <a:latin typeface="Segoe UI" panose="020B0502040204020203" pitchFamily="34" charset="0"/>
                <a:cs typeface="Segoe UI" panose="020B0502040204020203" pitchFamily="34" charset="0"/>
              </a:endParaRPr>
            </a:p>
          </p:txBody>
        </p:sp>
        <p:sp>
          <p:nvSpPr>
            <p:cNvPr id="40" name="CaixaDeTexto 39">
              <a:extLst>
                <a:ext uri="{FF2B5EF4-FFF2-40B4-BE49-F238E27FC236}">
                  <a16:creationId xmlns:a16="http://schemas.microsoft.com/office/drawing/2014/main" id="{A62DCDE0-A6E0-BB7B-6C63-1753B0798FC8}"/>
                </a:ext>
              </a:extLst>
            </p:cNvPr>
            <p:cNvSpPr txBox="1"/>
            <p:nvPr>
              <p:custDataLst>
                <p:tags r:id="rId22"/>
              </p:custDataLst>
            </p:nvPr>
          </p:nvSpPr>
          <p:spPr>
            <a:xfrm>
              <a:off x="360721" y="1226415"/>
              <a:ext cx="2859835" cy="2900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a:solidFill>
                    <a:srgbClr val="FFFFFF"/>
                  </a:solidFill>
                  <a:effectLst/>
                  <a:uFillTx/>
                  <a:latin typeface="Segoe UI"/>
                </a:rPr>
                <a:t>Future challenges</a:t>
              </a:r>
              <a:endParaRPr lang="en-US" sz="1200" b="0" i="0" u="none" strike="noStrike" cap="none" spc="0" baseline="0" dirty="0">
                <a:solidFill>
                  <a:srgbClr val="FFFFFF"/>
                </a:solidFill>
                <a:effectLst/>
                <a:uFillTx/>
                <a:latin typeface="Segoe UI"/>
              </a:endParaRPr>
            </a:p>
          </p:txBody>
        </p:sp>
      </p:grpSp>
      <p:grpSp>
        <p:nvGrpSpPr>
          <p:cNvPr id="44" name="Agrupar 43">
            <a:extLst>
              <a:ext uri="{FF2B5EF4-FFF2-40B4-BE49-F238E27FC236}">
                <a16:creationId xmlns:a16="http://schemas.microsoft.com/office/drawing/2014/main" id="{DB607F38-6BFA-60D6-50C8-89419D59BF48}"/>
              </a:ext>
            </a:extLst>
          </p:cNvPr>
          <p:cNvGrpSpPr/>
          <p:nvPr>
            <p:custDataLst>
              <p:tags r:id="rId8"/>
            </p:custDataLst>
          </p:nvPr>
        </p:nvGrpSpPr>
        <p:grpSpPr>
          <a:xfrm rot="5400000">
            <a:off x="2850937" y="1488354"/>
            <a:ext cx="344365" cy="344362"/>
            <a:chOff x="8313122" y="2344436"/>
            <a:chExt cx="373665" cy="373665"/>
          </a:xfrm>
        </p:grpSpPr>
        <p:sp>
          <p:nvSpPr>
            <p:cNvPr id="45" name="Elipse 44">
              <a:extLst>
                <a:ext uri="{FF2B5EF4-FFF2-40B4-BE49-F238E27FC236}">
                  <a16:creationId xmlns:a16="http://schemas.microsoft.com/office/drawing/2014/main" id="{89B67FF7-4100-530B-BC2C-4BFFC564A05E}"/>
                </a:ext>
              </a:extLst>
            </p:cNvPr>
            <p:cNvSpPr/>
            <p:nvPr>
              <p:custDataLst>
                <p:tags r:id="rId19"/>
              </p:custDataLst>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46" name="Seta: Divisa 45">
              <a:extLst>
                <a:ext uri="{FF2B5EF4-FFF2-40B4-BE49-F238E27FC236}">
                  <a16:creationId xmlns:a16="http://schemas.microsoft.com/office/drawing/2014/main" id="{1477278A-F98B-1C0B-C510-AB7B0BB451F3}"/>
                </a:ext>
              </a:extLst>
            </p:cNvPr>
            <p:cNvSpPr/>
            <p:nvPr>
              <p:custDataLst>
                <p:tags r:id="rId20"/>
              </p:custDataLst>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grpSp>
        <p:nvGrpSpPr>
          <p:cNvPr id="47" name="Agrupar 46">
            <a:extLst>
              <a:ext uri="{FF2B5EF4-FFF2-40B4-BE49-F238E27FC236}">
                <a16:creationId xmlns:a16="http://schemas.microsoft.com/office/drawing/2014/main" id="{6CDBFCDA-1E68-2427-5770-5EF7674B66FE}"/>
              </a:ext>
            </a:extLst>
          </p:cNvPr>
          <p:cNvGrpSpPr/>
          <p:nvPr>
            <p:custDataLst>
              <p:tags r:id="rId9"/>
            </p:custDataLst>
          </p:nvPr>
        </p:nvGrpSpPr>
        <p:grpSpPr>
          <a:xfrm rot="5400000">
            <a:off x="5778776" y="1488355"/>
            <a:ext cx="344365" cy="344362"/>
            <a:chOff x="8313122" y="2344436"/>
            <a:chExt cx="373665" cy="373665"/>
          </a:xfrm>
        </p:grpSpPr>
        <p:sp>
          <p:nvSpPr>
            <p:cNvPr id="48" name="Elipse 47">
              <a:extLst>
                <a:ext uri="{FF2B5EF4-FFF2-40B4-BE49-F238E27FC236}">
                  <a16:creationId xmlns:a16="http://schemas.microsoft.com/office/drawing/2014/main" id="{5CC63D0C-E8FF-0CBB-0DC4-5B7FA22E0772}"/>
                </a:ext>
              </a:extLst>
            </p:cNvPr>
            <p:cNvSpPr/>
            <p:nvPr>
              <p:custDataLst>
                <p:tags r:id="rId17"/>
              </p:custDataLst>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50" name="Seta: Divisa 49">
              <a:extLst>
                <a:ext uri="{FF2B5EF4-FFF2-40B4-BE49-F238E27FC236}">
                  <a16:creationId xmlns:a16="http://schemas.microsoft.com/office/drawing/2014/main" id="{D0BFEBFA-C06A-4E9A-B58A-CEE61C393D7E}"/>
                </a:ext>
              </a:extLst>
            </p:cNvPr>
            <p:cNvSpPr/>
            <p:nvPr>
              <p:custDataLst>
                <p:tags r:id="rId18"/>
              </p:custDataLst>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sp>
        <p:nvSpPr>
          <p:cNvPr id="52" name="Retângulo: Cantos Arredondados 51">
            <a:extLst>
              <a:ext uri="{FF2B5EF4-FFF2-40B4-BE49-F238E27FC236}">
                <a16:creationId xmlns:a16="http://schemas.microsoft.com/office/drawing/2014/main" id="{6789B309-99BB-AA72-5B8C-5C53058823C5}"/>
              </a:ext>
            </a:extLst>
          </p:cNvPr>
          <p:cNvSpPr/>
          <p:nvPr>
            <p:custDataLst>
              <p:tags r:id="rId10"/>
            </p:custDataLst>
          </p:nvPr>
        </p:nvSpPr>
        <p:spPr>
          <a:xfrm flipH="1">
            <a:off x="157880" y="2371353"/>
            <a:ext cx="3037421" cy="2081239"/>
          </a:xfrm>
          <a:prstGeom prst="roundRect">
            <a:avLst>
              <a:gd name="adj" fmla="val 9038"/>
            </a:avLst>
          </a:prstGeom>
          <a:gradFill>
            <a:gsLst>
              <a:gs pos="0">
                <a:schemeClr val="bg1">
                  <a:alpha val="0"/>
                </a:schemeClr>
              </a:gs>
              <a:gs pos="31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54" name="Retângulo: Cantos Arredondados 53">
            <a:extLst>
              <a:ext uri="{FF2B5EF4-FFF2-40B4-BE49-F238E27FC236}">
                <a16:creationId xmlns:a16="http://schemas.microsoft.com/office/drawing/2014/main" id="{7C4A4552-6C64-2E5E-A08F-F9DDA76B5DC0}"/>
              </a:ext>
            </a:extLst>
          </p:cNvPr>
          <p:cNvSpPr/>
          <p:nvPr>
            <p:custDataLst>
              <p:tags r:id="rId11"/>
            </p:custDataLst>
          </p:nvPr>
        </p:nvSpPr>
        <p:spPr>
          <a:xfrm>
            <a:off x="5778776" y="2371353"/>
            <a:ext cx="3062881" cy="2081239"/>
          </a:xfrm>
          <a:prstGeom prst="roundRect">
            <a:avLst>
              <a:gd name="adj" fmla="val 9038"/>
            </a:avLst>
          </a:prstGeom>
          <a:gradFill>
            <a:gsLst>
              <a:gs pos="0">
                <a:schemeClr val="bg1">
                  <a:alpha val="0"/>
                </a:schemeClr>
              </a:gs>
              <a:gs pos="31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56" name="CaixaDeTexto 55">
            <a:extLst>
              <a:ext uri="{FF2B5EF4-FFF2-40B4-BE49-F238E27FC236}">
                <a16:creationId xmlns:a16="http://schemas.microsoft.com/office/drawing/2014/main" id="{802B8CB1-C4F3-EBE4-5033-99E69A061779}"/>
              </a:ext>
            </a:extLst>
          </p:cNvPr>
          <p:cNvSpPr txBox="1"/>
          <p:nvPr>
            <p:custDataLst>
              <p:tags r:id="rId12"/>
            </p:custDataLst>
          </p:nvPr>
        </p:nvSpPr>
        <p:spPr>
          <a:xfrm>
            <a:off x="104138" y="1927026"/>
            <a:ext cx="2748425"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a:solidFill>
                  <a:srgbClr val="F8681E"/>
                </a:solidFill>
                <a:effectLst/>
                <a:uFillTx/>
                <a:latin typeface="Segoe UI"/>
              </a:rPr>
              <a:t>R</a:t>
            </a:r>
            <a:r>
              <a:rPr lang="en-US" sz="1400" b="1" i="0" u="none" strike="noStrike" cap="none" spc="0" baseline="0" dirty="0">
                <a:solidFill>
                  <a:srgbClr val="F8681E"/>
                </a:solidFill>
                <a:effectLst/>
                <a:uFillTx/>
                <a:latin typeface="Segoe UI"/>
              </a:rPr>
              <a:t>&amp;</a:t>
            </a:r>
            <a:r>
              <a:rPr lang="en-US" sz="1400" b="1" i="0" u="none" strike="noStrike" cap="none" spc="0" baseline="0">
                <a:solidFill>
                  <a:srgbClr val="F8681E"/>
                </a:solidFill>
                <a:effectLst/>
                <a:uFillTx/>
                <a:latin typeface="Segoe UI"/>
              </a:rPr>
              <a:t>D Integrated and flexible planning</a:t>
            </a:r>
            <a:endParaRPr lang="en-US" sz="1400" b="1" i="0" u="none" strike="noStrike" cap="none" spc="0" baseline="0" dirty="0">
              <a:solidFill>
                <a:srgbClr val="F8681E"/>
              </a:solidFill>
              <a:effectLst/>
              <a:uFillTx/>
              <a:latin typeface="Segoe UI"/>
            </a:endParaRPr>
          </a:p>
        </p:txBody>
      </p:sp>
      <p:sp>
        <p:nvSpPr>
          <p:cNvPr id="58" name="CaixaDeTexto 57">
            <a:extLst>
              <a:ext uri="{FF2B5EF4-FFF2-40B4-BE49-F238E27FC236}">
                <a16:creationId xmlns:a16="http://schemas.microsoft.com/office/drawing/2014/main" id="{9DC6C137-33B0-C214-CE7F-AB5AD1D483D3}"/>
              </a:ext>
            </a:extLst>
          </p:cNvPr>
          <p:cNvSpPr txBox="1"/>
          <p:nvPr>
            <p:custDataLst>
              <p:tags r:id="rId13"/>
            </p:custDataLst>
          </p:nvPr>
        </p:nvSpPr>
        <p:spPr>
          <a:xfrm>
            <a:off x="244995" y="2675133"/>
            <a:ext cx="2838377" cy="137268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defTabSz="234364" rtl="0" eaLnBrk="1" fontAlgn="auto" latinLnBrk="0" hangingPunct="1">
              <a:lnSpc>
                <a:spcPct val="80000"/>
              </a:lnSpc>
              <a:spcBef>
                <a:spcPct val="0"/>
              </a:spcBef>
              <a:spcAft>
                <a:spcPct val="0"/>
              </a:spcAft>
              <a:buClrTx/>
              <a:buSzTx/>
              <a:buFontTx/>
              <a:buNone/>
              <a:defRPr/>
            </a:pPr>
            <a:r>
              <a:rPr lang="en-US" sz="1300" b="1" i="0" u="none" strike="noStrike" cap="none" spc="0" baseline="0" dirty="0">
                <a:solidFill>
                  <a:srgbClr val="011F57"/>
                </a:solidFill>
                <a:effectLst/>
                <a:uFillTx/>
                <a:latin typeface="Segoe UI"/>
              </a:rPr>
              <a:t>Expansion plan portfolio to</a:t>
            </a:r>
            <a:r>
              <a:rPr lang="en-US" sz="1300" b="1" i="0" u="none" strike="noStrike" cap="none" spc="0" dirty="0">
                <a:solidFill>
                  <a:srgbClr val="011F57"/>
                </a:solidFill>
                <a:effectLst/>
                <a:uFillTx/>
                <a:latin typeface="Segoe UI"/>
              </a:rPr>
              <a:t> </a:t>
            </a:r>
            <a:r>
              <a:rPr lang="en-US" sz="1300" b="1" i="0" u="none" strike="noStrike" cap="none" spc="0" baseline="0" dirty="0">
                <a:solidFill>
                  <a:srgbClr val="011F57"/>
                </a:solidFill>
                <a:effectLst/>
                <a:uFillTx/>
                <a:latin typeface="Segoe UI"/>
              </a:rPr>
              <a:t>maximize flexibility and</a:t>
            </a:r>
            <a:r>
              <a:rPr lang="en-US" sz="1300" b="1" i="0" u="none" strike="noStrike" cap="none" spc="0" dirty="0">
                <a:solidFill>
                  <a:srgbClr val="011F57"/>
                </a:solidFill>
                <a:effectLst/>
                <a:uFillTx/>
                <a:latin typeface="Segoe UI"/>
              </a:rPr>
              <a:t> </a:t>
            </a:r>
            <a:r>
              <a:rPr lang="en-US" sz="1300" b="1" i="0" u="none" strike="noStrike" cap="none" spc="0" baseline="0" dirty="0">
                <a:solidFill>
                  <a:srgbClr val="011F57"/>
                </a:solidFill>
                <a:effectLst/>
                <a:uFillTx/>
                <a:latin typeface="Segoe UI"/>
              </a:rPr>
              <a:t>reliability of the electricity system</a:t>
            </a:r>
          </a:p>
          <a:p>
            <a:pPr marL="0" marR="0" lvl="0" indent="0" defTabSz="234364" rtl="0" eaLnBrk="1" fontAlgn="auto" latinLnBrk="0" hangingPunct="1">
              <a:lnSpc>
                <a:spcPct val="80000"/>
              </a:lnSpc>
              <a:spcBef>
                <a:spcPct val="0"/>
              </a:spcBef>
              <a:spcAft>
                <a:spcPct val="0"/>
              </a:spcAft>
              <a:buClrTx/>
              <a:buSzTx/>
              <a:buFontTx/>
              <a:buNone/>
              <a:defRPr/>
            </a:pPr>
            <a:endParaRPr kumimoji="0" lang="pt-BR" sz="1300" i="0" u="none" strike="noStrike" kern="1200" cap="none" spc="0"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a:p>
            <a:pPr marL="0" marR="0" lvl="0" indent="0" defTabSz="234364" rtl="0" eaLnBrk="1" fontAlgn="auto" latinLnBrk="0" hangingPunct="1">
              <a:lnSpc>
                <a:spcPct val="80000"/>
              </a:lnSpc>
              <a:spcBef>
                <a:spcPct val="0"/>
              </a:spcBef>
              <a:spcAft>
                <a:spcPct val="0"/>
              </a:spcAft>
              <a:buClrTx/>
              <a:buSzTx/>
              <a:buFontTx/>
              <a:buNone/>
              <a:defRPr/>
            </a:pPr>
            <a:r>
              <a:rPr lang="en-US" sz="1300" b="0" i="0" u="none" strike="noStrike" cap="none" spc="0" baseline="0" dirty="0">
                <a:solidFill>
                  <a:srgbClr val="011F57"/>
                </a:solidFill>
                <a:effectLst/>
                <a:uFillTx/>
                <a:latin typeface="Segoe UI"/>
              </a:rPr>
              <a:t>Computational simulation models geared to an environment of greater penetration of intermittent renewable energies</a:t>
            </a:r>
          </a:p>
        </p:txBody>
      </p:sp>
      <p:sp>
        <p:nvSpPr>
          <p:cNvPr id="60" name="CaixaDeTexto 59">
            <a:extLst>
              <a:ext uri="{FF2B5EF4-FFF2-40B4-BE49-F238E27FC236}">
                <a16:creationId xmlns:a16="http://schemas.microsoft.com/office/drawing/2014/main" id="{0E9A288D-55D0-15EB-176D-05858FBB241B}"/>
              </a:ext>
            </a:extLst>
          </p:cNvPr>
          <p:cNvSpPr txBox="1"/>
          <p:nvPr>
            <p:custDataLst>
              <p:tags r:id="rId14"/>
            </p:custDataLst>
          </p:nvPr>
        </p:nvSpPr>
        <p:spPr>
          <a:xfrm>
            <a:off x="5755696" y="2564688"/>
            <a:ext cx="3030847" cy="169277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r" defTabSz="234364" rtl="0" eaLnBrk="1" fontAlgn="auto" latinLnBrk="0" hangingPunct="1">
              <a:lnSpc>
                <a:spcPct val="80000"/>
              </a:lnSpc>
              <a:spcBef>
                <a:spcPct val="0"/>
              </a:spcBef>
              <a:spcAft>
                <a:spcPct val="0"/>
              </a:spcAft>
              <a:buClrTx/>
              <a:buSzTx/>
              <a:buFontTx/>
              <a:buNone/>
              <a:defRPr/>
            </a:pPr>
            <a:r>
              <a:rPr lang="en-US" sz="1300" b="1" i="0" u="none" strike="noStrike" cap="none" spc="0" baseline="0" dirty="0">
                <a:solidFill>
                  <a:srgbClr val="011F57"/>
                </a:solidFill>
                <a:effectLst/>
                <a:uFillTx/>
                <a:latin typeface="Segoe UI"/>
              </a:rPr>
              <a:t>Supply chain analysis to drive transmission growth</a:t>
            </a:r>
          </a:p>
          <a:p>
            <a:pPr marL="0" marR="0" lvl="0" indent="0" algn="r" defTabSz="234364" rtl="0" eaLnBrk="1" fontAlgn="auto" latinLnBrk="0" hangingPunct="1">
              <a:lnSpc>
                <a:spcPct val="80000"/>
              </a:lnSpc>
              <a:spcBef>
                <a:spcPct val="0"/>
              </a:spcBef>
              <a:spcAft>
                <a:spcPct val="0"/>
              </a:spcAft>
              <a:buClrTx/>
              <a:buSzTx/>
              <a:buFontTx/>
              <a:buNone/>
              <a:defRPr/>
            </a:pPr>
            <a:endParaRPr kumimoji="0" lang="pt-BR" sz="1300" b="1" i="0" u="none" strike="noStrike" kern="1200" cap="none" spc="0"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a:p>
            <a:pPr marL="0" marR="0" lvl="0" indent="0" algn="r" defTabSz="234364" rtl="0" eaLnBrk="1" fontAlgn="auto" latinLnBrk="0" hangingPunct="1">
              <a:lnSpc>
                <a:spcPct val="80000"/>
              </a:lnSpc>
              <a:spcBef>
                <a:spcPct val="0"/>
              </a:spcBef>
              <a:spcAft>
                <a:spcPct val="0"/>
              </a:spcAft>
              <a:buClrTx/>
              <a:buSzTx/>
              <a:buFontTx/>
              <a:buNone/>
              <a:defRPr/>
            </a:pPr>
            <a:r>
              <a:rPr lang="en-US" sz="1300" b="0" i="0" u="none" strike="noStrike" cap="none" spc="0" baseline="0" dirty="0">
                <a:solidFill>
                  <a:srgbClr val="011F57"/>
                </a:solidFill>
                <a:effectLst/>
                <a:uFillTx/>
                <a:latin typeface="Segoe UI"/>
              </a:rPr>
              <a:t>Simulation </a:t>
            </a:r>
            <a:r>
              <a:rPr lang="en-US" sz="1300" b="0" i="0" u="none" strike="noStrike" cap="none" spc="0" baseline="0">
                <a:solidFill>
                  <a:srgbClr val="011F57"/>
                </a:solidFill>
                <a:effectLst/>
                <a:uFillTx/>
                <a:latin typeface="Segoe UI"/>
              </a:rPr>
              <a:t>of scenarios</a:t>
            </a:r>
          </a:p>
          <a:p>
            <a:pPr marL="0" marR="0" lvl="0" indent="0" algn="r" defTabSz="234364" rtl="0" eaLnBrk="1" fontAlgn="auto" latinLnBrk="0" hangingPunct="1">
              <a:lnSpc>
                <a:spcPct val="80000"/>
              </a:lnSpc>
              <a:spcBef>
                <a:spcPct val="0"/>
              </a:spcBef>
              <a:spcAft>
                <a:spcPct val="0"/>
              </a:spcAft>
              <a:buClrTx/>
              <a:buSzTx/>
              <a:buFontTx/>
              <a:buNone/>
              <a:defRPr/>
            </a:pPr>
            <a:endParaRPr lang="en-US" sz="1300" spc="0">
              <a:solidFill>
                <a:srgbClr val="011F57"/>
              </a:solidFill>
              <a:latin typeface="Segoe UI"/>
            </a:endParaRPr>
          </a:p>
          <a:p>
            <a:pPr lvl="0" algn="r" defTabSz="234364">
              <a:spcBef>
                <a:spcPct val="0"/>
              </a:spcBef>
              <a:spcAft>
                <a:spcPct val="0"/>
              </a:spcAft>
              <a:defRPr/>
            </a:pPr>
            <a:r>
              <a:rPr lang="en-US" sz="1300" spc="0">
                <a:solidFill>
                  <a:srgbClr val="011F57"/>
                </a:solidFill>
                <a:latin typeface="Segoe UI"/>
              </a:rPr>
              <a:t>Methodology for periodic monitoring</a:t>
            </a:r>
            <a:endParaRPr lang="en-US" sz="1300" b="0" i="0" u="none" strike="noStrike" cap="none" spc="0" baseline="0" dirty="0">
              <a:solidFill>
                <a:srgbClr val="011F57"/>
              </a:solidFill>
              <a:effectLst/>
              <a:uFillTx/>
              <a:latin typeface="Segoe UI"/>
            </a:endParaRPr>
          </a:p>
          <a:p>
            <a:pPr marL="0" marR="0" lvl="0" indent="0" algn="r" defTabSz="234364" rtl="0" eaLnBrk="1" fontAlgn="auto" latinLnBrk="0" hangingPunct="1">
              <a:lnSpc>
                <a:spcPct val="80000"/>
              </a:lnSpc>
              <a:spcBef>
                <a:spcPct val="0"/>
              </a:spcBef>
              <a:spcAft>
                <a:spcPct val="0"/>
              </a:spcAft>
              <a:buClrTx/>
              <a:buSzTx/>
              <a:buFontTx/>
              <a:buNone/>
              <a:defRPr/>
            </a:pPr>
            <a:r>
              <a:rPr lang="pt-BR" sz="1300" spc="0" dirty="0">
                <a:solidFill>
                  <a:srgbClr val="011F57"/>
                </a:solidFill>
                <a:latin typeface="Segoe UI" panose="020B0502040204020203" pitchFamily="34" charset="0"/>
                <a:cs typeface="Segoe UI" panose="020B0502040204020203" pitchFamily="34" charset="0"/>
              </a:rPr>
              <a:t> </a:t>
            </a:r>
          </a:p>
          <a:p>
            <a:pPr lvl="0" algn="r" defTabSz="234364">
              <a:spcBef>
                <a:spcPct val="0"/>
              </a:spcBef>
              <a:spcAft>
                <a:spcPct val="0"/>
              </a:spcAft>
              <a:defRPr/>
            </a:pPr>
            <a:r>
              <a:rPr lang="en-US" sz="1300" spc="0">
                <a:solidFill>
                  <a:srgbClr val="011F57"/>
                </a:solidFill>
                <a:latin typeface="Segoe UI"/>
              </a:rPr>
              <a:t>Recommendation of actions related to</a:t>
            </a:r>
          </a:p>
          <a:p>
            <a:pPr lvl="0" algn="r" defTabSz="234364">
              <a:spcBef>
                <a:spcPct val="0"/>
              </a:spcBef>
              <a:spcAft>
                <a:spcPct val="0"/>
              </a:spcAft>
              <a:defRPr/>
            </a:pPr>
            <a:r>
              <a:rPr lang="en-US" sz="1300" spc="0">
                <a:solidFill>
                  <a:srgbClr val="011F57"/>
                </a:solidFill>
                <a:latin typeface="Segoe UI"/>
              </a:rPr>
              <a:t>supply chain, workforce training, environmental licensing and financing</a:t>
            </a:r>
            <a:endParaRPr lang="en-US" sz="1300" b="0" i="0" u="none" strike="noStrike" cap="none" spc="0" baseline="0" dirty="0">
              <a:solidFill>
                <a:srgbClr val="011F57"/>
              </a:solidFill>
              <a:effectLst/>
              <a:uFillTx/>
              <a:latin typeface="Segoe UI"/>
            </a:endParaRPr>
          </a:p>
        </p:txBody>
      </p:sp>
      <p:sp>
        <p:nvSpPr>
          <p:cNvPr id="62" name="CaixaDeTexto 61">
            <a:extLst>
              <a:ext uri="{FF2B5EF4-FFF2-40B4-BE49-F238E27FC236}">
                <a16:creationId xmlns:a16="http://schemas.microsoft.com/office/drawing/2014/main" id="{910C77C7-AE41-D79B-1E8C-F5C9A16FACE5}"/>
              </a:ext>
            </a:extLst>
          </p:cNvPr>
          <p:cNvSpPr txBox="1"/>
          <p:nvPr>
            <p:custDataLst>
              <p:tags r:id="rId15"/>
            </p:custDataLst>
          </p:nvPr>
        </p:nvSpPr>
        <p:spPr>
          <a:xfrm>
            <a:off x="6172172" y="1916042"/>
            <a:ext cx="2748425"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8681E"/>
                </a:solidFill>
                <a:effectLst/>
                <a:uFillTx/>
                <a:latin typeface="Segoe UI"/>
              </a:rPr>
              <a:t>R&amp;D </a:t>
            </a:r>
            <a:r>
              <a:rPr lang="en-US" sz="1400" b="1" i="0" u="none" strike="noStrike" cap="none" spc="0" baseline="0">
                <a:solidFill>
                  <a:srgbClr val="F8681E"/>
                </a:solidFill>
                <a:effectLst/>
                <a:uFillTx/>
                <a:latin typeface="Segoe UI"/>
              </a:rPr>
              <a:t>Market capacity for</a:t>
            </a:r>
            <a:r>
              <a:rPr lang="en-US" sz="1400" b="1" i="0" u="none" strike="noStrike" cap="none" spc="0">
                <a:solidFill>
                  <a:srgbClr val="F8681E"/>
                </a:solidFill>
                <a:effectLst/>
                <a:uFillTx/>
                <a:latin typeface="Segoe UI"/>
              </a:rPr>
              <a:t> planned expansion</a:t>
            </a:r>
            <a:endParaRPr lang="en-US" sz="1400" b="1" i="0" u="none" strike="noStrike" cap="none" spc="0" baseline="0" dirty="0">
              <a:solidFill>
                <a:srgbClr val="F8681E"/>
              </a:solidFill>
              <a:effectLst/>
              <a:uFillTx/>
              <a:latin typeface="Segoe UI"/>
            </a:endParaRPr>
          </a:p>
        </p:txBody>
      </p:sp>
      <p:sp>
        <p:nvSpPr>
          <p:cNvPr id="7" name="CaixaDeTexto 6">
            <a:extLst>
              <a:ext uri="{FF2B5EF4-FFF2-40B4-BE49-F238E27FC236}">
                <a16:creationId xmlns:a16="http://schemas.microsoft.com/office/drawing/2014/main" id="{6B31C590-90CB-67AB-E89D-42D03A105C79}"/>
              </a:ext>
            </a:extLst>
          </p:cNvPr>
          <p:cNvSpPr txBox="1"/>
          <p:nvPr>
            <p:custDataLst>
              <p:tags r:id="rId16"/>
            </p:custDataLst>
          </p:nvPr>
        </p:nvSpPr>
        <p:spPr>
          <a:xfrm>
            <a:off x="646910" y="154049"/>
            <a:ext cx="1805032"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02581"/>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8" name="Forma Livre: Forma 7">
            <a:extLst>
              <a:ext uri="{FF2B5EF4-FFF2-40B4-BE49-F238E27FC236}">
                <a16:creationId xmlns:a16="http://schemas.microsoft.com/office/drawing/2014/main" id="{A996E617-87AC-CF85-D430-2EF4F8213F91}"/>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9" name="CaixaDeTexto 8">
            <a:extLst>
              <a:ext uri="{FF2B5EF4-FFF2-40B4-BE49-F238E27FC236}">
                <a16:creationId xmlns:a16="http://schemas.microsoft.com/office/drawing/2014/main" id="{2AFA3FFB-55BB-CD95-7F60-C85B81EE77D9}"/>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2" name="Imagem 1" descr="Uma imagem contendo Interface gráfica do usuário&#10;&#10;Descrição gerada automaticamente">
            <a:extLst>
              <a:ext uri="{FF2B5EF4-FFF2-40B4-BE49-F238E27FC236}">
                <a16:creationId xmlns:a16="http://schemas.microsoft.com/office/drawing/2014/main" id="{8640906D-450F-6F5A-F288-7D40FD78DA2E}"/>
              </a:ext>
            </a:extLst>
          </p:cNvPr>
          <p:cNvPicPr>
            <a:picLocks noChangeAspect="1"/>
          </p:cNvPicPr>
          <p:nvPr/>
        </p:nvPicPr>
        <p:blipFill>
          <a:blip r:embed="rId33"/>
          <a:stretch>
            <a:fillRect/>
          </a:stretch>
        </p:blipFill>
        <p:spPr>
          <a:xfrm>
            <a:off x="8039840" y="60434"/>
            <a:ext cx="920231" cy="509571"/>
          </a:xfrm>
          <a:prstGeom prst="rect">
            <a:avLst/>
          </a:prstGeom>
        </p:spPr>
      </p:pic>
    </p:spTree>
    <p:extLst>
      <p:ext uri="{BB962C8B-B14F-4D97-AF65-F5344CB8AC3E}">
        <p14:creationId xmlns:p14="http://schemas.microsoft.com/office/powerpoint/2010/main" val="1978972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35" presetClass="path" presetSubtype="0" accel="17000" decel="83000" fill="hold" grpId="1" nodeType="withEffect">
                                  <p:stCondLst>
                                    <p:cond delay="250"/>
                                  </p:stCondLst>
                                  <p:childTnLst>
                                    <p:animMotion origin="layout" path="M -1.80102E-06 0.05958 L -1.80102E-06 4.98589E-07" pathEditMode="relative" rAng="0" ptsTypes="AA">
                                      <p:cBhvr>
                                        <p:cTn id="9" dur="1100" fill="hold"/>
                                        <p:tgtEl>
                                          <p:spTgt spid="21"/>
                                        </p:tgtEl>
                                        <p:attrNameLst>
                                          <p:attrName>ppt_x</p:attrName>
                                          <p:attrName>ppt_y</p:attrName>
                                        </p:attrNameLst>
                                      </p:cBhvr>
                                      <p:rCtr x="0" y="-2979"/>
                                    </p:animMotion>
                                  </p:childTnLst>
                                </p:cTn>
                              </p:par>
                              <p:par>
                                <p:cTn id="10" presetID="10" presetClass="entr" presetSubtype="0" fill="hold" nodeType="withEffect">
                                  <p:stCondLst>
                                    <p:cond delay="100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par>
                                <p:cTn id="13" presetID="35" presetClass="path" presetSubtype="0" accel="17000" decel="83000" fill="hold" nodeType="withEffect">
                                  <p:stCondLst>
                                    <p:cond delay="1000"/>
                                  </p:stCondLst>
                                  <p:childTnLst>
                                    <p:animMotion origin="layout" path="M -0.00017 -0.04703 L -1.704E-06 -2.50862E-06" pathEditMode="relative" rAng="0" ptsTypes="AA">
                                      <p:cBhvr>
                                        <p:cTn id="14" dur="1100" fill="hold"/>
                                        <p:tgtEl>
                                          <p:spTgt spid="44"/>
                                        </p:tgtEl>
                                        <p:attrNameLst>
                                          <p:attrName>ppt_x</p:attrName>
                                          <p:attrName>ppt_y</p:attrName>
                                        </p:attrNameLst>
                                      </p:cBhvr>
                                      <p:rCtr x="0" y="2352"/>
                                    </p:animMotion>
                                  </p:childTnLst>
                                </p:cTn>
                              </p:par>
                              <p:par>
                                <p:cTn id="15" presetID="10" presetClass="entr" presetSubtype="0" fill="hold" nodeType="withEffect">
                                  <p:stCondLst>
                                    <p:cond delay="100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par>
                                <p:cTn id="18" presetID="35" presetClass="path" presetSubtype="0" accel="17000" decel="83000" fill="hold" nodeType="withEffect">
                                  <p:stCondLst>
                                    <p:cond delay="1000"/>
                                  </p:stCondLst>
                                  <p:childTnLst>
                                    <p:animMotion origin="layout" path="M -0.00018 -0.04703 L 4.69219E-07 -2.50862E-06" pathEditMode="relative" rAng="0" ptsTypes="AA">
                                      <p:cBhvr>
                                        <p:cTn id="19" dur="1100" fill="hold"/>
                                        <p:tgtEl>
                                          <p:spTgt spid="47"/>
                                        </p:tgtEl>
                                        <p:attrNameLst>
                                          <p:attrName>ppt_x</p:attrName>
                                          <p:attrName>ppt_y</p:attrName>
                                        </p:attrNameLst>
                                      </p:cBhvr>
                                      <p:rCtr x="0" y="2352"/>
                                    </p:animMotion>
                                  </p:childTnLst>
                                </p:cTn>
                              </p:par>
                              <p:par>
                                <p:cTn id="20" presetID="10" presetClass="entr" presetSubtype="0" fill="hold"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childTnLst>
                                </p:cTn>
                              </p:par>
                              <p:par>
                                <p:cTn id="23" presetID="10" presetClass="entr" presetSubtype="0" fill="hold" nodeType="withEffect">
                                  <p:stCondLst>
                                    <p:cond delay="500"/>
                                  </p:stCondLst>
                                  <p:childTnLst>
                                    <p:set>
                                      <p:cBhvr>
                                        <p:cTn id="24" dur="1" fill="hold">
                                          <p:stCondLst>
                                            <p:cond delay="0"/>
                                          </p:stCondLst>
                                        </p:cTn>
                                        <p:tgtEl>
                                          <p:spTgt spid="30"/>
                                        </p:tgtEl>
                                        <p:attrNameLst>
                                          <p:attrName>style.visibility</p:attrName>
                                        </p:attrNameLst>
                                      </p:cBhvr>
                                      <p:to>
                                        <p:strVal val="visible"/>
                                      </p:to>
                                    </p:set>
                                    <p:animEffect transition="in" filter="fade">
                                      <p:cBhvr>
                                        <p:cTn id="25" dur="500"/>
                                        <p:tgtEl>
                                          <p:spTgt spid="30"/>
                                        </p:tgtEl>
                                      </p:cBhvr>
                                    </p:animEffect>
                                  </p:childTnLst>
                                </p:cTn>
                              </p:par>
                              <p:par>
                                <p:cTn id="26" presetID="23" presetClass="entr" presetSubtype="288" fill="hold" nodeType="withEffect">
                                  <p:stCondLst>
                                    <p:cond delay="500"/>
                                  </p:stCondLst>
                                  <p:childTnLst>
                                    <p:set>
                                      <p:cBhvr>
                                        <p:cTn id="27" dur="1" fill="hold">
                                          <p:stCondLst>
                                            <p:cond delay="0"/>
                                          </p:stCondLst>
                                        </p:cTn>
                                        <p:tgtEl>
                                          <p:spTgt spid="30"/>
                                        </p:tgtEl>
                                        <p:attrNameLst>
                                          <p:attrName>style.visibility</p:attrName>
                                        </p:attrNameLst>
                                      </p:cBhvr>
                                      <p:to>
                                        <p:strVal val="visible"/>
                                      </p:to>
                                    </p:set>
                                    <p:anim calcmode="lin" valueType="num">
                                      <p:cBhvr>
                                        <p:cTn id="28" dur="500" fill="hold"/>
                                        <p:tgtEl>
                                          <p:spTgt spid="30"/>
                                        </p:tgtEl>
                                        <p:attrNameLst>
                                          <p:attrName>ppt_w</p:attrName>
                                        </p:attrNameLst>
                                      </p:cBhvr>
                                      <p:tavLst>
                                        <p:tav tm="0">
                                          <p:val>
                                            <p:strVal val="4/3*#ppt_w"/>
                                          </p:val>
                                        </p:tav>
                                        <p:tav tm="100000">
                                          <p:val>
                                            <p:strVal val="#ppt_w"/>
                                          </p:val>
                                        </p:tav>
                                      </p:tavLst>
                                    </p:anim>
                                    <p:anim calcmode="lin" valueType="num">
                                      <p:cBhvr>
                                        <p:cTn id="29" dur="500" fill="hold"/>
                                        <p:tgtEl>
                                          <p:spTgt spid="30"/>
                                        </p:tgtEl>
                                        <p:attrNameLst>
                                          <p:attrName>ppt_h</p:attrName>
                                        </p:attrNameLst>
                                      </p:cBhvr>
                                      <p:tavLst>
                                        <p:tav tm="0">
                                          <p:val>
                                            <p:strVal val="4/3*#ppt_h"/>
                                          </p:val>
                                        </p:tav>
                                        <p:tav tm="100000">
                                          <p:val>
                                            <p:strVal val="#ppt_h"/>
                                          </p:val>
                                        </p:tav>
                                      </p:tavLst>
                                    </p:anim>
                                  </p:childTnLst>
                                </p:cTn>
                              </p:par>
                              <p:par>
                                <p:cTn id="30" presetID="10" presetClass="entr" presetSubtype="0" fill="hold" nodeType="withEffect">
                                  <p:stCondLst>
                                    <p:cond delay="600"/>
                                  </p:stCondLst>
                                  <p:childTnLst>
                                    <p:set>
                                      <p:cBhvr>
                                        <p:cTn id="31" dur="1" fill="hold">
                                          <p:stCondLst>
                                            <p:cond delay="0"/>
                                          </p:stCondLst>
                                        </p:cTn>
                                        <p:tgtEl>
                                          <p:spTgt spid="33"/>
                                        </p:tgtEl>
                                        <p:attrNameLst>
                                          <p:attrName>style.visibility</p:attrName>
                                        </p:attrNameLst>
                                      </p:cBhvr>
                                      <p:to>
                                        <p:strVal val="visible"/>
                                      </p:to>
                                    </p:set>
                                    <p:animEffect transition="in" filter="fade">
                                      <p:cBhvr>
                                        <p:cTn id="32" dur="500"/>
                                        <p:tgtEl>
                                          <p:spTgt spid="33"/>
                                        </p:tgtEl>
                                      </p:cBhvr>
                                    </p:animEffect>
                                  </p:childTnLst>
                                </p:cTn>
                              </p:par>
                              <p:par>
                                <p:cTn id="33" presetID="23" presetClass="entr" presetSubtype="288" fill="hold" nodeType="withEffect">
                                  <p:stCondLst>
                                    <p:cond delay="600"/>
                                  </p:stCondLst>
                                  <p:childTnLst>
                                    <p:set>
                                      <p:cBhvr>
                                        <p:cTn id="34" dur="1" fill="hold">
                                          <p:stCondLst>
                                            <p:cond delay="0"/>
                                          </p:stCondLst>
                                        </p:cTn>
                                        <p:tgtEl>
                                          <p:spTgt spid="33"/>
                                        </p:tgtEl>
                                        <p:attrNameLst>
                                          <p:attrName>style.visibility</p:attrName>
                                        </p:attrNameLst>
                                      </p:cBhvr>
                                      <p:to>
                                        <p:strVal val="visible"/>
                                      </p:to>
                                    </p:set>
                                    <p:anim calcmode="lin" valueType="num">
                                      <p:cBhvr>
                                        <p:cTn id="35" dur="500" fill="hold"/>
                                        <p:tgtEl>
                                          <p:spTgt spid="33"/>
                                        </p:tgtEl>
                                        <p:attrNameLst>
                                          <p:attrName>ppt_w</p:attrName>
                                        </p:attrNameLst>
                                      </p:cBhvr>
                                      <p:tavLst>
                                        <p:tav tm="0">
                                          <p:val>
                                            <p:strVal val="4/3*#ppt_w"/>
                                          </p:val>
                                        </p:tav>
                                        <p:tav tm="100000">
                                          <p:val>
                                            <p:strVal val="#ppt_w"/>
                                          </p:val>
                                        </p:tav>
                                      </p:tavLst>
                                    </p:anim>
                                    <p:anim calcmode="lin" valueType="num">
                                      <p:cBhvr>
                                        <p:cTn id="36" dur="500" fill="hold"/>
                                        <p:tgtEl>
                                          <p:spTgt spid="33"/>
                                        </p:tgtEl>
                                        <p:attrNameLst>
                                          <p:attrName>ppt_h</p:attrName>
                                        </p:attrNameLst>
                                      </p:cBhvr>
                                      <p:tavLst>
                                        <p:tav tm="0">
                                          <p:val>
                                            <p:strVal val="4/3*#ppt_h"/>
                                          </p:val>
                                        </p:tav>
                                        <p:tav tm="100000">
                                          <p:val>
                                            <p:strVal val="#ppt_h"/>
                                          </p:val>
                                        </p:tav>
                                      </p:tavLst>
                                    </p:anim>
                                  </p:childTnLst>
                                </p:cTn>
                              </p:par>
                              <p:par>
                                <p:cTn id="37" presetID="10" presetClass="entr" presetSubtype="0" fill="hold" nodeType="withEffect">
                                  <p:stCondLst>
                                    <p:cond delay="700"/>
                                  </p:stCondLst>
                                  <p:childTnLst>
                                    <p:set>
                                      <p:cBhvr>
                                        <p:cTn id="38" dur="1" fill="hold">
                                          <p:stCondLst>
                                            <p:cond delay="0"/>
                                          </p:stCondLst>
                                        </p:cTn>
                                        <p:tgtEl>
                                          <p:spTgt spid="37"/>
                                        </p:tgtEl>
                                        <p:attrNameLst>
                                          <p:attrName>style.visibility</p:attrName>
                                        </p:attrNameLst>
                                      </p:cBhvr>
                                      <p:to>
                                        <p:strVal val="visible"/>
                                      </p:to>
                                    </p:set>
                                    <p:animEffect transition="in" filter="fade">
                                      <p:cBhvr>
                                        <p:cTn id="39" dur="500"/>
                                        <p:tgtEl>
                                          <p:spTgt spid="37"/>
                                        </p:tgtEl>
                                      </p:cBhvr>
                                    </p:animEffect>
                                  </p:childTnLst>
                                </p:cTn>
                              </p:par>
                              <p:par>
                                <p:cTn id="40" presetID="23" presetClass="entr" presetSubtype="288" fill="hold" nodeType="withEffect">
                                  <p:stCondLst>
                                    <p:cond delay="700"/>
                                  </p:stCondLst>
                                  <p:childTnLst>
                                    <p:set>
                                      <p:cBhvr>
                                        <p:cTn id="41" dur="1" fill="hold">
                                          <p:stCondLst>
                                            <p:cond delay="0"/>
                                          </p:stCondLst>
                                        </p:cTn>
                                        <p:tgtEl>
                                          <p:spTgt spid="37"/>
                                        </p:tgtEl>
                                        <p:attrNameLst>
                                          <p:attrName>style.visibility</p:attrName>
                                        </p:attrNameLst>
                                      </p:cBhvr>
                                      <p:to>
                                        <p:strVal val="visible"/>
                                      </p:to>
                                    </p:set>
                                    <p:anim calcmode="lin" valueType="num">
                                      <p:cBhvr>
                                        <p:cTn id="42" dur="500" fill="hold"/>
                                        <p:tgtEl>
                                          <p:spTgt spid="37"/>
                                        </p:tgtEl>
                                        <p:attrNameLst>
                                          <p:attrName>ppt_w</p:attrName>
                                        </p:attrNameLst>
                                      </p:cBhvr>
                                      <p:tavLst>
                                        <p:tav tm="0">
                                          <p:val>
                                            <p:strVal val="4/3*#ppt_w"/>
                                          </p:val>
                                        </p:tav>
                                        <p:tav tm="100000">
                                          <p:val>
                                            <p:strVal val="#ppt_w"/>
                                          </p:val>
                                        </p:tav>
                                      </p:tavLst>
                                    </p:anim>
                                    <p:anim calcmode="lin" valueType="num">
                                      <p:cBhvr>
                                        <p:cTn id="43" dur="500" fill="hold"/>
                                        <p:tgtEl>
                                          <p:spTgt spid="37"/>
                                        </p:tgtEl>
                                        <p:attrNameLst>
                                          <p:attrName>ppt_h</p:attrName>
                                        </p:attrNameLst>
                                      </p:cBhvr>
                                      <p:tavLst>
                                        <p:tav tm="0">
                                          <p:val>
                                            <p:strVal val="4/3*#ppt_h"/>
                                          </p:val>
                                        </p:tav>
                                        <p:tav tm="100000">
                                          <p:val>
                                            <p:strVal val="#ppt_h"/>
                                          </p:val>
                                        </p:tav>
                                      </p:tavLst>
                                    </p:anim>
                                  </p:childTnLst>
                                </p:cTn>
                              </p:par>
                              <p:par>
                                <p:cTn id="44" presetID="10" presetClass="entr" presetSubtype="0" fill="hold" grpId="0" nodeType="withEffect">
                                  <p:stCondLst>
                                    <p:cond delay="1250"/>
                                  </p:stCondLst>
                                  <p:childTnLst>
                                    <p:set>
                                      <p:cBhvr>
                                        <p:cTn id="45" dur="1" fill="hold">
                                          <p:stCondLst>
                                            <p:cond delay="0"/>
                                          </p:stCondLst>
                                        </p:cTn>
                                        <p:tgtEl>
                                          <p:spTgt spid="56"/>
                                        </p:tgtEl>
                                        <p:attrNameLst>
                                          <p:attrName>style.visibility</p:attrName>
                                        </p:attrNameLst>
                                      </p:cBhvr>
                                      <p:to>
                                        <p:strVal val="visible"/>
                                      </p:to>
                                    </p:set>
                                    <p:animEffect transition="in" filter="fade">
                                      <p:cBhvr>
                                        <p:cTn id="46" dur="500"/>
                                        <p:tgtEl>
                                          <p:spTgt spid="56"/>
                                        </p:tgtEl>
                                      </p:cBhvr>
                                    </p:animEffect>
                                  </p:childTnLst>
                                </p:cTn>
                              </p:par>
                              <p:par>
                                <p:cTn id="47" presetID="35" presetClass="path" presetSubtype="0" accel="17000" decel="83000" fill="hold" grpId="1" nodeType="withEffect">
                                  <p:stCondLst>
                                    <p:cond delay="1250"/>
                                  </p:stCondLst>
                                  <p:childTnLst>
                                    <p:animMotion origin="layout" path="M 0.03492 -3.77548E-6 L 3.50503E-6 -3.77548E-6 " pathEditMode="relative" rAng="0" ptsTypes="AA">
                                      <p:cBhvr>
                                        <p:cTn id="48" dur="750" fill="hold"/>
                                        <p:tgtEl>
                                          <p:spTgt spid="56"/>
                                        </p:tgtEl>
                                        <p:attrNameLst>
                                          <p:attrName>ppt_x</p:attrName>
                                          <p:attrName>ppt_y</p:attrName>
                                        </p:attrNameLst>
                                      </p:cBhvr>
                                      <p:rCtr x="-1746" y="0"/>
                                    </p:animMotion>
                                  </p:childTnLst>
                                </p:cTn>
                              </p:par>
                              <p:par>
                                <p:cTn id="49" presetID="10" presetClass="entr" presetSubtype="0" fill="hold" grpId="0" nodeType="withEffect">
                                  <p:stCondLst>
                                    <p:cond delay="125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par>
                                <p:cTn id="52" presetID="35" presetClass="path" presetSubtype="0" accel="17000" decel="83000" fill="hold" grpId="1" nodeType="withEffect">
                                  <p:stCondLst>
                                    <p:cond delay="1250"/>
                                  </p:stCondLst>
                                  <p:childTnLst>
                                    <p:animMotion origin="layout" path="M -0.03722 1.26999E-6 L 5.25666E-7 1.26999E-6 " pathEditMode="relative" rAng="0" ptsTypes="AA">
                                      <p:cBhvr>
                                        <p:cTn id="53" dur="750" fill="hold"/>
                                        <p:tgtEl>
                                          <p:spTgt spid="62"/>
                                        </p:tgtEl>
                                        <p:attrNameLst>
                                          <p:attrName>ppt_x</p:attrName>
                                          <p:attrName>ppt_y</p:attrName>
                                        </p:attrNameLst>
                                      </p:cBhvr>
                                      <p:rCtr x="1852" y="0"/>
                                    </p:animMotion>
                                  </p:childTnLst>
                                </p:cTn>
                              </p:par>
                              <p:par>
                                <p:cTn id="54" presetID="22" presetClass="entr" presetSubtype="8" fill="hold" grpId="0" nodeType="withEffect">
                                  <p:stCondLst>
                                    <p:cond delay="1500"/>
                                  </p:stCondLst>
                                  <p:childTnLst>
                                    <p:set>
                                      <p:cBhvr>
                                        <p:cTn id="55" dur="1" fill="hold">
                                          <p:stCondLst>
                                            <p:cond delay="0"/>
                                          </p:stCondLst>
                                        </p:cTn>
                                        <p:tgtEl>
                                          <p:spTgt spid="52"/>
                                        </p:tgtEl>
                                        <p:attrNameLst>
                                          <p:attrName>style.visibility</p:attrName>
                                        </p:attrNameLst>
                                      </p:cBhvr>
                                      <p:to>
                                        <p:strVal val="visible"/>
                                      </p:to>
                                    </p:set>
                                    <p:animEffect transition="in" filter="wipe(left)">
                                      <p:cBhvr>
                                        <p:cTn id="56" dur="750"/>
                                        <p:tgtEl>
                                          <p:spTgt spid="52"/>
                                        </p:tgtEl>
                                      </p:cBhvr>
                                    </p:animEffect>
                                  </p:childTnLst>
                                </p:cTn>
                              </p:par>
                              <p:par>
                                <p:cTn id="57" presetID="22" presetClass="entr" presetSubtype="2" fill="hold" grpId="0" nodeType="withEffect">
                                  <p:stCondLst>
                                    <p:cond delay="1500"/>
                                  </p:stCondLst>
                                  <p:childTnLst>
                                    <p:set>
                                      <p:cBhvr>
                                        <p:cTn id="58" dur="1" fill="hold">
                                          <p:stCondLst>
                                            <p:cond delay="0"/>
                                          </p:stCondLst>
                                        </p:cTn>
                                        <p:tgtEl>
                                          <p:spTgt spid="54"/>
                                        </p:tgtEl>
                                        <p:attrNameLst>
                                          <p:attrName>style.visibility</p:attrName>
                                        </p:attrNameLst>
                                      </p:cBhvr>
                                      <p:to>
                                        <p:strVal val="visible"/>
                                      </p:to>
                                    </p:set>
                                    <p:animEffect transition="in" filter="wipe(right)">
                                      <p:cBhvr>
                                        <p:cTn id="59" dur="750"/>
                                        <p:tgtEl>
                                          <p:spTgt spid="54"/>
                                        </p:tgtEl>
                                      </p:cBhvr>
                                    </p:animEffect>
                                  </p:childTnLst>
                                </p:cTn>
                              </p:par>
                              <p:par>
                                <p:cTn id="60" presetID="10" presetClass="entr" presetSubtype="0" fill="hold" grpId="0" nodeType="withEffect">
                                  <p:stCondLst>
                                    <p:cond delay="1500"/>
                                  </p:stCondLst>
                                  <p:childTnLst>
                                    <p:set>
                                      <p:cBhvr>
                                        <p:cTn id="61" dur="1" fill="hold">
                                          <p:stCondLst>
                                            <p:cond delay="0"/>
                                          </p:stCondLst>
                                        </p:cTn>
                                        <p:tgtEl>
                                          <p:spTgt spid="58"/>
                                        </p:tgtEl>
                                        <p:attrNameLst>
                                          <p:attrName>style.visibility</p:attrName>
                                        </p:attrNameLst>
                                      </p:cBhvr>
                                      <p:to>
                                        <p:strVal val="visible"/>
                                      </p:to>
                                    </p:set>
                                    <p:animEffect transition="in" filter="fade">
                                      <p:cBhvr>
                                        <p:cTn id="62" dur="500"/>
                                        <p:tgtEl>
                                          <p:spTgt spid="58"/>
                                        </p:tgtEl>
                                      </p:cBhvr>
                                    </p:animEffect>
                                  </p:childTnLst>
                                </p:cTn>
                              </p:par>
                              <p:par>
                                <p:cTn id="63" presetID="35" presetClass="path" presetSubtype="0" accel="17000" decel="83000" fill="hold" grpId="1" nodeType="withEffect">
                                  <p:stCondLst>
                                    <p:cond delay="1500"/>
                                  </p:stCondLst>
                                  <p:childTnLst>
                                    <p:animMotion origin="layout" path="M 0.03493 3.9699E-06 L -4.35174E-06 3.9699E-06" pathEditMode="relative" rAng="0" ptsTypes="AA">
                                      <p:cBhvr>
                                        <p:cTn id="64" dur="750" fill="hold"/>
                                        <p:tgtEl>
                                          <p:spTgt spid="58"/>
                                        </p:tgtEl>
                                        <p:attrNameLst>
                                          <p:attrName>ppt_x</p:attrName>
                                          <p:attrName>ppt_y</p:attrName>
                                        </p:attrNameLst>
                                      </p:cBhvr>
                                      <p:rCtr x="-1746" y="0"/>
                                    </p:animMotion>
                                  </p:childTnLst>
                                </p:cTn>
                              </p:par>
                              <p:par>
                                <p:cTn id="65" presetID="10" presetClass="entr" presetSubtype="0" fill="hold" grpId="0" nodeType="withEffect">
                                  <p:stCondLst>
                                    <p:cond delay="1500"/>
                                  </p:stCondLst>
                                  <p:childTnLst>
                                    <p:set>
                                      <p:cBhvr>
                                        <p:cTn id="66" dur="1" fill="hold">
                                          <p:stCondLst>
                                            <p:cond delay="0"/>
                                          </p:stCondLst>
                                        </p:cTn>
                                        <p:tgtEl>
                                          <p:spTgt spid="60"/>
                                        </p:tgtEl>
                                        <p:attrNameLst>
                                          <p:attrName>style.visibility</p:attrName>
                                        </p:attrNameLst>
                                      </p:cBhvr>
                                      <p:to>
                                        <p:strVal val="visible"/>
                                      </p:to>
                                    </p:set>
                                    <p:animEffect transition="in" filter="fade">
                                      <p:cBhvr>
                                        <p:cTn id="67" dur="500"/>
                                        <p:tgtEl>
                                          <p:spTgt spid="60"/>
                                        </p:tgtEl>
                                      </p:cBhvr>
                                    </p:animEffect>
                                  </p:childTnLst>
                                </p:cTn>
                              </p:par>
                              <p:par>
                                <p:cTn id="68" presetID="35" presetClass="path" presetSubtype="0" accel="17000" decel="83000" fill="hold" grpId="1" nodeType="withEffect">
                                  <p:stCondLst>
                                    <p:cond delay="1500"/>
                                  </p:stCondLst>
                                  <p:childTnLst>
                                    <p:animMotion origin="layout" path="M -0.03722 1.04108E-6 L -2.62833E-6 1.04108E-6 " pathEditMode="relative" rAng="0" ptsTypes="AA">
                                      <p:cBhvr>
                                        <p:cTn id="69" dur="750" fill="hold"/>
                                        <p:tgtEl>
                                          <p:spTgt spid="60"/>
                                        </p:tgtEl>
                                        <p:attrNameLst>
                                          <p:attrName>ppt_x</p:attrName>
                                          <p:attrName>ppt_y</p:attrName>
                                        </p:attrNameLst>
                                      </p:cBhvr>
                                      <p:rCtr x="185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1" grpId="1"/>
      <p:bldP spid="52" grpId="0" animBg="1"/>
      <p:bldP spid="54" grpId="0" animBg="1"/>
      <p:bldP spid="56" grpId="0"/>
      <p:bldP spid="56" grpId="1"/>
      <p:bldP spid="58" grpId="0"/>
      <p:bldP spid="58" grpId="1"/>
      <p:bldP spid="60" grpId="0"/>
      <p:bldP spid="60" grpId="1"/>
      <p:bldP spid="62" grpId="0"/>
      <p:bldP spid="62"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Imagem 18" descr="Imagem em branco e azul&#10;&#10;Descrição gerada automaticamente com confiança média">
            <a:extLst>
              <a:ext uri="{FF2B5EF4-FFF2-40B4-BE49-F238E27FC236}">
                <a16:creationId xmlns:a16="http://schemas.microsoft.com/office/drawing/2014/main" id="{77D522FA-917F-3F12-1C2C-E832AEC83267}"/>
              </a:ext>
            </a:extLst>
          </p:cNvPr>
          <p:cNvPicPr>
            <a:picLocks noChangeAspect="1"/>
          </p:cNvPicPr>
          <p:nvPr>
            <p:custDataLst>
              <p:tags r:id="rId1"/>
            </p:custDataLst>
          </p:nvPr>
        </p:nvPicPr>
        <p:blipFill>
          <a:blip r:embed="rId27">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78" name="Imagem 77" descr="Imagem em branco e azul&#10;&#10;Descrição gerada automaticamente com confiança média">
            <a:extLst>
              <a:ext uri="{FF2B5EF4-FFF2-40B4-BE49-F238E27FC236}">
                <a16:creationId xmlns:a16="http://schemas.microsoft.com/office/drawing/2014/main" id="{E8DE6D8B-1D8B-FAF3-DB33-15F9D1631954}"/>
              </a:ext>
            </a:extLst>
          </p:cNvPr>
          <p:cNvPicPr>
            <a:picLocks noChangeAspect="1"/>
          </p:cNvPicPr>
          <p:nvPr>
            <p:custDataLst>
              <p:tags r:id="rId2"/>
            </p:custDataLst>
          </p:nvPr>
        </p:nvPicPr>
        <p:blipFill>
          <a:blip r:embed="rId28">
            <a:extLst>
              <a:ext uri="{28A0092B-C50C-407E-A947-70E740481C1C}">
                <a14:useLocalDpi xmlns:a14="http://schemas.microsoft.com/office/drawing/2010/main"/>
              </a:ext>
            </a:extLst>
          </a:blip>
          <a:stretch>
            <a:fillRect/>
          </a:stretch>
        </p:blipFill>
        <p:spPr>
          <a:xfrm flipH="1">
            <a:off x="0" y="0"/>
            <a:ext cx="8999538" cy="5062240"/>
          </a:xfrm>
          <a:prstGeom prst="rect">
            <a:avLst/>
          </a:prstGeom>
        </p:spPr>
      </p:pic>
      <p:graphicFrame>
        <p:nvGraphicFramePr>
          <p:cNvPr id="48" name="Objeto 47" hidden="1">
            <a:extLst>
              <a:ext uri="{FF2B5EF4-FFF2-40B4-BE49-F238E27FC236}">
                <a16:creationId xmlns:a16="http://schemas.microsoft.com/office/drawing/2014/main" id="{8994413E-9F3F-CEC1-39B1-7553A07625BD}"/>
              </a:ext>
            </a:extLst>
          </p:cNvPr>
          <p:cNvGraphicFramePr>
            <a:graphicFrameLocks noChangeAspect="1"/>
          </p:cNvGraphicFramePr>
          <p:nvPr>
            <p:custDataLst>
              <p:tags r:id="rId3"/>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29" imgW="0" imgH="0" progId="TCLayout.ActiveDocument.1">
                  <p:embed/>
                </p:oleObj>
              </mc:Choice>
              <mc:Fallback>
                <p:oleObj name="Slide do think-cell" r:id="rId29" imgW="0" imgH="0" progId="TCLayout.ActiveDocument.1">
                  <p:embed/>
                  <p:pic>
                    <p:nvPicPr>
                      <p:cNvPr id="0" name="OLE substitute image"/>
                      <p:cNvPicPr/>
                      <p:nvPr/>
                    </p:nvPicPr>
                    <p:blipFill>
                      <a:blip r:embed="rId30"/>
                      <a:stretch>
                        <a:fillRect/>
                      </a:stretch>
                    </p:blipFill>
                    <p:spPr>
                      <a:xfrm>
                        <a:off x="1173" y="1321"/>
                        <a:ext cx="1172" cy="1172"/>
                      </a:xfrm>
                      <a:prstGeom prst="rect">
                        <a:avLst/>
                      </a:prstGeom>
                    </p:spPr>
                  </p:pic>
                </p:oleObj>
              </mc:Fallback>
            </mc:AlternateContent>
          </a:graphicData>
        </a:graphic>
      </p:graphicFrame>
      <p:sp>
        <p:nvSpPr>
          <p:cNvPr id="37" name="CaixaDeTexto 36">
            <a:extLst>
              <a:ext uri="{FF2B5EF4-FFF2-40B4-BE49-F238E27FC236}">
                <a16:creationId xmlns:a16="http://schemas.microsoft.com/office/drawing/2014/main" id="{C8B4A4AD-4D50-A283-A385-600C257C1459}"/>
              </a:ext>
            </a:extLst>
          </p:cNvPr>
          <p:cNvSpPr txBox="1"/>
          <p:nvPr>
            <p:custDataLst>
              <p:tags r:id="rId4"/>
            </p:custDataLst>
          </p:nvPr>
        </p:nvSpPr>
        <p:spPr>
          <a:xfrm>
            <a:off x="25376" y="702856"/>
            <a:ext cx="5370076" cy="667875"/>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defRPr/>
            </a:pPr>
            <a:r>
              <a:rPr lang="en-US" sz="1400" b="0" i="0" u="none" strike="noStrike" cap="none" spc="600" baseline="0">
                <a:effectLst/>
                <a:uFillTx/>
                <a:latin typeface="Segoe UI Light"/>
              </a:rPr>
              <a:t>GAINS IN </a:t>
            </a:r>
            <a:r>
              <a:rPr lang="en-US" sz="2200" b="1">
                <a:latin typeface="Segoe UI Black"/>
                <a:ea typeface="+mn-ea"/>
                <a:cs typeface="+mn-cs"/>
              </a:rPr>
              <a:t>COMPETITIVINESS</a:t>
            </a:r>
            <a:r>
              <a:rPr lang="en-US" sz="1400" b="0" i="0" u="none" strike="noStrike" cap="none" spc="600" baseline="0">
                <a:effectLst/>
                <a:uFillTx/>
                <a:latin typeface="Segoe UI Light"/>
              </a:rPr>
              <a:t> highly </a:t>
            </a:r>
            <a:r>
              <a:rPr lang="en-US" sz="2200" b="1">
                <a:latin typeface="Segoe UI Black"/>
                <a:ea typeface="+mn-ea"/>
                <a:cs typeface="+mn-cs"/>
              </a:rPr>
              <a:t>EFFICIENCY</a:t>
            </a:r>
            <a:r>
              <a:rPr lang="en-US" sz="1400" b="0" i="0" u="none" strike="noStrike" cap="none" spc="600" baseline="0">
                <a:effectLst/>
                <a:uFillTx/>
                <a:latin typeface="Segoe UI Light"/>
              </a:rPr>
              <a:t> and</a:t>
            </a:r>
            <a:endParaRPr lang="en-US" sz="1400" b="0" i="0" u="none" strike="noStrike" cap="none" spc="600" baseline="0" dirty="0">
              <a:solidFill>
                <a:srgbClr val="002581"/>
              </a:solidFill>
              <a:effectLst/>
              <a:uFillTx/>
              <a:latin typeface="Segoe UI Light"/>
            </a:endParaRPr>
          </a:p>
        </p:txBody>
      </p:sp>
      <p:sp>
        <p:nvSpPr>
          <p:cNvPr id="38" name="CaixaDeTexto 37">
            <a:extLst>
              <a:ext uri="{FF2B5EF4-FFF2-40B4-BE49-F238E27FC236}">
                <a16:creationId xmlns:a16="http://schemas.microsoft.com/office/drawing/2014/main" id="{23AC1086-DA05-250E-A101-5EE857C82649}"/>
              </a:ext>
            </a:extLst>
          </p:cNvPr>
          <p:cNvSpPr txBox="1"/>
          <p:nvPr>
            <p:custDataLst>
              <p:tags r:id="rId5"/>
            </p:custDataLst>
          </p:nvPr>
        </p:nvSpPr>
        <p:spPr>
          <a:xfrm>
            <a:off x="23585" y="1341102"/>
            <a:ext cx="5453607" cy="380104"/>
          </a:xfrm>
          <a:prstGeom prst="rect">
            <a:avLst/>
          </a:prstGeom>
          <a:noFill/>
        </p:spPr>
        <p:txBody>
          <a:bodyPr wrap="square" rtlCol="0">
            <a:spAutoFit/>
          </a:bodyPr>
          <a:lstStyle/>
          <a:p>
            <a:pPr lvl="0" defTabSz="675010">
              <a:lnSpc>
                <a:spcPct val="85000"/>
              </a:lnSpc>
              <a:spcBef>
                <a:spcPts val="148"/>
              </a:spcBef>
              <a:spcAft>
                <a:spcPts val="148"/>
              </a:spcAft>
              <a:defRPr/>
            </a:pPr>
            <a:r>
              <a:rPr lang="en-US" sz="2200" b="1" i="0" u="none" strike="noStrike" cap="none" baseline="0">
                <a:solidFill>
                  <a:srgbClr val="002581"/>
                </a:solidFill>
                <a:effectLst/>
                <a:uFillTx/>
                <a:latin typeface="Segoe UI Black"/>
              </a:rPr>
              <a:t>LESS </a:t>
            </a:r>
            <a:r>
              <a:rPr lang="en-US" sz="2200" b="1" i="0" u="none" strike="noStrike" cap="none" baseline="0" dirty="0">
                <a:solidFill>
                  <a:srgbClr val="002581"/>
                </a:solidFill>
                <a:effectLst/>
                <a:uFillTx/>
                <a:latin typeface="Segoe UI Black"/>
              </a:rPr>
              <a:t>ENVIRONMENTAL IMPACT</a:t>
            </a:r>
          </a:p>
        </p:txBody>
      </p:sp>
      <p:grpSp>
        <p:nvGrpSpPr>
          <p:cNvPr id="40" name="Gráfico 8">
            <a:extLst>
              <a:ext uri="{FF2B5EF4-FFF2-40B4-BE49-F238E27FC236}">
                <a16:creationId xmlns:a16="http://schemas.microsoft.com/office/drawing/2014/main" id="{C41A996A-A69E-C1F5-46F4-BCE093DFFAF4}"/>
              </a:ext>
            </a:extLst>
          </p:cNvPr>
          <p:cNvGrpSpPr/>
          <p:nvPr>
            <p:custDataLst>
              <p:tags r:id="rId6"/>
            </p:custDataLst>
          </p:nvPr>
        </p:nvGrpSpPr>
        <p:grpSpPr>
          <a:xfrm>
            <a:off x="5174575" y="1031387"/>
            <a:ext cx="1191891" cy="1035576"/>
            <a:chOff x="616858" y="3378140"/>
            <a:chExt cx="1094029" cy="950548"/>
          </a:xfrm>
          <a:gradFill>
            <a:gsLst>
              <a:gs pos="0">
                <a:srgbClr val="306FE4"/>
              </a:gs>
              <a:gs pos="100000">
                <a:srgbClr val="193A8D"/>
              </a:gs>
            </a:gsLst>
            <a:lin ang="5400000" scaled="1"/>
          </a:gradFill>
        </p:grpSpPr>
        <p:grpSp>
          <p:nvGrpSpPr>
            <p:cNvPr id="41" name="Gráfico 8">
              <a:extLst>
                <a:ext uri="{FF2B5EF4-FFF2-40B4-BE49-F238E27FC236}">
                  <a16:creationId xmlns:a16="http://schemas.microsoft.com/office/drawing/2014/main" id="{BC95B861-B556-E2C2-97DD-A2D30878F296}"/>
                </a:ext>
              </a:extLst>
            </p:cNvPr>
            <p:cNvGrpSpPr/>
            <p:nvPr>
              <p:custDataLst>
                <p:tags r:id="rId17"/>
              </p:custDataLst>
            </p:nvPr>
          </p:nvGrpSpPr>
          <p:grpSpPr>
            <a:xfrm>
              <a:off x="616858" y="3431886"/>
              <a:ext cx="1022355" cy="789246"/>
              <a:chOff x="616858" y="3431886"/>
              <a:chExt cx="1022355" cy="789246"/>
            </a:xfrm>
            <a:grpFill/>
          </p:grpSpPr>
          <p:sp>
            <p:nvSpPr>
              <p:cNvPr id="44" name="Forma Livre: Forma 43">
                <a:extLst>
                  <a:ext uri="{FF2B5EF4-FFF2-40B4-BE49-F238E27FC236}">
                    <a16:creationId xmlns:a16="http://schemas.microsoft.com/office/drawing/2014/main" id="{F52F7AA4-E655-2B52-2922-B68D83E3A81A}"/>
                  </a:ext>
                </a:extLst>
              </p:cNvPr>
              <p:cNvSpPr/>
              <p:nvPr>
                <p:custDataLst>
                  <p:tags r:id="rId20"/>
                </p:custDataLst>
              </p:nvPr>
            </p:nvSpPr>
            <p:spPr>
              <a:xfrm>
                <a:off x="867977" y="3444592"/>
                <a:ext cx="162259" cy="615169"/>
              </a:xfrm>
              <a:custGeom>
                <a:avLst/>
                <a:gdLst>
                  <a:gd name="connsiteX0" fmla="*/ 27004 w 162259"/>
                  <a:gd name="connsiteY0" fmla="*/ 615170 h 615169"/>
                  <a:gd name="connsiteX1" fmla="*/ 6096 w 162259"/>
                  <a:gd name="connsiteY1" fmla="*/ 605255 h 615169"/>
                  <a:gd name="connsiteX2" fmla="*/ 9904 w 162259"/>
                  <a:gd name="connsiteY2" fmla="*/ 567247 h 615169"/>
                  <a:gd name="connsiteX3" fmla="*/ 67526 w 162259"/>
                  <a:gd name="connsiteY3" fmla="*/ 87949 h 615169"/>
                  <a:gd name="connsiteX4" fmla="*/ 53588 w 162259"/>
                  <a:gd name="connsiteY4" fmla="*/ 32267 h 615169"/>
                  <a:gd name="connsiteX5" fmla="*/ 74855 w 162259"/>
                  <a:gd name="connsiteY5" fmla="*/ 510 h 615169"/>
                  <a:gd name="connsiteX6" fmla="*/ 106612 w 162259"/>
                  <a:gd name="connsiteY6" fmla="*/ 21777 h 615169"/>
                  <a:gd name="connsiteX7" fmla="*/ 119688 w 162259"/>
                  <a:gd name="connsiteY7" fmla="*/ 73795 h 615169"/>
                  <a:gd name="connsiteX8" fmla="*/ 44176 w 162259"/>
                  <a:gd name="connsiteY8" fmla="*/ 608991 h 615169"/>
                  <a:gd name="connsiteX9" fmla="*/ 27076 w 162259"/>
                  <a:gd name="connsiteY9" fmla="*/ 615098 h 61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259" h="615169">
                    <a:moveTo>
                      <a:pt x="27004" y="615170"/>
                    </a:moveTo>
                    <a:cubicBezTo>
                      <a:pt x="19173" y="615170"/>
                      <a:pt x="11413" y="611793"/>
                      <a:pt x="6096" y="605255"/>
                    </a:cubicBezTo>
                    <a:cubicBezTo>
                      <a:pt x="-3316" y="593687"/>
                      <a:pt x="-1663" y="576659"/>
                      <a:pt x="9904" y="567247"/>
                    </a:cubicBezTo>
                    <a:cubicBezTo>
                      <a:pt x="163012" y="441944"/>
                      <a:pt x="100864" y="211671"/>
                      <a:pt x="67526" y="87949"/>
                    </a:cubicBezTo>
                    <a:cubicBezTo>
                      <a:pt x="61563" y="65964"/>
                      <a:pt x="56462" y="46996"/>
                      <a:pt x="53588" y="32267"/>
                    </a:cubicBezTo>
                    <a:cubicBezTo>
                      <a:pt x="50714" y="17610"/>
                      <a:pt x="60270" y="3456"/>
                      <a:pt x="74855" y="510"/>
                    </a:cubicBezTo>
                    <a:cubicBezTo>
                      <a:pt x="89584" y="-2363"/>
                      <a:pt x="103738" y="7192"/>
                      <a:pt x="106612" y="21777"/>
                    </a:cubicBezTo>
                    <a:cubicBezTo>
                      <a:pt x="109126" y="34710"/>
                      <a:pt x="114084" y="52816"/>
                      <a:pt x="119688" y="73795"/>
                    </a:cubicBezTo>
                    <a:cubicBezTo>
                      <a:pt x="153672" y="199673"/>
                      <a:pt x="224370" y="461487"/>
                      <a:pt x="44176" y="608991"/>
                    </a:cubicBezTo>
                    <a:cubicBezTo>
                      <a:pt x="39146" y="613086"/>
                      <a:pt x="33111" y="615098"/>
                      <a:pt x="27076" y="615098"/>
                    </a:cubicBezTo>
                    <a:close/>
                  </a:path>
                </a:pathLst>
              </a:custGeom>
              <a:grpFill/>
              <a:ln w="0" cap="flat">
                <a:noFill/>
                <a:prstDash val="solid"/>
                <a:miter/>
              </a:ln>
            </p:spPr>
            <p:txBody>
              <a:bodyPr rtlCol="0" anchor="ctr"/>
              <a:lstStyle/>
              <a:p>
                <a:endParaRPr lang="pt-BR" dirty="0"/>
              </a:p>
            </p:txBody>
          </p:sp>
          <p:sp>
            <p:nvSpPr>
              <p:cNvPr id="45" name="Forma Livre: Forma 44">
                <a:extLst>
                  <a:ext uri="{FF2B5EF4-FFF2-40B4-BE49-F238E27FC236}">
                    <a16:creationId xmlns:a16="http://schemas.microsoft.com/office/drawing/2014/main" id="{1592D583-4B50-90BB-3D3D-C0F2EC782A8B}"/>
                  </a:ext>
                </a:extLst>
              </p:cNvPr>
              <p:cNvSpPr/>
              <p:nvPr>
                <p:custDataLst>
                  <p:tags r:id="rId21"/>
                </p:custDataLst>
              </p:nvPr>
            </p:nvSpPr>
            <p:spPr>
              <a:xfrm>
                <a:off x="616858" y="3442720"/>
                <a:ext cx="358467" cy="653181"/>
              </a:xfrm>
              <a:custGeom>
                <a:avLst/>
                <a:gdLst>
                  <a:gd name="connsiteX0" fmla="*/ 214754 w 358467"/>
                  <a:gd name="connsiteY0" fmla="*/ 653181 h 653181"/>
                  <a:gd name="connsiteX1" fmla="*/ 69980 w 358467"/>
                  <a:gd name="connsiteY1" fmla="*/ 600014 h 653181"/>
                  <a:gd name="connsiteX2" fmla="*/ 0 w 358467"/>
                  <a:gd name="connsiteY2" fmla="*/ 410694 h 653181"/>
                  <a:gd name="connsiteX3" fmla="*/ 231925 w 358467"/>
                  <a:gd name="connsiteY3" fmla="*/ 66758 h 653181"/>
                  <a:gd name="connsiteX4" fmla="*/ 311389 w 358467"/>
                  <a:gd name="connsiteY4" fmla="*/ 8920 h 653181"/>
                  <a:gd name="connsiteX5" fmla="*/ 343577 w 358467"/>
                  <a:gd name="connsiteY5" fmla="*/ 2885 h 653181"/>
                  <a:gd name="connsiteX6" fmla="*/ 357947 w 358467"/>
                  <a:gd name="connsiteY6" fmla="*/ 32343 h 653181"/>
                  <a:gd name="connsiteX7" fmla="*/ 357731 w 358467"/>
                  <a:gd name="connsiteY7" fmla="*/ 33349 h 653181"/>
                  <a:gd name="connsiteX8" fmla="*/ 346020 w 358467"/>
                  <a:gd name="connsiteY8" fmla="*/ 50952 h 653181"/>
                  <a:gd name="connsiteX9" fmla="*/ 260736 w 358467"/>
                  <a:gd name="connsiteY9" fmla="*/ 112525 h 653181"/>
                  <a:gd name="connsiteX10" fmla="*/ 54102 w 358467"/>
                  <a:gd name="connsiteY10" fmla="*/ 410694 h 653181"/>
                  <a:gd name="connsiteX11" fmla="*/ 106048 w 358467"/>
                  <a:gd name="connsiteY11" fmla="*/ 559779 h 653181"/>
                  <a:gd name="connsiteX12" fmla="*/ 221938 w 358467"/>
                  <a:gd name="connsiteY12" fmla="*/ 598936 h 653181"/>
                  <a:gd name="connsiteX13" fmla="*/ 251109 w 358467"/>
                  <a:gd name="connsiteY13" fmla="*/ 623508 h 653181"/>
                  <a:gd name="connsiteX14" fmla="*/ 226680 w 358467"/>
                  <a:gd name="connsiteY14" fmla="*/ 652750 h 653181"/>
                  <a:gd name="connsiteX15" fmla="*/ 214754 w 358467"/>
                  <a:gd name="connsiteY15" fmla="*/ 653181 h 65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8467" h="653181">
                    <a:moveTo>
                      <a:pt x="214754" y="653181"/>
                    </a:moveTo>
                    <a:cubicBezTo>
                      <a:pt x="188098" y="653181"/>
                      <a:pt x="122357" y="647864"/>
                      <a:pt x="69980" y="600014"/>
                    </a:cubicBezTo>
                    <a:cubicBezTo>
                      <a:pt x="23566" y="557623"/>
                      <a:pt x="0" y="493894"/>
                      <a:pt x="0" y="410694"/>
                    </a:cubicBezTo>
                    <a:cubicBezTo>
                      <a:pt x="0" y="212322"/>
                      <a:pt x="134068" y="128188"/>
                      <a:pt x="231925" y="66758"/>
                    </a:cubicBezTo>
                    <a:cubicBezTo>
                      <a:pt x="265622" y="45635"/>
                      <a:pt x="294649" y="27385"/>
                      <a:pt x="311389" y="8920"/>
                    </a:cubicBezTo>
                    <a:cubicBezTo>
                      <a:pt x="319508" y="-132"/>
                      <a:pt x="332728" y="-2575"/>
                      <a:pt x="343577" y="2885"/>
                    </a:cubicBezTo>
                    <a:cubicBezTo>
                      <a:pt x="354426" y="8346"/>
                      <a:pt x="360318" y="20416"/>
                      <a:pt x="357947" y="32343"/>
                    </a:cubicBezTo>
                    <a:cubicBezTo>
                      <a:pt x="357947" y="32702"/>
                      <a:pt x="357803" y="33061"/>
                      <a:pt x="357731" y="33349"/>
                    </a:cubicBezTo>
                    <a:cubicBezTo>
                      <a:pt x="356294" y="40749"/>
                      <a:pt x="351839" y="47000"/>
                      <a:pt x="346020" y="50952"/>
                    </a:cubicBezTo>
                    <a:cubicBezTo>
                      <a:pt x="324537" y="72506"/>
                      <a:pt x="294792" y="91186"/>
                      <a:pt x="260736" y="112525"/>
                    </a:cubicBezTo>
                    <a:cubicBezTo>
                      <a:pt x="168699" y="170291"/>
                      <a:pt x="54102" y="242283"/>
                      <a:pt x="54102" y="410694"/>
                    </a:cubicBezTo>
                    <a:cubicBezTo>
                      <a:pt x="54102" y="477872"/>
                      <a:pt x="71561" y="528022"/>
                      <a:pt x="106048" y="559779"/>
                    </a:cubicBezTo>
                    <a:cubicBezTo>
                      <a:pt x="154042" y="604037"/>
                      <a:pt x="221364" y="599008"/>
                      <a:pt x="221938" y="598936"/>
                    </a:cubicBezTo>
                    <a:cubicBezTo>
                      <a:pt x="236739" y="597714"/>
                      <a:pt x="249815" y="608707"/>
                      <a:pt x="251109" y="623508"/>
                    </a:cubicBezTo>
                    <a:cubicBezTo>
                      <a:pt x="252402" y="638309"/>
                      <a:pt x="241481" y="651385"/>
                      <a:pt x="226680" y="652750"/>
                    </a:cubicBezTo>
                    <a:cubicBezTo>
                      <a:pt x="225890" y="652750"/>
                      <a:pt x="221651" y="653181"/>
                      <a:pt x="214754" y="653181"/>
                    </a:cubicBezTo>
                    <a:close/>
                  </a:path>
                </a:pathLst>
              </a:custGeom>
              <a:grpFill/>
              <a:ln w="0" cap="flat">
                <a:noFill/>
                <a:prstDash val="solid"/>
                <a:miter/>
              </a:ln>
            </p:spPr>
            <p:txBody>
              <a:bodyPr rtlCol="0" anchor="ctr"/>
              <a:lstStyle/>
              <a:p>
                <a:endParaRPr lang="pt-BR" dirty="0"/>
              </a:p>
            </p:txBody>
          </p:sp>
          <p:sp>
            <p:nvSpPr>
              <p:cNvPr id="46" name="Forma Livre: Forma 45">
                <a:extLst>
                  <a:ext uri="{FF2B5EF4-FFF2-40B4-BE49-F238E27FC236}">
                    <a16:creationId xmlns:a16="http://schemas.microsoft.com/office/drawing/2014/main" id="{08457C15-15E5-5886-4134-FFE06D005A3E}"/>
                  </a:ext>
                </a:extLst>
              </p:cNvPr>
              <p:cNvSpPr/>
              <p:nvPr>
                <p:custDataLst>
                  <p:tags r:id="rId22"/>
                </p:custDataLst>
              </p:nvPr>
            </p:nvSpPr>
            <p:spPr>
              <a:xfrm>
                <a:off x="1167002" y="3557401"/>
                <a:ext cx="472211" cy="556175"/>
              </a:xfrm>
              <a:custGeom>
                <a:avLst/>
                <a:gdLst>
                  <a:gd name="connsiteX0" fmla="*/ 211732 w 472211"/>
                  <a:gd name="connsiteY0" fmla="*/ 556103 h 556175"/>
                  <a:gd name="connsiteX1" fmla="*/ 172431 w 472211"/>
                  <a:gd name="connsiteY1" fmla="*/ 556103 h 556175"/>
                  <a:gd name="connsiteX2" fmla="*/ 92033 w 472211"/>
                  <a:gd name="connsiteY2" fmla="*/ 500205 h 556175"/>
                  <a:gd name="connsiteX3" fmla="*/ 78885 w 472211"/>
                  <a:gd name="connsiteY3" fmla="*/ 381872 h 556175"/>
                  <a:gd name="connsiteX4" fmla="*/ 36997 w 472211"/>
                  <a:gd name="connsiteY4" fmla="*/ 348391 h 556175"/>
                  <a:gd name="connsiteX5" fmla="*/ 5025 w 472211"/>
                  <a:gd name="connsiteY5" fmla="*/ 240044 h 556175"/>
                  <a:gd name="connsiteX6" fmla="*/ 10557 w 472211"/>
                  <a:gd name="connsiteY6" fmla="*/ 223519 h 556175"/>
                  <a:gd name="connsiteX7" fmla="*/ 100511 w 472211"/>
                  <a:gd name="connsiteY7" fmla="*/ 169346 h 556175"/>
                  <a:gd name="connsiteX8" fmla="*/ 116605 w 472211"/>
                  <a:gd name="connsiteY8" fmla="*/ 172004 h 556175"/>
                  <a:gd name="connsiteX9" fmla="*/ 90596 w 472211"/>
                  <a:gd name="connsiteY9" fmla="*/ 102599 h 556175"/>
                  <a:gd name="connsiteX10" fmla="*/ 121347 w 472211"/>
                  <a:gd name="connsiteY10" fmla="*/ 24285 h 556175"/>
                  <a:gd name="connsiteX11" fmla="*/ 164168 w 472211"/>
                  <a:gd name="connsiteY11" fmla="*/ 2874 h 556175"/>
                  <a:gd name="connsiteX12" fmla="*/ 176239 w 472211"/>
                  <a:gd name="connsiteY12" fmla="*/ 0 h 556175"/>
                  <a:gd name="connsiteX13" fmla="*/ 427275 w 472211"/>
                  <a:gd name="connsiteY13" fmla="*/ 0 h 556175"/>
                  <a:gd name="connsiteX14" fmla="*/ 454290 w 472211"/>
                  <a:gd name="connsiteY14" fmla="*/ 27015 h 556175"/>
                  <a:gd name="connsiteX15" fmla="*/ 427275 w 472211"/>
                  <a:gd name="connsiteY15" fmla="*/ 54030 h 556175"/>
                  <a:gd name="connsiteX16" fmla="*/ 182633 w 472211"/>
                  <a:gd name="connsiteY16" fmla="*/ 54030 h 556175"/>
                  <a:gd name="connsiteX17" fmla="*/ 145488 w 472211"/>
                  <a:gd name="connsiteY17" fmla="*/ 72566 h 556175"/>
                  <a:gd name="connsiteX18" fmla="*/ 141177 w 472211"/>
                  <a:gd name="connsiteY18" fmla="*/ 83559 h 556175"/>
                  <a:gd name="connsiteX19" fmla="*/ 183639 w 472211"/>
                  <a:gd name="connsiteY19" fmla="*/ 196791 h 556175"/>
                  <a:gd name="connsiteX20" fmla="*/ 179185 w 472211"/>
                  <a:gd name="connsiteY20" fmla="*/ 223447 h 556175"/>
                  <a:gd name="connsiteX21" fmla="*/ 153894 w 472211"/>
                  <a:gd name="connsiteY21" fmla="*/ 232931 h 556175"/>
                  <a:gd name="connsiteX22" fmla="*/ 91674 w 472211"/>
                  <a:gd name="connsiteY22" fmla="*/ 222585 h 556175"/>
                  <a:gd name="connsiteX23" fmla="*/ 61857 w 472211"/>
                  <a:gd name="connsiteY23" fmla="*/ 240547 h 556175"/>
                  <a:gd name="connsiteX24" fmla="*/ 56324 w 472211"/>
                  <a:gd name="connsiteY24" fmla="*/ 257072 h 556175"/>
                  <a:gd name="connsiteX25" fmla="*/ 70838 w 472211"/>
                  <a:gd name="connsiteY25" fmla="*/ 306072 h 556175"/>
                  <a:gd name="connsiteX26" fmla="*/ 121419 w 472211"/>
                  <a:gd name="connsiteY26" fmla="*/ 346523 h 556175"/>
                  <a:gd name="connsiteX27" fmla="*/ 131406 w 472211"/>
                  <a:gd name="connsiteY27" fmla="*/ 364628 h 556175"/>
                  <a:gd name="connsiteX28" fmla="*/ 145488 w 472211"/>
                  <a:gd name="connsiteY28" fmla="*/ 491512 h 556175"/>
                  <a:gd name="connsiteX29" fmla="*/ 172503 w 472211"/>
                  <a:gd name="connsiteY29" fmla="*/ 502002 h 556175"/>
                  <a:gd name="connsiteX30" fmla="*/ 211803 w 472211"/>
                  <a:gd name="connsiteY30" fmla="*/ 502002 h 556175"/>
                  <a:gd name="connsiteX31" fmla="*/ 236878 w 472211"/>
                  <a:gd name="connsiteY31" fmla="*/ 469598 h 556175"/>
                  <a:gd name="connsiteX32" fmla="*/ 257571 w 472211"/>
                  <a:gd name="connsiteY32" fmla="*/ 397176 h 556175"/>
                  <a:gd name="connsiteX33" fmla="*/ 272443 w 472211"/>
                  <a:gd name="connsiteY33" fmla="*/ 322741 h 556175"/>
                  <a:gd name="connsiteX34" fmla="*/ 228903 w 472211"/>
                  <a:gd name="connsiteY34" fmla="*/ 279201 h 556175"/>
                  <a:gd name="connsiteX35" fmla="*/ 223802 w 472211"/>
                  <a:gd name="connsiteY35" fmla="*/ 248019 h 556175"/>
                  <a:gd name="connsiteX36" fmla="*/ 241764 w 472211"/>
                  <a:gd name="connsiteY36" fmla="*/ 212167 h 556175"/>
                  <a:gd name="connsiteX37" fmla="*/ 278047 w 472211"/>
                  <a:gd name="connsiteY37" fmla="*/ 200097 h 556175"/>
                  <a:gd name="connsiteX38" fmla="*/ 385604 w 472211"/>
                  <a:gd name="connsiteY38" fmla="*/ 253911 h 556175"/>
                  <a:gd name="connsiteX39" fmla="*/ 389699 w 472211"/>
                  <a:gd name="connsiteY39" fmla="*/ 256425 h 556175"/>
                  <a:gd name="connsiteX40" fmla="*/ 461403 w 472211"/>
                  <a:gd name="connsiteY40" fmla="*/ 310239 h 556175"/>
                  <a:gd name="connsiteX41" fmla="*/ 466792 w 472211"/>
                  <a:gd name="connsiteY41" fmla="*/ 348032 h 556175"/>
                  <a:gd name="connsiteX42" fmla="*/ 429000 w 472211"/>
                  <a:gd name="connsiteY42" fmla="*/ 353420 h 556175"/>
                  <a:gd name="connsiteX43" fmla="*/ 359235 w 472211"/>
                  <a:gd name="connsiteY43" fmla="*/ 301115 h 556175"/>
                  <a:gd name="connsiteX44" fmla="*/ 295147 w 472211"/>
                  <a:gd name="connsiteY44" fmla="*/ 269070 h 556175"/>
                  <a:gd name="connsiteX45" fmla="*/ 320869 w 472211"/>
                  <a:gd name="connsiteY45" fmla="*/ 294792 h 556175"/>
                  <a:gd name="connsiteX46" fmla="*/ 328269 w 472211"/>
                  <a:gd name="connsiteY46" fmla="*/ 319220 h 556175"/>
                  <a:gd name="connsiteX47" fmla="*/ 310379 w 472211"/>
                  <a:gd name="connsiteY47" fmla="*/ 408887 h 556175"/>
                  <a:gd name="connsiteX48" fmla="*/ 309876 w 472211"/>
                  <a:gd name="connsiteY48" fmla="*/ 411042 h 556175"/>
                  <a:gd name="connsiteX49" fmla="*/ 288896 w 472211"/>
                  <a:gd name="connsiteY49" fmla="*/ 484543 h 556175"/>
                  <a:gd name="connsiteX50" fmla="*/ 211875 w 472211"/>
                  <a:gd name="connsiteY50" fmla="*/ 556175 h 556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72211" h="556175">
                    <a:moveTo>
                      <a:pt x="211732" y="556103"/>
                    </a:moveTo>
                    <a:lnTo>
                      <a:pt x="172431" y="556103"/>
                    </a:lnTo>
                    <a:cubicBezTo>
                      <a:pt x="145775" y="556103"/>
                      <a:pt x="96128" y="537423"/>
                      <a:pt x="92033" y="500205"/>
                    </a:cubicBezTo>
                    <a:lnTo>
                      <a:pt x="78885" y="381872"/>
                    </a:lnTo>
                    <a:lnTo>
                      <a:pt x="36997" y="348391"/>
                    </a:lnTo>
                    <a:cubicBezTo>
                      <a:pt x="4809" y="322669"/>
                      <a:pt x="-7979" y="279129"/>
                      <a:pt x="5025" y="240044"/>
                    </a:cubicBezTo>
                    <a:lnTo>
                      <a:pt x="10557" y="223519"/>
                    </a:lnTo>
                    <a:cubicBezTo>
                      <a:pt x="23203" y="185583"/>
                      <a:pt x="60995" y="162808"/>
                      <a:pt x="100511" y="169346"/>
                    </a:cubicBezTo>
                    <a:lnTo>
                      <a:pt x="116605" y="172004"/>
                    </a:lnTo>
                    <a:lnTo>
                      <a:pt x="90596" y="102599"/>
                    </a:lnTo>
                    <a:cubicBezTo>
                      <a:pt x="79244" y="72351"/>
                      <a:pt x="92464" y="38726"/>
                      <a:pt x="121347" y="24285"/>
                    </a:cubicBezTo>
                    <a:lnTo>
                      <a:pt x="164168" y="2874"/>
                    </a:lnTo>
                    <a:cubicBezTo>
                      <a:pt x="167904" y="1006"/>
                      <a:pt x="172072" y="0"/>
                      <a:pt x="176239" y="0"/>
                    </a:cubicBezTo>
                    <a:lnTo>
                      <a:pt x="427275" y="0"/>
                    </a:lnTo>
                    <a:cubicBezTo>
                      <a:pt x="442220" y="0"/>
                      <a:pt x="454290" y="12070"/>
                      <a:pt x="454290" y="27015"/>
                    </a:cubicBezTo>
                    <a:cubicBezTo>
                      <a:pt x="454290" y="41959"/>
                      <a:pt x="442220" y="54030"/>
                      <a:pt x="427275" y="54030"/>
                    </a:cubicBezTo>
                    <a:lnTo>
                      <a:pt x="182633" y="54030"/>
                    </a:lnTo>
                    <a:lnTo>
                      <a:pt x="145488" y="72566"/>
                    </a:lnTo>
                    <a:cubicBezTo>
                      <a:pt x="141392" y="74578"/>
                      <a:pt x="139596" y="79320"/>
                      <a:pt x="141177" y="83559"/>
                    </a:cubicBezTo>
                    <a:lnTo>
                      <a:pt x="183639" y="196791"/>
                    </a:lnTo>
                    <a:cubicBezTo>
                      <a:pt x="187016" y="205844"/>
                      <a:pt x="185363" y="215975"/>
                      <a:pt x="179185" y="223447"/>
                    </a:cubicBezTo>
                    <a:cubicBezTo>
                      <a:pt x="173077" y="230919"/>
                      <a:pt x="163450" y="234584"/>
                      <a:pt x="153894" y="232931"/>
                    </a:cubicBezTo>
                    <a:lnTo>
                      <a:pt x="91674" y="222585"/>
                    </a:lnTo>
                    <a:cubicBezTo>
                      <a:pt x="78597" y="220429"/>
                      <a:pt x="66096" y="227973"/>
                      <a:pt x="61857" y="240547"/>
                    </a:cubicBezTo>
                    <a:lnTo>
                      <a:pt x="56324" y="257072"/>
                    </a:lnTo>
                    <a:cubicBezTo>
                      <a:pt x="50433" y="274747"/>
                      <a:pt x="56324" y="294433"/>
                      <a:pt x="70838" y="306072"/>
                    </a:cubicBezTo>
                    <a:lnTo>
                      <a:pt x="121419" y="346523"/>
                    </a:lnTo>
                    <a:cubicBezTo>
                      <a:pt x="127023" y="350977"/>
                      <a:pt x="130615" y="357515"/>
                      <a:pt x="131406" y="364628"/>
                    </a:cubicBezTo>
                    <a:lnTo>
                      <a:pt x="145488" y="491512"/>
                    </a:lnTo>
                    <a:cubicBezTo>
                      <a:pt x="149942" y="495895"/>
                      <a:pt x="164168" y="502002"/>
                      <a:pt x="172503" y="502002"/>
                    </a:cubicBezTo>
                    <a:lnTo>
                      <a:pt x="211803" y="502002"/>
                    </a:lnTo>
                    <a:cubicBezTo>
                      <a:pt x="222006" y="502002"/>
                      <a:pt x="227610" y="502002"/>
                      <a:pt x="236878" y="469598"/>
                    </a:cubicBezTo>
                    <a:lnTo>
                      <a:pt x="257571" y="397176"/>
                    </a:lnTo>
                    <a:lnTo>
                      <a:pt x="272443" y="322741"/>
                    </a:lnTo>
                    <a:lnTo>
                      <a:pt x="228903" y="279201"/>
                    </a:lnTo>
                    <a:cubicBezTo>
                      <a:pt x="220713" y="271011"/>
                      <a:pt x="218629" y="258437"/>
                      <a:pt x="223802" y="248019"/>
                    </a:cubicBezTo>
                    <a:lnTo>
                      <a:pt x="241764" y="212167"/>
                    </a:lnTo>
                    <a:cubicBezTo>
                      <a:pt x="248446" y="198803"/>
                      <a:pt x="264684" y="193415"/>
                      <a:pt x="278047" y="200097"/>
                    </a:cubicBezTo>
                    <a:lnTo>
                      <a:pt x="385604" y="253911"/>
                    </a:lnTo>
                    <a:cubicBezTo>
                      <a:pt x="387041" y="254629"/>
                      <a:pt x="388406" y="255491"/>
                      <a:pt x="389699" y="256425"/>
                    </a:cubicBezTo>
                    <a:lnTo>
                      <a:pt x="461403" y="310239"/>
                    </a:lnTo>
                    <a:cubicBezTo>
                      <a:pt x="473330" y="319220"/>
                      <a:pt x="475773" y="336105"/>
                      <a:pt x="466792" y="348032"/>
                    </a:cubicBezTo>
                    <a:cubicBezTo>
                      <a:pt x="457811" y="359958"/>
                      <a:pt x="440927" y="362401"/>
                      <a:pt x="429000" y="353420"/>
                    </a:cubicBezTo>
                    <a:lnTo>
                      <a:pt x="359235" y="301115"/>
                    </a:lnTo>
                    <a:lnTo>
                      <a:pt x="295147" y="269070"/>
                    </a:lnTo>
                    <a:lnTo>
                      <a:pt x="320869" y="294792"/>
                    </a:lnTo>
                    <a:cubicBezTo>
                      <a:pt x="327263" y="301187"/>
                      <a:pt x="330065" y="310311"/>
                      <a:pt x="328269" y="319220"/>
                    </a:cubicBezTo>
                    <a:lnTo>
                      <a:pt x="310379" y="408887"/>
                    </a:lnTo>
                    <a:cubicBezTo>
                      <a:pt x="310235" y="409605"/>
                      <a:pt x="310091" y="410324"/>
                      <a:pt x="309876" y="411042"/>
                    </a:cubicBezTo>
                    <a:lnTo>
                      <a:pt x="288896" y="484543"/>
                    </a:lnTo>
                    <a:cubicBezTo>
                      <a:pt x="282286" y="507821"/>
                      <a:pt x="268420" y="556175"/>
                      <a:pt x="211875" y="556175"/>
                    </a:cubicBezTo>
                    <a:close/>
                  </a:path>
                </a:pathLst>
              </a:custGeom>
              <a:grpFill/>
              <a:ln w="0" cap="flat">
                <a:noFill/>
                <a:prstDash val="solid"/>
                <a:miter/>
              </a:ln>
            </p:spPr>
            <p:txBody>
              <a:bodyPr rtlCol="0" anchor="ctr"/>
              <a:lstStyle/>
              <a:p>
                <a:endParaRPr lang="pt-BR" dirty="0"/>
              </a:p>
            </p:txBody>
          </p:sp>
          <p:sp>
            <p:nvSpPr>
              <p:cNvPr id="47" name="Forma Livre: Forma 46">
                <a:extLst>
                  <a:ext uri="{FF2B5EF4-FFF2-40B4-BE49-F238E27FC236}">
                    <a16:creationId xmlns:a16="http://schemas.microsoft.com/office/drawing/2014/main" id="{115820BD-8CD2-15FC-B919-90289435A21D}"/>
                  </a:ext>
                </a:extLst>
              </p:cNvPr>
              <p:cNvSpPr/>
              <p:nvPr>
                <p:custDataLst>
                  <p:tags r:id="rId23"/>
                </p:custDataLst>
              </p:nvPr>
            </p:nvSpPr>
            <p:spPr>
              <a:xfrm>
                <a:off x="993395" y="3933946"/>
                <a:ext cx="197456" cy="287186"/>
              </a:xfrm>
              <a:custGeom>
                <a:avLst/>
                <a:gdLst>
                  <a:gd name="connsiteX0" fmla="*/ 146085 w 197456"/>
                  <a:gd name="connsiteY0" fmla="*/ 287187 h 287186"/>
                  <a:gd name="connsiteX1" fmla="*/ 106568 w 197456"/>
                  <a:gd name="connsiteY1" fmla="*/ 268722 h 287186"/>
                  <a:gd name="connsiteX2" fmla="*/ 40828 w 197456"/>
                  <a:gd name="connsiteY2" fmla="*/ 189833 h 287186"/>
                  <a:gd name="connsiteX3" fmla="*/ 17908 w 197456"/>
                  <a:gd name="connsiteY3" fmla="*/ 126607 h 287186"/>
                  <a:gd name="connsiteX4" fmla="*/ 17908 w 197456"/>
                  <a:gd name="connsiteY4" fmla="*/ 109938 h 287186"/>
                  <a:gd name="connsiteX5" fmla="*/ 7921 w 197456"/>
                  <a:gd name="connsiteY5" fmla="*/ 99951 h 287186"/>
                  <a:gd name="connsiteX6" fmla="*/ 7921 w 197456"/>
                  <a:gd name="connsiteY6" fmla="*/ 61728 h 287186"/>
                  <a:gd name="connsiteX7" fmla="*/ 46144 w 197456"/>
                  <a:gd name="connsiteY7" fmla="*/ 61728 h 287186"/>
                  <a:gd name="connsiteX8" fmla="*/ 64035 w 197456"/>
                  <a:gd name="connsiteY8" fmla="*/ 79690 h 287186"/>
                  <a:gd name="connsiteX9" fmla="*/ 71938 w 197456"/>
                  <a:gd name="connsiteY9" fmla="*/ 98802 h 287186"/>
                  <a:gd name="connsiteX10" fmla="*/ 71938 w 197456"/>
                  <a:gd name="connsiteY10" fmla="*/ 126607 h 287186"/>
                  <a:gd name="connsiteX11" fmla="*/ 82284 w 197456"/>
                  <a:gd name="connsiteY11" fmla="*/ 155202 h 287186"/>
                  <a:gd name="connsiteX12" fmla="*/ 143426 w 197456"/>
                  <a:gd name="connsiteY12" fmla="*/ 228559 h 287186"/>
                  <a:gd name="connsiteX13" fmla="*/ 143426 w 197456"/>
                  <a:gd name="connsiteY13" fmla="*/ 105771 h 287186"/>
                  <a:gd name="connsiteX14" fmla="*/ 106066 w 197456"/>
                  <a:gd name="connsiteY14" fmla="*/ 61656 h 287186"/>
                  <a:gd name="connsiteX15" fmla="*/ 58430 w 197456"/>
                  <a:gd name="connsiteY15" fmla="*/ 53681 h 287186"/>
                  <a:gd name="connsiteX16" fmla="*/ 36229 w 197456"/>
                  <a:gd name="connsiteY16" fmla="*/ 22571 h 287186"/>
                  <a:gd name="connsiteX17" fmla="*/ 67340 w 197456"/>
                  <a:gd name="connsiteY17" fmla="*/ 370 h 287186"/>
                  <a:gd name="connsiteX18" fmla="*/ 114975 w 197456"/>
                  <a:gd name="connsiteY18" fmla="*/ 8345 h 287186"/>
                  <a:gd name="connsiteX19" fmla="*/ 197456 w 197456"/>
                  <a:gd name="connsiteY19" fmla="*/ 105771 h 287186"/>
                  <a:gd name="connsiteX20" fmla="*/ 197456 w 197456"/>
                  <a:gd name="connsiteY20" fmla="*/ 235744 h 287186"/>
                  <a:gd name="connsiteX21" fmla="*/ 146013 w 197456"/>
                  <a:gd name="connsiteY21" fmla="*/ 287187 h 28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7456" h="287186">
                    <a:moveTo>
                      <a:pt x="146085" y="287187"/>
                    </a:moveTo>
                    <a:cubicBezTo>
                      <a:pt x="130781" y="287187"/>
                      <a:pt x="116412" y="280433"/>
                      <a:pt x="106568" y="268722"/>
                    </a:cubicBezTo>
                    <a:lnTo>
                      <a:pt x="40828" y="189833"/>
                    </a:lnTo>
                    <a:cubicBezTo>
                      <a:pt x="26099" y="172086"/>
                      <a:pt x="17908" y="149670"/>
                      <a:pt x="17908" y="126607"/>
                    </a:cubicBezTo>
                    <a:lnTo>
                      <a:pt x="17908" y="109938"/>
                    </a:lnTo>
                    <a:lnTo>
                      <a:pt x="7921" y="99951"/>
                    </a:lnTo>
                    <a:cubicBezTo>
                      <a:pt x="-2640" y="89390"/>
                      <a:pt x="-2640" y="72290"/>
                      <a:pt x="7921" y="61728"/>
                    </a:cubicBezTo>
                    <a:cubicBezTo>
                      <a:pt x="18483" y="51166"/>
                      <a:pt x="35583" y="51166"/>
                      <a:pt x="46144" y="61728"/>
                    </a:cubicBezTo>
                    <a:lnTo>
                      <a:pt x="64035" y="79690"/>
                    </a:lnTo>
                    <a:cubicBezTo>
                      <a:pt x="69136" y="84791"/>
                      <a:pt x="71938" y="91617"/>
                      <a:pt x="71938" y="98802"/>
                    </a:cubicBezTo>
                    <a:lnTo>
                      <a:pt x="71938" y="126607"/>
                    </a:lnTo>
                    <a:cubicBezTo>
                      <a:pt x="71938" y="137025"/>
                      <a:pt x="75602" y="147227"/>
                      <a:pt x="82284" y="155202"/>
                    </a:cubicBezTo>
                    <a:lnTo>
                      <a:pt x="143426" y="228559"/>
                    </a:lnTo>
                    <a:lnTo>
                      <a:pt x="143426" y="105771"/>
                    </a:lnTo>
                    <a:cubicBezTo>
                      <a:pt x="143426" y="83857"/>
                      <a:pt x="127692" y="65248"/>
                      <a:pt x="106066" y="61656"/>
                    </a:cubicBezTo>
                    <a:lnTo>
                      <a:pt x="58430" y="53681"/>
                    </a:lnTo>
                    <a:cubicBezTo>
                      <a:pt x="43702" y="51238"/>
                      <a:pt x="33787" y="37300"/>
                      <a:pt x="36229" y="22571"/>
                    </a:cubicBezTo>
                    <a:cubicBezTo>
                      <a:pt x="38672" y="7842"/>
                      <a:pt x="52611" y="-2073"/>
                      <a:pt x="67340" y="370"/>
                    </a:cubicBezTo>
                    <a:lnTo>
                      <a:pt x="114975" y="8345"/>
                    </a:lnTo>
                    <a:cubicBezTo>
                      <a:pt x="162754" y="16320"/>
                      <a:pt x="197456" y="57273"/>
                      <a:pt x="197456" y="105771"/>
                    </a:cubicBezTo>
                    <a:lnTo>
                      <a:pt x="197456" y="235744"/>
                    </a:lnTo>
                    <a:cubicBezTo>
                      <a:pt x="197456" y="264124"/>
                      <a:pt x="174393" y="287187"/>
                      <a:pt x="146013" y="287187"/>
                    </a:cubicBezTo>
                    <a:close/>
                  </a:path>
                </a:pathLst>
              </a:custGeom>
              <a:grpFill/>
              <a:ln w="0" cap="flat">
                <a:noFill/>
                <a:prstDash val="solid"/>
                <a:miter/>
              </a:ln>
            </p:spPr>
            <p:txBody>
              <a:bodyPr rtlCol="0" anchor="ctr"/>
              <a:lstStyle/>
              <a:p>
                <a:endParaRPr lang="pt-BR" dirty="0"/>
              </a:p>
            </p:txBody>
          </p:sp>
          <p:sp>
            <p:nvSpPr>
              <p:cNvPr id="49" name="Forma Livre: Forma 48">
                <a:extLst>
                  <a:ext uri="{FF2B5EF4-FFF2-40B4-BE49-F238E27FC236}">
                    <a16:creationId xmlns:a16="http://schemas.microsoft.com/office/drawing/2014/main" id="{8D7A6CC0-77EF-0D76-1864-D23C4A98A870}"/>
                  </a:ext>
                </a:extLst>
              </p:cNvPr>
              <p:cNvSpPr/>
              <p:nvPr>
                <p:custDataLst>
                  <p:tags r:id="rId24"/>
                </p:custDataLst>
              </p:nvPr>
            </p:nvSpPr>
            <p:spPr>
              <a:xfrm>
                <a:off x="1029265" y="3431886"/>
                <a:ext cx="430653" cy="215468"/>
              </a:xfrm>
              <a:custGeom>
                <a:avLst/>
                <a:gdLst>
                  <a:gd name="connsiteX0" fmla="*/ 36499 w 430653"/>
                  <a:gd name="connsiteY0" fmla="*/ 215468 h 215468"/>
                  <a:gd name="connsiteX1" fmla="*/ 27015 w 430653"/>
                  <a:gd name="connsiteY1" fmla="*/ 215468 h 215468"/>
                  <a:gd name="connsiteX2" fmla="*/ 0 w 430653"/>
                  <a:gd name="connsiteY2" fmla="*/ 188454 h 215468"/>
                  <a:gd name="connsiteX3" fmla="*/ 27015 w 430653"/>
                  <a:gd name="connsiteY3" fmla="*/ 161439 h 215468"/>
                  <a:gd name="connsiteX4" fmla="*/ 36499 w 430653"/>
                  <a:gd name="connsiteY4" fmla="*/ 161439 h 215468"/>
                  <a:gd name="connsiteX5" fmla="*/ 76446 w 430653"/>
                  <a:gd name="connsiteY5" fmla="*/ 136723 h 215468"/>
                  <a:gd name="connsiteX6" fmla="*/ 110430 w 430653"/>
                  <a:gd name="connsiteY6" fmla="*/ 68755 h 215468"/>
                  <a:gd name="connsiteX7" fmla="*/ 124584 w 430653"/>
                  <a:gd name="connsiteY7" fmla="*/ 55750 h 215468"/>
                  <a:gd name="connsiteX8" fmla="*/ 214251 w 430653"/>
                  <a:gd name="connsiteY8" fmla="*/ 19898 h 215468"/>
                  <a:gd name="connsiteX9" fmla="*/ 221579 w 430653"/>
                  <a:gd name="connsiteY9" fmla="*/ 18102 h 215468"/>
                  <a:gd name="connsiteX10" fmla="*/ 400912 w 430653"/>
                  <a:gd name="connsiteY10" fmla="*/ 140 h 215468"/>
                  <a:gd name="connsiteX11" fmla="*/ 430513 w 430653"/>
                  <a:gd name="connsiteY11" fmla="*/ 24353 h 215468"/>
                  <a:gd name="connsiteX12" fmla="*/ 406300 w 430653"/>
                  <a:gd name="connsiteY12" fmla="*/ 53954 h 215468"/>
                  <a:gd name="connsiteX13" fmla="*/ 230776 w 430653"/>
                  <a:gd name="connsiteY13" fmla="*/ 71485 h 215468"/>
                  <a:gd name="connsiteX14" fmla="*/ 154186 w 430653"/>
                  <a:gd name="connsiteY14" fmla="*/ 102092 h 215468"/>
                  <a:gd name="connsiteX15" fmla="*/ 124800 w 430653"/>
                  <a:gd name="connsiteY15" fmla="*/ 160864 h 215468"/>
                  <a:gd name="connsiteX16" fmla="*/ 36499 w 430653"/>
                  <a:gd name="connsiteY16" fmla="*/ 215468 h 215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0653" h="215468">
                    <a:moveTo>
                      <a:pt x="36499" y="215468"/>
                    </a:moveTo>
                    <a:lnTo>
                      <a:pt x="27015" y="215468"/>
                    </a:lnTo>
                    <a:cubicBezTo>
                      <a:pt x="12070" y="215468"/>
                      <a:pt x="0" y="203398"/>
                      <a:pt x="0" y="188454"/>
                    </a:cubicBezTo>
                    <a:cubicBezTo>
                      <a:pt x="0" y="173509"/>
                      <a:pt x="12070" y="161439"/>
                      <a:pt x="27015" y="161439"/>
                    </a:cubicBezTo>
                    <a:lnTo>
                      <a:pt x="36499" y="161439"/>
                    </a:lnTo>
                    <a:cubicBezTo>
                      <a:pt x="53527" y="161439"/>
                      <a:pt x="68830" y="151955"/>
                      <a:pt x="76446" y="136723"/>
                    </a:cubicBezTo>
                    <a:lnTo>
                      <a:pt x="110430" y="68755"/>
                    </a:lnTo>
                    <a:cubicBezTo>
                      <a:pt x="113376" y="62863"/>
                      <a:pt x="118405" y="58193"/>
                      <a:pt x="124584" y="55750"/>
                    </a:cubicBezTo>
                    <a:lnTo>
                      <a:pt x="214251" y="19898"/>
                    </a:lnTo>
                    <a:cubicBezTo>
                      <a:pt x="216622" y="18964"/>
                      <a:pt x="219064" y="18390"/>
                      <a:pt x="221579" y="18102"/>
                    </a:cubicBezTo>
                    <a:lnTo>
                      <a:pt x="400912" y="140"/>
                    </a:lnTo>
                    <a:cubicBezTo>
                      <a:pt x="415640" y="-1369"/>
                      <a:pt x="429004" y="9480"/>
                      <a:pt x="430513" y="24353"/>
                    </a:cubicBezTo>
                    <a:cubicBezTo>
                      <a:pt x="432022" y="39225"/>
                      <a:pt x="421173" y="52445"/>
                      <a:pt x="406300" y="53954"/>
                    </a:cubicBezTo>
                    <a:lnTo>
                      <a:pt x="230776" y="71485"/>
                    </a:lnTo>
                    <a:lnTo>
                      <a:pt x="154186" y="102092"/>
                    </a:lnTo>
                    <a:lnTo>
                      <a:pt x="124800" y="160864"/>
                    </a:lnTo>
                    <a:cubicBezTo>
                      <a:pt x="107987" y="194561"/>
                      <a:pt x="74147" y="215468"/>
                      <a:pt x="36499" y="215468"/>
                    </a:cubicBezTo>
                    <a:close/>
                  </a:path>
                </a:pathLst>
              </a:custGeom>
              <a:grpFill/>
              <a:ln w="0" cap="flat">
                <a:noFill/>
                <a:prstDash val="solid"/>
                <a:miter/>
              </a:ln>
            </p:spPr>
            <p:txBody>
              <a:bodyPr rtlCol="0" anchor="ctr"/>
              <a:lstStyle/>
              <a:p>
                <a:endParaRPr lang="pt-BR" dirty="0"/>
              </a:p>
            </p:txBody>
          </p:sp>
        </p:grpSp>
        <p:sp>
          <p:nvSpPr>
            <p:cNvPr id="42" name="Forma Livre: Forma 41">
              <a:extLst>
                <a:ext uri="{FF2B5EF4-FFF2-40B4-BE49-F238E27FC236}">
                  <a16:creationId xmlns:a16="http://schemas.microsoft.com/office/drawing/2014/main" id="{BBEE0F56-8633-2761-0444-9F0099801265}"/>
                </a:ext>
              </a:extLst>
            </p:cNvPr>
            <p:cNvSpPr/>
            <p:nvPr>
              <p:custDataLst>
                <p:tags r:id="rId18"/>
              </p:custDataLst>
            </p:nvPr>
          </p:nvSpPr>
          <p:spPr>
            <a:xfrm>
              <a:off x="760338" y="3628253"/>
              <a:ext cx="932660" cy="700436"/>
            </a:xfrm>
            <a:custGeom>
              <a:avLst/>
              <a:gdLst>
                <a:gd name="connsiteX0" fmla="*/ 475274 w 932660"/>
                <a:gd name="connsiteY0" fmla="*/ 700436 h 700436"/>
                <a:gd name="connsiteX1" fmla="*/ 0 w 932660"/>
                <a:gd name="connsiteY1" fmla="*/ 225162 h 700436"/>
                <a:gd name="connsiteX2" fmla="*/ 49072 w 932660"/>
                <a:gd name="connsiteY2" fmla="*/ 15079 h 700436"/>
                <a:gd name="connsiteX3" fmla="*/ 85284 w 932660"/>
                <a:gd name="connsiteY3" fmla="*/ 2793 h 700436"/>
                <a:gd name="connsiteX4" fmla="*/ 97570 w 932660"/>
                <a:gd name="connsiteY4" fmla="*/ 39004 h 700436"/>
                <a:gd name="connsiteX5" fmla="*/ 54102 w 932660"/>
                <a:gd name="connsiteY5" fmla="*/ 225162 h 700436"/>
                <a:gd name="connsiteX6" fmla="*/ 475346 w 932660"/>
                <a:gd name="connsiteY6" fmla="*/ 646407 h 700436"/>
                <a:gd name="connsiteX7" fmla="*/ 879707 w 932660"/>
                <a:gd name="connsiteY7" fmla="*/ 343136 h 700436"/>
                <a:gd name="connsiteX8" fmla="*/ 913188 w 932660"/>
                <a:gd name="connsiteY8" fmla="*/ 324743 h 700436"/>
                <a:gd name="connsiteX9" fmla="*/ 931581 w 932660"/>
                <a:gd name="connsiteY9" fmla="*/ 358225 h 700436"/>
                <a:gd name="connsiteX10" fmla="*/ 475346 w 932660"/>
                <a:gd name="connsiteY10" fmla="*/ 700436 h 70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2659" h="700436">
                  <a:moveTo>
                    <a:pt x="475274" y="700436"/>
                  </a:moveTo>
                  <a:cubicBezTo>
                    <a:pt x="213245" y="700436"/>
                    <a:pt x="0" y="487263"/>
                    <a:pt x="0" y="225162"/>
                  </a:cubicBezTo>
                  <a:cubicBezTo>
                    <a:pt x="0" y="151662"/>
                    <a:pt x="16525" y="80963"/>
                    <a:pt x="49072" y="15079"/>
                  </a:cubicBezTo>
                  <a:cubicBezTo>
                    <a:pt x="55682" y="1715"/>
                    <a:pt x="71848" y="-3817"/>
                    <a:pt x="85284" y="2793"/>
                  </a:cubicBezTo>
                  <a:cubicBezTo>
                    <a:pt x="98647" y="9403"/>
                    <a:pt x="104180" y="25640"/>
                    <a:pt x="97570" y="39004"/>
                  </a:cubicBezTo>
                  <a:cubicBezTo>
                    <a:pt x="68687" y="97416"/>
                    <a:pt x="54102" y="160068"/>
                    <a:pt x="54102" y="225162"/>
                  </a:cubicBezTo>
                  <a:cubicBezTo>
                    <a:pt x="54102" y="457447"/>
                    <a:pt x="243062" y="646407"/>
                    <a:pt x="475346" y="646407"/>
                  </a:cubicBezTo>
                  <a:cubicBezTo>
                    <a:pt x="661432" y="646407"/>
                    <a:pt x="827689" y="521679"/>
                    <a:pt x="879707" y="343136"/>
                  </a:cubicBezTo>
                  <a:cubicBezTo>
                    <a:pt x="883874" y="328839"/>
                    <a:pt x="898818" y="320576"/>
                    <a:pt x="913188" y="324743"/>
                  </a:cubicBezTo>
                  <a:cubicBezTo>
                    <a:pt x="927485" y="328911"/>
                    <a:pt x="935748" y="343927"/>
                    <a:pt x="931581" y="358225"/>
                  </a:cubicBezTo>
                  <a:cubicBezTo>
                    <a:pt x="872881" y="559686"/>
                    <a:pt x="685286" y="700436"/>
                    <a:pt x="475346" y="700436"/>
                  </a:cubicBezTo>
                  <a:close/>
                </a:path>
              </a:pathLst>
            </a:custGeom>
            <a:grpFill/>
            <a:ln w="0" cap="flat">
              <a:noFill/>
              <a:prstDash val="solid"/>
              <a:miter/>
            </a:ln>
          </p:spPr>
          <p:txBody>
            <a:bodyPr rtlCol="0" anchor="ctr"/>
            <a:lstStyle/>
            <a:p>
              <a:endParaRPr lang="pt-BR" dirty="0"/>
            </a:p>
          </p:txBody>
        </p:sp>
        <p:sp>
          <p:nvSpPr>
            <p:cNvPr id="43" name="Forma Livre: Forma 42">
              <a:extLst>
                <a:ext uri="{FF2B5EF4-FFF2-40B4-BE49-F238E27FC236}">
                  <a16:creationId xmlns:a16="http://schemas.microsoft.com/office/drawing/2014/main" id="{1481FE5E-B529-9179-5841-071CCD350201}"/>
                </a:ext>
              </a:extLst>
            </p:cNvPr>
            <p:cNvSpPr/>
            <p:nvPr>
              <p:custDataLst>
                <p:tags r:id="rId19"/>
              </p:custDataLst>
            </p:nvPr>
          </p:nvSpPr>
          <p:spPr>
            <a:xfrm>
              <a:off x="1029294" y="3378140"/>
              <a:ext cx="681592" cy="627807"/>
            </a:xfrm>
            <a:custGeom>
              <a:avLst/>
              <a:gdLst>
                <a:gd name="connsiteX0" fmla="*/ 636616 w 681592"/>
                <a:gd name="connsiteY0" fmla="*/ 627808 h 627807"/>
                <a:gd name="connsiteX1" fmla="*/ 629072 w 681592"/>
                <a:gd name="connsiteY1" fmla="*/ 626730 h 627807"/>
                <a:gd name="connsiteX2" fmla="*/ 610678 w 681592"/>
                <a:gd name="connsiteY2" fmla="*/ 593249 h 627807"/>
                <a:gd name="connsiteX3" fmla="*/ 627563 w 681592"/>
                <a:gd name="connsiteY3" fmla="*/ 475274 h 627807"/>
                <a:gd name="connsiteX4" fmla="*/ 206318 w 681592"/>
                <a:gd name="connsiteY4" fmla="*/ 54030 h 627807"/>
                <a:gd name="connsiteX5" fmla="*/ 37835 w 681592"/>
                <a:gd name="connsiteY5" fmla="*/ 89451 h 627807"/>
                <a:gd name="connsiteX6" fmla="*/ 2270 w 681592"/>
                <a:gd name="connsiteY6" fmla="*/ 75512 h 627807"/>
                <a:gd name="connsiteX7" fmla="*/ 16208 w 681592"/>
                <a:gd name="connsiteY7" fmla="*/ 39947 h 627807"/>
                <a:gd name="connsiteX8" fmla="*/ 206318 w 681592"/>
                <a:gd name="connsiteY8" fmla="*/ 0 h 627807"/>
                <a:gd name="connsiteX9" fmla="*/ 681592 w 681592"/>
                <a:gd name="connsiteY9" fmla="*/ 475274 h 627807"/>
                <a:gd name="connsiteX10" fmla="*/ 662553 w 681592"/>
                <a:gd name="connsiteY10" fmla="*/ 608337 h 627807"/>
                <a:gd name="connsiteX11" fmla="*/ 636616 w 681592"/>
                <a:gd name="connsiteY11" fmla="*/ 627808 h 627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1592" h="627807">
                  <a:moveTo>
                    <a:pt x="636616" y="627808"/>
                  </a:moveTo>
                  <a:cubicBezTo>
                    <a:pt x="634101" y="627808"/>
                    <a:pt x="631586" y="627448"/>
                    <a:pt x="629072" y="626730"/>
                  </a:cubicBezTo>
                  <a:cubicBezTo>
                    <a:pt x="614774" y="622563"/>
                    <a:pt x="606511" y="607546"/>
                    <a:pt x="610678" y="593249"/>
                  </a:cubicBezTo>
                  <a:cubicBezTo>
                    <a:pt x="621887" y="554810"/>
                    <a:pt x="627563" y="515150"/>
                    <a:pt x="627563" y="475274"/>
                  </a:cubicBezTo>
                  <a:cubicBezTo>
                    <a:pt x="627563" y="242990"/>
                    <a:pt x="438603" y="54030"/>
                    <a:pt x="206318" y="54030"/>
                  </a:cubicBezTo>
                  <a:cubicBezTo>
                    <a:pt x="148193" y="54030"/>
                    <a:pt x="91505" y="65956"/>
                    <a:pt x="37835" y="89451"/>
                  </a:cubicBezTo>
                  <a:cubicBezTo>
                    <a:pt x="24184" y="95414"/>
                    <a:pt x="8233" y="89163"/>
                    <a:pt x="2270" y="75512"/>
                  </a:cubicBezTo>
                  <a:cubicBezTo>
                    <a:pt x="-3693" y="61861"/>
                    <a:pt x="2485" y="45911"/>
                    <a:pt x="16208" y="39947"/>
                  </a:cubicBezTo>
                  <a:cubicBezTo>
                    <a:pt x="76776" y="13436"/>
                    <a:pt x="140721" y="0"/>
                    <a:pt x="206318" y="0"/>
                  </a:cubicBezTo>
                  <a:cubicBezTo>
                    <a:pt x="468348" y="0"/>
                    <a:pt x="681592" y="213173"/>
                    <a:pt x="681592" y="475274"/>
                  </a:cubicBezTo>
                  <a:cubicBezTo>
                    <a:pt x="681592" y="520251"/>
                    <a:pt x="675198" y="565012"/>
                    <a:pt x="662553" y="608337"/>
                  </a:cubicBezTo>
                  <a:cubicBezTo>
                    <a:pt x="659104" y="620120"/>
                    <a:pt x="648327" y="627808"/>
                    <a:pt x="636616" y="627808"/>
                  </a:cubicBezTo>
                  <a:close/>
                </a:path>
              </a:pathLst>
            </a:custGeom>
            <a:grpFill/>
            <a:ln w="0" cap="flat">
              <a:noFill/>
              <a:prstDash val="solid"/>
              <a:miter/>
            </a:ln>
          </p:spPr>
          <p:txBody>
            <a:bodyPr rtlCol="0" anchor="ctr"/>
            <a:lstStyle/>
            <a:p>
              <a:endParaRPr lang="pt-BR" dirty="0"/>
            </a:p>
          </p:txBody>
        </p:sp>
      </p:grpSp>
      <p:sp>
        <p:nvSpPr>
          <p:cNvPr id="53" name="CaixaDeTexto 52">
            <a:extLst>
              <a:ext uri="{FF2B5EF4-FFF2-40B4-BE49-F238E27FC236}">
                <a16:creationId xmlns:a16="http://schemas.microsoft.com/office/drawing/2014/main" id="{A27761D0-6D65-B933-B9AA-958AF51B586C}"/>
              </a:ext>
            </a:extLst>
          </p:cNvPr>
          <p:cNvSpPr txBox="1"/>
          <p:nvPr>
            <p:custDataLst>
              <p:tags r:id="rId7"/>
            </p:custDataLst>
          </p:nvPr>
        </p:nvSpPr>
        <p:spPr>
          <a:xfrm>
            <a:off x="269546" y="3978313"/>
            <a:ext cx="2523963" cy="764796"/>
          </a:xfrm>
          <a:prstGeom prst="rect">
            <a:avLst/>
          </a:prstGeom>
          <a:noFill/>
        </p:spPr>
        <p:txBody>
          <a:bodyPr wrap="square" rtlCol="0" anchor="ctr">
            <a:spAutoFit/>
          </a:bodyPr>
          <a:lstStyle/>
          <a:p>
            <a:pPr marL="171450" lvl="0" indent="-171450" defTabSz="449931">
              <a:lnSpc>
                <a:spcPct val="85000"/>
              </a:lnSpc>
              <a:spcBef>
                <a:spcPts val="200"/>
              </a:spcBef>
              <a:spcAft>
                <a:spcPts val="200"/>
              </a:spcAft>
              <a:buClr>
                <a:srgbClr val="FE5000"/>
              </a:buClr>
              <a:buFont typeface="Courier New" panose="02070309020205020404" pitchFamily="49" charset="0"/>
              <a:buChar char="o"/>
              <a:defRPr/>
            </a:pPr>
            <a:r>
              <a:rPr lang="en-US" sz="1200" b="0" i="0" u="none" strike="noStrike" cap="none" baseline="0" dirty="0">
                <a:solidFill>
                  <a:srgbClr val="011F57"/>
                </a:solidFill>
                <a:effectLst/>
                <a:uFillTx/>
                <a:latin typeface="Segoe UI"/>
              </a:rPr>
              <a:t>Reduces the time and cost</a:t>
            </a:r>
            <a:br>
              <a:rPr sz="1200" dirty="0"/>
            </a:br>
            <a:r>
              <a:rPr lang="en-US" sz="1200" b="0" i="0" u="none" strike="noStrike" cap="none" baseline="0" dirty="0">
                <a:solidFill>
                  <a:srgbClr val="011F57"/>
                </a:solidFill>
                <a:effectLst/>
                <a:uFillTx/>
                <a:latin typeface="Segoe UI"/>
              </a:rPr>
              <a:t>for structuring projects</a:t>
            </a:r>
          </a:p>
          <a:p>
            <a:pPr marL="171450" lvl="0" indent="-171450" defTabSz="449931">
              <a:lnSpc>
                <a:spcPct val="85000"/>
              </a:lnSpc>
              <a:spcBef>
                <a:spcPts val="200"/>
              </a:spcBef>
              <a:spcAft>
                <a:spcPts val="200"/>
              </a:spcAft>
              <a:buClr>
                <a:srgbClr val="FE5000"/>
              </a:buClr>
              <a:buFont typeface="Courier New" panose="02070309020205020404" pitchFamily="49" charset="0"/>
              <a:buChar char="o"/>
              <a:defRPr/>
            </a:pPr>
            <a:r>
              <a:rPr lang="en-US" sz="1200" b="0" i="0" u="none" strike="noStrike" cap="none" baseline="0" dirty="0">
                <a:solidFill>
                  <a:srgbClr val="011F57"/>
                </a:solidFill>
                <a:effectLst/>
                <a:uFillTx/>
                <a:latin typeface="Segoe UI"/>
              </a:rPr>
              <a:t>Increases competitiveness of new offerings</a:t>
            </a:r>
          </a:p>
        </p:txBody>
      </p:sp>
      <p:sp>
        <p:nvSpPr>
          <p:cNvPr id="54" name="CaixaDeTexto 53">
            <a:extLst>
              <a:ext uri="{FF2B5EF4-FFF2-40B4-BE49-F238E27FC236}">
                <a16:creationId xmlns:a16="http://schemas.microsoft.com/office/drawing/2014/main" id="{1DBB7A93-EEA3-11B1-F36B-C68BBAA00CD8}"/>
              </a:ext>
            </a:extLst>
          </p:cNvPr>
          <p:cNvSpPr txBox="1"/>
          <p:nvPr>
            <p:custDataLst>
              <p:tags r:id="rId8"/>
            </p:custDataLst>
          </p:nvPr>
        </p:nvSpPr>
        <p:spPr>
          <a:xfrm>
            <a:off x="269546" y="3471589"/>
            <a:ext cx="2852519" cy="530882"/>
          </a:xfrm>
          <a:prstGeom prst="rect">
            <a:avLst/>
          </a:prstGeom>
          <a:noFill/>
        </p:spPr>
        <p:txBody>
          <a:bodyPr wrap="square" rtlCol="0" anchor="ctr">
            <a:spAutoFit/>
          </a:bodyPr>
          <a:lstStyle/>
          <a:p>
            <a:pPr lvl="0" defTabSz="449931">
              <a:lnSpc>
                <a:spcPct val="80000"/>
              </a:lnSpc>
              <a:spcBef>
                <a:spcPts val="148"/>
              </a:spcBef>
              <a:spcAft>
                <a:spcPts val="148"/>
              </a:spcAft>
              <a:defRPr/>
            </a:pPr>
            <a:r>
              <a:rPr lang="en-US" sz="1200" b="1" i="0" u="none" strike="noStrike" cap="none" baseline="0" dirty="0">
                <a:solidFill>
                  <a:srgbClr val="005FD7"/>
                </a:solidFill>
                <a:effectLst/>
                <a:uFillTx/>
                <a:latin typeface="Segoe UI"/>
              </a:rPr>
              <a:t>Platform for Optimized Development of Line Projects</a:t>
            </a:r>
            <a:br>
              <a:rPr sz="1200" dirty="0"/>
            </a:br>
            <a:r>
              <a:rPr lang="en-US" sz="1200" b="1" i="0" u="none" strike="noStrike" cap="none" baseline="0" dirty="0">
                <a:solidFill>
                  <a:srgbClr val="005FD7"/>
                </a:solidFill>
                <a:effectLst/>
                <a:uFillTx/>
                <a:latin typeface="Segoe UI"/>
              </a:rPr>
              <a:t>(Under development)</a:t>
            </a:r>
          </a:p>
        </p:txBody>
      </p:sp>
      <p:sp>
        <p:nvSpPr>
          <p:cNvPr id="65" name="CaixaDeTexto 64">
            <a:extLst>
              <a:ext uri="{FF2B5EF4-FFF2-40B4-BE49-F238E27FC236}">
                <a16:creationId xmlns:a16="http://schemas.microsoft.com/office/drawing/2014/main" id="{C6EC5B98-CFDE-E308-4D31-27DD7D1435BB}"/>
              </a:ext>
            </a:extLst>
          </p:cNvPr>
          <p:cNvSpPr txBox="1"/>
          <p:nvPr>
            <p:custDataLst>
              <p:tags r:id="rId9"/>
            </p:custDataLst>
          </p:nvPr>
        </p:nvSpPr>
        <p:spPr>
          <a:xfrm>
            <a:off x="3045429" y="2110978"/>
            <a:ext cx="2728501" cy="771493"/>
          </a:xfrm>
          <a:prstGeom prst="rect">
            <a:avLst/>
          </a:prstGeom>
          <a:noFill/>
        </p:spPr>
        <p:txBody>
          <a:bodyPr wrap="square" rtlCol="0" anchor="ctr">
            <a:spAutoFit/>
          </a:bodyPr>
          <a:lstStyle/>
          <a:p>
            <a:pPr marL="171450" lvl="0" indent="-171450" defTabSz="449931">
              <a:lnSpc>
                <a:spcPct val="85000"/>
              </a:lnSpc>
              <a:spcBef>
                <a:spcPts val="200"/>
              </a:spcBef>
              <a:spcAft>
                <a:spcPts val="200"/>
              </a:spcAft>
              <a:buClr>
                <a:srgbClr val="FE5000"/>
              </a:buClr>
              <a:buFont typeface="Courier New" panose="02070309020205020404" pitchFamily="49" charset="0"/>
              <a:buChar char="o"/>
              <a:defRPr/>
            </a:pPr>
            <a:r>
              <a:rPr lang="en-US" sz="1200" b="1" i="0" u="none" strike="noStrike" cap="none" baseline="0" dirty="0">
                <a:solidFill>
                  <a:srgbClr val="011F57"/>
                </a:solidFill>
                <a:effectLst/>
                <a:uFillTx/>
                <a:latin typeface="Segoe UI"/>
              </a:rPr>
              <a:t>52% </a:t>
            </a:r>
            <a:r>
              <a:rPr lang="en-US" sz="1200" b="0" i="0" u="none" strike="noStrike" cap="none" baseline="0" dirty="0">
                <a:solidFill>
                  <a:srgbClr val="011F57"/>
                </a:solidFill>
                <a:effectLst/>
                <a:uFillTx/>
                <a:latin typeface="Segoe UI"/>
              </a:rPr>
              <a:t>reduction in operator time on </a:t>
            </a:r>
            <a:r>
              <a:rPr lang="en-US" sz="1200" b="0" i="0" u="none" strike="noStrike" cap="none" baseline="0">
                <a:solidFill>
                  <a:srgbClr val="011F57"/>
                </a:solidFill>
                <a:effectLst/>
                <a:uFillTx/>
                <a:latin typeface="Segoe UI"/>
              </a:rPr>
              <a:t>the phone</a:t>
            </a:r>
          </a:p>
          <a:p>
            <a:pPr marL="171450" lvl="0" indent="-171450" defTabSz="449931">
              <a:lnSpc>
                <a:spcPct val="85000"/>
              </a:lnSpc>
              <a:spcBef>
                <a:spcPts val="200"/>
              </a:spcBef>
              <a:spcAft>
                <a:spcPts val="200"/>
              </a:spcAft>
              <a:buClr>
                <a:srgbClr val="FE5000"/>
              </a:buClr>
              <a:buFont typeface="Courier New" panose="02070309020205020404" pitchFamily="49" charset="0"/>
              <a:buChar char="o"/>
              <a:defRPr/>
            </a:pPr>
            <a:r>
              <a:rPr lang="en-US" sz="1200" b="1">
                <a:solidFill>
                  <a:srgbClr val="011F57"/>
                </a:solidFill>
                <a:latin typeface="Segoe UI"/>
              </a:rPr>
              <a:t>41% </a:t>
            </a:r>
            <a:r>
              <a:rPr lang="en-US" sz="1200">
                <a:solidFill>
                  <a:srgbClr val="011F57"/>
                </a:solidFill>
                <a:latin typeface="Segoe UI"/>
              </a:rPr>
              <a:t>reduction in maneuver execution time</a:t>
            </a:r>
            <a:endParaRPr lang="en-US" sz="1200" b="0" i="0" u="none" strike="noStrike" cap="none" baseline="0" dirty="0">
              <a:solidFill>
                <a:srgbClr val="011F57"/>
              </a:solidFill>
              <a:effectLst/>
              <a:uFillTx/>
              <a:latin typeface="Segoe UI"/>
            </a:endParaRPr>
          </a:p>
        </p:txBody>
      </p:sp>
      <p:sp>
        <p:nvSpPr>
          <p:cNvPr id="66" name="CaixaDeTexto 65">
            <a:extLst>
              <a:ext uri="{FF2B5EF4-FFF2-40B4-BE49-F238E27FC236}">
                <a16:creationId xmlns:a16="http://schemas.microsoft.com/office/drawing/2014/main" id="{E7875781-4253-0B2D-AB4A-1B58204ADE48}"/>
              </a:ext>
            </a:extLst>
          </p:cNvPr>
          <p:cNvSpPr txBox="1"/>
          <p:nvPr>
            <p:custDataLst>
              <p:tags r:id="rId10"/>
            </p:custDataLst>
          </p:nvPr>
        </p:nvSpPr>
        <p:spPr>
          <a:xfrm>
            <a:off x="2999239" y="1760678"/>
            <a:ext cx="2232179" cy="387798"/>
          </a:xfrm>
          <a:prstGeom prst="rect">
            <a:avLst/>
          </a:prstGeom>
          <a:noFill/>
        </p:spPr>
        <p:txBody>
          <a:bodyPr wrap="square" rtlCol="0" anchor="ctr">
            <a:spAutoFit/>
          </a:bodyPr>
          <a:lstStyle/>
          <a:p>
            <a:pPr lvl="0" defTabSz="449931">
              <a:lnSpc>
                <a:spcPct val="80000"/>
              </a:lnSpc>
              <a:spcBef>
                <a:spcPts val="148"/>
              </a:spcBef>
              <a:spcAft>
                <a:spcPts val="148"/>
              </a:spcAft>
              <a:defRPr/>
            </a:pPr>
            <a:r>
              <a:rPr lang="en-US" sz="1200" b="1" i="0" u="none" strike="noStrike" cap="none" baseline="0" dirty="0">
                <a:solidFill>
                  <a:srgbClr val="005FD7"/>
                </a:solidFill>
                <a:effectLst/>
                <a:uFillTx/>
                <a:latin typeface="Segoe UI"/>
              </a:rPr>
              <a:t>Platform for communication between operators </a:t>
            </a:r>
          </a:p>
        </p:txBody>
      </p:sp>
      <p:pic>
        <p:nvPicPr>
          <p:cNvPr id="69" name="Imagem 68">
            <a:extLst>
              <a:ext uri="{FF2B5EF4-FFF2-40B4-BE49-F238E27FC236}">
                <a16:creationId xmlns:a16="http://schemas.microsoft.com/office/drawing/2014/main" id="{E307B06E-9719-19BA-89F4-9AA1B46BF441}"/>
              </a:ext>
            </a:extLst>
          </p:cNvPr>
          <p:cNvPicPr>
            <a:picLocks noChangeAspect="1"/>
          </p:cNvPicPr>
          <p:nvPr>
            <p:custDataLst>
              <p:tags r:id="rId11"/>
            </p:custDataLst>
          </p:nvPr>
        </p:nvPicPr>
        <p:blipFill>
          <a:blip r:embed="rId31"/>
          <a:srcRect l="3171" t="3171" r="3171" b="3171"/>
          <a:stretch>
            <a:fillRect/>
          </a:stretch>
        </p:blipFill>
        <p:spPr>
          <a:xfrm>
            <a:off x="7150355" y="1164099"/>
            <a:ext cx="1196128" cy="1658783"/>
          </a:xfrm>
          <a:prstGeom prst="roundRect">
            <a:avLst>
              <a:gd name="adj" fmla="val 9068"/>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pic>
      <p:sp>
        <p:nvSpPr>
          <p:cNvPr id="70" name="CaixaDeTexto 69">
            <a:extLst>
              <a:ext uri="{FF2B5EF4-FFF2-40B4-BE49-F238E27FC236}">
                <a16:creationId xmlns:a16="http://schemas.microsoft.com/office/drawing/2014/main" id="{F17AECF6-3711-9C90-2D61-87E30E957DD5}"/>
              </a:ext>
            </a:extLst>
          </p:cNvPr>
          <p:cNvSpPr txBox="1"/>
          <p:nvPr>
            <p:custDataLst>
              <p:tags r:id="rId12"/>
            </p:custDataLst>
          </p:nvPr>
        </p:nvSpPr>
        <p:spPr>
          <a:xfrm>
            <a:off x="6569472" y="3367946"/>
            <a:ext cx="2357893" cy="558342"/>
          </a:xfrm>
          <a:prstGeom prst="rect">
            <a:avLst/>
          </a:prstGeom>
          <a:noFill/>
        </p:spPr>
        <p:txBody>
          <a:bodyPr wrap="square" rtlCol="0" anchor="ctr">
            <a:spAutoFit/>
          </a:bodyPr>
          <a:lstStyle/>
          <a:p>
            <a:pPr marL="171450" lvl="0" indent="-171450" defTabSz="449931">
              <a:lnSpc>
                <a:spcPct val="85000"/>
              </a:lnSpc>
              <a:spcBef>
                <a:spcPts val="200"/>
              </a:spcBef>
              <a:spcAft>
                <a:spcPts val="200"/>
              </a:spcAft>
              <a:buClr>
                <a:srgbClr val="FE5000"/>
              </a:buClr>
              <a:buFont typeface="Courier New" panose="02070309020205020404" pitchFamily="49" charset="0"/>
              <a:buChar char="o"/>
              <a:defRPr/>
            </a:pPr>
            <a:r>
              <a:rPr lang="en-US" sz="1200" b="1" i="0" u="none" strike="noStrike" cap="none" baseline="0" dirty="0">
                <a:solidFill>
                  <a:srgbClr val="011F57"/>
                </a:solidFill>
                <a:effectLst/>
                <a:uFillTx/>
                <a:latin typeface="Segoe UI"/>
              </a:rPr>
              <a:t>31% </a:t>
            </a:r>
            <a:r>
              <a:rPr lang="en-US" sz="1200" b="0" i="0" u="none" strike="noStrike" cap="none" baseline="0" dirty="0">
                <a:solidFill>
                  <a:srgbClr val="011F57"/>
                </a:solidFill>
                <a:effectLst/>
                <a:uFillTx/>
                <a:latin typeface="Segoe UI"/>
              </a:rPr>
              <a:t>reduction </a:t>
            </a:r>
            <a:r>
              <a:rPr lang="en-US" sz="1200" b="0" i="0" u="none" strike="noStrike" cap="none" baseline="0">
                <a:solidFill>
                  <a:srgbClr val="011F57"/>
                </a:solidFill>
                <a:effectLst/>
                <a:uFillTx/>
                <a:latin typeface="Segoe UI"/>
              </a:rPr>
              <a:t>in SF6² </a:t>
            </a:r>
            <a:r>
              <a:rPr lang="en-US" sz="1200" b="0" i="0" u="none" strike="noStrike" cap="none" baseline="0" dirty="0">
                <a:solidFill>
                  <a:srgbClr val="011F57"/>
                </a:solidFill>
                <a:effectLst/>
                <a:uFillTx/>
                <a:latin typeface="Segoe UI"/>
              </a:rPr>
              <a:t>emissions (6,000 tCO2e avoided¹)</a:t>
            </a:r>
          </a:p>
        </p:txBody>
      </p:sp>
      <p:sp>
        <p:nvSpPr>
          <p:cNvPr id="71" name="CaixaDeTexto 70">
            <a:extLst>
              <a:ext uri="{FF2B5EF4-FFF2-40B4-BE49-F238E27FC236}">
                <a16:creationId xmlns:a16="http://schemas.microsoft.com/office/drawing/2014/main" id="{9D37BAEE-A044-9846-9155-0A042C6E40F4}"/>
              </a:ext>
            </a:extLst>
          </p:cNvPr>
          <p:cNvSpPr txBox="1"/>
          <p:nvPr>
            <p:custDataLst>
              <p:tags r:id="rId13"/>
            </p:custDataLst>
          </p:nvPr>
        </p:nvSpPr>
        <p:spPr>
          <a:xfrm>
            <a:off x="6423284" y="2938747"/>
            <a:ext cx="2357893" cy="387798"/>
          </a:xfrm>
          <a:prstGeom prst="rect">
            <a:avLst/>
          </a:prstGeom>
          <a:noFill/>
        </p:spPr>
        <p:txBody>
          <a:bodyPr wrap="square" rtlCol="0" anchor="ctr">
            <a:spAutoFit/>
          </a:bodyPr>
          <a:lstStyle/>
          <a:p>
            <a:pPr lvl="0" algn="ctr" defTabSz="449931">
              <a:lnSpc>
                <a:spcPct val="80000"/>
              </a:lnSpc>
              <a:spcBef>
                <a:spcPts val="148"/>
              </a:spcBef>
              <a:spcAft>
                <a:spcPts val="148"/>
              </a:spcAft>
              <a:defRPr/>
            </a:pPr>
            <a:r>
              <a:rPr lang="en-US" sz="1200" b="1" i="0" u="none" strike="noStrike" cap="none" baseline="0" dirty="0">
                <a:solidFill>
                  <a:srgbClr val="005FD7"/>
                </a:solidFill>
                <a:effectLst/>
                <a:uFillTx/>
                <a:latin typeface="Segoe UI"/>
              </a:rPr>
              <a:t>Development of devices to contain </a:t>
            </a:r>
            <a:r>
              <a:rPr lang="en-US" sz="1200" b="1" i="0" u="none" strike="noStrike" cap="none" baseline="0">
                <a:solidFill>
                  <a:srgbClr val="005FD7"/>
                </a:solidFill>
                <a:effectLst/>
                <a:uFillTx/>
                <a:latin typeface="Segoe UI"/>
              </a:rPr>
              <a:t>SF6² gas</a:t>
            </a:r>
            <a:endParaRPr lang="en-US" sz="1200" b="1" i="0" u="none" strike="noStrike" cap="none" baseline="0" dirty="0">
              <a:solidFill>
                <a:srgbClr val="005FD7"/>
              </a:solidFill>
              <a:effectLst/>
              <a:uFillTx/>
              <a:latin typeface="Segoe UI"/>
            </a:endParaRPr>
          </a:p>
        </p:txBody>
      </p:sp>
      <p:sp>
        <p:nvSpPr>
          <p:cNvPr id="7" name="CaixaDeTexto 6">
            <a:extLst>
              <a:ext uri="{FF2B5EF4-FFF2-40B4-BE49-F238E27FC236}">
                <a16:creationId xmlns:a16="http://schemas.microsoft.com/office/drawing/2014/main" id="{C74242B9-01A8-E644-996D-B0629E19DCFF}"/>
              </a:ext>
            </a:extLst>
          </p:cNvPr>
          <p:cNvSpPr txBox="1"/>
          <p:nvPr>
            <p:custDataLst>
              <p:tags r:id="rId14"/>
            </p:custDataLst>
          </p:nvPr>
        </p:nvSpPr>
        <p:spPr>
          <a:xfrm>
            <a:off x="646910" y="154049"/>
            <a:ext cx="1805032"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INNOVATION</a:t>
            </a:r>
          </a:p>
          <a:p>
            <a:pPr lvl="0" defTabSz="234364"/>
            <a:r>
              <a:rPr lang="en-US" sz="1000" b="0" i="0" u="none" strike="noStrike" cap="none" spc="0" baseline="0" dirty="0">
                <a:solidFill>
                  <a:srgbClr val="002581"/>
                </a:solidFill>
                <a:effectLst/>
                <a:uFillTx/>
                <a:latin typeface="Segoe UI" panose="020B0502040204020203" pitchFamily="34" charset="0"/>
                <a:ea typeface="Segoe UI" panose="020B0502040204020203" pitchFamily="34" charset="0"/>
                <a:cs typeface="Segoe UI" panose="020B0502040204020203" pitchFamily="34" charset="0"/>
              </a:rPr>
              <a:t>Provider of energy  transition solutions</a:t>
            </a:r>
          </a:p>
        </p:txBody>
      </p:sp>
      <p:sp>
        <p:nvSpPr>
          <p:cNvPr id="10" name="CaixaDeTexto 9">
            <a:extLst>
              <a:ext uri="{FF2B5EF4-FFF2-40B4-BE49-F238E27FC236}">
                <a16:creationId xmlns:a16="http://schemas.microsoft.com/office/drawing/2014/main" id="{2D92C71E-6327-6F24-C0C0-3866CAFB2A8C}"/>
              </a:ext>
            </a:extLst>
          </p:cNvPr>
          <p:cNvSpPr txBox="1"/>
          <p:nvPr>
            <p:custDataLst>
              <p:tags r:id="rId15"/>
            </p:custDataLst>
          </p:nvPr>
        </p:nvSpPr>
        <p:spPr>
          <a:xfrm>
            <a:off x="5644785" y="4893529"/>
            <a:ext cx="896524" cy="169534"/>
          </a:xfrm>
          <a:prstGeom prst="rect">
            <a:avLst/>
          </a:prstGeom>
          <a:noFill/>
        </p:spPr>
        <p:txBody>
          <a:bodyPr wrap="square" anchor="b">
            <a:spAutoFit/>
          </a:bodyPr>
          <a:lstStyle/>
          <a:p>
            <a:pPr marL="0" marR="0" lvl="0" indent="0" algn="l" defTabSz="457200" rtl="0" eaLnBrk="1" fontAlgn="auto" latinLnBrk="0" hangingPunct="1">
              <a:lnSpc>
                <a:spcPct val="85000"/>
              </a:lnSpc>
              <a:spcBef>
                <a:spcPts val="148"/>
              </a:spcBef>
              <a:spcAft>
                <a:spcPts val="148"/>
              </a:spcAft>
              <a:buClr>
                <a:srgbClr val="326E96"/>
              </a:buClr>
              <a:buSzTx/>
              <a:buFontTx/>
              <a:buNone/>
              <a:defRPr/>
            </a:pPr>
            <a:r>
              <a:rPr lang="en-US" sz="590" b="0" i="0" u="none" strike="noStrike" cap="none" baseline="0" dirty="0">
                <a:solidFill>
                  <a:srgbClr val="5D5D5D"/>
                </a:solidFill>
                <a:effectLst/>
                <a:uFillTx/>
                <a:latin typeface="Arial"/>
              </a:rPr>
              <a:t>¹ </a:t>
            </a:r>
            <a:r>
              <a:rPr lang="en-US" sz="590" b="0" i="0" u="none" strike="noStrike" cap="none" baseline="0" dirty="0">
                <a:solidFill>
                  <a:srgbClr val="203864"/>
                </a:solidFill>
                <a:effectLst/>
                <a:uFillTx/>
                <a:latin typeface="Segoe UI"/>
              </a:rPr>
              <a:t>In relation to 2021</a:t>
            </a:r>
          </a:p>
        </p:txBody>
      </p:sp>
      <p:sp>
        <p:nvSpPr>
          <p:cNvPr id="8" name="Forma Livre: Forma 7">
            <a:extLst>
              <a:ext uri="{FF2B5EF4-FFF2-40B4-BE49-F238E27FC236}">
                <a16:creationId xmlns:a16="http://schemas.microsoft.com/office/drawing/2014/main" id="{BD1F59F2-2C3D-461E-0753-276167B1FFC7}"/>
              </a:ext>
            </a:extLst>
          </p:cNvPr>
          <p:cNvSpPr/>
          <p:nvPr/>
        </p:nvSpPr>
        <p:spPr>
          <a:xfrm>
            <a:off x="216734" y="165007"/>
            <a:ext cx="296692" cy="327669"/>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a:p>
        </p:txBody>
      </p:sp>
      <p:sp>
        <p:nvSpPr>
          <p:cNvPr id="9" name="CaixaDeTexto 8">
            <a:extLst>
              <a:ext uri="{FF2B5EF4-FFF2-40B4-BE49-F238E27FC236}">
                <a16:creationId xmlns:a16="http://schemas.microsoft.com/office/drawing/2014/main" id="{4C62E6FE-3817-9B85-1C55-4D2FB47B0BCD}"/>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3</a:t>
            </a:r>
          </a:p>
        </p:txBody>
      </p:sp>
      <p:pic>
        <p:nvPicPr>
          <p:cNvPr id="2" name="Imagem 1" descr="Uma imagem contendo Interface gráfica do usuário&#10;&#10;Descrição gerada automaticamente">
            <a:extLst>
              <a:ext uri="{FF2B5EF4-FFF2-40B4-BE49-F238E27FC236}">
                <a16:creationId xmlns:a16="http://schemas.microsoft.com/office/drawing/2014/main" id="{80AF8359-77CA-D39E-D336-07666550100D}"/>
              </a:ext>
            </a:extLst>
          </p:cNvPr>
          <p:cNvPicPr>
            <a:picLocks noChangeAspect="1"/>
          </p:cNvPicPr>
          <p:nvPr/>
        </p:nvPicPr>
        <p:blipFill>
          <a:blip r:embed="rId32"/>
          <a:stretch>
            <a:fillRect/>
          </a:stretch>
        </p:blipFill>
        <p:spPr>
          <a:xfrm>
            <a:off x="8039840" y="60434"/>
            <a:ext cx="920231" cy="509571"/>
          </a:xfrm>
          <a:prstGeom prst="rect">
            <a:avLst/>
          </a:prstGeom>
        </p:spPr>
      </p:pic>
      <p:sp>
        <p:nvSpPr>
          <p:cNvPr id="3" name="CaixaDeTexto 2">
            <a:extLst>
              <a:ext uri="{FF2B5EF4-FFF2-40B4-BE49-F238E27FC236}">
                <a16:creationId xmlns:a16="http://schemas.microsoft.com/office/drawing/2014/main" id="{BDF91459-F8FB-FB37-3243-3D276E8A1D3F}"/>
              </a:ext>
            </a:extLst>
          </p:cNvPr>
          <p:cNvSpPr txBox="1"/>
          <p:nvPr>
            <p:custDataLst>
              <p:tags r:id="rId16"/>
            </p:custDataLst>
          </p:nvPr>
        </p:nvSpPr>
        <p:spPr>
          <a:xfrm>
            <a:off x="6420039" y="4894782"/>
            <a:ext cx="1645997" cy="170816"/>
          </a:xfrm>
          <a:prstGeom prst="rect">
            <a:avLst/>
          </a:prstGeom>
          <a:noFill/>
        </p:spPr>
        <p:txBody>
          <a:bodyPr wrap="square" anchor="b">
            <a:spAutoFit/>
          </a:bodyPr>
          <a:lstStyle/>
          <a:p>
            <a:pPr>
              <a:lnSpc>
                <a:spcPct val="85000"/>
              </a:lnSpc>
              <a:spcBef>
                <a:spcPts val="148"/>
              </a:spcBef>
              <a:spcAft>
                <a:spcPts val="148"/>
              </a:spcAft>
              <a:buClr>
                <a:srgbClr val="326E96"/>
              </a:buClr>
              <a:defRPr/>
            </a:pPr>
            <a:r>
              <a:rPr lang="en-US" sz="590">
                <a:solidFill>
                  <a:srgbClr val="5D5D5D"/>
                </a:solidFill>
                <a:latin typeface="Arial"/>
              </a:rPr>
              <a:t>² </a:t>
            </a:r>
            <a:r>
              <a:rPr lang="pt-BR" sz="600">
                <a:solidFill>
                  <a:srgbClr val="011F57"/>
                </a:solidFill>
                <a:latin typeface="Segoe UI "/>
              </a:rPr>
              <a:t>SF6: Sulfur hexafluoride</a:t>
            </a:r>
          </a:p>
        </p:txBody>
      </p:sp>
      <p:pic>
        <p:nvPicPr>
          <p:cNvPr id="4" name="Imagem 3">
            <a:extLst>
              <a:ext uri="{FF2B5EF4-FFF2-40B4-BE49-F238E27FC236}">
                <a16:creationId xmlns:a16="http://schemas.microsoft.com/office/drawing/2014/main" id="{76DE334B-AE3E-C392-BA1C-A76A5A9322FE}"/>
              </a:ext>
            </a:extLst>
          </p:cNvPr>
          <p:cNvPicPr>
            <a:picLocks noChangeAspect="1"/>
          </p:cNvPicPr>
          <p:nvPr/>
        </p:nvPicPr>
        <p:blipFill>
          <a:blip r:embed="rId33"/>
          <a:stretch>
            <a:fillRect/>
          </a:stretch>
        </p:blipFill>
        <p:spPr>
          <a:xfrm>
            <a:off x="373493" y="1902190"/>
            <a:ext cx="2593728" cy="1456415"/>
          </a:xfrm>
          <a:prstGeom prst="roundRect">
            <a:avLst>
              <a:gd name="adj" fmla="val 5076"/>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pic>
      <p:pic>
        <p:nvPicPr>
          <p:cNvPr id="5" name="Google Shape;143;g16c0f0caf80_1_273">
            <a:extLst>
              <a:ext uri="{FF2B5EF4-FFF2-40B4-BE49-F238E27FC236}">
                <a16:creationId xmlns:a16="http://schemas.microsoft.com/office/drawing/2014/main" id="{CDCC9102-39D3-E957-E3F8-9B489E29D1E3}"/>
              </a:ext>
            </a:extLst>
          </p:cNvPr>
          <p:cNvPicPr preferRelativeResize="0"/>
          <p:nvPr/>
        </p:nvPicPr>
        <p:blipFill rotWithShape="1">
          <a:blip r:embed="rId34"/>
          <a:srcRect l="5744" t="6234" r="40701" b="39724"/>
          <a:stretch/>
        </p:blipFill>
        <p:spPr>
          <a:xfrm>
            <a:off x="4338291" y="2852154"/>
            <a:ext cx="1885106" cy="1456414"/>
          </a:xfrm>
          <a:prstGeom prst="roundRect">
            <a:avLst>
              <a:gd name="adj" fmla="val 5076"/>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pic>
      <p:grpSp>
        <p:nvGrpSpPr>
          <p:cNvPr id="6" name="Agrupar 5">
            <a:extLst>
              <a:ext uri="{FF2B5EF4-FFF2-40B4-BE49-F238E27FC236}">
                <a16:creationId xmlns:a16="http://schemas.microsoft.com/office/drawing/2014/main" id="{51E5076E-39A3-20BD-04C9-5E0061F15C49}"/>
              </a:ext>
            </a:extLst>
          </p:cNvPr>
          <p:cNvGrpSpPr/>
          <p:nvPr/>
        </p:nvGrpSpPr>
        <p:grpSpPr>
          <a:xfrm>
            <a:off x="3014553" y="3021025"/>
            <a:ext cx="1800208" cy="2041514"/>
            <a:chOff x="3046921" y="3307329"/>
            <a:chExt cx="1547745" cy="1755210"/>
          </a:xfrm>
          <a:effectLst>
            <a:outerShdw blurRad="152400" dist="241300" dir="2700000" algn="tl" rotWithShape="0">
              <a:prstClr val="black">
                <a:alpha val="40000"/>
              </a:prstClr>
            </a:outerShdw>
          </a:effectLst>
        </p:grpSpPr>
        <p:pic>
          <p:nvPicPr>
            <p:cNvPr id="11" name="Google Shape;141;g16c0f0caf80_1_273">
              <a:extLst>
                <a:ext uri="{FF2B5EF4-FFF2-40B4-BE49-F238E27FC236}">
                  <a16:creationId xmlns:a16="http://schemas.microsoft.com/office/drawing/2014/main" id="{D0113D7B-27D1-622D-722A-00211A96D2FA}"/>
                </a:ext>
              </a:extLst>
            </p:cNvPr>
            <p:cNvPicPr preferRelativeResize="0"/>
            <p:nvPr/>
          </p:nvPicPr>
          <p:blipFill rotWithShape="1">
            <a:blip r:embed="rId35">
              <a:alphaModFix/>
            </a:blip>
            <a:srcRect l="4482" t="2050" r="2898" b="21730"/>
            <a:stretch/>
          </p:blipFill>
          <p:spPr>
            <a:xfrm>
              <a:off x="3316517" y="3358605"/>
              <a:ext cx="1014514" cy="1703934"/>
            </a:xfrm>
            <a:prstGeom prst="rect">
              <a:avLst/>
            </a:prstGeom>
            <a:noFill/>
            <a:ln>
              <a:noFill/>
            </a:ln>
          </p:spPr>
        </p:pic>
        <p:pic>
          <p:nvPicPr>
            <p:cNvPr id="12" name="Picture 2" descr="Maquete de Tela Iphone X PNG transparente - StickPNG">
              <a:extLst>
                <a:ext uri="{FF2B5EF4-FFF2-40B4-BE49-F238E27FC236}">
                  <a16:creationId xmlns:a16="http://schemas.microsoft.com/office/drawing/2014/main" id="{22730B34-FC6C-5F58-8A1A-CE7369306743}"/>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b="25043"/>
            <a:stretch/>
          </p:blipFill>
          <p:spPr bwMode="auto">
            <a:xfrm>
              <a:off x="3046921" y="3307329"/>
              <a:ext cx="1547745" cy="175506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3338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35" presetClass="path" presetSubtype="0" accel="17000" decel="83000" fill="hold" grpId="1" nodeType="withEffect">
                                  <p:stCondLst>
                                    <p:cond delay="0"/>
                                  </p:stCondLst>
                                  <p:childTnLst>
                                    <p:animMotion origin="layout" path="M 0.02311 3.61555E-6 L -1.30711E-6 3.61555E-6 " pathEditMode="relative" rAng="0" ptsTypes="AA">
                                      <p:cBhvr>
                                        <p:cTn id="9" dur="1100" fill="hold"/>
                                        <p:tgtEl>
                                          <p:spTgt spid="37"/>
                                        </p:tgtEl>
                                        <p:attrNameLst>
                                          <p:attrName>ppt_x</p:attrName>
                                          <p:attrName>ppt_y</p:attrName>
                                        </p:attrNameLst>
                                      </p:cBhvr>
                                      <p:rCtr x="-1164" y="0"/>
                                    </p:animMotion>
                                  </p:childTnLst>
                                </p:cTn>
                              </p:par>
                              <p:par>
                                <p:cTn id="10" presetID="10" presetClass="entr" presetSubtype="0" fill="hold" grpId="0" nodeType="with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fade">
                                      <p:cBhvr>
                                        <p:cTn id="12" dur="500"/>
                                        <p:tgtEl>
                                          <p:spTgt spid="38"/>
                                        </p:tgtEl>
                                      </p:cBhvr>
                                    </p:animEffect>
                                  </p:childTnLst>
                                </p:cTn>
                              </p:par>
                              <p:par>
                                <p:cTn id="13" presetID="35" presetClass="path" presetSubtype="0" accel="17000" decel="83000" fill="hold" grpId="1" nodeType="withEffect">
                                  <p:stCondLst>
                                    <p:cond delay="0"/>
                                  </p:stCondLst>
                                  <p:childTnLst>
                                    <p:animMotion origin="layout" path="M -0.0321 8.81154E-7 L -1.25595E-6 8.81154E-7 " pathEditMode="relative" rAng="0" ptsTypes="AA">
                                      <p:cBhvr>
                                        <p:cTn id="14" dur="1100" fill="hold"/>
                                        <p:tgtEl>
                                          <p:spTgt spid="38"/>
                                        </p:tgtEl>
                                        <p:attrNameLst>
                                          <p:attrName>ppt_x</p:attrName>
                                          <p:attrName>ppt_y</p:attrName>
                                        </p:attrNameLst>
                                      </p:cBhvr>
                                      <p:rCtr x="1605" y="0"/>
                                    </p:animMotion>
                                  </p:childTnLst>
                                </p:cTn>
                              </p:par>
                              <p:par>
                                <p:cTn id="15" presetID="10" presetClass="entr" presetSubtype="0" fill="hold" nodeType="withEffect">
                                  <p:stCondLst>
                                    <p:cond delay="0"/>
                                  </p:stCondLst>
                                  <p:childTnLst>
                                    <p:set>
                                      <p:cBhvr>
                                        <p:cTn id="16" dur="1" fill="hold">
                                          <p:stCondLst>
                                            <p:cond delay="0"/>
                                          </p:stCondLst>
                                        </p:cTn>
                                        <p:tgtEl>
                                          <p:spTgt spid="40"/>
                                        </p:tgtEl>
                                        <p:attrNameLst>
                                          <p:attrName>style.visibility</p:attrName>
                                        </p:attrNameLst>
                                      </p:cBhvr>
                                      <p:to>
                                        <p:strVal val="visible"/>
                                      </p:to>
                                    </p:set>
                                    <p:animEffect transition="in" filter="fade">
                                      <p:cBhvr>
                                        <p:cTn id="17" dur="500"/>
                                        <p:tgtEl>
                                          <p:spTgt spid="40"/>
                                        </p:tgtEl>
                                      </p:cBhvr>
                                    </p:animEffect>
                                  </p:childTnLst>
                                </p:cTn>
                              </p:par>
                              <p:par>
                                <p:cTn id="18" presetID="35" presetClass="path" presetSubtype="0" accel="17000" decel="83000" fill="hold" nodeType="withEffect">
                                  <p:stCondLst>
                                    <p:cond delay="0"/>
                                  </p:stCondLst>
                                  <p:childTnLst>
                                    <p:animMotion origin="layout" path="M -0.00071 0.03481 L 3.438E-6 -2.05394E-6 " pathEditMode="relative" rAng="0" ptsTypes="AA">
                                      <p:cBhvr>
                                        <p:cTn id="19" dur="1100" fill="hold"/>
                                        <p:tgtEl>
                                          <p:spTgt spid="40"/>
                                        </p:tgtEl>
                                        <p:attrNameLst>
                                          <p:attrName>ppt_x</p:attrName>
                                          <p:attrName>ppt_y</p:attrName>
                                        </p:attrNameLst>
                                      </p:cBhvr>
                                      <p:rCtr x="35" y="-1756"/>
                                    </p:animMotion>
                                  </p:childTnLst>
                                </p:cTn>
                              </p:par>
                              <p:par>
                                <p:cTn id="20" presetID="10" presetClass="entr" presetSubtype="0" fill="hold" grpId="0" nodeType="withEffect">
                                  <p:stCondLst>
                                    <p:cond delay="50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par>
                                <p:cTn id="23" presetID="35" presetClass="path" presetSubtype="0" accel="17000" decel="83000" fill="hold" grpId="1" nodeType="withEffect">
                                  <p:stCondLst>
                                    <p:cond delay="500"/>
                                  </p:stCondLst>
                                  <p:childTnLst>
                                    <p:animMotion origin="layout" path="M 0.00053 -0.04484 L 3.38331E-06 -2.43336E-06" pathEditMode="relative" rAng="0" ptsTypes="AA">
                                      <p:cBhvr>
                                        <p:cTn id="24" dur="1100" fill="hold"/>
                                        <p:tgtEl>
                                          <p:spTgt spid="54"/>
                                        </p:tgtEl>
                                        <p:attrNameLst>
                                          <p:attrName>ppt_x</p:attrName>
                                          <p:attrName>ppt_y</p:attrName>
                                        </p:attrNameLst>
                                      </p:cBhvr>
                                      <p:rCtr x="-35" y="2226"/>
                                    </p:animMotion>
                                  </p:childTnLst>
                                </p:cTn>
                              </p:par>
                              <p:par>
                                <p:cTn id="25" presetID="10" presetClass="entr" presetSubtype="0" fill="hold" grpId="0" nodeType="withEffect">
                                  <p:stCondLst>
                                    <p:cond delay="75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35" presetClass="path" presetSubtype="0" accel="17000" decel="83000" fill="hold" grpId="1" nodeType="withEffect">
                                  <p:stCondLst>
                                    <p:cond delay="750"/>
                                  </p:stCondLst>
                                  <p:childTnLst>
                                    <p:animMotion origin="layout" path="M -0.03211 1.44246E-06 L 2.37255E-06 1.44246E-06" pathEditMode="relative" rAng="0" ptsTypes="AA">
                                      <p:cBhvr>
                                        <p:cTn id="29" dur="1100" fill="hold"/>
                                        <p:tgtEl>
                                          <p:spTgt spid="53"/>
                                        </p:tgtEl>
                                        <p:attrNameLst>
                                          <p:attrName>ppt_x</p:attrName>
                                          <p:attrName>ppt_y</p:attrName>
                                        </p:attrNameLst>
                                      </p:cBhvr>
                                      <p:rCtr x="1605" y="0"/>
                                    </p:animMotion>
                                  </p:childTnLst>
                                </p:cTn>
                              </p:par>
                              <p:par>
                                <p:cTn id="30" presetID="10" presetClass="entr" presetSubtype="0" fill="hold" grpId="0" nodeType="withEffect">
                                  <p:stCondLst>
                                    <p:cond delay="1000"/>
                                  </p:stCondLst>
                                  <p:childTnLst>
                                    <p:set>
                                      <p:cBhvr>
                                        <p:cTn id="31" dur="1" fill="hold">
                                          <p:stCondLst>
                                            <p:cond delay="0"/>
                                          </p:stCondLst>
                                        </p:cTn>
                                        <p:tgtEl>
                                          <p:spTgt spid="66"/>
                                        </p:tgtEl>
                                        <p:attrNameLst>
                                          <p:attrName>style.visibility</p:attrName>
                                        </p:attrNameLst>
                                      </p:cBhvr>
                                      <p:to>
                                        <p:strVal val="visible"/>
                                      </p:to>
                                    </p:set>
                                    <p:animEffect transition="in" filter="fade">
                                      <p:cBhvr>
                                        <p:cTn id="32" dur="500"/>
                                        <p:tgtEl>
                                          <p:spTgt spid="66"/>
                                        </p:tgtEl>
                                      </p:cBhvr>
                                    </p:animEffect>
                                  </p:childTnLst>
                                </p:cTn>
                              </p:par>
                              <p:par>
                                <p:cTn id="33" presetID="35" presetClass="path" presetSubtype="0" accel="17000" decel="83000" fill="hold" grpId="1" nodeType="withEffect">
                                  <p:stCondLst>
                                    <p:cond delay="1000"/>
                                  </p:stCondLst>
                                  <p:childTnLst>
                                    <p:animMotion origin="layout" path="M 0.00053 -0.04484 L -3.49621E-6 -4.42458E-6 " pathEditMode="relative" rAng="0" ptsTypes="AA">
                                      <p:cBhvr>
                                        <p:cTn id="34" dur="1100" fill="hold"/>
                                        <p:tgtEl>
                                          <p:spTgt spid="66"/>
                                        </p:tgtEl>
                                        <p:attrNameLst>
                                          <p:attrName>ppt_x</p:attrName>
                                          <p:attrName>ppt_y</p:attrName>
                                        </p:attrNameLst>
                                      </p:cBhvr>
                                      <p:rCtr x="-35" y="2226"/>
                                    </p:animMotion>
                                  </p:childTnLst>
                                </p:cTn>
                              </p:par>
                              <p:par>
                                <p:cTn id="35" presetID="10" presetClass="entr" presetSubtype="0" fill="hold" grpId="0" nodeType="withEffect">
                                  <p:stCondLst>
                                    <p:cond delay="1250"/>
                                  </p:stCondLst>
                                  <p:childTnLst>
                                    <p:set>
                                      <p:cBhvr>
                                        <p:cTn id="36" dur="1" fill="hold">
                                          <p:stCondLst>
                                            <p:cond delay="0"/>
                                          </p:stCondLst>
                                        </p:cTn>
                                        <p:tgtEl>
                                          <p:spTgt spid="65"/>
                                        </p:tgtEl>
                                        <p:attrNameLst>
                                          <p:attrName>style.visibility</p:attrName>
                                        </p:attrNameLst>
                                      </p:cBhvr>
                                      <p:to>
                                        <p:strVal val="visible"/>
                                      </p:to>
                                    </p:set>
                                    <p:animEffect transition="in" filter="fade">
                                      <p:cBhvr>
                                        <p:cTn id="37" dur="500"/>
                                        <p:tgtEl>
                                          <p:spTgt spid="65"/>
                                        </p:tgtEl>
                                      </p:cBhvr>
                                    </p:animEffect>
                                  </p:childTnLst>
                                </p:cTn>
                              </p:par>
                              <p:par>
                                <p:cTn id="38" presetID="35" presetClass="path" presetSubtype="0" accel="17000" decel="83000" fill="hold" grpId="1" nodeType="withEffect">
                                  <p:stCondLst>
                                    <p:cond delay="1250"/>
                                  </p:stCondLst>
                                  <p:childTnLst>
                                    <p:animMotion origin="layout" path="M -0.03211 1.92537E-6 L 2.88234E-6 1.92537E-6 " pathEditMode="relative" rAng="0" ptsTypes="AA">
                                      <p:cBhvr>
                                        <p:cTn id="39" dur="1100" fill="hold"/>
                                        <p:tgtEl>
                                          <p:spTgt spid="65"/>
                                        </p:tgtEl>
                                        <p:attrNameLst>
                                          <p:attrName>ppt_x</p:attrName>
                                          <p:attrName>ppt_y</p:attrName>
                                        </p:attrNameLst>
                                      </p:cBhvr>
                                      <p:rCtr x="1605" y="0"/>
                                    </p:animMotion>
                                  </p:childTnLst>
                                </p:cTn>
                              </p:par>
                              <p:par>
                                <p:cTn id="40" presetID="10" presetClass="entr" presetSubtype="0" fill="hold" grpId="0" nodeType="withEffect">
                                  <p:stCondLst>
                                    <p:cond delay="150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35" presetClass="path" presetSubtype="0" accel="17000" decel="83000" fill="hold" grpId="1" nodeType="withEffect">
                                  <p:stCondLst>
                                    <p:cond delay="1500"/>
                                  </p:stCondLst>
                                  <p:childTnLst>
                                    <p:animMotion origin="layout" path="M 0.00053 -0.04484 L -3.40272E-6 7.55723E-7 " pathEditMode="relative" rAng="0" ptsTypes="AA">
                                      <p:cBhvr>
                                        <p:cTn id="44" dur="1100" fill="hold"/>
                                        <p:tgtEl>
                                          <p:spTgt spid="71"/>
                                        </p:tgtEl>
                                        <p:attrNameLst>
                                          <p:attrName>ppt_x</p:attrName>
                                          <p:attrName>ppt_y</p:attrName>
                                        </p:attrNameLst>
                                      </p:cBhvr>
                                      <p:rCtr x="-35" y="2226"/>
                                    </p:animMotion>
                                  </p:childTnLst>
                                </p:cTn>
                              </p:par>
                              <p:par>
                                <p:cTn id="45" presetID="10" presetClass="entr" presetSubtype="0" fill="hold" grpId="0" nodeType="withEffect">
                                  <p:stCondLst>
                                    <p:cond delay="1750"/>
                                  </p:stCondLst>
                                  <p:childTnLst>
                                    <p:set>
                                      <p:cBhvr>
                                        <p:cTn id="46" dur="1" fill="hold">
                                          <p:stCondLst>
                                            <p:cond delay="0"/>
                                          </p:stCondLst>
                                        </p:cTn>
                                        <p:tgtEl>
                                          <p:spTgt spid="70"/>
                                        </p:tgtEl>
                                        <p:attrNameLst>
                                          <p:attrName>style.visibility</p:attrName>
                                        </p:attrNameLst>
                                      </p:cBhvr>
                                      <p:to>
                                        <p:strVal val="visible"/>
                                      </p:to>
                                    </p:set>
                                    <p:animEffect transition="in" filter="fade">
                                      <p:cBhvr>
                                        <p:cTn id="47" dur="500"/>
                                        <p:tgtEl>
                                          <p:spTgt spid="70"/>
                                        </p:tgtEl>
                                      </p:cBhvr>
                                    </p:animEffect>
                                  </p:childTnLst>
                                </p:cTn>
                              </p:par>
                              <p:par>
                                <p:cTn id="48" presetID="35" presetClass="path" presetSubtype="0" accel="17000" decel="83000" fill="hold" grpId="1" nodeType="withEffect">
                                  <p:stCondLst>
                                    <p:cond delay="1750"/>
                                  </p:stCondLst>
                                  <p:childTnLst>
                                    <p:animMotion origin="layout" path="M -0.03211 1.50831E-6 L 1.58758E-6 1.50831E-6 " pathEditMode="relative" rAng="0" ptsTypes="AA">
                                      <p:cBhvr>
                                        <p:cTn id="49" dur="1100" fill="hold"/>
                                        <p:tgtEl>
                                          <p:spTgt spid="70"/>
                                        </p:tgtEl>
                                        <p:attrNameLst>
                                          <p:attrName>ppt_x</p:attrName>
                                          <p:attrName>ppt_y</p:attrName>
                                        </p:attrNameLst>
                                      </p:cBhvr>
                                      <p:rCtr x="1605" y="0"/>
                                    </p:animMotion>
                                  </p:childTnLst>
                                </p:cTn>
                              </p:par>
                              <p:par>
                                <p:cTn id="50" presetID="2" presetClass="entr" presetSubtype="2" decel="100000" fill="hold" nodeType="withEffect">
                                  <p:stCondLst>
                                    <p:cond delay="1600"/>
                                  </p:stCondLst>
                                  <p:childTnLst>
                                    <p:set>
                                      <p:cBhvr>
                                        <p:cTn id="51" dur="1" fill="hold">
                                          <p:stCondLst>
                                            <p:cond delay="0"/>
                                          </p:stCondLst>
                                        </p:cTn>
                                        <p:tgtEl>
                                          <p:spTgt spid="69"/>
                                        </p:tgtEl>
                                        <p:attrNameLst>
                                          <p:attrName>style.visibility</p:attrName>
                                        </p:attrNameLst>
                                      </p:cBhvr>
                                      <p:to>
                                        <p:strVal val="visible"/>
                                      </p:to>
                                    </p:set>
                                    <p:anim calcmode="lin" valueType="num">
                                      <p:cBhvr additive="base">
                                        <p:cTn id="52" dur="500" fill="hold"/>
                                        <p:tgtEl>
                                          <p:spTgt spid="69"/>
                                        </p:tgtEl>
                                        <p:attrNameLst>
                                          <p:attrName>ppt_x</p:attrName>
                                        </p:attrNameLst>
                                      </p:cBhvr>
                                      <p:tavLst>
                                        <p:tav tm="0">
                                          <p:val>
                                            <p:strVal val="1+#ppt_w/2"/>
                                          </p:val>
                                        </p:tav>
                                        <p:tav tm="100000">
                                          <p:val>
                                            <p:strVal val="#ppt_x"/>
                                          </p:val>
                                        </p:tav>
                                      </p:tavLst>
                                    </p:anim>
                                    <p:anim calcmode="lin" valueType="num">
                                      <p:cBhvr additive="base">
                                        <p:cTn id="53" dur="500" fill="hold"/>
                                        <p:tgtEl>
                                          <p:spTgt spid="69"/>
                                        </p:tgtEl>
                                        <p:attrNameLst>
                                          <p:attrName>ppt_y</p:attrName>
                                        </p:attrNameLst>
                                      </p:cBhvr>
                                      <p:tavLst>
                                        <p:tav tm="0">
                                          <p:val>
                                            <p:strVal val="#ppt_y"/>
                                          </p:val>
                                        </p:tav>
                                        <p:tav tm="100000">
                                          <p:val>
                                            <p:strVal val="#ppt_y"/>
                                          </p:val>
                                        </p:tav>
                                      </p:tavLst>
                                    </p:anim>
                                  </p:childTnLst>
                                </p:cTn>
                              </p:par>
                              <p:par>
                                <p:cTn id="54" presetID="10" presetClass="entr" presetSubtype="0" fill="hold"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fade">
                                      <p:cBhvr>
                                        <p:cTn id="56" dur="1000"/>
                                        <p:tgtEl>
                                          <p:spTgt spid="78"/>
                                        </p:tgtEl>
                                      </p:cBhvr>
                                    </p:animEffect>
                                  </p:childTnLst>
                                </p:cTn>
                              </p:par>
                              <p:par>
                                <p:cTn id="57" presetID="2" presetClass="entr" presetSubtype="8" decel="100000" fill="hold" nodeType="withEffect">
                                  <p:stCondLst>
                                    <p:cond delay="500"/>
                                  </p:stCondLst>
                                  <p:childTnLst>
                                    <p:set>
                                      <p:cBhvr>
                                        <p:cTn id="58" dur="1" fill="hold">
                                          <p:stCondLst>
                                            <p:cond delay="0"/>
                                          </p:stCondLst>
                                        </p:cTn>
                                        <p:tgtEl>
                                          <p:spTgt spid="4"/>
                                        </p:tgtEl>
                                        <p:attrNameLst>
                                          <p:attrName>style.visibility</p:attrName>
                                        </p:attrNameLst>
                                      </p:cBhvr>
                                      <p:to>
                                        <p:strVal val="visible"/>
                                      </p:to>
                                    </p:set>
                                    <p:anim calcmode="lin" valueType="num">
                                      <p:cBhvr additive="base">
                                        <p:cTn id="59" dur="500" fill="hold"/>
                                        <p:tgtEl>
                                          <p:spTgt spid="4"/>
                                        </p:tgtEl>
                                        <p:attrNameLst>
                                          <p:attrName>ppt_x</p:attrName>
                                        </p:attrNameLst>
                                      </p:cBhvr>
                                      <p:tavLst>
                                        <p:tav tm="0">
                                          <p:val>
                                            <p:strVal val="0-#ppt_w/2"/>
                                          </p:val>
                                        </p:tav>
                                        <p:tav tm="100000">
                                          <p:val>
                                            <p:strVal val="#ppt_x"/>
                                          </p:val>
                                        </p:tav>
                                      </p:tavLst>
                                    </p:anim>
                                    <p:anim calcmode="lin" valueType="num">
                                      <p:cBhvr additive="base">
                                        <p:cTn id="60" dur="500" fill="hold"/>
                                        <p:tgtEl>
                                          <p:spTgt spid="4"/>
                                        </p:tgtEl>
                                        <p:attrNameLst>
                                          <p:attrName>ppt_y</p:attrName>
                                        </p:attrNameLst>
                                      </p:cBhvr>
                                      <p:tavLst>
                                        <p:tav tm="0">
                                          <p:val>
                                            <p:strVal val="#ppt_y"/>
                                          </p:val>
                                        </p:tav>
                                        <p:tav tm="100000">
                                          <p:val>
                                            <p:strVal val="#ppt_y"/>
                                          </p:val>
                                        </p:tav>
                                      </p:tavLst>
                                    </p:anim>
                                  </p:childTnLst>
                                </p:cTn>
                              </p:par>
                              <p:par>
                                <p:cTn id="61" presetID="2" presetClass="entr" presetSubtype="4" decel="100000" fill="hold" nodeType="withEffect">
                                  <p:stCondLst>
                                    <p:cond delay="1000"/>
                                  </p:stCondLst>
                                  <p:childTnLst>
                                    <p:set>
                                      <p:cBhvr>
                                        <p:cTn id="62" dur="1" fill="hold">
                                          <p:stCondLst>
                                            <p:cond delay="0"/>
                                          </p:stCondLst>
                                        </p:cTn>
                                        <p:tgtEl>
                                          <p:spTgt spid="6"/>
                                        </p:tgtEl>
                                        <p:attrNameLst>
                                          <p:attrName>style.visibility</p:attrName>
                                        </p:attrNameLst>
                                      </p:cBhvr>
                                      <p:to>
                                        <p:strVal val="visible"/>
                                      </p:to>
                                    </p:set>
                                    <p:anim calcmode="lin" valueType="num">
                                      <p:cBhvr additive="base">
                                        <p:cTn id="63" dur="500" fill="hold"/>
                                        <p:tgtEl>
                                          <p:spTgt spid="6"/>
                                        </p:tgtEl>
                                        <p:attrNameLst>
                                          <p:attrName>ppt_x</p:attrName>
                                        </p:attrNameLst>
                                      </p:cBhvr>
                                      <p:tavLst>
                                        <p:tav tm="0">
                                          <p:val>
                                            <p:strVal val="#ppt_x"/>
                                          </p:val>
                                        </p:tav>
                                        <p:tav tm="100000">
                                          <p:val>
                                            <p:strVal val="#ppt_x"/>
                                          </p:val>
                                        </p:tav>
                                      </p:tavLst>
                                    </p:anim>
                                    <p:anim calcmode="lin" valueType="num">
                                      <p:cBhvr additive="base">
                                        <p:cTn id="64" dur="500" fill="hold"/>
                                        <p:tgtEl>
                                          <p:spTgt spid="6"/>
                                        </p:tgtEl>
                                        <p:attrNameLst>
                                          <p:attrName>ppt_y</p:attrName>
                                        </p:attrNameLst>
                                      </p:cBhvr>
                                      <p:tavLst>
                                        <p:tav tm="0">
                                          <p:val>
                                            <p:strVal val="1+#ppt_h/2"/>
                                          </p:val>
                                        </p:tav>
                                        <p:tav tm="100000">
                                          <p:val>
                                            <p:strVal val="#ppt_y"/>
                                          </p:val>
                                        </p:tav>
                                      </p:tavLst>
                                    </p:anim>
                                  </p:childTnLst>
                                </p:cTn>
                              </p:par>
                              <p:par>
                                <p:cTn id="65" presetID="2" presetClass="entr" presetSubtype="4" decel="100000" fill="hold" nodeType="withEffect">
                                  <p:stCondLst>
                                    <p:cond delay="1100"/>
                                  </p:stCondLst>
                                  <p:childTnLst>
                                    <p:set>
                                      <p:cBhvr>
                                        <p:cTn id="66" dur="1" fill="hold">
                                          <p:stCondLst>
                                            <p:cond delay="0"/>
                                          </p:stCondLst>
                                        </p:cTn>
                                        <p:tgtEl>
                                          <p:spTgt spid="5"/>
                                        </p:tgtEl>
                                        <p:attrNameLst>
                                          <p:attrName>style.visibility</p:attrName>
                                        </p:attrNameLst>
                                      </p:cBhvr>
                                      <p:to>
                                        <p:strVal val="visible"/>
                                      </p:to>
                                    </p:set>
                                    <p:anim calcmode="lin" valueType="num">
                                      <p:cBhvr additive="base">
                                        <p:cTn id="67" dur="500" fill="hold"/>
                                        <p:tgtEl>
                                          <p:spTgt spid="5"/>
                                        </p:tgtEl>
                                        <p:attrNameLst>
                                          <p:attrName>ppt_x</p:attrName>
                                        </p:attrNameLst>
                                      </p:cBhvr>
                                      <p:tavLst>
                                        <p:tav tm="0">
                                          <p:val>
                                            <p:strVal val="#ppt_x"/>
                                          </p:val>
                                        </p:tav>
                                        <p:tav tm="100000">
                                          <p:val>
                                            <p:strVal val="#ppt_x"/>
                                          </p:val>
                                        </p:tav>
                                      </p:tavLst>
                                    </p:anim>
                                    <p:anim calcmode="lin" valueType="num">
                                      <p:cBhvr additive="base">
                                        <p:cTn id="6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7" grpId="1"/>
      <p:bldP spid="38" grpId="0"/>
      <p:bldP spid="38" grpId="1"/>
      <p:bldP spid="53" grpId="0"/>
      <p:bldP spid="53" grpId="1"/>
      <p:bldP spid="54" grpId="0"/>
      <p:bldP spid="54" grpId="1"/>
      <p:bldP spid="65" grpId="0"/>
      <p:bldP spid="65" grpId="1"/>
      <p:bldP spid="66" grpId="0"/>
      <p:bldP spid="66" grpId="1"/>
      <p:bldP spid="70" grpId="0"/>
      <p:bldP spid="70" grpId="1"/>
      <p:bldP spid="71" grpId="0"/>
      <p:bldP spid="71"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3768629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1822" y="298"/>
            <a:ext cx="8999538" cy="5062240"/>
          </a:xfrm>
          <a:prstGeom prst="rect">
            <a:avLst/>
          </a:prstGeom>
        </p:spPr>
      </p:pic>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F8681E"/>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spTree>
    <p:extLst>
      <p:ext uri="{BB962C8B-B14F-4D97-AF65-F5344CB8AC3E}">
        <p14:creationId xmlns:p14="http://schemas.microsoft.com/office/powerpoint/2010/main" val="2809153956"/>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5" grpId="0"/>
      <p:bldP spid="15" grpId="1"/>
      <p:bldP spid="17" grpId="0"/>
      <p:bldP spid="17" grpId="1"/>
      <p:bldP spid="28" grpId="0"/>
      <p:bldP spid="28" grpId="1"/>
      <p:bldP spid="2" grpId="0"/>
      <p:bldP spid="2" grpId="1"/>
      <p:bldP spid="5" grpId="0"/>
      <p:bldP spid="5" grpId="1"/>
      <p:bldP spid="6" grpId="0"/>
      <p:bldP spid="6" grpId="1"/>
      <p:bldP spid="7" grpId="0"/>
      <p:bldP spid="7" grpId="1"/>
      <p:bldP spid="14" grpId="0"/>
      <p:bldP spid="14"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3" name="think-cell data - do not delete" hidden="1">
            <a:extLst>
              <a:ext uri="{FF2B5EF4-FFF2-40B4-BE49-F238E27FC236}">
                <a16:creationId xmlns:a16="http://schemas.microsoft.com/office/drawing/2014/main" id="{B77F4A0D-95E3-F473-B1FA-0DD047AFDDDC}"/>
              </a:ext>
            </a:extLst>
          </p:cNvPr>
          <p:cNvGraphicFramePr>
            <a:graphicFrameLocks noChangeAspect="1"/>
          </p:cNvGraphicFramePr>
          <p:nvPr>
            <p:custDataLst>
              <p:tags r:id="rId1"/>
            </p:custDataLst>
            <p:extLst>
              <p:ext uri="{D42A27DB-BD31-4B8C-83A1-F6EECF244321}">
                <p14:modId xmlns:p14="http://schemas.microsoft.com/office/powerpoint/2010/main" val="174125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8" imgW="395" imgH="394" progId="TCLayout.ActiveDocument.1">
                  <p:embed/>
                </p:oleObj>
              </mc:Choice>
              <mc:Fallback>
                <p:oleObj name="Slide do think-cell" r:id="rId18" imgW="395" imgH="394"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pic>
        <p:nvPicPr>
          <p:cNvPr id="2" name="Imagem 1" descr="Imagem em branco e azul&#10;&#10;Descrição gerada automaticamente com confiança média">
            <a:extLst>
              <a:ext uri="{FF2B5EF4-FFF2-40B4-BE49-F238E27FC236}">
                <a16:creationId xmlns:a16="http://schemas.microsoft.com/office/drawing/2014/main" id="{541AA18C-5D13-AE5B-F1C8-30CCC5AFAEAE}"/>
              </a:ext>
            </a:extLst>
          </p:cNvPr>
          <p:cNvPicPr>
            <a:picLocks noChangeAspect="1"/>
          </p:cNvPicPr>
          <p:nvPr>
            <p:custDataLst>
              <p:tags r:id="rId2"/>
            </p:custDataLst>
          </p:nvPr>
        </p:nvPicPr>
        <p:blipFill>
          <a:blip r:embed="rId20">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33" name="Imagem 32">
            <a:extLst>
              <a:ext uri="{FF2B5EF4-FFF2-40B4-BE49-F238E27FC236}">
                <a16:creationId xmlns:a16="http://schemas.microsoft.com/office/drawing/2014/main" id="{A977759E-CF2F-443C-8ED4-E05600AE2927}"/>
              </a:ext>
            </a:extLst>
          </p:cNvPr>
          <p:cNvPicPr>
            <a:picLocks noChangeAspect="1"/>
          </p:cNvPicPr>
          <p:nvPr>
            <p:custDataLst>
              <p:tags r:id="rId3"/>
            </p:custDataLst>
          </p:nvPr>
        </p:nvPicPr>
        <p:blipFill>
          <a:blip r:embed="rId21">
            <a:extLst>
              <a:ext uri="{28A0092B-C50C-407E-A947-70E740481C1C}">
                <a14:useLocalDpi xmlns:a14="http://schemas.microsoft.com/office/drawing/2010/main"/>
              </a:ext>
            </a:extLst>
          </a:blip>
          <a:srcRect b="37440"/>
          <a:stretch>
            <a:fillRect/>
          </a:stretch>
        </p:blipFill>
        <p:spPr>
          <a:xfrm>
            <a:off x="1" y="1490181"/>
            <a:ext cx="8999537" cy="3572357"/>
          </a:xfrm>
          <a:prstGeom prst="rect">
            <a:avLst/>
          </a:prstGeom>
        </p:spPr>
      </p:pic>
      <p:sp>
        <p:nvSpPr>
          <p:cNvPr id="19" name="CaixaDeTexto 18">
            <a:extLst>
              <a:ext uri="{FF2B5EF4-FFF2-40B4-BE49-F238E27FC236}">
                <a16:creationId xmlns:a16="http://schemas.microsoft.com/office/drawing/2014/main" id="{D04A6E05-76C0-E51B-F5DB-6DDF20A4FEB1}"/>
              </a:ext>
            </a:extLst>
          </p:cNvPr>
          <p:cNvSpPr txBox="1"/>
          <p:nvPr>
            <p:custDataLst>
              <p:tags r:id="rId4"/>
            </p:custDataLst>
          </p:nvPr>
        </p:nvSpPr>
        <p:spPr>
          <a:xfrm>
            <a:off x="-34635" y="2783517"/>
            <a:ext cx="1267411" cy="830997"/>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rPr>
              <a:t>Identification of opportunities and prioritization of projects</a:t>
            </a:r>
          </a:p>
        </p:txBody>
      </p:sp>
      <p:sp>
        <p:nvSpPr>
          <p:cNvPr id="24" name="CaixaDeTexto 23">
            <a:extLst>
              <a:ext uri="{FF2B5EF4-FFF2-40B4-BE49-F238E27FC236}">
                <a16:creationId xmlns:a16="http://schemas.microsoft.com/office/drawing/2014/main" id="{542AB585-3D5B-156D-62B3-5756459EBF33}"/>
              </a:ext>
            </a:extLst>
          </p:cNvPr>
          <p:cNvSpPr txBox="1"/>
          <p:nvPr>
            <p:custDataLst>
              <p:tags r:id="rId5"/>
            </p:custDataLst>
          </p:nvPr>
        </p:nvSpPr>
        <p:spPr>
          <a:xfrm>
            <a:off x="1006495" y="2783516"/>
            <a:ext cx="1411764" cy="387798"/>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a:solidFill>
                  <a:srgbClr val="011F57"/>
                </a:solidFill>
                <a:effectLst/>
                <a:uFillTx/>
                <a:latin typeface="Segoe UI"/>
              </a:rPr>
              <a:t>Strategy definition</a:t>
            </a:r>
            <a:endParaRPr lang="en-US" sz="1200" b="0" i="0" u="none" strike="noStrike" cap="none" baseline="0" dirty="0">
              <a:solidFill>
                <a:srgbClr val="011F57"/>
              </a:solidFill>
              <a:effectLst/>
              <a:uFillTx/>
              <a:latin typeface="Segoe UI"/>
            </a:endParaRPr>
          </a:p>
        </p:txBody>
      </p:sp>
      <p:sp>
        <p:nvSpPr>
          <p:cNvPr id="25" name="CaixaDeTexto 24">
            <a:extLst>
              <a:ext uri="{FF2B5EF4-FFF2-40B4-BE49-F238E27FC236}">
                <a16:creationId xmlns:a16="http://schemas.microsoft.com/office/drawing/2014/main" id="{38DF52BA-F941-8E28-45EA-EFEFF074F62A}"/>
              </a:ext>
            </a:extLst>
          </p:cNvPr>
          <p:cNvSpPr txBox="1"/>
          <p:nvPr>
            <p:custDataLst>
              <p:tags r:id="rId6"/>
            </p:custDataLst>
          </p:nvPr>
        </p:nvSpPr>
        <p:spPr>
          <a:xfrm>
            <a:off x="4482598" y="2782649"/>
            <a:ext cx="1294688" cy="457657"/>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rPr>
              <a:t>Preparation</a:t>
            </a:r>
            <a:br>
              <a:rPr sz="1200" dirty="0"/>
            </a:br>
            <a:r>
              <a:rPr lang="en-US" sz="1200" b="0" i="0" u="none" strike="noStrike" cap="none" baseline="0" dirty="0">
                <a:solidFill>
                  <a:srgbClr val="011F57"/>
                </a:solidFill>
                <a:effectLst/>
                <a:uFillTx/>
                <a:latin typeface="Segoe UI"/>
              </a:rPr>
              <a:t>of schedules</a:t>
            </a:r>
            <a:r>
              <a:rPr lang="en-US" b="0" i="0" u="none" strike="noStrike" cap="none" baseline="0" dirty="0">
                <a:effectLst/>
                <a:uFillTx/>
              </a:rPr>
              <a:t> </a:t>
            </a:r>
          </a:p>
        </p:txBody>
      </p:sp>
      <p:sp>
        <p:nvSpPr>
          <p:cNvPr id="26" name="CaixaDeTexto 25">
            <a:extLst>
              <a:ext uri="{FF2B5EF4-FFF2-40B4-BE49-F238E27FC236}">
                <a16:creationId xmlns:a16="http://schemas.microsoft.com/office/drawing/2014/main" id="{502CE481-2251-60A6-4605-AE919E2B732F}"/>
              </a:ext>
            </a:extLst>
          </p:cNvPr>
          <p:cNvSpPr txBox="1"/>
          <p:nvPr>
            <p:custDataLst>
              <p:tags r:id="rId7"/>
            </p:custDataLst>
          </p:nvPr>
        </p:nvSpPr>
        <p:spPr>
          <a:xfrm>
            <a:off x="7652511" y="2760180"/>
            <a:ext cx="1381662" cy="683264"/>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rPr>
              <a:t>Efficient calculation and pre-contracting of CapEx¹</a:t>
            </a:r>
          </a:p>
        </p:txBody>
      </p:sp>
      <p:sp>
        <p:nvSpPr>
          <p:cNvPr id="58" name="CaixaDeTexto 57">
            <a:extLst>
              <a:ext uri="{FF2B5EF4-FFF2-40B4-BE49-F238E27FC236}">
                <a16:creationId xmlns:a16="http://schemas.microsoft.com/office/drawing/2014/main" id="{69129D06-916B-1934-2C74-A203ABC9819D}"/>
              </a:ext>
            </a:extLst>
          </p:cNvPr>
          <p:cNvSpPr txBox="1"/>
          <p:nvPr>
            <p:custDataLst>
              <p:tags r:id="rId8"/>
            </p:custDataLst>
          </p:nvPr>
        </p:nvSpPr>
        <p:spPr>
          <a:xfrm>
            <a:off x="550574" y="1383755"/>
            <a:ext cx="3590517" cy="35087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000" b="0" i="0" u="none" strike="noStrike" cap="none" spc="600" baseline="0" dirty="0">
                <a:solidFill>
                  <a:srgbClr val="011F57"/>
                </a:solidFill>
                <a:effectLst/>
                <a:uFillTx/>
                <a:latin typeface="Segoe UI Light"/>
              </a:rPr>
              <a:t>STRUCTURING OF </a:t>
            </a:r>
          </a:p>
        </p:txBody>
      </p:sp>
      <p:sp>
        <p:nvSpPr>
          <p:cNvPr id="59" name="CaixaDeTexto 58">
            <a:extLst>
              <a:ext uri="{FF2B5EF4-FFF2-40B4-BE49-F238E27FC236}">
                <a16:creationId xmlns:a16="http://schemas.microsoft.com/office/drawing/2014/main" id="{D31314D3-31A6-DF94-EBBD-24A0ED94B0EB}"/>
              </a:ext>
            </a:extLst>
          </p:cNvPr>
          <p:cNvSpPr txBox="1"/>
          <p:nvPr>
            <p:custDataLst>
              <p:tags r:id="rId9"/>
            </p:custDataLst>
          </p:nvPr>
        </p:nvSpPr>
        <p:spPr>
          <a:xfrm>
            <a:off x="3753864" y="1335421"/>
            <a:ext cx="5072273" cy="454606"/>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dirty="0">
                <a:solidFill>
                  <a:srgbClr val="002581"/>
                </a:solidFill>
                <a:effectLst/>
                <a:uFillTx/>
                <a:latin typeface="Segoe UI Black"/>
              </a:rPr>
              <a:t>TRANSMISSION AUCTIONS</a:t>
            </a:r>
          </a:p>
        </p:txBody>
      </p:sp>
      <p:sp>
        <p:nvSpPr>
          <p:cNvPr id="9" name="CaixaDeTexto 8">
            <a:extLst>
              <a:ext uri="{FF2B5EF4-FFF2-40B4-BE49-F238E27FC236}">
                <a16:creationId xmlns:a16="http://schemas.microsoft.com/office/drawing/2014/main" id="{DBD36F3D-EEA6-EF9D-FFD7-7DD7017B6B59}"/>
              </a:ext>
            </a:extLst>
          </p:cNvPr>
          <p:cNvSpPr txBox="1"/>
          <p:nvPr>
            <p:custDataLst>
              <p:tags r:id="rId10"/>
            </p:custDataLst>
          </p:nvPr>
        </p:nvSpPr>
        <p:spPr>
          <a:xfrm>
            <a:off x="6600789" y="2745520"/>
            <a:ext cx="1614224" cy="413447"/>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pt-BR" sz="1200" b="0" i="0" u="none" strike="noStrike" cap="none" baseline="0">
                <a:solidFill>
                  <a:srgbClr val="011F57"/>
                </a:solidFill>
                <a:effectLst/>
                <a:uFillTx/>
                <a:latin typeface="Segoe UI"/>
              </a:rPr>
              <a:t>Risks </a:t>
            </a:r>
          </a:p>
          <a:p>
            <a:pPr marL="0" marR="0" lvl="0" indent="0" algn="ctr" defTabSz="449931" rtl="0" eaLnBrk="1" fontAlgn="auto" latinLnBrk="0" hangingPunct="1">
              <a:lnSpc>
                <a:spcPct val="80000"/>
              </a:lnSpc>
              <a:spcBef>
                <a:spcPts val="148"/>
              </a:spcBef>
              <a:spcAft>
                <a:spcPts val="148"/>
              </a:spcAft>
              <a:buClrTx/>
              <a:buSzTx/>
              <a:buFontTx/>
              <a:buNone/>
              <a:defRPr/>
            </a:pPr>
            <a:r>
              <a:rPr lang="pt-BR" sz="1200" b="0" i="0" u="none" strike="noStrike" cap="none" baseline="0">
                <a:solidFill>
                  <a:srgbClr val="011F57"/>
                </a:solidFill>
                <a:effectLst/>
                <a:uFillTx/>
                <a:latin typeface="Segoe UI"/>
              </a:rPr>
              <a:t>Validation</a:t>
            </a:r>
            <a:endParaRPr lang="en-US" sz="1200" b="0" i="0" u="none" strike="noStrike" cap="none" baseline="0" dirty="0">
              <a:solidFill>
                <a:srgbClr val="011F57"/>
              </a:solidFill>
              <a:effectLst/>
              <a:uFillTx/>
              <a:latin typeface="Segoe UI"/>
            </a:endParaRPr>
          </a:p>
        </p:txBody>
      </p:sp>
      <p:sp>
        <p:nvSpPr>
          <p:cNvPr id="31" name="CaixaDeTexto 30">
            <a:extLst>
              <a:ext uri="{FF2B5EF4-FFF2-40B4-BE49-F238E27FC236}">
                <a16:creationId xmlns:a16="http://schemas.microsoft.com/office/drawing/2014/main" id="{6A685E53-A219-FCF7-D63E-73D3AA7F0554}"/>
              </a:ext>
            </a:extLst>
          </p:cNvPr>
          <p:cNvSpPr txBox="1"/>
          <p:nvPr>
            <p:custDataLst>
              <p:tags r:id="rId11"/>
            </p:custDataLst>
          </p:nvPr>
        </p:nvSpPr>
        <p:spPr>
          <a:xfrm>
            <a:off x="646912" y="123232"/>
            <a:ext cx="1805034" cy="58477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EXCELLENCE IN</a:t>
            </a:r>
            <a:br>
              <a:rPr sz="1000" spc="0" dirty="0">
                <a:latin typeface="Segoe UI" panose="020B0502040204020203" pitchFamily="34" charset="0"/>
                <a:ea typeface="Segoe UI" panose="020B0502040204020203" pitchFamily="34" charset="0"/>
                <a:cs typeface="Segoe UI" panose="020B0502040204020203" pitchFamily="34" charset="0"/>
              </a:rPr>
            </a:br>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JECT MANAGEMENT</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isciplined structuring and execution</a:t>
            </a:r>
          </a:p>
        </p:txBody>
      </p:sp>
      <p:sp>
        <p:nvSpPr>
          <p:cNvPr id="3" name="CaixaDeTexto 2">
            <a:extLst>
              <a:ext uri="{FF2B5EF4-FFF2-40B4-BE49-F238E27FC236}">
                <a16:creationId xmlns:a16="http://schemas.microsoft.com/office/drawing/2014/main" id="{AE18A911-DBD8-DB75-70C8-A65616CDF967}"/>
              </a:ext>
            </a:extLst>
          </p:cNvPr>
          <p:cNvSpPr txBox="1"/>
          <p:nvPr>
            <p:custDataLst>
              <p:tags r:id="rId12"/>
            </p:custDataLst>
          </p:nvPr>
        </p:nvSpPr>
        <p:spPr>
          <a:xfrm>
            <a:off x="7614351" y="4894223"/>
            <a:ext cx="5599149" cy="168166"/>
          </a:xfrm>
          <a:prstGeom prst="rect">
            <a:avLst/>
          </a:prstGeom>
          <a:noFill/>
        </p:spPr>
        <p:txBody>
          <a:bodyPr wrap="square" anchor="b">
            <a:spAutoFit/>
          </a:bodyPr>
          <a:lstStyle/>
          <a:p>
            <a:pPr marL="0" marR="0" lvl="0" indent="0" algn="l" defTabSz="457200" rtl="0" eaLnBrk="1" fontAlgn="auto" latinLnBrk="0" hangingPunct="1">
              <a:lnSpc>
                <a:spcPct val="85000"/>
              </a:lnSpc>
              <a:spcBef>
                <a:spcPts val="148"/>
              </a:spcBef>
              <a:spcAft>
                <a:spcPts val="148"/>
              </a:spcAft>
              <a:buClr>
                <a:srgbClr val="326E96"/>
              </a:buClr>
              <a:buSzTx/>
              <a:buFontTx/>
              <a:buNone/>
              <a:defRPr/>
            </a:pPr>
            <a:r>
              <a:rPr lang="en-US" sz="591" b="0" i="0" u="none" strike="noStrike" cap="none" baseline="0" dirty="0">
                <a:solidFill>
                  <a:srgbClr val="FFFFFF"/>
                </a:solidFill>
                <a:effectLst/>
                <a:uFillTx/>
                <a:latin typeface="Arial"/>
              </a:rPr>
              <a:t>¹ Capital expenditure</a:t>
            </a:r>
          </a:p>
        </p:txBody>
      </p:sp>
      <p:sp>
        <p:nvSpPr>
          <p:cNvPr id="4" name="Forma Livre: Forma 3">
            <a:extLst>
              <a:ext uri="{FF2B5EF4-FFF2-40B4-BE49-F238E27FC236}">
                <a16:creationId xmlns:a16="http://schemas.microsoft.com/office/drawing/2014/main" id="{E849B47D-6C38-9BFF-02FC-A02B17ED8C5A}"/>
              </a:ext>
            </a:extLst>
          </p:cNvPr>
          <p:cNvSpPr/>
          <p:nvPr/>
        </p:nvSpPr>
        <p:spPr>
          <a:xfrm>
            <a:off x="194193" y="166754"/>
            <a:ext cx="362316" cy="253696"/>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a:p>
        </p:txBody>
      </p:sp>
      <p:sp>
        <p:nvSpPr>
          <p:cNvPr id="5" name="CaixaDeTexto 4">
            <a:extLst>
              <a:ext uri="{FF2B5EF4-FFF2-40B4-BE49-F238E27FC236}">
                <a16:creationId xmlns:a16="http://schemas.microsoft.com/office/drawing/2014/main" id="{C003CF85-9EC2-BC48-EEA3-46DB009A4753}"/>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4</a:t>
            </a:r>
          </a:p>
        </p:txBody>
      </p:sp>
      <p:sp>
        <p:nvSpPr>
          <p:cNvPr id="47" name="CaixaDeTexto 46">
            <a:extLst>
              <a:ext uri="{FF2B5EF4-FFF2-40B4-BE49-F238E27FC236}">
                <a16:creationId xmlns:a16="http://schemas.microsoft.com/office/drawing/2014/main" id="{4099DABF-E95B-1B71-855A-20DA530633D5}"/>
              </a:ext>
            </a:extLst>
          </p:cNvPr>
          <p:cNvSpPr txBox="1"/>
          <p:nvPr>
            <p:custDataLst>
              <p:tags r:id="rId13"/>
            </p:custDataLst>
          </p:nvPr>
        </p:nvSpPr>
        <p:spPr>
          <a:xfrm>
            <a:off x="2158856" y="2778337"/>
            <a:ext cx="1411764" cy="413447"/>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a:solidFill>
                  <a:srgbClr val="011F57"/>
                </a:solidFill>
                <a:effectLst/>
                <a:uFillTx/>
                <a:latin typeface="Segoe UI"/>
              </a:rPr>
              <a:t>Studies</a:t>
            </a:r>
            <a:r>
              <a:rPr lang="en-US" sz="1200" b="0" i="0" u="none" strike="noStrike" cap="none">
                <a:solidFill>
                  <a:srgbClr val="011F57"/>
                </a:solidFill>
                <a:effectLst/>
                <a:uFillTx/>
                <a:latin typeface="Segoe UI"/>
              </a:rPr>
              <a:t> and </a:t>
            </a:r>
            <a:r>
              <a:rPr lang="en-US" sz="1200" b="0" i="0" u="none" strike="noStrike" cap="none" baseline="0">
                <a:solidFill>
                  <a:srgbClr val="011F57"/>
                </a:solidFill>
                <a:effectLst/>
                <a:uFillTx/>
                <a:latin typeface="Segoe UI"/>
              </a:rPr>
              <a:t>Pre-</a:t>
            </a:r>
          </a:p>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a:solidFill>
                  <a:srgbClr val="011F57"/>
                </a:solidFill>
                <a:effectLst/>
                <a:uFillTx/>
                <a:latin typeface="Segoe UI"/>
              </a:rPr>
              <a:t>engineering</a:t>
            </a:r>
            <a:endParaRPr lang="en-US" sz="1200" b="0" i="0" u="none" strike="noStrike" cap="none" baseline="0" dirty="0">
              <a:solidFill>
                <a:srgbClr val="011F57"/>
              </a:solidFill>
              <a:effectLst/>
              <a:uFillTx/>
              <a:latin typeface="Segoe UI"/>
            </a:endParaRPr>
          </a:p>
        </p:txBody>
      </p:sp>
      <p:sp>
        <p:nvSpPr>
          <p:cNvPr id="54" name="CaixaDeTexto 53">
            <a:extLst>
              <a:ext uri="{FF2B5EF4-FFF2-40B4-BE49-F238E27FC236}">
                <a16:creationId xmlns:a16="http://schemas.microsoft.com/office/drawing/2014/main" id="{818E3714-62E1-A40A-7F2F-6A0DFABC4BF0}"/>
              </a:ext>
            </a:extLst>
          </p:cNvPr>
          <p:cNvSpPr txBox="1"/>
          <p:nvPr>
            <p:custDataLst>
              <p:tags r:id="rId14"/>
            </p:custDataLst>
          </p:nvPr>
        </p:nvSpPr>
        <p:spPr>
          <a:xfrm>
            <a:off x="3276490" y="2778188"/>
            <a:ext cx="1411764" cy="413447"/>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a:solidFill>
                  <a:srgbClr val="011F57"/>
                </a:solidFill>
                <a:effectLst/>
                <a:uFillTx/>
                <a:latin typeface="Segoe UI"/>
              </a:rPr>
              <a:t>Risks</a:t>
            </a:r>
          </a:p>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a:solidFill>
                  <a:srgbClr val="011F57"/>
                </a:solidFill>
                <a:effectLst/>
                <a:uFillTx/>
                <a:latin typeface="Segoe UI"/>
              </a:rPr>
              <a:t>analysis</a:t>
            </a:r>
            <a:endParaRPr lang="en-US" sz="1200" b="0" i="0" u="none" strike="noStrike" cap="none" baseline="0" dirty="0">
              <a:solidFill>
                <a:srgbClr val="011F57"/>
              </a:solidFill>
              <a:effectLst/>
              <a:uFillTx/>
              <a:latin typeface="Segoe UI"/>
            </a:endParaRPr>
          </a:p>
        </p:txBody>
      </p:sp>
      <p:sp>
        <p:nvSpPr>
          <p:cNvPr id="64" name="CaixaDeTexto 63">
            <a:extLst>
              <a:ext uri="{FF2B5EF4-FFF2-40B4-BE49-F238E27FC236}">
                <a16:creationId xmlns:a16="http://schemas.microsoft.com/office/drawing/2014/main" id="{B91ACE85-FA86-AE08-A458-D5C2C4114551}"/>
              </a:ext>
            </a:extLst>
          </p:cNvPr>
          <p:cNvSpPr txBox="1"/>
          <p:nvPr>
            <p:custDataLst>
              <p:tags r:id="rId15"/>
            </p:custDataLst>
          </p:nvPr>
        </p:nvSpPr>
        <p:spPr>
          <a:xfrm>
            <a:off x="5714151" y="2739578"/>
            <a:ext cx="1243612" cy="708912"/>
          </a:xfrm>
          <a:prstGeom prst="rect">
            <a:avLst/>
          </a:prstGeom>
          <a:noFill/>
        </p:spPr>
        <p:txBody>
          <a:bodyPr wrap="square" rtlCol="0" anchor="ctr">
            <a:spAutoFit/>
          </a:bodyPr>
          <a:lstStyle/>
          <a:p>
            <a:pPr lvl="0" algn="ctr" defTabSz="449931">
              <a:lnSpc>
                <a:spcPct val="80000"/>
              </a:lnSpc>
              <a:spcBef>
                <a:spcPts val="148"/>
              </a:spcBef>
              <a:spcAft>
                <a:spcPts val="148"/>
              </a:spcAft>
              <a:defRPr/>
            </a:pPr>
            <a:r>
              <a:rPr lang="en-US" sz="1200">
                <a:solidFill>
                  <a:srgbClr val="011F57"/>
                </a:solidFill>
                <a:latin typeface="Segoe UI"/>
              </a:rPr>
              <a:t>Quotations and signing of contracts/</a:t>
            </a:r>
          </a:p>
          <a:p>
            <a:pPr lvl="0" algn="ctr" defTabSz="449931">
              <a:lnSpc>
                <a:spcPct val="80000"/>
              </a:lnSpc>
              <a:spcBef>
                <a:spcPts val="148"/>
              </a:spcBef>
              <a:spcAft>
                <a:spcPts val="148"/>
              </a:spcAft>
              <a:defRPr/>
            </a:pPr>
            <a:r>
              <a:rPr lang="en-US" sz="1200">
                <a:solidFill>
                  <a:srgbClr val="011F57"/>
                </a:solidFill>
                <a:latin typeface="Segoe UI"/>
              </a:rPr>
              <a:t>agreements</a:t>
            </a:r>
            <a:endParaRPr lang="en-US" sz="1200" b="0" i="0" u="none" strike="noStrike" cap="none" baseline="0" dirty="0">
              <a:solidFill>
                <a:srgbClr val="011F57"/>
              </a:solidFill>
              <a:effectLst/>
              <a:uFillTx/>
              <a:latin typeface="Segoe UI"/>
            </a:endParaRPr>
          </a:p>
        </p:txBody>
      </p:sp>
      <p:pic>
        <p:nvPicPr>
          <p:cNvPr id="17" name="Imagem 16" descr="Uma imagem contendo Interface gráfica do usuário&#10;&#10;Descrição gerada automaticamente">
            <a:extLst>
              <a:ext uri="{FF2B5EF4-FFF2-40B4-BE49-F238E27FC236}">
                <a16:creationId xmlns:a16="http://schemas.microsoft.com/office/drawing/2014/main" id="{A3294242-0D10-6D37-F496-65F7DA1A497D}"/>
              </a:ext>
            </a:extLst>
          </p:cNvPr>
          <p:cNvPicPr>
            <a:picLocks noChangeAspect="1"/>
          </p:cNvPicPr>
          <p:nvPr/>
        </p:nvPicPr>
        <p:blipFill>
          <a:blip r:embed="rId22"/>
          <a:stretch>
            <a:fillRect/>
          </a:stretch>
        </p:blipFill>
        <p:spPr>
          <a:xfrm>
            <a:off x="8039840" y="60434"/>
            <a:ext cx="920231" cy="509571"/>
          </a:xfrm>
          <a:prstGeom prst="rect">
            <a:avLst/>
          </a:prstGeom>
        </p:spPr>
      </p:pic>
      <p:grpSp>
        <p:nvGrpSpPr>
          <p:cNvPr id="27" name="Agrupar 26">
            <a:extLst>
              <a:ext uri="{FF2B5EF4-FFF2-40B4-BE49-F238E27FC236}">
                <a16:creationId xmlns:a16="http://schemas.microsoft.com/office/drawing/2014/main" id="{BA783BBF-B8C5-FD7E-E9AA-A07C41D06480}"/>
              </a:ext>
            </a:extLst>
          </p:cNvPr>
          <p:cNvGrpSpPr/>
          <p:nvPr/>
        </p:nvGrpSpPr>
        <p:grpSpPr>
          <a:xfrm>
            <a:off x="7816830" y="2165591"/>
            <a:ext cx="180000" cy="180000"/>
            <a:chOff x="8313122" y="2344436"/>
            <a:chExt cx="373665" cy="373665"/>
          </a:xfrm>
        </p:grpSpPr>
        <p:sp>
          <p:nvSpPr>
            <p:cNvPr id="32" name="Elipse 31">
              <a:extLst>
                <a:ext uri="{FF2B5EF4-FFF2-40B4-BE49-F238E27FC236}">
                  <a16:creationId xmlns:a16="http://schemas.microsoft.com/office/drawing/2014/main" id="{8DFBB000-6976-EE8A-816A-B585F1FBF32D}"/>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4" name="Seta: Divisa 33">
              <a:extLst>
                <a:ext uri="{FF2B5EF4-FFF2-40B4-BE49-F238E27FC236}">
                  <a16:creationId xmlns:a16="http://schemas.microsoft.com/office/drawing/2014/main" id="{5EDC9656-A73D-0502-F0E5-A00E16ECC692}"/>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35" name="Agrupar 34">
            <a:extLst>
              <a:ext uri="{FF2B5EF4-FFF2-40B4-BE49-F238E27FC236}">
                <a16:creationId xmlns:a16="http://schemas.microsoft.com/office/drawing/2014/main" id="{238D3F65-58C2-1AAE-C263-97C9BF21ACF7}"/>
              </a:ext>
            </a:extLst>
          </p:cNvPr>
          <p:cNvGrpSpPr/>
          <p:nvPr/>
        </p:nvGrpSpPr>
        <p:grpSpPr>
          <a:xfrm>
            <a:off x="5563022" y="2165591"/>
            <a:ext cx="180000" cy="180000"/>
            <a:chOff x="8313122" y="2344436"/>
            <a:chExt cx="373665" cy="373665"/>
          </a:xfrm>
        </p:grpSpPr>
        <p:sp>
          <p:nvSpPr>
            <p:cNvPr id="36" name="Elipse 35">
              <a:extLst>
                <a:ext uri="{FF2B5EF4-FFF2-40B4-BE49-F238E27FC236}">
                  <a16:creationId xmlns:a16="http://schemas.microsoft.com/office/drawing/2014/main" id="{4B9D514C-3D4E-06F8-A69A-4F6319131B68}"/>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6" name="Seta: Divisa 45">
              <a:extLst>
                <a:ext uri="{FF2B5EF4-FFF2-40B4-BE49-F238E27FC236}">
                  <a16:creationId xmlns:a16="http://schemas.microsoft.com/office/drawing/2014/main" id="{F5F31BE7-44BB-799E-28B8-4BE39D446D15}"/>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48" name="Agrupar 47">
            <a:extLst>
              <a:ext uri="{FF2B5EF4-FFF2-40B4-BE49-F238E27FC236}">
                <a16:creationId xmlns:a16="http://schemas.microsoft.com/office/drawing/2014/main" id="{59DF043F-7627-65E3-EF02-6AB29B206B52}"/>
              </a:ext>
            </a:extLst>
          </p:cNvPr>
          <p:cNvGrpSpPr/>
          <p:nvPr/>
        </p:nvGrpSpPr>
        <p:grpSpPr>
          <a:xfrm>
            <a:off x="2182310" y="2165591"/>
            <a:ext cx="180000" cy="180000"/>
            <a:chOff x="8313122" y="2344436"/>
            <a:chExt cx="373665" cy="373665"/>
          </a:xfrm>
        </p:grpSpPr>
        <p:sp>
          <p:nvSpPr>
            <p:cNvPr id="49" name="Elipse 48">
              <a:extLst>
                <a:ext uri="{FF2B5EF4-FFF2-40B4-BE49-F238E27FC236}">
                  <a16:creationId xmlns:a16="http://schemas.microsoft.com/office/drawing/2014/main" id="{16EB63DE-4AFF-D38D-1EA2-167282AD84AD}"/>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Seta: Divisa 49">
              <a:extLst>
                <a:ext uri="{FF2B5EF4-FFF2-40B4-BE49-F238E27FC236}">
                  <a16:creationId xmlns:a16="http://schemas.microsoft.com/office/drawing/2014/main" id="{BCA7B2E5-94AA-85DA-F1B0-7A9B4F4484FB}"/>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5" name="Agrupar 64">
            <a:extLst>
              <a:ext uri="{FF2B5EF4-FFF2-40B4-BE49-F238E27FC236}">
                <a16:creationId xmlns:a16="http://schemas.microsoft.com/office/drawing/2014/main" id="{7D343988-DB42-3E5A-FC31-B7777A3BECC1}"/>
              </a:ext>
            </a:extLst>
          </p:cNvPr>
          <p:cNvGrpSpPr/>
          <p:nvPr/>
        </p:nvGrpSpPr>
        <p:grpSpPr>
          <a:xfrm>
            <a:off x="1055406" y="2165591"/>
            <a:ext cx="180000" cy="180000"/>
            <a:chOff x="8313122" y="2344436"/>
            <a:chExt cx="373665" cy="373665"/>
          </a:xfrm>
        </p:grpSpPr>
        <p:sp>
          <p:nvSpPr>
            <p:cNvPr id="66" name="Elipse 65">
              <a:extLst>
                <a:ext uri="{FF2B5EF4-FFF2-40B4-BE49-F238E27FC236}">
                  <a16:creationId xmlns:a16="http://schemas.microsoft.com/office/drawing/2014/main" id="{3E2FFD10-EE24-765B-D099-937A543415B7}"/>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 name="Seta: Divisa 66">
              <a:extLst>
                <a:ext uri="{FF2B5EF4-FFF2-40B4-BE49-F238E27FC236}">
                  <a16:creationId xmlns:a16="http://schemas.microsoft.com/office/drawing/2014/main" id="{41F0F92B-2B4D-0649-30F8-07958D94EDE0}"/>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68" name="Agrupar 67">
            <a:extLst>
              <a:ext uri="{FF2B5EF4-FFF2-40B4-BE49-F238E27FC236}">
                <a16:creationId xmlns:a16="http://schemas.microsoft.com/office/drawing/2014/main" id="{FE012138-2C9E-8F94-BC0D-65883BFB3CDE}"/>
              </a:ext>
            </a:extLst>
          </p:cNvPr>
          <p:cNvGrpSpPr/>
          <p:nvPr/>
        </p:nvGrpSpPr>
        <p:grpSpPr>
          <a:xfrm>
            <a:off x="286496" y="1919491"/>
            <a:ext cx="659094" cy="659094"/>
            <a:chOff x="537796" y="2988980"/>
            <a:chExt cx="562514" cy="562514"/>
          </a:xfrm>
        </p:grpSpPr>
        <p:sp>
          <p:nvSpPr>
            <p:cNvPr id="70" name="Elipse 69">
              <a:extLst>
                <a:ext uri="{FF2B5EF4-FFF2-40B4-BE49-F238E27FC236}">
                  <a16:creationId xmlns:a16="http://schemas.microsoft.com/office/drawing/2014/main" id="{6D396B15-7030-B263-8417-8EAD2B252B7E}"/>
                </a:ext>
              </a:extLst>
            </p:cNvPr>
            <p:cNvSpPr/>
            <p:nvPr/>
          </p:nvSpPr>
          <p:spPr>
            <a:xfrm>
              <a:off x="537796" y="2988980"/>
              <a:ext cx="562514" cy="56251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Forma Livre: Forma 70">
              <a:extLst>
                <a:ext uri="{FF2B5EF4-FFF2-40B4-BE49-F238E27FC236}">
                  <a16:creationId xmlns:a16="http://schemas.microsoft.com/office/drawing/2014/main" id="{C1FD5E18-31E4-D6BC-8EE2-8496C5DB06B1}"/>
                </a:ext>
              </a:extLst>
            </p:cNvPr>
            <p:cNvSpPr/>
            <p:nvPr/>
          </p:nvSpPr>
          <p:spPr>
            <a:xfrm>
              <a:off x="654095" y="3072455"/>
              <a:ext cx="324807" cy="407723"/>
            </a:xfrm>
            <a:custGeom>
              <a:avLst/>
              <a:gdLst>
                <a:gd name="connsiteX0" fmla="*/ 289471 w 697622"/>
                <a:gd name="connsiteY0" fmla="*/ 832447 h 875709"/>
                <a:gd name="connsiteX1" fmla="*/ 289471 w 697622"/>
                <a:gd name="connsiteY1" fmla="*/ 839724 h 875709"/>
                <a:gd name="connsiteX2" fmla="*/ 325456 w 697622"/>
                <a:gd name="connsiteY2" fmla="*/ 875709 h 875709"/>
                <a:gd name="connsiteX3" fmla="*/ 372157 w 697622"/>
                <a:gd name="connsiteY3" fmla="*/ 875709 h 875709"/>
                <a:gd name="connsiteX4" fmla="*/ 408143 w 697622"/>
                <a:gd name="connsiteY4" fmla="*/ 839724 h 875709"/>
                <a:gd name="connsiteX5" fmla="*/ 408143 w 697622"/>
                <a:gd name="connsiteY5" fmla="*/ 832447 h 875709"/>
                <a:gd name="connsiteX6" fmla="*/ 289471 w 697622"/>
                <a:gd name="connsiteY6" fmla="*/ 832447 h 875709"/>
                <a:gd name="connsiteX7" fmla="*/ 289471 w 697622"/>
                <a:gd name="connsiteY7" fmla="*/ 832447 h 875709"/>
                <a:gd name="connsiteX8" fmla="*/ 409076 w 697622"/>
                <a:gd name="connsiteY8" fmla="*/ 803739 h 875709"/>
                <a:gd name="connsiteX9" fmla="*/ 445061 w 697622"/>
                <a:gd name="connsiteY9" fmla="*/ 767753 h 875709"/>
                <a:gd name="connsiteX10" fmla="*/ 445061 w 697622"/>
                <a:gd name="connsiteY10" fmla="*/ 760476 h 875709"/>
                <a:gd name="connsiteX11" fmla="*/ 252561 w 697622"/>
                <a:gd name="connsiteY11" fmla="*/ 760476 h 875709"/>
                <a:gd name="connsiteX12" fmla="*/ 252561 w 697622"/>
                <a:gd name="connsiteY12" fmla="*/ 767753 h 875709"/>
                <a:gd name="connsiteX13" fmla="*/ 288547 w 697622"/>
                <a:gd name="connsiteY13" fmla="*/ 803739 h 875709"/>
                <a:gd name="connsiteX14" fmla="*/ 409076 w 697622"/>
                <a:gd name="connsiteY14" fmla="*/ 803739 h 875709"/>
                <a:gd name="connsiteX15" fmla="*/ 409076 w 697622"/>
                <a:gd name="connsiteY15" fmla="*/ 803739 h 875709"/>
                <a:gd name="connsiteX16" fmla="*/ 216576 w 697622"/>
                <a:gd name="connsiteY16" fmla="*/ 688496 h 875709"/>
                <a:gd name="connsiteX17" fmla="*/ 216576 w 697622"/>
                <a:gd name="connsiteY17" fmla="*/ 695773 h 875709"/>
                <a:gd name="connsiteX18" fmla="*/ 252561 w 697622"/>
                <a:gd name="connsiteY18" fmla="*/ 731758 h 875709"/>
                <a:gd name="connsiteX19" fmla="*/ 445061 w 697622"/>
                <a:gd name="connsiteY19" fmla="*/ 731758 h 875709"/>
                <a:gd name="connsiteX20" fmla="*/ 481047 w 697622"/>
                <a:gd name="connsiteY20" fmla="*/ 695773 h 875709"/>
                <a:gd name="connsiteX21" fmla="*/ 481047 w 697622"/>
                <a:gd name="connsiteY21" fmla="*/ 688496 h 875709"/>
                <a:gd name="connsiteX22" fmla="*/ 216576 w 697622"/>
                <a:gd name="connsiteY22" fmla="*/ 688496 h 875709"/>
                <a:gd name="connsiteX23" fmla="*/ 216576 w 697622"/>
                <a:gd name="connsiteY23" fmla="*/ 688496 h 875709"/>
                <a:gd name="connsiteX24" fmla="*/ 348811 w 697622"/>
                <a:gd name="connsiteY24" fmla="*/ 141380 h 875709"/>
                <a:gd name="connsiteX25" fmla="*/ 570277 w 697622"/>
                <a:gd name="connsiteY25" fmla="*/ 362845 h 875709"/>
                <a:gd name="connsiteX26" fmla="*/ 481047 w 697622"/>
                <a:gd name="connsiteY26" fmla="*/ 659787 h 875709"/>
                <a:gd name="connsiteX27" fmla="*/ 216576 w 697622"/>
                <a:gd name="connsiteY27" fmla="*/ 659787 h 875709"/>
                <a:gd name="connsiteX28" fmla="*/ 127346 w 697622"/>
                <a:gd name="connsiteY28" fmla="*/ 362845 h 875709"/>
                <a:gd name="connsiteX29" fmla="*/ 348811 w 697622"/>
                <a:gd name="connsiteY29" fmla="*/ 141380 h 875709"/>
                <a:gd name="connsiteX30" fmla="*/ 348811 w 697622"/>
                <a:gd name="connsiteY30" fmla="*/ 141380 h 875709"/>
                <a:gd name="connsiteX31" fmla="*/ 348811 w 697622"/>
                <a:gd name="connsiteY31" fmla="*/ 196205 h 875709"/>
                <a:gd name="connsiteX32" fmla="*/ 305587 w 697622"/>
                <a:gd name="connsiteY32" fmla="*/ 242640 h 875709"/>
                <a:gd name="connsiteX33" fmla="*/ 305587 w 697622"/>
                <a:gd name="connsiteY33" fmla="*/ 437740 h 875709"/>
                <a:gd name="connsiteX34" fmla="*/ 257552 w 697622"/>
                <a:gd name="connsiteY34" fmla="*/ 518131 h 875709"/>
                <a:gd name="connsiteX35" fmla="*/ 348811 w 697622"/>
                <a:gd name="connsiteY35" fmla="*/ 609391 h 875709"/>
                <a:gd name="connsiteX36" fmla="*/ 440070 w 697622"/>
                <a:gd name="connsiteY36" fmla="*/ 518131 h 875709"/>
                <a:gd name="connsiteX37" fmla="*/ 392036 w 697622"/>
                <a:gd name="connsiteY37" fmla="*/ 437740 h 875709"/>
                <a:gd name="connsiteX38" fmla="*/ 392036 w 697622"/>
                <a:gd name="connsiteY38" fmla="*/ 353216 h 875709"/>
                <a:gd name="connsiteX39" fmla="*/ 365947 w 697622"/>
                <a:gd name="connsiteY39" fmla="*/ 329584 h 875709"/>
                <a:gd name="connsiteX40" fmla="*/ 392036 w 697622"/>
                <a:gd name="connsiteY40" fmla="*/ 305953 h 875709"/>
                <a:gd name="connsiteX41" fmla="*/ 365947 w 697622"/>
                <a:gd name="connsiteY41" fmla="*/ 282331 h 875709"/>
                <a:gd name="connsiteX42" fmla="*/ 392036 w 697622"/>
                <a:gd name="connsiteY42" fmla="*/ 258699 h 875709"/>
                <a:gd name="connsiteX43" fmla="*/ 392036 w 697622"/>
                <a:gd name="connsiteY43" fmla="*/ 242630 h 875709"/>
                <a:gd name="connsiteX44" fmla="*/ 348811 w 697622"/>
                <a:gd name="connsiteY44" fmla="*/ 196205 h 875709"/>
                <a:gd name="connsiteX45" fmla="*/ 348811 w 697622"/>
                <a:gd name="connsiteY45" fmla="*/ 196205 h 875709"/>
                <a:gd name="connsiteX46" fmla="*/ 363166 w 697622"/>
                <a:gd name="connsiteY46" fmla="*/ 66513 h 875709"/>
                <a:gd name="connsiteX47" fmla="*/ 348811 w 697622"/>
                <a:gd name="connsiteY47" fmla="*/ 80867 h 875709"/>
                <a:gd name="connsiteX48" fmla="*/ 334457 w 697622"/>
                <a:gd name="connsiteY48" fmla="*/ 66513 h 875709"/>
                <a:gd name="connsiteX49" fmla="*/ 334457 w 697622"/>
                <a:gd name="connsiteY49" fmla="*/ 14354 h 875709"/>
                <a:gd name="connsiteX50" fmla="*/ 348811 w 697622"/>
                <a:gd name="connsiteY50" fmla="*/ 0 h 875709"/>
                <a:gd name="connsiteX51" fmla="*/ 363166 w 697622"/>
                <a:gd name="connsiteY51" fmla="*/ 14354 h 875709"/>
                <a:gd name="connsiteX52" fmla="*/ 363166 w 697622"/>
                <a:gd name="connsiteY52" fmla="*/ 66513 h 875709"/>
                <a:gd name="connsiteX53" fmla="*/ 363166 w 697622"/>
                <a:gd name="connsiteY53" fmla="*/ 66513 h 875709"/>
                <a:gd name="connsiteX54" fmla="*/ 645296 w 697622"/>
                <a:gd name="connsiteY54" fmla="*/ 245945 h 875709"/>
                <a:gd name="connsiteX55" fmla="*/ 625722 w 697622"/>
                <a:gd name="connsiteY55" fmla="*/ 240725 h 875709"/>
                <a:gd name="connsiteX56" fmla="*/ 630942 w 697622"/>
                <a:gd name="connsiteY56" fmla="*/ 221151 h 875709"/>
                <a:gd name="connsiteX57" fmla="*/ 676119 w 697622"/>
                <a:gd name="connsiteY57" fmla="*/ 195072 h 875709"/>
                <a:gd name="connsiteX58" fmla="*/ 695693 w 697622"/>
                <a:gd name="connsiteY58" fmla="*/ 200292 h 875709"/>
                <a:gd name="connsiteX59" fmla="*/ 690473 w 697622"/>
                <a:gd name="connsiteY59" fmla="*/ 219866 h 875709"/>
                <a:gd name="connsiteX60" fmla="*/ 645296 w 697622"/>
                <a:gd name="connsiteY60" fmla="*/ 245945 h 875709"/>
                <a:gd name="connsiteX61" fmla="*/ 645296 w 697622"/>
                <a:gd name="connsiteY61" fmla="*/ 245945 h 875709"/>
                <a:gd name="connsiteX62" fmla="*/ 528234 w 697622"/>
                <a:gd name="connsiteY62" fmla="*/ 118396 h 875709"/>
                <a:gd name="connsiteX63" fmla="*/ 508717 w 697622"/>
                <a:gd name="connsiteY63" fmla="*/ 123663 h 875709"/>
                <a:gd name="connsiteX64" fmla="*/ 503450 w 697622"/>
                <a:gd name="connsiteY64" fmla="*/ 104146 h 875709"/>
                <a:gd name="connsiteX65" fmla="*/ 529529 w 697622"/>
                <a:gd name="connsiteY65" fmla="*/ 58969 h 875709"/>
                <a:gd name="connsiteX66" fmla="*/ 549046 w 697622"/>
                <a:gd name="connsiteY66" fmla="*/ 53702 h 875709"/>
                <a:gd name="connsiteX67" fmla="*/ 554313 w 697622"/>
                <a:gd name="connsiteY67" fmla="*/ 73219 h 875709"/>
                <a:gd name="connsiteX68" fmla="*/ 528234 w 697622"/>
                <a:gd name="connsiteY68" fmla="*/ 118396 h 875709"/>
                <a:gd name="connsiteX69" fmla="*/ 528234 w 697622"/>
                <a:gd name="connsiteY69" fmla="*/ 118396 h 875709"/>
                <a:gd name="connsiteX70" fmla="*/ 66681 w 697622"/>
                <a:gd name="connsiteY70" fmla="*/ 221151 h 875709"/>
                <a:gd name="connsiteX71" fmla="*/ 71901 w 697622"/>
                <a:gd name="connsiteY71" fmla="*/ 240725 h 875709"/>
                <a:gd name="connsiteX72" fmla="*/ 52327 w 697622"/>
                <a:gd name="connsiteY72" fmla="*/ 245945 h 875709"/>
                <a:gd name="connsiteX73" fmla="*/ 7150 w 697622"/>
                <a:gd name="connsiteY73" fmla="*/ 219866 h 875709"/>
                <a:gd name="connsiteX74" fmla="*/ 1930 w 697622"/>
                <a:gd name="connsiteY74" fmla="*/ 200292 h 875709"/>
                <a:gd name="connsiteX75" fmla="*/ 21504 w 697622"/>
                <a:gd name="connsiteY75" fmla="*/ 195072 h 875709"/>
                <a:gd name="connsiteX76" fmla="*/ 66681 w 697622"/>
                <a:gd name="connsiteY76" fmla="*/ 221151 h 875709"/>
                <a:gd name="connsiteX77" fmla="*/ 66681 w 697622"/>
                <a:gd name="connsiteY77" fmla="*/ 221151 h 875709"/>
                <a:gd name="connsiteX78" fmla="*/ 194173 w 697622"/>
                <a:gd name="connsiteY78" fmla="*/ 104089 h 875709"/>
                <a:gd name="connsiteX79" fmla="*/ 188953 w 697622"/>
                <a:gd name="connsiteY79" fmla="*/ 123663 h 875709"/>
                <a:gd name="connsiteX80" fmla="*/ 169379 w 697622"/>
                <a:gd name="connsiteY80" fmla="*/ 118443 h 875709"/>
                <a:gd name="connsiteX81" fmla="*/ 143300 w 697622"/>
                <a:gd name="connsiteY81" fmla="*/ 73266 h 875709"/>
                <a:gd name="connsiteX82" fmla="*/ 148520 w 697622"/>
                <a:gd name="connsiteY82" fmla="*/ 53692 h 875709"/>
                <a:gd name="connsiteX83" fmla="*/ 168094 w 697622"/>
                <a:gd name="connsiteY83" fmla="*/ 58912 h 875709"/>
                <a:gd name="connsiteX84" fmla="*/ 194173 w 697622"/>
                <a:gd name="connsiteY84" fmla="*/ 104089 h 875709"/>
                <a:gd name="connsiteX85" fmla="*/ 194173 w 697622"/>
                <a:gd name="connsiteY85" fmla="*/ 104089 h 875709"/>
                <a:gd name="connsiteX86" fmla="*/ 321675 w 697622"/>
                <a:gd name="connsiteY86" fmla="*/ 540210 h 875709"/>
                <a:gd name="connsiteX87" fmla="*/ 348811 w 697622"/>
                <a:gd name="connsiteY87" fmla="*/ 567347 h 875709"/>
                <a:gd name="connsiteX88" fmla="*/ 375948 w 697622"/>
                <a:gd name="connsiteY88" fmla="*/ 540210 h 875709"/>
                <a:gd name="connsiteX89" fmla="*/ 348811 w 697622"/>
                <a:gd name="connsiteY89" fmla="*/ 513074 h 875709"/>
                <a:gd name="connsiteX90" fmla="*/ 321675 w 697622"/>
                <a:gd name="connsiteY90" fmla="*/ 540210 h 87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697622" h="875709">
                  <a:moveTo>
                    <a:pt x="289471" y="832447"/>
                  </a:moveTo>
                  <a:lnTo>
                    <a:pt x="289471" y="839724"/>
                  </a:lnTo>
                  <a:cubicBezTo>
                    <a:pt x="289471" y="859517"/>
                    <a:pt x="305663" y="875709"/>
                    <a:pt x="325456" y="875709"/>
                  </a:cubicBezTo>
                  <a:lnTo>
                    <a:pt x="372157" y="875709"/>
                  </a:lnTo>
                  <a:cubicBezTo>
                    <a:pt x="391950" y="875709"/>
                    <a:pt x="408143" y="859517"/>
                    <a:pt x="408143" y="839724"/>
                  </a:cubicBezTo>
                  <a:lnTo>
                    <a:pt x="408143" y="832447"/>
                  </a:lnTo>
                  <a:lnTo>
                    <a:pt x="289471" y="832447"/>
                  </a:lnTo>
                  <a:lnTo>
                    <a:pt x="289471" y="832447"/>
                  </a:lnTo>
                  <a:close/>
                  <a:moveTo>
                    <a:pt x="409076" y="803739"/>
                  </a:moveTo>
                  <a:cubicBezTo>
                    <a:pt x="428869" y="803739"/>
                    <a:pt x="445061" y="787546"/>
                    <a:pt x="445061" y="767753"/>
                  </a:cubicBezTo>
                  <a:lnTo>
                    <a:pt x="445061" y="760476"/>
                  </a:lnTo>
                  <a:lnTo>
                    <a:pt x="252561" y="760476"/>
                  </a:lnTo>
                  <a:lnTo>
                    <a:pt x="252561" y="767753"/>
                  </a:lnTo>
                  <a:cubicBezTo>
                    <a:pt x="252561" y="787546"/>
                    <a:pt x="268754" y="803739"/>
                    <a:pt x="288547" y="803739"/>
                  </a:cubicBezTo>
                  <a:lnTo>
                    <a:pt x="409076" y="803739"/>
                  </a:lnTo>
                  <a:lnTo>
                    <a:pt x="409076" y="803739"/>
                  </a:lnTo>
                  <a:close/>
                  <a:moveTo>
                    <a:pt x="216576" y="688496"/>
                  </a:moveTo>
                  <a:lnTo>
                    <a:pt x="216576" y="695773"/>
                  </a:lnTo>
                  <a:cubicBezTo>
                    <a:pt x="216576" y="715566"/>
                    <a:pt x="232768" y="731758"/>
                    <a:pt x="252561" y="731758"/>
                  </a:cubicBezTo>
                  <a:lnTo>
                    <a:pt x="445061" y="731758"/>
                  </a:lnTo>
                  <a:cubicBezTo>
                    <a:pt x="464854" y="731758"/>
                    <a:pt x="481047" y="715566"/>
                    <a:pt x="481047" y="695773"/>
                  </a:cubicBezTo>
                  <a:lnTo>
                    <a:pt x="481047" y="688496"/>
                  </a:lnTo>
                  <a:lnTo>
                    <a:pt x="216576" y="688496"/>
                  </a:lnTo>
                  <a:lnTo>
                    <a:pt x="216576" y="688496"/>
                  </a:lnTo>
                  <a:close/>
                  <a:moveTo>
                    <a:pt x="348811" y="141380"/>
                  </a:moveTo>
                  <a:cubicBezTo>
                    <a:pt x="471122" y="141380"/>
                    <a:pt x="570277" y="240535"/>
                    <a:pt x="570277" y="362845"/>
                  </a:cubicBezTo>
                  <a:cubicBezTo>
                    <a:pt x="570277" y="485842"/>
                    <a:pt x="491705" y="478488"/>
                    <a:pt x="481047" y="659787"/>
                  </a:cubicBezTo>
                  <a:lnTo>
                    <a:pt x="216576" y="659787"/>
                  </a:lnTo>
                  <a:cubicBezTo>
                    <a:pt x="205917" y="478488"/>
                    <a:pt x="127346" y="485842"/>
                    <a:pt x="127346" y="362845"/>
                  </a:cubicBezTo>
                  <a:cubicBezTo>
                    <a:pt x="127346" y="240525"/>
                    <a:pt x="226501" y="141380"/>
                    <a:pt x="348811" y="141380"/>
                  </a:cubicBezTo>
                  <a:lnTo>
                    <a:pt x="348811" y="141380"/>
                  </a:lnTo>
                  <a:close/>
                  <a:moveTo>
                    <a:pt x="348811" y="196205"/>
                  </a:moveTo>
                  <a:lnTo>
                    <a:pt x="305587" y="242640"/>
                  </a:lnTo>
                  <a:lnTo>
                    <a:pt x="305587" y="437740"/>
                  </a:lnTo>
                  <a:cubicBezTo>
                    <a:pt x="276993" y="453152"/>
                    <a:pt x="257552" y="483365"/>
                    <a:pt x="257552" y="518131"/>
                  </a:cubicBezTo>
                  <a:cubicBezTo>
                    <a:pt x="257552" y="568528"/>
                    <a:pt x="298415" y="609391"/>
                    <a:pt x="348811" y="609391"/>
                  </a:cubicBezTo>
                  <a:cubicBezTo>
                    <a:pt x="399208" y="609391"/>
                    <a:pt x="440070" y="568528"/>
                    <a:pt x="440070" y="518131"/>
                  </a:cubicBezTo>
                  <a:cubicBezTo>
                    <a:pt x="440070" y="483375"/>
                    <a:pt x="420630" y="453152"/>
                    <a:pt x="392036" y="437740"/>
                  </a:cubicBezTo>
                  <a:lnTo>
                    <a:pt x="392036" y="353216"/>
                  </a:lnTo>
                  <a:lnTo>
                    <a:pt x="365947" y="329584"/>
                  </a:lnTo>
                  <a:lnTo>
                    <a:pt x="392036" y="305953"/>
                  </a:lnTo>
                  <a:lnTo>
                    <a:pt x="365947" y="282331"/>
                  </a:lnTo>
                  <a:lnTo>
                    <a:pt x="392036" y="258699"/>
                  </a:lnTo>
                  <a:lnTo>
                    <a:pt x="392036" y="242630"/>
                  </a:lnTo>
                  <a:lnTo>
                    <a:pt x="348811" y="196205"/>
                  </a:lnTo>
                  <a:lnTo>
                    <a:pt x="348811" y="196205"/>
                  </a:lnTo>
                  <a:close/>
                  <a:moveTo>
                    <a:pt x="363166" y="66513"/>
                  </a:moveTo>
                  <a:cubicBezTo>
                    <a:pt x="363166" y="74438"/>
                    <a:pt x="356736" y="80867"/>
                    <a:pt x="348811" y="80867"/>
                  </a:cubicBezTo>
                  <a:cubicBezTo>
                    <a:pt x="340887" y="80867"/>
                    <a:pt x="334457" y="74438"/>
                    <a:pt x="334457" y="66513"/>
                  </a:cubicBezTo>
                  <a:lnTo>
                    <a:pt x="334457" y="14354"/>
                  </a:lnTo>
                  <a:cubicBezTo>
                    <a:pt x="334457" y="6429"/>
                    <a:pt x="340887" y="0"/>
                    <a:pt x="348811" y="0"/>
                  </a:cubicBezTo>
                  <a:cubicBezTo>
                    <a:pt x="356736" y="0"/>
                    <a:pt x="363166" y="6429"/>
                    <a:pt x="363166" y="14354"/>
                  </a:cubicBezTo>
                  <a:lnTo>
                    <a:pt x="363166" y="66513"/>
                  </a:lnTo>
                  <a:lnTo>
                    <a:pt x="363166" y="66513"/>
                  </a:lnTo>
                  <a:close/>
                  <a:moveTo>
                    <a:pt x="645296" y="245945"/>
                  </a:moveTo>
                  <a:cubicBezTo>
                    <a:pt x="638448" y="249907"/>
                    <a:pt x="629685" y="247574"/>
                    <a:pt x="625722" y="240725"/>
                  </a:cubicBezTo>
                  <a:cubicBezTo>
                    <a:pt x="621760" y="233877"/>
                    <a:pt x="624093" y="225114"/>
                    <a:pt x="630942" y="221151"/>
                  </a:cubicBezTo>
                  <a:lnTo>
                    <a:pt x="676119" y="195072"/>
                  </a:lnTo>
                  <a:cubicBezTo>
                    <a:pt x="682967" y="191110"/>
                    <a:pt x="691730" y="193443"/>
                    <a:pt x="695693" y="200292"/>
                  </a:cubicBezTo>
                  <a:cubicBezTo>
                    <a:pt x="699655" y="207140"/>
                    <a:pt x="697322" y="215903"/>
                    <a:pt x="690473" y="219866"/>
                  </a:cubicBezTo>
                  <a:lnTo>
                    <a:pt x="645296" y="245945"/>
                  </a:lnTo>
                  <a:lnTo>
                    <a:pt x="645296" y="245945"/>
                  </a:lnTo>
                  <a:close/>
                  <a:moveTo>
                    <a:pt x="528234" y="118396"/>
                  </a:moveTo>
                  <a:cubicBezTo>
                    <a:pt x="524300" y="125244"/>
                    <a:pt x="515566" y="127597"/>
                    <a:pt x="508717" y="123663"/>
                  </a:cubicBezTo>
                  <a:cubicBezTo>
                    <a:pt x="501869" y="119729"/>
                    <a:pt x="499516" y="110995"/>
                    <a:pt x="503450" y="104146"/>
                  </a:cubicBezTo>
                  <a:lnTo>
                    <a:pt x="529529" y="58969"/>
                  </a:lnTo>
                  <a:cubicBezTo>
                    <a:pt x="533463" y="52121"/>
                    <a:pt x="542197" y="49768"/>
                    <a:pt x="549046" y="53702"/>
                  </a:cubicBezTo>
                  <a:cubicBezTo>
                    <a:pt x="555894" y="57636"/>
                    <a:pt x="558247" y="66370"/>
                    <a:pt x="554313" y="73219"/>
                  </a:cubicBezTo>
                  <a:lnTo>
                    <a:pt x="528234" y="118396"/>
                  </a:lnTo>
                  <a:lnTo>
                    <a:pt x="528234" y="118396"/>
                  </a:lnTo>
                  <a:close/>
                  <a:moveTo>
                    <a:pt x="66681" y="221151"/>
                  </a:moveTo>
                  <a:cubicBezTo>
                    <a:pt x="73529" y="225114"/>
                    <a:pt x="75863" y="233877"/>
                    <a:pt x="71901" y="240725"/>
                  </a:cubicBezTo>
                  <a:cubicBezTo>
                    <a:pt x="67938" y="247574"/>
                    <a:pt x="59175" y="249907"/>
                    <a:pt x="52327" y="245945"/>
                  </a:cubicBezTo>
                  <a:lnTo>
                    <a:pt x="7150" y="219866"/>
                  </a:lnTo>
                  <a:cubicBezTo>
                    <a:pt x="301" y="215903"/>
                    <a:pt x="-2033" y="207140"/>
                    <a:pt x="1930" y="200292"/>
                  </a:cubicBezTo>
                  <a:cubicBezTo>
                    <a:pt x="5892" y="193443"/>
                    <a:pt x="14655" y="191110"/>
                    <a:pt x="21504" y="195072"/>
                  </a:cubicBezTo>
                  <a:lnTo>
                    <a:pt x="66681" y="221151"/>
                  </a:lnTo>
                  <a:lnTo>
                    <a:pt x="66681" y="221151"/>
                  </a:lnTo>
                  <a:close/>
                  <a:moveTo>
                    <a:pt x="194173" y="104089"/>
                  </a:moveTo>
                  <a:cubicBezTo>
                    <a:pt x="198135" y="110938"/>
                    <a:pt x="195802" y="119701"/>
                    <a:pt x="188953" y="123663"/>
                  </a:cubicBezTo>
                  <a:cubicBezTo>
                    <a:pt x="182105" y="127625"/>
                    <a:pt x="173342" y="125292"/>
                    <a:pt x="169379" y="118443"/>
                  </a:cubicBezTo>
                  <a:lnTo>
                    <a:pt x="143300" y="73266"/>
                  </a:lnTo>
                  <a:cubicBezTo>
                    <a:pt x="139338" y="66418"/>
                    <a:pt x="141671" y="57655"/>
                    <a:pt x="148520" y="53692"/>
                  </a:cubicBezTo>
                  <a:cubicBezTo>
                    <a:pt x="155368" y="49730"/>
                    <a:pt x="164131" y="52064"/>
                    <a:pt x="168094" y="58912"/>
                  </a:cubicBezTo>
                  <a:lnTo>
                    <a:pt x="194173" y="104089"/>
                  </a:lnTo>
                  <a:lnTo>
                    <a:pt x="194173" y="104089"/>
                  </a:lnTo>
                  <a:close/>
                  <a:moveTo>
                    <a:pt x="321675" y="540210"/>
                  </a:moveTo>
                  <a:cubicBezTo>
                    <a:pt x="321675" y="555193"/>
                    <a:pt x="333819" y="567347"/>
                    <a:pt x="348811" y="567347"/>
                  </a:cubicBezTo>
                  <a:cubicBezTo>
                    <a:pt x="363794" y="567347"/>
                    <a:pt x="375948" y="555203"/>
                    <a:pt x="375948" y="540210"/>
                  </a:cubicBezTo>
                  <a:cubicBezTo>
                    <a:pt x="375948" y="525218"/>
                    <a:pt x="363794" y="513074"/>
                    <a:pt x="348811" y="513074"/>
                  </a:cubicBezTo>
                  <a:cubicBezTo>
                    <a:pt x="333828" y="513074"/>
                    <a:pt x="321675" y="525228"/>
                    <a:pt x="321675" y="540210"/>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72" name="Agrupar 71">
            <a:extLst>
              <a:ext uri="{FF2B5EF4-FFF2-40B4-BE49-F238E27FC236}">
                <a16:creationId xmlns:a16="http://schemas.microsoft.com/office/drawing/2014/main" id="{CEDC874C-9AB2-E61B-D423-598C4212D9CD}"/>
              </a:ext>
            </a:extLst>
          </p:cNvPr>
          <p:cNvGrpSpPr/>
          <p:nvPr/>
        </p:nvGrpSpPr>
        <p:grpSpPr>
          <a:xfrm>
            <a:off x="4794112" y="1919491"/>
            <a:ext cx="659094" cy="659094"/>
            <a:chOff x="5733656" y="2988980"/>
            <a:chExt cx="562514" cy="562514"/>
          </a:xfrm>
        </p:grpSpPr>
        <p:sp>
          <p:nvSpPr>
            <p:cNvPr id="84" name="Elipse 83">
              <a:extLst>
                <a:ext uri="{FF2B5EF4-FFF2-40B4-BE49-F238E27FC236}">
                  <a16:creationId xmlns:a16="http://schemas.microsoft.com/office/drawing/2014/main" id="{51A9B902-81E6-A7AD-1EDC-5E6F6B8CCA80}"/>
                </a:ext>
              </a:extLst>
            </p:cNvPr>
            <p:cNvSpPr/>
            <p:nvPr/>
          </p:nvSpPr>
          <p:spPr>
            <a:xfrm>
              <a:off x="5733656" y="2988980"/>
              <a:ext cx="562514" cy="56251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5" name="Forma Livre: Forma 84">
              <a:extLst>
                <a:ext uri="{FF2B5EF4-FFF2-40B4-BE49-F238E27FC236}">
                  <a16:creationId xmlns:a16="http://schemas.microsoft.com/office/drawing/2014/main" id="{11906B0B-A3AB-16F1-FB66-8A837B3573B9}"/>
                </a:ext>
              </a:extLst>
            </p:cNvPr>
            <p:cNvSpPr/>
            <p:nvPr/>
          </p:nvSpPr>
          <p:spPr>
            <a:xfrm>
              <a:off x="5866950" y="3122967"/>
              <a:ext cx="286424" cy="286424"/>
            </a:xfrm>
            <a:custGeom>
              <a:avLst/>
              <a:gdLst>
                <a:gd name="connsiteX0" fmla="*/ 266700 w 266700"/>
                <a:gd name="connsiteY0" fmla="*/ 47625 h 266700"/>
                <a:gd name="connsiteX1" fmla="*/ 266700 w 266700"/>
                <a:gd name="connsiteY1" fmla="*/ 76200 h 266700"/>
                <a:gd name="connsiteX2" fmla="*/ 0 w 266700"/>
                <a:gd name="connsiteY2" fmla="*/ 76200 h 266700"/>
                <a:gd name="connsiteX3" fmla="*/ 0 w 266700"/>
                <a:gd name="connsiteY3" fmla="*/ 47625 h 266700"/>
                <a:gd name="connsiteX4" fmla="*/ 28575 w 266700"/>
                <a:gd name="connsiteY4" fmla="*/ 19050 h 266700"/>
                <a:gd name="connsiteX5" fmla="*/ 47625 w 266700"/>
                <a:gd name="connsiteY5" fmla="*/ 19050 h 266700"/>
                <a:gd name="connsiteX6" fmla="*/ 47625 w 266700"/>
                <a:gd name="connsiteY6" fmla="*/ 47625 h 266700"/>
                <a:gd name="connsiteX7" fmla="*/ 57150 w 266700"/>
                <a:gd name="connsiteY7" fmla="*/ 57150 h 266700"/>
                <a:gd name="connsiteX8" fmla="*/ 66675 w 266700"/>
                <a:gd name="connsiteY8" fmla="*/ 47625 h 266700"/>
                <a:gd name="connsiteX9" fmla="*/ 66675 w 266700"/>
                <a:gd name="connsiteY9" fmla="*/ 19050 h 266700"/>
                <a:gd name="connsiteX10" fmla="*/ 200025 w 266700"/>
                <a:gd name="connsiteY10" fmla="*/ 19050 h 266700"/>
                <a:gd name="connsiteX11" fmla="*/ 200025 w 266700"/>
                <a:gd name="connsiteY11" fmla="*/ 47625 h 266700"/>
                <a:gd name="connsiteX12" fmla="*/ 209550 w 266700"/>
                <a:gd name="connsiteY12" fmla="*/ 57150 h 266700"/>
                <a:gd name="connsiteX13" fmla="*/ 219075 w 266700"/>
                <a:gd name="connsiteY13" fmla="*/ 47625 h 266700"/>
                <a:gd name="connsiteX14" fmla="*/ 219075 w 266700"/>
                <a:gd name="connsiteY14" fmla="*/ 19050 h 266700"/>
                <a:gd name="connsiteX15" fmla="*/ 238125 w 266700"/>
                <a:gd name="connsiteY15" fmla="*/ 19050 h 266700"/>
                <a:gd name="connsiteX16" fmla="*/ 266700 w 266700"/>
                <a:gd name="connsiteY16" fmla="*/ 47625 h 266700"/>
                <a:gd name="connsiteX17" fmla="*/ 66675 w 266700"/>
                <a:gd name="connsiteY17" fmla="*/ 9525 h 266700"/>
                <a:gd name="connsiteX18" fmla="*/ 57150 w 266700"/>
                <a:gd name="connsiteY18" fmla="*/ 0 h 266700"/>
                <a:gd name="connsiteX19" fmla="*/ 47625 w 266700"/>
                <a:gd name="connsiteY19" fmla="*/ 9525 h 266700"/>
                <a:gd name="connsiteX20" fmla="*/ 47625 w 266700"/>
                <a:gd name="connsiteY20" fmla="*/ 19050 h 266700"/>
                <a:gd name="connsiteX21" fmla="*/ 66675 w 266700"/>
                <a:gd name="connsiteY21" fmla="*/ 19050 h 266700"/>
                <a:gd name="connsiteX22" fmla="*/ 219075 w 266700"/>
                <a:gd name="connsiteY22" fmla="*/ 9525 h 266700"/>
                <a:gd name="connsiteX23" fmla="*/ 209550 w 266700"/>
                <a:gd name="connsiteY23" fmla="*/ 0 h 266700"/>
                <a:gd name="connsiteX24" fmla="*/ 200025 w 266700"/>
                <a:gd name="connsiteY24" fmla="*/ 9525 h 266700"/>
                <a:gd name="connsiteX25" fmla="*/ 200025 w 266700"/>
                <a:gd name="connsiteY25" fmla="*/ 19050 h 266700"/>
                <a:gd name="connsiteX26" fmla="*/ 219075 w 266700"/>
                <a:gd name="connsiteY26" fmla="*/ 19050 h 266700"/>
                <a:gd name="connsiteX27" fmla="*/ 247650 w 266700"/>
                <a:gd name="connsiteY27" fmla="*/ 95250 h 266700"/>
                <a:gd name="connsiteX28" fmla="*/ 266700 w 266700"/>
                <a:gd name="connsiteY28" fmla="*/ 95250 h 266700"/>
                <a:gd name="connsiteX29" fmla="*/ 266700 w 266700"/>
                <a:gd name="connsiteY29" fmla="*/ 238125 h 266700"/>
                <a:gd name="connsiteX30" fmla="*/ 238125 w 266700"/>
                <a:gd name="connsiteY30" fmla="*/ 266700 h 266700"/>
                <a:gd name="connsiteX31" fmla="*/ 28575 w 266700"/>
                <a:gd name="connsiteY31" fmla="*/ 266700 h 266700"/>
                <a:gd name="connsiteX32" fmla="*/ 0 w 266700"/>
                <a:gd name="connsiteY32" fmla="*/ 238125 h 266700"/>
                <a:gd name="connsiteX33" fmla="*/ 0 w 266700"/>
                <a:gd name="connsiteY33" fmla="*/ 95250 h 266700"/>
                <a:gd name="connsiteX34" fmla="*/ 247650 w 266700"/>
                <a:gd name="connsiteY34" fmla="*/ 95250 h 266700"/>
                <a:gd name="connsiteX35" fmla="*/ 190500 w 266700"/>
                <a:gd name="connsiteY35" fmla="*/ 123825 h 266700"/>
                <a:gd name="connsiteX36" fmla="*/ 200025 w 266700"/>
                <a:gd name="connsiteY36" fmla="*/ 133350 h 266700"/>
                <a:gd name="connsiteX37" fmla="*/ 219075 w 266700"/>
                <a:gd name="connsiteY37" fmla="*/ 133350 h 266700"/>
                <a:gd name="connsiteX38" fmla="*/ 228600 w 266700"/>
                <a:gd name="connsiteY38" fmla="*/ 123825 h 266700"/>
                <a:gd name="connsiteX39" fmla="*/ 219075 w 266700"/>
                <a:gd name="connsiteY39" fmla="*/ 114300 h 266700"/>
                <a:gd name="connsiteX40" fmla="*/ 200025 w 266700"/>
                <a:gd name="connsiteY40" fmla="*/ 114300 h 266700"/>
                <a:gd name="connsiteX41" fmla="*/ 190500 w 266700"/>
                <a:gd name="connsiteY41" fmla="*/ 123825 h 266700"/>
                <a:gd name="connsiteX42" fmla="*/ 190500 w 266700"/>
                <a:gd name="connsiteY42" fmla="*/ 171450 h 266700"/>
                <a:gd name="connsiteX43" fmla="*/ 200025 w 266700"/>
                <a:gd name="connsiteY43" fmla="*/ 180975 h 266700"/>
                <a:gd name="connsiteX44" fmla="*/ 219075 w 266700"/>
                <a:gd name="connsiteY44" fmla="*/ 180975 h 266700"/>
                <a:gd name="connsiteX45" fmla="*/ 228600 w 266700"/>
                <a:gd name="connsiteY45" fmla="*/ 171450 h 266700"/>
                <a:gd name="connsiteX46" fmla="*/ 219075 w 266700"/>
                <a:gd name="connsiteY46" fmla="*/ 161925 h 266700"/>
                <a:gd name="connsiteX47" fmla="*/ 200025 w 266700"/>
                <a:gd name="connsiteY47" fmla="*/ 161925 h 266700"/>
                <a:gd name="connsiteX48" fmla="*/ 190500 w 266700"/>
                <a:gd name="connsiteY48" fmla="*/ 171450 h 266700"/>
                <a:gd name="connsiteX49" fmla="*/ 190500 w 266700"/>
                <a:gd name="connsiteY49" fmla="*/ 219075 h 266700"/>
                <a:gd name="connsiteX50" fmla="*/ 200025 w 266700"/>
                <a:gd name="connsiteY50" fmla="*/ 228600 h 266700"/>
                <a:gd name="connsiteX51" fmla="*/ 219075 w 266700"/>
                <a:gd name="connsiteY51" fmla="*/ 228600 h 266700"/>
                <a:gd name="connsiteX52" fmla="*/ 228600 w 266700"/>
                <a:gd name="connsiteY52" fmla="*/ 219075 h 266700"/>
                <a:gd name="connsiteX53" fmla="*/ 219075 w 266700"/>
                <a:gd name="connsiteY53" fmla="*/ 209550 h 266700"/>
                <a:gd name="connsiteX54" fmla="*/ 200025 w 266700"/>
                <a:gd name="connsiteY54" fmla="*/ 209550 h 266700"/>
                <a:gd name="connsiteX55" fmla="*/ 190500 w 266700"/>
                <a:gd name="connsiteY55" fmla="*/ 219075 h 266700"/>
                <a:gd name="connsiteX56" fmla="*/ 114300 w 266700"/>
                <a:gd name="connsiteY56" fmla="*/ 123825 h 266700"/>
                <a:gd name="connsiteX57" fmla="*/ 123825 w 266700"/>
                <a:gd name="connsiteY57" fmla="*/ 133350 h 266700"/>
                <a:gd name="connsiteX58" fmla="*/ 142875 w 266700"/>
                <a:gd name="connsiteY58" fmla="*/ 133350 h 266700"/>
                <a:gd name="connsiteX59" fmla="*/ 152400 w 266700"/>
                <a:gd name="connsiteY59" fmla="*/ 123825 h 266700"/>
                <a:gd name="connsiteX60" fmla="*/ 142875 w 266700"/>
                <a:gd name="connsiteY60" fmla="*/ 114300 h 266700"/>
                <a:gd name="connsiteX61" fmla="*/ 123825 w 266700"/>
                <a:gd name="connsiteY61" fmla="*/ 114300 h 266700"/>
                <a:gd name="connsiteX62" fmla="*/ 114300 w 266700"/>
                <a:gd name="connsiteY62" fmla="*/ 123825 h 266700"/>
                <a:gd name="connsiteX63" fmla="*/ 114300 w 266700"/>
                <a:gd name="connsiteY63" fmla="*/ 171450 h 266700"/>
                <a:gd name="connsiteX64" fmla="*/ 123825 w 266700"/>
                <a:gd name="connsiteY64" fmla="*/ 180975 h 266700"/>
                <a:gd name="connsiteX65" fmla="*/ 142875 w 266700"/>
                <a:gd name="connsiteY65" fmla="*/ 180975 h 266700"/>
                <a:gd name="connsiteX66" fmla="*/ 152400 w 266700"/>
                <a:gd name="connsiteY66" fmla="*/ 171450 h 266700"/>
                <a:gd name="connsiteX67" fmla="*/ 142875 w 266700"/>
                <a:gd name="connsiteY67" fmla="*/ 161925 h 266700"/>
                <a:gd name="connsiteX68" fmla="*/ 123825 w 266700"/>
                <a:gd name="connsiteY68" fmla="*/ 161925 h 266700"/>
                <a:gd name="connsiteX69" fmla="*/ 114300 w 266700"/>
                <a:gd name="connsiteY69" fmla="*/ 171450 h 266700"/>
                <a:gd name="connsiteX70" fmla="*/ 114300 w 266700"/>
                <a:gd name="connsiteY70" fmla="*/ 219075 h 266700"/>
                <a:gd name="connsiteX71" fmla="*/ 123825 w 266700"/>
                <a:gd name="connsiteY71" fmla="*/ 228600 h 266700"/>
                <a:gd name="connsiteX72" fmla="*/ 142875 w 266700"/>
                <a:gd name="connsiteY72" fmla="*/ 228600 h 266700"/>
                <a:gd name="connsiteX73" fmla="*/ 152400 w 266700"/>
                <a:gd name="connsiteY73" fmla="*/ 219075 h 266700"/>
                <a:gd name="connsiteX74" fmla="*/ 142875 w 266700"/>
                <a:gd name="connsiteY74" fmla="*/ 209550 h 266700"/>
                <a:gd name="connsiteX75" fmla="*/ 123825 w 266700"/>
                <a:gd name="connsiteY75" fmla="*/ 209550 h 266700"/>
                <a:gd name="connsiteX76" fmla="*/ 114300 w 266700"/>
                <a:gd name="connsiteY76" fmla="*/ 219075 h 266700"/>
                <a:gd name="connsiteX77" fmla="*/ 38100 w 266700"/>
                <a:gd name="connsiteY77" fmla="*/ 123825 h 266700"/>
                <a:gd name="connsiteX78" fmla="*/ 47625 w 266700"/>
                <a:gd name="connsiteY78" fmla="*/ 133350 h 266700"/>
                <a:gd name="connsiteX79" fmla="*/ 66675 w 266700"/>
                <a:gd name="connsiteY79" fmla="*/ 133350 h 266700"/>
                <a:gd name="connsiteX80" fmla="*/ 76200 w 266700"/>
                <a:gd name="connsiteY80" fmla="*/ 123825 h 266700"/>
                <a:gd name="connsiteX81" fmla="*/ 66675 w 266700"/>
                <a:gd name="connsiteY81" fmla="*/ 114300 h 266700"/>
                <a:gd name="connsiteX82" fmla="*/ 47625 w 266700"/>
                <a:gd name="connsiteY82" fmla="*/ 114300 h 266700"/>
                <a:gd name="connsiteX83" fmla="*/ 38100 w 266700"/>
                <a:gd name="connsiteY83" fmla="*/ 123825 h 266700"/>
                <a:gd name="connsiteX84" fmla="*/ 38100 w 266700"/>
                <a:gd name="connsiteY84" fmla="*/ 171450 h 266700"/>
                <a:gd name="connsiteX85" fmla="*/ 47625 w 266700"/>
                <a:gd name="connsiteY85" fmla="*/ 180975 h 266700"/>
                <a:gd name="connsiteX86" fmla="*/ 66675 w 266700"/>
                <a:gd name="connsiteY86" fmla="*/ 180975 h 266700"/>
                <a:gd name="connsiteX87" fmla="*/ 76200 w 266700"/>
                <a:gd name="connsiteY87" fmla="*/ 171450 h 266700"/>
                <a:gd name="connsiteX88" fmla="*/ 66675 w 266700"/>
                <a:gd name="connsiteY88" fmla="*/ 161925 h 266700"/>
                <a:gd name="connsiteX89" fmla="*/ 47625 w 266700"/>
                <a:gd name="connsiteY89" fmla="*/ 161925 h 266700"/>
                <a:gd name="connsiteX90" fmla="*/ 38100 w 266700"/>
                <a:gd name="connsiteY90" fmla="*/ 171450 h 266700"/>
                <a:gd name="connsiteX91" fmla="*/ 38100 w 266700"/>
                <a:gd name="connsiteY91" fmla="*/ 219075 h 266700"/>
                <a:gd name="connsiteX92" fmla="*/ 47625 w 266700"/>
                <a:gd name="connsiteY92" fmla="*/ 228600 h 266700"/>
                <a:gd name="connsiteX93" fmla="*/ 66675 w 266700"/>
                <a:gd name="connsiteY93" fmla="*/ 228600 h 266700"/>
                <a:gd name="connsiteX94" fmla="*/ 76200 w 266700"/>
                <a:gd name="connsiteY94" fmla="*/ 219075 h 266700"/>
                <a:gd name="connsiteX95" fmla="*/ 66675 w 266700"/>
                <a:gd name="connsiteY95" fmla="*/ 209550 h 266700"/>
                <a:gd name="connsiteX96" fmla="*/ 47625 w 266700"/>
                <a:gd name="connsiteY96" fmla="*/ 209550 h 266700"/>
                <a:gd name="connsiteX97" fmla="*/ 38100 w 266700"/>
                <a:gd name="connsiteY97" fmla="*/ 21907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66700" h="266700">
                  <a:moveTo>
                    <a:pt x="266700" y="47625"/>
                  </a:moveTo>
                  <a:lnTo>
                    <a:pt x="266700" y="76200"/>
                  </a:lnTo>
                  <a:lnTo>
                    <a:pt x="0" y="76200"/>
                  </a:lnTo>
                  <a:lnTo>
                    <a:pt x="0" y="47625"/>
                  </a:lnTo>
                  <a:cubicBezTo>
                    <a:pt x="0" y="31843"/>
                    <a:pt x="12793" y="19050"/>
                    <a:pt x="28575" y="19050"/>
                  </a:cubicBezTo>
                  <a:lnTo>
                    <a:pt x="47625" y="19050"/>
                  </a:lnTo>
                  <a:lnTo>
                    <a:pt x="47625" y="47625"/>
                  </a:lnTo>
                  <a:cubicBezTo>
                    <a:pt x="47625" y="52886"/>
                    <a:pt x="51889" y="57150"/>
                    <a:pt x="57150" y="57150"/>
                  </a:cubicBezTo>
                  <a:cubicBezTo>
                    <a:pt x="62411" y="57150"/>
                    <a:pt x="66675" y="52886"/>
                    <a:pt x="66675" y="47625"/>
                  </a:cubicBezTo>
                  <a:lnTo>
                    <a:pt x="66675" y="19050"/>
                  </a:lnTo>
                  <a:lnTo>
                    <a:pt x="200025" y="19050"/>
                  </a:lnTo>
                  <a:lnTo>
                    <a:pt x="200025" y="47625"/>
                  </a:lnTo>
                  <a:cubicBezTo>
                    <a:pt x="200025" y="52886"/>
                    <a:pt x="204290" y="57150"/>
                    <a:pt x="209550" y="57150"/>
                  </a:cubicBezTo>
                  <a:cubicBezTo>
                    <a:pt x="214811" y="57150"/>
                    <a:pt x="219075" y="52886"/>
                    <a:pt x="219075" y="47625"/>
                  </a:cubicBezTo>
                  <a:lnTo>
                    <a:pt x="219075" y="19050"/>
                  </a:lnTo>
                  <a:lnTo>
                    <a:pt x="238125" y="19050"/>
                  </a:lnTo>
                  <a:cubicBezTo>
                    <a:pt x="253907" y="19050"/>
                    <a:pt x="266700" y="31843"/>
                    <a:pt x="266700" y="47625"/>
                  </a:cubicBezTo>
                  <a:close/>
                  <a:moveTo>
                    <a:pt x="66675" y="9525"/>
                  </a:moveTo>
                  <a:cubicBezTo>
                    <a:pt x="66675" y="4264"/>
                    <a:pt x="62411" y="0"/>
                    <a:pt x="57150" y="0"/>
                  </a:cubicBezTo>
                  <a:cubicBezTo>
                    <a:pt x="51889" y="0"/>
                    <a:pt x="47625" y="4264"/>
                    <a:pt x="47625" y="9525"/>
                  </a:cubicBezTo>
                  <a:lnTo>
                    <a:pt x="47625" y="19050"/>
                  </a:lnTo>
                  <a:lnTo>
                    <a:pt x="66675" y="19050"/>
                  </a:lnTo>
                  <a:close/>
                  <a:moveTo>
                    <a:pt x="219075" y="9525"/>
                  </a:moveTo>
                  <a:cubicBezTo>
                    <a:pt x="219075" y="4264"/>
                    <a:pt x="214811" y="0"/>
                    <a:pt x="209550" y="0"/>
                  </a:cubicBezTo>
                  <a:cubicBezTo>
                    <a:pt x="204290" y="0"/>
                    <a:pt x="200025" y="4264"/>
                    <a:pt x="200025" y="9525"/>
                  </a:cubicBezTo>
                  <a:lnTo>
                    <a:pt x="200025" y="19050"/>
                  </a:lnTo>
                  <a:lnTo>
                    <a:pt x="219075" y="19050"/>
                  </a:lnTo>
                  <a:close/>
                  <a:moveTo>
                    <a:pt x="247650" y="95250"/>
                  </a:moveTo>
                  <a:lnTo>
                    <a:pt x="266700" y="95250"/>
                  </a:lnTo>
                  <a:lnTo>
                    <a:pt x="266700" y="238125"/>
                  </a:lnTo>
                  <a:cubicBezTo>
                    <a:pt x="266700" y="253907"/>
                    <a:pt x="253907" y="266700"/>
                    <a:pt x="238125" y="266700"/>
                  </a:cubicBezTo>
                  <a:lnTo>
                    <a:pt x="28575" y="266700"/>
                  </a:lnTo>
                  <a:cubicBezTo>
                    <a:pt x="12793" y="266700"/>
                    <a:pt x="0" y="253907"/>
                    <a:pt x="0" y="238125"/>
                  </a:cubicBezTo>
                  <a:lnTo>
                    <a:pt x="0" y="95250"/>
                  </a:lnTo>
                  <a:lnTo>
                    <a:pt x="247650" y="95250"/>
                  </a:lnTo>
                  <a:close/>
                  <a:moveTo>
                    <a:pt x="190500" y="123825"/>
                  </a:moveTo>
                  <a:cubicBezTo>
                    <a:pt x="190500" y="129086"/>
                    <a:pt x="194765" y="133350"/>
                    <a:pt x="200025" y="133350"/>
                  </a:cubicBezTo>
                  <a:lnTo>
                    <a:pt x="219075" y="133350"/>
                  </a:lnTo>
                  <a:cubicBezTo>
                    <a:pt x="224336" y="133350"/>
                    <a:pt x="228600" y="129086"/>
                    <a:pt x="228600" y="123825"/>
                  </a:cubicBezTo>
                  <a:cubicBezTo>
                    <a:pt x="228600" y="118564"/>
                    <a:pt x="224336" y="114300"/>
                    <a:pt x="219075" y="114300"/>
                  </a:cubicBezTo>
                  <a:lnTo>
                    <a:pt x="200025" y="114300"/>
                  </a:lnTo>
                  <a:cubicBezTo>
                    <a:pt x="194765" y="114300"/>
                    <a:pt x="190500" y="118564"/>
                    <a:pt x="190500" y="123825"/>
                  </a:cubicBezTo>
                  <a:close/>
                  <a:moveTo>
                    <a:pt x="190500" y="171450"/>
                  </a:moveTo>
                  <a:cubicBezTo>
                    <a:pt x="190500" y="176711"/>
                    <a:pt x="194765" y="180975"/>
                    <a:pt x="200025" y="180975"/>
                  </a:cubicBezTo>
                  <a:lnTo>
                    <a:pt x="219075" y="180975"/>
                  </a:lnTo>
                  <a:cubicBezTo>
                    <a:pt x="224336" y="180975"/>
                    <a:pt x="228600" y="176711"/>
                    <a:pt x="228600" y="171450"/>
                  </a:cubicBezTo>
                  <a:cubicBezTo>
                    <a:pt x="228600" y="166190"/>
                    <a:pt x="224336" y="161925"/>
                    <a:pt x="219075" y="161925"/>
                  </a:cubicBezTo>
                  <a:lnTo>
                    <a:pt x="200025" y="161925"/>
                  </a:lnTo>
                  <a:cubicBezTo>
                    <a:pt x="194765" y="161925"/>
                    <a:pt x="190500" y="166190"/>
                    <a:pt x="190500" y="171450"/>
                  </a:cubicBezTo>
                  <a:close/>
                  <a:moveTo>
                    <a:pt x="190500" y="219075"/>
                  </a:moveTo>
                  <a:cubicBezTo>
                    <a:pt x="190500" y="224336"/>
                    <a:pt x="194765" y="228600"/>
                    <a:pt x="200025" y="228600"/>
                  </a:cubicBezTo>
                  <a:lnTo>
                    <a:pt x="219075" y="228600"/>
                  </a:lnTo>
                  <a:cubicBezTo>
                    <a:pt x="224336" y="228600"/>
                    <a:pt x="228600" y="224336"/>
                    <a:pt x="228600" y="219075"/>
                  </a:cubicBezTo>
                  <a:cubicBezTo>
                    <a:pt x="228600" y="213815"/>
                    <a:pt x="224336" y="209550"/>
                    <a:pt x="219075" y="209550"/>
                  </a:cubicBezTo>
                  <a:lnTo>
                    <a:pt x="200025" y="209550"/>
                  </a:lnTo>
                  <a:cubicBezTo>
                    <a:pt x="194765" y="209550"/>
                    <a:pt x="190500" y="213815"/>
                    <a:pt x="190500" y="219075"/>
                  </a:cubicBezTo>
                  <a:close/>
                  <a:moveTo>
                    <a:pt x="114300" y="123825"/>
                  </a:moveTo>
                  <a:cubicBezTo>
                    <a:pt x="114300" y="129086"/>
                    <a:pt x="118564" y="133350"/>
                    <a:pt x="123825" y="133350"/>
                  </a:cubicBezTo>
                  <a:lnTo>
                    <a:pt x="142875" y="133350"/>
                  </a:lnTo>
                  <a:cubicBezTo>
                    <a:pt x="148136" y="133350"/>
                    <a:pt x="152400" y="129086"/>
                    <a:pt x="152400" y="123825"/>
                  </a:cubicBezTo>
                  <a:cubicBezTo>
                    <a:pt x="152400" y="118564"/>
                    <a:pt x="148136" y="114300"/>
                    <a:pt x="142875" y="114300"/>
                  </a:cubicBezTo>
                  <a:lnTo>
                    <a:pt x="123825" y="114300"/>
                  </a:lnTo>
                  <a:cubicBezTo>
                    <a:pt x="118564" y="114300"/>
                    <a:pt x="114300" y="118564"/>
                    <a:pt x="114300" y="123825"/>
                  </a:cubicBezTo>
                  <a:close/>
                  <a:moveTo>
                    <a:pt x="114300" y="171450"/>
                  </a:moveTo>
                  <a:cubicBezTo>
                    <a:pt x="114300" y="176711"/>
                    <a:pt x="118564" y="180975"/>
                    <a:pt x="123825" y="180975"/>
                  </a:cubicBezTo>
                  <a:lnTo>
                    <a:pt x="142875" y="180975"/>
                  </a:lnTo>
                  <a:cubicBezTo>
                    <a:pt x="148136" y="180975"/>
                    <a:pt x="152400" y="176711"/>
                    <a:pt x="152400" y="171450"/>
                  </a:cubicBezTo>
                  <a:cubicBezTo>
                    <a:pt x="152400" y="166190"/>
                    <a:pt x="148136" y="161925"/>
                    <a:pt x="142875" y="161925"/>
                  </a:cubicBezTo>
                  <a:lnTo>
                    <a:pt x="123825" y="161925"/>
                  </a:lnTo>
                  <a:cubicBezTo>
                    <a:pt x="118564" y="161925"/>
                    <a:pt x="114300" y="166190"/>
                    <a:pt x="114300" y="171450"/>
                  </a:cubicBezTo>
                  <a:close/>
                  <a:moveTo>
                    <a:pt x="114300" y="219075"/>
                  </a:moveTo>
                  <a:cubicBezTo>
                    <a:pt x="114300" y="224336"/>
                    <a:pt x="118564" y="228600"/>
                    <a:pt x="123825" y="228600"/>
                  </a:cubicBezTo>
                  <a:lnTo>
                    <a:pt x="142875" y="228600"/>
                  </a:lnTo>
                  <a:cubicBezTo>
                    <a:pt x="148136" y="228600"/>
                    <a:pt x="152400" y="224336"/>
                    <a:pt x="152400" y="219075"/>
                  </a:cubicBezTo>
                  <a:cubicBezTo>
                    <a:pt x="152400" y="213815"/>
                    <a:pt x="148136" y="209550"/>
                    <a:pt x="142875" y="209550"/>
                  </a:cubicBezTo>
                  <a:lnTo>
                    <a:pt x="123825" y="209550"/>
                  </a:lnTo>
                  <a:cubicBezTo>
                    <a:pt x="118564" y="209550"/>
                    <a:pt x="114300" y="213815"/>
                    <a:pt x="114300" y="219075"/>
                  </a:cubicBezTo>
                  <a:close/>
                  <a:moveTo>
                    <a:pt x="38100" y="123825"/>
                  </a:moveTo>
                  <a:cubicBezTo>
                    <a:pt x="38100" y="129086"/>
                    <a:pt x="42364" y="133350"/>
                    <a:pt x="47625" y="133350"/>
                  </a:cubicBezTo>
                  <a:lnTo>
                    <a:pt x="66675" y="133350"/>
                  </a:lnTo>
                  <a:cubicBezTo>
                    <a:pt x="71936" y="133350"/>
                    <a:pt x="76200" y="129086"/>
                    <a:pt x="76200" y="123825"/>
                  </a:cubicBezTo>
                  <a:cubicBezTo>
                    <a:pt x="76200" y="118564"/>
                    <a:pt x="71936" y="114300"/>
                    <a:pt x="66675" y="114300"/>
                  </a:cubicBezTo>
                  <a:lnTo>
                    <a:pt x="47625" y="114300"/>
                  </a:lnTo>
                  <a:cubicBezTo>
                    <a:pt x="42364" y="114300"/>
                    <a:pt x="38100" y="118564"/>
                    <a:pt x="38100" y="123825"/>
                  </a:cubicBezTo>
                  <a:close/>
                  <a:moveTo>
                    <a:pt x="38100" y="171450"/>
                  </a:moveTo>
                  <a:cubicBezTo>
                    <a:pt x="38100" y="176711"/>
                    <a:pt x="42364" y="180975"/>
                    <a:pt x="47625" y="180975"/>
                  </a:cubicBezTo>
                  <a:lnTo>
                    <a:pt x="66675" y="180975"/>
                  </a:lnTo>
                  <a:cubicBezTo>
                    <a:pt x="71936" y="180975"/>
                    <a:pt x="76200" y="176711"/>
                    <a:pt x="76200" y="171450"/>
                  </a:cubicBezTo>
                  <a:cubicBezTo>
                    <a:pt x="76200" y="166190"/>
                    <a:pt x="71936" y="161925"/>
                    <a:pt x="66675" y="161925"/>
                  </a:cubicBezTo>
                  <a:lnTo>
                    <a:pt x="47625" y="161925"/>
                  </a:lnTo>
                  <a:cubicBezTo>
                    <a:pt x="42364" y="161925"/>
                    <a:pt x="38100" y="166190"/>
                    <a:pt x="38100" y="171450"/>
                  </a:cubicBezTo>
                  <a:close/>
                  <a:moveTo>
                    <a:pt x="38100" y="219075"/>
                  </a:moveTo>
                  <a:cubicBezTo>
                    <a:pt x="38100" y="224336"/>
                    <a:pt x="42364" y="228600"/>
                    <a:pt x="47625" y="228600"/>
                  </a:cubicBezTo>
                  <a:lnTo>
                    <a:pt x="66675" y="228600"/>
                  </a:lnTo>
                  <a:cubicBezTo>
                    <a:pt x="71936" y="228600"/>
                    <a:pt x="76200" y="224336"/>
                    <a:pt x="76200" y="219075"/>
                  </a:cubicBezTo>
                  <a:cubicBezTo>
                    <a:pt x="76200" y="213815"/>
                    <a:pt x="71936" y="209550"/>
                    <a:pt x="66675" y="209550"/>
                  </a:cubicBezTo>
                  <a:lnTo>
                    <a:pt x="47625" y="209550"/>
                  </a:lnTo>
                  <a:cubicBezTo>
                    <a:pt x="42364" y="209550"/>
                    <a:pt x="38100" y="213815"/>
                    <a:pt x="38100" y="219075"/>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86" name="Elipse 85">
            <a:extLst>
              <a:ext uri="{FF2B5EF4-FFF2-40B4-BE49-F238E27FC236}">
                <a16:creationId xmlns:a16="http://schemas.microsoft.com/office/drawing/2014/main" id="{B9E51C48-1675-39C2-3828-8054C17C6FAD}"/>
              </a:ext>
            </a:extLst>
          </p:cNvPr>
          <p:cNvSpPr/>
          <p:nvPr/>
        </p:nvSpPr>
        <p:spPr>
          <a:xfrm>
            <a:off x="2540304" y="1919491"/>
            <a:ext cx="659094" cy="65909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87" name="Agrupar 86">
            <a:extLst>
              <a:ext uri="{FF2B5EF4-FFF2-40B4-BE49-F238E27FC236}">
                <a16:creationId xmlns:a16="http://schemas.microsoft.com/office/drawing/2014/main" id="{9AE503A5-A165-F151-60CA-23E6C43FF8CE}"/>
              </a:ext>
            </a:extLst>
          </p:cNvPr>
          <p:cNvGrpSpPr/>
          <p:nvPr/>
        </p:nvGrpSpPr>
        <p:grpSpPr>
          <a:xfrm>
            <a:off x="3309214" y="2165591"/>
            <a:ext cx="180000" cy="180000"/>
            <a:chOff x="8313122" y="2344436"/>
            <a:chExt cx="373665" cy="373665"/>
          </a:xfrm>
        </p:grpSpPr>
        <p:sp>
          <p:nvSpPr>
            <p:cNvPr id="88" name="Elipse 87">
              <a:extLst>
                <a:ext uri="{FF2B5EF4-FFF2-40B4-BE49-F238E27FC236}">
                  <a16:creationId xmlns:a16="http://schemas.microsoft.com/office/drawing/2014/main" id="{D6196068-8A8E-E8ED-3112-0F5C733FF425}"/>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9" name="Seta: Divisa 88">
              <a:extLst>
                <a:ext uri="{FF2B5EF4-FFF2-40B4-BE49-F238E27FC236}">
                  <a16:creationId xmlns:a16="http://schemas.microsoft.com/office/drawing/2014/main" id="{927EF8BE-DB5D-8ACC-DD9D-DA1C7D7C81DD}"/>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90" name="Agrupar 89">
            <a:extLst>
              <a:ext uri="{FF2B5EF4-FFF2-40B4-BE49-F238E27FC236}">
                <a16:creationId xmlns:a16="http://schemas.microsoft.com/office/drawing/2014/main" id="{F5BC8A3A-35C9-FD9B-988E-E049F2B5F59C}"/>
              </a:ext>
            </a:extLst>
          </p:cNvPr>
          <p:cNvGrpSpPr/>
          <p:nvPr/>
        </p:nvGrpSpPr>
        <p:grpSpPr>
          <a:xfrm>
            <a:off x="3667208" y="1901648"/>
            <a:ext cx="659094" cy="659094"/>
            <a:chOff x="7812000" y="2988980"/>
            <a:chExt cx="562514" cy="562514"/>
          </a:xfrm>
        </p:grpSpPr>
        <p:sp>
          <p:nvSpPr>
            <p:cNvPr id="91" name="Elipse 90">
              <a:extLst>
                <a:ext uri="{FF2B5EF4-FFF2-40B4-BE49-F238E27FC236}">
                  <a16:creationId xmlns:a16="http://schemas.microsoft.com/office/drawing/2014/main" id="{2786C48A-69DE-F35F-9452-1B879EBABEA4}"/>
                </a:ext>
              </a:extLst>
            </p:cNvPr>
            <p:cNvSpPr/>
            <p:nvPr/>
          </p:nvSpPr>
          <p:spPr>
            <a:xfrm>
              <a:off x="7812000" y="2988980"/>
              <a:ext cx="562514" cy="56251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2" name="Gráfico 131">
              <a:extLst>
                <a:ext uri="{FF2B5EF4-FFF2-40B4-BE49-F238E27FC236}">
                  <a16:creationId xmlns:a16="http://schemas.microsoft.com/office/drawing/2014/main" id="{7B4E3B0D-17B4-9FC2-B698-A0C50AC1B963}"/>
                </a:ext>
              </a:extLst>
            </p:cNvPr>
            <p:cNvGrpSpPr/>
            <p:nvPr/>
          </p:nvGrpSpPr>
          <p:grpSpPr>
            <a:xfrm>
              <a:off x="7921468" y="3093308"/>
              <a:ext cx="343336" cy="343336"/>
              <a:chOff x="7991969" y="1574493"/>
              <a:chExt cx="523196" cy="523196"/>
            </a:xfrm>
            <a:solidFill>
              <a:srgbClr val="000000"/>
            </a:solidFill>
          </p:grpSpPr>
          <p:sp>
            <p:nvSpPr>
              <p:cNvPr id="93" name="Forma Livre: Forma 92">
                <a:extLst>
                  <a:ext uri="{FF2B5EF4-FFF2-40B4-BE49-F238E27FC236}">
                    <a16:creationId xmlns:a16="http://schemas.microsoft.com/office/drawing/2014/main" id="{AFDDA5F6-8BE4-8DC7-188F-46A8AF6445D8}"/>
                  </a:ext>
                </a:extLst>
              </p:cNvPr>
              <p:cNvSpPr/>
              <p:nvPr/>
            </p:nvSpPr>
            <p:spPr>
              <a:xfrm>
                <a:off x="8086517" y="1660930"/>
                <a:ext cx="193960" cy="185403"/>
              </a:xfrm>
              <a:custGeom>
                <a:avLst/>
                <a:gdLst>
                  <a:gd name="connsiteX0" fmla="*/ 105242 w 193960"/>
                  <a:gd name="connsiteY0" fmla="*/ 4703 h 185403"/>
                  <a:gd name="connsiteX1" fmla="*/ 96841 w 193960"/>
                  <a:gd name="connsiteY1" fmla="*/ -345 h 185403"/>
                  <a:gd name="connsiteX2" fmla="*/ 88440 w 193960"/>
                  <a:gd name="connsiteY2" fmla="*/ 4703 h 185403"/>
                  <a:gd name="connsiteX3" fmla="*/ 62332 w 193960"/>
                  <a:gd name="connsiteY3" fmla="*/ 53633 h 185403"/>
                  <a:gd name="connsiteX4" fmla="*/ 7725 w 193960"/>
                  <a:gd name="connsiteY4" fmla="*/ 63348 h 185403"/>
                  <a:gd name="connsiteX5" fmla="*/ 333 w 193960"/>
                  <a:gd name="connsiteY5" fmla="*/ 69778 h 185403"/>
                  <a:gd name="connsiteX6" fmla="*/ 2524 w 193960"/>
                  <a:gd name="connsiteY6" fmla="*/ 79332 h 185403"/>
                  <a:gd name="connsiteX7" fmla="*/ 40996 w 193960"/>
                  <a:gd name="connsiteY7" fmla="*/ 119279 h 185403"/>
                  <a:gd name="connsiteX8" fmla="*/ 33356 w 193960"/>
                  <a:gd name="connsiteY8" fmla="*/ 174220 h 185403"/>
                  <a:gd name="connsiteX9" fmla="*/ 37195 w 193960"/>
                  <a:gd name="connsiteY9" fmla="*/ 183240 h 185403"/>
                  <a:gd name="connsiteX10" fmla="*/ 46958 w 193960"/>
                  <a:gd name="connsiteY10" fmla="*/ 184097 h 185403"/>
                  <a:gd name="connsiteX11" fmla="*/ 96841 w 193960"/>
                  <a:gd name="connsiteY11" fmla="*/ 159856 h 185403"/>
                  <a:gd name="connsiteX12" fmla="*/ 146733 w 193960"/>
                  <a:gd name="connsiteY12" fmla="*/ 184097 h 185403"/>
                  <a:gd name="connsiteX13" fmla="*/ 156486 w 193960"/>
                  <a:gd name="connsiteY13" fmla="*/ 183240 h 185403"/>
                  <a:gd name="connsiteX14" fmla="*/ 160325 w 193960"/>
                  <a:gd name="connsiteY14" fmla="*/ 174220 h 185403"/>
                  <a:gd name="connsiteX15" fmla="*/ 152686 w 193960"/>
                  <a:gd name="connsiteY15" fmla="*/ 119279 h 185403"/>
                  <a:gd name="connsiteX16" fmla="*/ 191157 w 193960"/>
                  <a:gd name="connsiteY16" fmla="*/ 79332 h 185403"/>
                  <a:gd name="connsiteX17" fmla="*/ 193357 w 193960"/>
                  <a:gd name="connsiteY17" fmla="*/ 69778 h 185403"/>
                  <a:gd name="connsiteX18" fmla="*/ 185966 w 193960"/>
                  <a:gd name="connsiteY18" fmla="*/ 63348 h 185403"/>
                  <a:gd name="connsiteX19" fmla="*/ 131359 w 193960"/>
                  <a:gd name="connsiteY19" fmla="*/ 53633 h 185403"/>
                  <a:gd name="connsiteX20" fmla="*/ 105242 w 193960"/>
                  <a:gd name="connsiteY20" fmla="*/ 4703 h 185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60" h="185403">
                    <a:moveTo>
                      <a:pt x="105242" y="4703"/>
                    </a:moveTo>
                    <a:cubicBezTo>
                      <a:pt x="103594" y="1598"/>
                      <a:pt x="100355" y="-345"/>
                      <a:pt x="96841" y="-345"/>
                    </a:cubicBezTo>
                    <a:cubicBezTo>
                      <a:pt x="93326" y="-345"/>
                      <a:pt x="90097" y="1598"/>
                      <a:pt x="88440" y="4703"/>
                    </a:cubicBezTo>
                    <a:lnTo>
                      <a:pt x="62332" y="53633"/>
                    </a:lnTo>
                    <a:cubicBezTo>
                      <a:pt x="62332" y="53633"/>
                      <a:pt x="7725" y="63348"/>
                      <a:pt x="7725" y="63348"/>
                    </a:cubicBezTo>
                    <a:cubicBezTo>
                      <a:pt x="4258" y="63958"/>
                      <a:pt x="1419" y="66435"/>
                      <a:pt x="333" y="69778"/>
                    </a:cubicBezTo>
                    <a:cubicBezTo>
                      <a:pt x="-762" y="73121"/>
                      <a:pt x="86" y="76798"/>
                      <a:pt x="2524" y="79332"/>
                    </a:cubicBezTo>
                    <a:lnTo>
                      <a:pt x="40996" y="119279"/>
                    </a:lnTo>
                    <a:cubicBezTo>
                      <a:pt x="40996" y="119279"/>
                      <a:pt x="33356" y="174220"/>
                      <a:pt x="33356" y="174220"/>
                    </a:cubicBezTo>
                    <a:cubicBezTo>
                      <a:pt x="32871" y="177706"/>
                      <a:pt x="34347" y="181173"/>
                      <a:pt x="37195" y="183240"/>
                    </a:cubicBezTo>
                    <a:cubicBezTo>
                      <a:pt x="40043" y="185307"/>
                      <a:pt x="43796" y="185640"/>
                      <a:pt x="46958" y="184097"/>
                    </a:cubicBezTo>
                    <a:lnTo>
                      <a:pt x="96841" y="159856"/>
                    </a:lnTo>
                    <a:cubicBezTo>
                      <a:pt x="96841" y="159856"/>
                      <a:pt x="146733" y="184097"/>
                      <a:pt x="146733" y="184097"/>
                    </a:cubicBezTo>
                    <a:cubicBezTo>
                      <a:pt x="149895" y="185640"/>
                      <a:pt x="153648" y="185307"/>
                      <a:pt x="156486" y="183240"/>
                    </a:cubicBezTo>
                    <a:cubicBezTo>
                      <a:pt x="159334" y="181173"/>
                      <a:pt x="160811" y="177706"/>
                      <a:pt x="160325" y="174220"/>
                    </a:cubicBezTo>
                    <a:lnTo>
                      <a:pt x="152686" y="119279"/>
                    </a:lnTo>
                    <a:cubicBezTo>
                      <a:pt x="152686" y="119279"/>
                      <a:pt x="191157" y="79332"/>
                      <a:pt x="191157" y="79332"/>
                    </a:cubicBezTo>
                    <a:cubicBezTo>
                      <a:pt x="193596" y="76798"/>
                      <a:pt x="194443" y="73121"/>
                      <a:pt x="193357" y="69778"/>
                    </a:cubicBezTo>
                    <a:cubicBezTo>
                      <a:pt x="192272" y="66435"/>
                      <a:pt x="189424" y="63958"/>
                      <a:pt x="185966" y="63348"/>
                    </a:cubicBezTo>
                    <a:lnTo>
                      <a:pt x="131359" y="53633"/>
                    </a:lnTo>
                    <a:cubicBezTo>
                      <a:pt x="131359" y="53633"/>
                      <a:pt x="105242" y="4703"/>
                      <a:pt x="105242" y="4703"/>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Forma Livre: Forma 93">
                <a:extLst>
                  <a:ext uri="{FF2B5EF4-FFF2-40B4-BE49-F238E27FC236}">
                    <a16:creationId xmlns:a16="http://schemas.microsoft.com/office/drawing/2014/main" id="{A5AEC0DF-BA90-437B-DE5D-94E5A81EB5C2}"/>
                  </a:ext>
                </a:extLst>
              </p:cNvPr>
              <p:cNvSpPr/>
              <p:nvPr/>
            </p:nvSpPr>
            <p:spPr>
              <a:xfrm>
                <a:off x="7991969" y="1574493"/>
                <a:ext cx="523196" cy="523196"/>
              </a:xfrm>
              <a:custGeom>
                <a:avLst/>
                <a:gdLst>
                  <a:gd name="connsiteX0" fmla="*/ 299602 w 523196"/>
                  <a:gd name="connsiteY0" fmla="*/ 338076 h 523196"/>
                  <a:gd name="connsiteX1" fmla="*/ 331806 w 523196"/>
                  <a:gd name="connsiteY1" fmla="*/ 370270 h 523196"/>
                  <a:gd name="connsiteX2" fmla="*/ 337978 w 523196"/>
                  <a:gd name="connsiteY2" fmla="*/ 393254 h 523196"/>
                  <a:gd name="connsiteX3" fmla="*/ 460603 w 523196"/>
                  <a:gd name="connsiteY3" fmla="*/ 515879 h 523196"/>
                  <a:gd name="connsiteX4" fmla="*/ 494283 w 523196"/>
                  <a:gd name="connsiteY4" fmla="*/ 515879 h 523196"/>
                  <a:gd name="connsiteX5" fmla="*/ 516086 w 523196"/>
                  <a:gd name="connsiteY5" fmla="*/ 494076 h 523196"/>
                  <a:gd name="connsiteX6" fmla="*/ 516086 w 523196"/>
                  <a:gd name="connsiteY6" fmla="*/ 460396 h 523196"/>
                  <a:gd name="connsiteX7" fmla="*/ 393461 w 523196"/>
                  <a:gd name="connsiteY7" fmla="*/ 337771 h 523196"/>
                  <a:gd name="connsiteX8" fmla="*/ 370477 w 523196"/>
                  <a:gd name="connsiteY8" fmla="*/ 331599 h 523196"/>
                  <a:gd name="connsiteX9" fmla="*/ 338283 w 523196"/>
                  <a:gd name="connsiteY9" fmla="*/ 299395 h 523196"/>
                  <a:gd name="connsiteX10" fmla="*/ 320338 w 523196"/>
                  <a:gd name="connsiteY10" fmla="*/ 54612 h 523196"/>
                  <a:gd name="connsiteX11" fmla="*/ 54819 w 523196"/>
                  <a:gd name="connsiteY11" fmla="*/ 54612 h 523196"/>
                  <a:gd name="connsiteX12" fmla="*/ 54819 w 523196"/>
                  <a:gd name="connsiteY12" fmla="*/ 320131 h 523196"/>
                  <a:gd name="connsiteX13" fmla="*/ 299602 w 523196"/>
                  <a:gd name="connsiteY13" fmla="*/ 338076 h 523196"/>
                  <a:gd name="connsiteX14" fmla="*/ 485844 w 523196"/>
                  <a:gd name="connsiteY14" fmla="*/ 457100 h 523196"/>
                  <a:gd name="connsiteX15" fmla="*/ 502618 w 523196"/>
                  <a:gd name="connsiteY15" fmla="*/ 473864 h 523196"/>
                  <a:gd name="connsiteX16" fmla="*/ 502618 w 523196"/>
                  <a:gd name="connsiteY16" fmla="*/ 480599 h 523196"/>
                  <a:gd name="connsiteX17" fmla="*/ 480805 w 523196"/>
                  <a:gd name="connsiteY17" fmla="*/ 502411 h 523196"/>
                  <a:gd name="connsiteX18" fmla="*/ 474071 w 523196"/>
                  <a:gd name="connsiteY18" fmla="*/ 502411 h 523196"/>
                  <a:gd name="connsiteX19" fmla="*/ 457307 w 523196"/>
                  <a:gd name="connsiteY19" fmla="*/ 485637 h 523196"/>
                  <a:gd name="connsiteX20" fmla="*/ 485844 w 523196"/>
                  <a:gd name="connsiteY20" fmla="*/ 457100 h 523196"/>
                  <a:gd name="connsiteX21" fmla="*/ 326081 w 523196"/>
                  <a:gd name="connsiteY21" fmla="*/ 314140 h 523196"/>
                  <a:gd name="connsiteX22" fmla="*/ 320338 w 523196"/>
                  <a:gd name="connsiteY22" fmla="*/ 320131 h 523196"/>
                  <a:gd name="connsiteX23" fmla="*/ 314347 w 523196"/>
                  <a:gd name="connsiteY23" fmla="*/ 325874 h 523196"/>
                  <a:gd name="connsiteX24" fmla="*/ 343017 w 523196"/>
                  <a:gd name="connsiteY24" fmla="*/ 354545 h 523196"/>
                  <a:gd name="connsiteX25" fmla="*/ 354752 w 523196"/>
                  <a:gd name="connsiteY25" fmla="*/ 342810 h 523196"/>
                  <a:gd name="connsiteX26" fmla="*/ 326081 w 523196"/>
                  <a:gd name="connsiteY26" fmla="*/ 314140 h 523196"/>
                  <a:gd name="connsiteX27" fmla="*/ 80022 w 523196"/>
                  <a:gd name="connsiteY27" fmla="*/ 79815 h 523196"/>
                  <a:gd name="connsiteX28" fmla="*/ 80022 w 523196"/>
                  <a:gd name="connsiteY28" fmla="*/ 294928 h 523196"/>
                  <a:gd name="connsiteX29" fmla="*/ 295135 w 523196"/>
                  <a:gd name="connsiteY29" fmla="*/ 294928 h 523196"/>
                  <a:gd name="connsiteX30" fmla="*/ 295135 w 523196"/>
                  <a:gd name="connsiteY30" fmla="*/ 79815 h 523196"/>
                  <a:gd name="connsiteX31" fmla="*/ 80022 w 523196"/>
                  <a:gd name="connsiteY31" fmla="*/ 79815 h 52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23196" h="523196">
                    <a:moveTo>
                      <a:pt x="299602" y="338076"/>
                    </a:moveTo>
                    <a:lnTo>
                      <a:pt x="331806" y="370270"/>
                    </a:lnTo>
                    <a:cubicBezTo>
                      <a:pt x="329691" y="378214"/>
                      <a:pt x="331758" y="387025"/>
                      <a:pt x="337978" y="393254"/>
                    </a:cubicBezTo>
                    <a:cubicBezTo>
                      <a:pt x="364229" y="419496"/>
                      <a:pt x="434352" y="489628"/>
                      <a:pt x="460603" y="515879"/>
                    </a:cubicBezTo>
                    <a:cubicBezTo>
                      <a:pt x="469899" y="525176"/>
                      <a:pt x="484977" y="525176"/>
                      <a:pt x="494283" y="515879"/>
                    </a:cubicBezTo>
                    <a:lnTo>
                      <a:pt x="516086" y="494076"/>
                    </a:lnTo>
                    <a:cubicBezTo>
                      <a:pt x="525383" y="484770"/>
                      <a:pt x="525383" y="469692"/>
                      <a:pt x="516086" y="460396"/>
                    </a:cubicBezTo>
                    <a:lnTo>
                      <a:pt x="393461" y="337771"/>
                    </a:lnTo>
                    <a:cubicBezTo>
                      <a:pt x="387232" y="331551"/>
                      <a:pt x="378421" y="329484"/>
                      <a:pt x="370477" y="331599"/>
                    </a:cubicBezTo>
                    <a:lnTo>
                      <a:pt x="338283" y="299395"/>
                    </a:lnTo>
                    <a:cubicBezTo>
                      <a:pt x="393023" y="225910"/>
                      <a:pt x="387051" y="121316"/>
                      <a:pt x="320338" y="54612"/>
                    </a:cubicBezTo>
                    <a:cubicBezTo>
                      <a:pt x="247071" y="-18664"/>
                      <a:pt x="128095" y="-18664"/>
                      <a:pt x="54819" y="54612"/>
                    </a:cubicBezTo>
                    <a:cubicBezTo>
                      <a:pt x="-18457" y="127888"/>
                      <a:pt x="-18457" y="246865"/>
                      <a:pt x="54819" y="320131"/>
                    </a:cubicBezTo>
                    <a:cubicBezTo>
                      <a:pt x="121522" y="386844"/>
                      <a:pt x="226116" y="392816"/>
                      <a:pt x="299602" y="338076"/>
                    </a:cubicBezTo>
                    <a:close/>
                    <a:moveTo>
                      <a:pt x="485844" y="457100"/>
                    </a:moveTo>
                    <a:lnTo>
                      <a:pt x="502618" y="473864"/>
                    </a:lnTo>
                    <a:cubicBezTo>
                      <a:pt x="504475" y="475731"/>
                      <a:pt x="504475" y="478741"/>
                      <a:pt x="502618" y="480599"/>
                    </a:cubicBezTo>
                    <a:cubicBezTo>
                      <a:pt x="502618" y="480599"/>
                      <a:pt x="480805" y="502411"/>
                      <a:pt x="480805" y="502411"/>
                    </a:cubicBezTo>
                    <a:cubicBezTo>
                      <a:pt x="478948" y="504268"/>
                      <a:pt x="475938" y="504268"/>
                      <a:pt x="474071" y="502411"/>
                    </a:cubicBezTo>
                    <a:lnTo>
                      <a:pt x="457307" y="485637"/>
                    </a:lnTo>
                    <a:lnTo>
                      <a:pt x="485844" y="457100"/>
                    </a:lnTo>
                    <a:close/>
                    <a:moveTo>
                      <a:pt x="326081" y="314140"/>
                    </a:moveTo>
                    <a:cubicBezTo>
                      <a:pt x="324214" y="316178"/>
                      <a:pt x="322309" y="318169"/>
                      <a:pt x="320338" y="320131"/>
                    </a:cubicBezTo>
                    <a:cubicBezTo>
                      <a:pt x="318376" y="322102"/>
                      <a:pt x="316385" y="324008"/>
                      <a:pt x="314347" y="325874"/>
                    </a:cubicBezTo>
                    <a:lnTo>
                      <a:pt x="343017" y="354545"/>
                    </a:lnTo>
                    <a:lnTo>
                      <a:pt x="354752" y="342810"/>
                    </a:lnTo>
                    <a:lnTo>
                      <a:pt x="326081" y="314140"/>
                    </a:lnTo>
                    <a:close/>
                    <a:moveTo>
                      <a:pt x="80022" y="79815"/>
                    </a:moveTo>
                    <a:cubicBezTo>
                      <a:pt x="20662" y="139175"/>
                      <a:pt x="20662" y="235568"/>
                      <a:pt x="80022" y="294928"/>
                    </a:cubicBezTo>
                    <a:cubicBezTo>
                      <a:pt x="139382" y="354287"/>
                      <a:pt x="235775" y="354287"/>
                      <a:pt x="295135" y="294928"/>
                    </a:cubicBezTo>
                    <a:cubicBezTo>
                      <a:pt x="354494" y="235568"/>
                      <a:pt x="354494" y="139175"/>
                      <a:pt x="295135" y="79815"/>
                    </a:cubicBezTo>
                    <a:cubicBezTo>
                      <a:pt x="235775" y="20455"/>
                      <a:pt x="139382" y="20455"/>
                      <a:pt x="80022" y="79815"/>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95" name="Agrupar 94">
            <a:extLst>
              <a:ext uri="{FF2B5EF4-FFF2-40B4-BE49-F238E27FC236}">
                <a16:creationId xmlns:a16="http://schemas.microsoft.com/office/drawing/2014/main" id="{A9865720-206C-8BD3-A441-FC551EFA039D}"/>
              </a:ext>
            </a:extLst>
          </p:cNvPr>
          <p:cNvGrpSpPr/>
          <p:nvPr/>
        </p:nvGrpSpPr>
        <p:grpSpPr>
          <a:xfrm>
            <a:off x="4436118" y="2158967"/>
            <a:ext cx="180000" cy="180000"/>
            <a:chOff x="8313122" y="2344436"/>
            <a:chExt cx="373665" cy="373665"/>
          </a:xfrm>
        </p:grpSpPr>
        <p:sp>
          <p:nvSpPr>
            <p:cNvPr id="96" name="Elipse 95">
              <a:extLst>
                <a:ext uri="{FF2B5EF4-FFF2-40B4-BE49-F238E27FC236}">
                  <a16:creationId xmlns:a16="http://schemas.microsoft.com/office/drawing/2014/main" id="{F0013691-AB77-CB24-6FD0-A986F042CDBC}"/>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Seta: Divisa 96">
              <a:extLst>
                <a:ext uri="{FF2B5EF4-FFF2-40B4-BE49-F238E27FC236}">
                  <a16:creationId xmlns:a16="http://schemas.microsoft.com/office/drawing/2014/main" id="{B72E0AF5-4786-5BFD-130D-C11FE5583B25}"/>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98" name="Elipse 97">
            <a:extLst>
              <a:ext uri="{FF2B5EF4-FFF2-40B4-BE49-F238E27FC236}">
                <a16:creationId xmlns:a16="http://schemas.microsoft.com/office/drawing/2014/main" id="{6F4207A9-74F9-7E32-2A32-2F41ACC8A96F}"/>
              </a:ext>
            </a:extLst>
          </p:cNvPr>
          <p:cNvSpPr/>
          <p:nvPr/>
        </p:nvSpPr>
        <p:spPr>
          <a:xfrm>
            <a:off x="7047920" y="1914902"/>
            <a:ext cx="659094" cy="65909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99" name="Agrupar 98">
            <a:extLst>
              <a:ext uri="{FF2B5EF4-FFF2-40B4-BE49-F238E27FC236}">
                <a16:creationId xmlns:a16="http://schemas.microsoft.com/office/drawing/2014/main" id="{48277FB5-3666-D7B3-9D60-299D122D0E53}"/>
              </a:ext>
            </a:extLst>
          </p:cNvPr>
          <p:cNvGrpSpPr/>
          <p:nvPr/>
        </p:nvGrpSpPr>
        <p:grpSpPr>
          <a:xfrm>
            <a:off x="6689926" y="2165593"/>
            <a:ext cx="180000" cy="180000"/>
            <a:chOff x="8313122" y="2344436"/>
            <a:chExt cx="373665" cy="373665"/>
          </a:xfrm>
        </p:grpSpPr>
        <p:sp>
          <p:nvSpPr>
            <p:cNvPr id="100" name="Elipse 99">
              <a:extLst>
                <a:ext uri="{FF2B5EF4-FFF2-40B4-BE49-F238E27FC236}">
                  <a16:creationId xmlns:a16="http://schemas.microsoft.com/office/drawing/2014/main" id="{240743B6-5D63-C1A4-4B01-3BBB4AE4684E}"/>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Seta: Divisa 100">
              <a:extLst>
                <a:ext uri="{FF2B5EF4-FFF2-40B4-BE49-F238E27FC236}">
                  <a16:creationId xmlns:a16="http://schemas.microsoft.com/office/drawing/2014/main" id="{B64618E0-4779-CBA7-B6F4-FE4EBADBB8F5}"/>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02" name="Agrupar 101">
            <a:extLst>
              <a:ext uri="{FF2B5EF4-FFF2-40B4-BE49-F238E27FC236}">
                <a16:creationId xmlns:a16="http://schemas.microsoft.com/office/drawing/2014/main" id="{BD863163-D55F-107B-B03D-217D7380D26F}"/>
              </a:ext>
            </a:extLst>
          </p:cNvPr>
          <p:cNvGrpSpPr/>
          <p:nvPr/>
        </p:nvGrpSpPr>
        <p:grpSpPr>
          <a:xfrm>
            <a:off x="8174830" y="1939378"/>
            <a:ext cx="659094" cy="659094"/>
            <a:chOff x="6772828" y="2988980"/>
            <a:chExt cx="562514" cy="562514"/>
          </a:xfrm>
        </p:grpSpPr>
        <p:sp>
          <p:nvSpPr>
            <p:cNvPr id="103" name="Elipse 102">
              <a:extLst>
                <a:ext uri="{FF2B5EF4-FFF2-40B4-BE49-F238E27FC236}">
                  <a16:creationId xmlns:a16="http://schemas.microsoft.com/office/drawing/2014/main" id="{3BE402BF-5734-6651-B6B4-AEFF900E6551}"/>
                </a:ext>
              </a:extLst>
            </p:cNvPr>
            <p:cNvSpPr/>
            <p:nvPr/>
          </p:nvSpPr>
          <p:spPr>
            <a:xfrm>
              <a:off x="6772828" y="2988980"/>
              <a:ext cx="562514" cy="56251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4" name="Gráfico 120">
              <a:extLst>
                <a:ext uri="{FF2B5EF4-FFF2-40B4-BE49-F238E27FC236}">
                  <a16:creationId xmlns:a16="http://schemas.microsoft.com/office/drawing/2014/main" id="{99C37756-DAA7-9D8D-0C54-2B58B5B2EBFD}"/>
                </a:ext>
              </a:extLst>
            </p:cNvPr>
            <p:cNvGrpSpPr/>
            <p:nvPr/>
          </p:nvGrpSpPr>
          <p:grpSpPr>
            <a:xfrm>
              <a:off x="6900123" y="3102898"/>
              <a:ext cx="301601" cy="301601"/>
              <a:chOff x="6370256" y="1697797"/>
              <a:chExt cx="1011320" cy="1011320"/>
            </a:xfrm>
            <a:solidFill>
              <a:srgbClr val="000000"/>
            </a:solidFill>
          </p:grpSpPr>
          <p:sp>
            <p:nvSpPr>
              <p:cNvPr id="105" name="Forma Livre: Forma 104">
                <a:extLst>
                  <a:ext uri="{FF2B5EF4-FFF2-40B4-BE49-F238E27FC236}">
                    <a16:creationId xmlns:a16="http://schemas.microsoft.com/office/drawing/2014/main" id="{7B5F7DC6-425F-14A4-DEAD-C669748E185F}"/>
                  </a:ext>
                </a:extLst>
              </p:cNvPr>
              <p:cNvSpPr/>
              <p:nvPr/>
            </p:nvSpPr>
            <p:spPr>
              <a:xfrm>
                <a:off x="6370256" y="1697797"/>
                <a:ext cx="1011320" cy="1011320"/>
              </a:xfrm>
              <a:custGeom>
                <a:avLst/>
                <a:gdLst>
                  <a:gd name="connsiteX0" fmla="*/ 962440 w 1011320"/>
                  <a:gd name="connsiteY0" fmla="*/ 368570 h 1011320"/>
                  <a:gd name="connsiteX1" fmla="*/ 885748 w 1011320"/>
                  <a:gd name="connsiteY1" fmla="*/ 368570 h 1011320"/>
                  <a:gd name="connsiteX2" fmla="*/ 858217 w 1011320"/>
                  <a:gd name="connsiteY2" fmla="*/ 301992 h 1011320"/>
                  <a:gd name="connsiteX3" fmla="*/ 904008 w 1011320"/>
                  <a:gd name="connsiteY3" fmla="*/ 256201 h 1011320"/>
                  <a:gd name="connsiteX4" fmla="*/ 904098 w 1011320"/>
                  <a:gd name="connsiteY4" fmla="*/ 196736 h 1011320"/>
                  <a:gd name="connsiteX5" fmla="*/ 904008 w 1011320"/>
                  <a:gd name="connsiteY5" fmla="*/ 196646 h 1011320"/>
                  <a:gd name="connsiteX6" fmla="*/ 796415 w 1011320"/>
                  <a:gd name="connsiteY6" fmla="*/ 89052 h 1011320"/>
                  <a:gd name="connsiteX7" fmla="*/ 736859 w 1011320"/>
                  <a:gd name="connsiteY7" fmla="*/ 89052 h 1011320"/>
                  <a:gd name="connsiteX8" fmla="*/ 691069 w 1011320"/>
                  <a:gd name="connsiteY8" fmla="*/ 134843 h 1011320"/>
                  <a:gd name="connsiteX9" fmla="*/ 623928 w 1011320"/>
                  <a:gd name="connsiteY9" fmla="*/ 107031 h 1011320"/>
                  <a:gd name="connsiteX10" fmla="*/ 623928 w 1011320"/>
                  <a:gd name="connsiteY10" fmla="*/ 42138 h 1011320"/>
                  <a:gd name="connsiteX11" fmla="*/ 581509 w 1011320"/>
                  <a:gd name="connsiteY11" fmla="*/ 0 h 1011320"/>
                  <a:gd name="connsiteX12" fmla="*/ 429811 w 1011320"/>
                  <a:gd name="connsiteY12" fmla="*/ 0 h 1011320"/>
                  <a:gd name="connsiteX13" fmla="*/ 387392 w 1011320"/>
                  <a:gd name="connsiteY13" fmla="*/ 42138 h 1011320"/>
                  <a:gd name="connsiteX14" fmla="*/ 387392 w 1011320"/>
                  <a:gd name="connsiteY14" fmla="*/ 107031 h 1011320"/>
                  <a:gd name="connsiteX15" fmla="*/ 320251 w 1011320"/>
                  <a:gd name="connsiteY15" fmla="*/ 134843 h 1011320"/>
                  <a:gd name="connsiteX16" fmla="*/ 274461 w 1011320"/>
                  <a:gd name="connsiteY16" fmla="*/ 89052 h 1011320"/>
                  <a:gd name="connsiteX17" fmla="*/ 214906 w 1011320"/>
                  <a:gd name="connsiteY17" fmla="*/ 89052 h 1011320"/>
                  <a:gd name="connsiteX18" fmla="*/ 107312 w 1011320"/>
                  <a:gd name="connsiteY18" fmla="*/ 196646 h 1011320"/>
                  <a:gd name="connsiteX19" fmla="*/ 107222 w 1011320"/>
                  <a:gd name="connsiteY19" fmla="*/ 256111 h 1011320"/>
                  <a:gd name="connsiteX20" fmla="*/ 107312 w 1011320"/>
                  <a:gd name="connsiteY20" fmla="*/ 256201 h 1011320"/>
                  <a:gd name="connsiteX21" fmla="*/ 153103 w 1011320"/>
                  <a:gd name="connsiteY21" fmla="*/ 301992 h 1011320"/>
                  <a:gd name="connsiteX22" fmla="*/ 125572 w 1011320"/>
                  <a:gd name="connsiteY22" fmla="*/ 368570 h 1011320"/>
                  <a:gd name="connsiteX23" fmla="*/ 48880 w 1011320"/>
                  <a:gd name="connsiteY23" fmla="*/ 368570 h 1011320"/>
                  <a:gd name="connsiteX24" fmla="*/ 0 w 1011320"/>
                  <a:gd name="connsiteY24" fmla="*/ 417451 h 1011320"/>
                  <a:gd name="connsiteX25" fmla="*/ 0 w 1011320"/>
                  <a:gd name="connsiteY25" fmla="*/ 962440 h 1011320"/>
                  <a:gd name="connsiteX26" fmla="*/ 48880 w 1011320"/>
                  <a:gd name="connsiteY26" fmla="*/ 1011320 h 1011320"/>
                  <a:gd name="connsiteX27" fmla="*/ 962440 w 1011320"/>
                  <a:gd name="connsiteY27" fmla="*/ 1011320 h 1011320"/>
                  <a:gd name="connsiteX28" fmla="*/ 1011320 w 1011320"/>
                  <a:gd name="connsiteY28" fmla="*/ 962440 h 1011320"/>
                  <a:gd name="connsiteX29" fmla="*/ 1011320 w 1011320"/>
                  <a:gd name="connsiteY29" fmla="*/ 417451 h 1011320"/>
                  <a:gd name="connsiteX30" fmla="*/ 962440 w 1011320"/>
                  <a:gd name="connsiteY30" fmla="*/ 368570 h 1011320"/>
                  <a:gd name="connsiteX31" fmla="*/ 309014 w 1011320"/>
                  <a:gd name="connsiteY31" fmla="*/ 618029 h 1011320"/>
                  <a:gd name="connsiteX32" fmla="*/ 252830 w 1011320"/>
                  <a:gd name="connsiteY32" fmla="*/ 697249 h 1011320"/>
                  <a:gd name="connsiteX33" fmla="*/ 252830 w 1011320"/>
                  <a:gd name="connsiteY33" fmla="*/ 877320 h 1011320"/>
                  <a:gd name="connsiteX34" fmla="*/ 224738 w 1011320"/>
                  <a:gd name="connsiteY34" fmla="*/ 905412 h 1011320"/>
                  <a:gd name="connsiteX35" fmla="*/ 196646 w 1011320"/>
                  <a:gd name="connsiteY35" fmla="*/ 877320 h 1011320"/>
                  <a:gd name="connsiteX36" fmla="*/ 196646 w 1011320"/>
                  <a:gd name="connsiteY36" fmla="*/ 697249 h 1011320"/>
                  <a:gd name="connsiteX37" fmla="*/ 145184 w 1011320"/>
                  <a:gd name="connsiteY37" fmla="*/ 590270 h 1011320"/>
                  <a:gd name="connsiteX38" fmla="*/ 196646 w 1011320"/>
                  <a:gd name="connsiteY38" fmla="*/ 538809 h 1011320"/>
                  <a:gd name="connsiteX39" fmla="*/ 196646 w 1011320"/>
                  <a:gd name="connsiteY39" fmla="*/ 515773 h 1011320"/>
                  <a:gd name="connsiteX40" fmla="*/ 224738 w 1011320"/>
                  <a:gd name="connsiteY40" fmla="*/ 487681 h 1011320"/>
                  <a:gd name="connsiteX41" fmla="*/ 252830 w 1011320"/>
                  <a:gd name="connsiteY41" fmla="*/ 515773 h 1011320"/>
                  <a:gd name="connsiteX42" fmla="*/ 252830 w 1011320"/>
                  <a:gd name="connsiteY42" fmla="*/ 538809 h 1011320"/>
                  <a:gd name="connsiteX43" fmla="*/ 309014 w 1011320"/>
                  <a:gd name="connsiteY43" fmla="*/ 618029 h 1011320"/>
                  <a:gd name="connsiteX44" fmla="*/ 589937 w 1011320"/>
                  <a:gd name="connsiteY44" fmla="*/ 758490 h 1011320"/>
                  <a:gd name="connsiteX45" fmla="*/ 533752 w 1011320"/>
                  <a:gd name="connsiteY45" fmla="*/ 837710 h 1011320"/>
                  <a:gd name="connsiteX46" fmla="*/ 533752 w 1011320"/>
                  <a:gd name="connsiteY46" fmla="*/ 877320 h 1011320"/>
                  <a:gd name="connsiteX47" fmla="*/ 505660 w 1011320"/>
                  <a:gd name="connsiteY47" fmla="*/ 905412 h 1011320"/>
                  <a:gd name="connsiteX48" fmla="*/ 477568 w 1011320"/>
                  <a:gd name="connsiteY48" fmla="*/ 877320 h 1011320"/>
                  <a:gd name="connsiteX49" fmla="*/ 477568 w 1011320"/>
                  <a:gd name="connsiteY49" fmla="*/ 837710 h 1011320"/>
                  <a:gd name="connsiteX50" fmla="*/ 426106 w 1011320"/>
                  <a:gd name="connsiteY50" fmla="*/ 730731 h 1011320"/>
                  <a:gd name="connsiteX51" fmla="*/ 477568 w 1011320"/>
                  <a:gd name="connsiteY51" fmla="*/ 679270 h 1011320"/>
                  <a:gd name="connsiteX52" fmla="*/ 477568 w 1011320"/>
                  <a:gd name="connsiteY52" fmla="*/ 515773 h 1011320"/>
                  <a:gd name="connsiteX53" fmla="*/ 505660 w 1011320"/>
                  <a:gd name="connsiteY53" fmla="*/ 487681 h 1011320"/>
                  <a:gd name="connsiteX54" fmla="*/ 533752 w 1011320"/>
                  <a:gd name="connsiteY54" fmla="*/ 515773 h 1011320"/>
                  <a:gd name="connsiteX55" fmla="*/ 533752 w 1011320"/>
                  <a:gd name="connsiteY55" fmla="*/ 679270 h 1011320"/>
                  <a:gd name="connsiteX56" fmla="*/ 589937 w 1011320"/>
                  <a:gd name="connsiteY56" fmla="*/ 758490 h 1011320"/>
                  <a:gd name="connsiteX57" fmla="*/ 814674 w 1011320"/>
                  <a:gd name="connsiteY57" fmla="*/ 697249 h 1011320"/>
                  <a:gd name="connsiteX58" fmla="*/ 814674 w 1011320"/>
                  <a:gd name="connsiteY58" fmla="*/ 877320 h 1011320"/>
                  <a:gd name="connsiteX59" fmla="*/ 786582 w 1011320"/>
                  <a:gd name="connsiteY59" fmla="*/ 905412 h 1011320"/>
                  <a:gd name="connsiteX60" fmla="*/ 758490 w 1011320"/>
                  <a:gd name="connsiteY60" fmla="*/ 877320 h 1011320"/>
                  <a:gd name="connsiteX61" fmla="*/ 758490 w 1011320"/>
                  <a:gd name="connsiteY61" fmla="*/ 697249 h 1011320"/>
                  <a:gd name="connsiteX62" fmla="*/ 707029 w 1011320"/>
                  <a:gd name="connsiteY62" fmla="*/ 590270 h 1011320"/>
                  <a:gd name="connsiteX63" fmla="*/ 758490 w 1011320"/>
                  <a:gd name="connsiteY63" fmla="*/ 538809 h 1011320"/>
                  <a:gd name="connsiteX64" fmla="*/ 758490 w 1011320"/>
                  <a:gd name="connsiteY64" fmla="*/ 515773 h 1011320"/>
                  <a:gd name="connsiteX65" fmla="*/ 786582 w 1011320"/>
                  <a:gd name="connsiteY65" fmla="*/ 487681 h 1011320"/>
                  <a:gd name="connsiteX66" fmla="*/ 814674 w 1011320"/>
                  <a:gd name="connsiteY66" fmla="*/ 515773 h 1011320"/>
                  <a:gd name="connsiteX67" fmla="*/ 814674 w 1011320"/>
                  <a:gd name="connsiteY67" fmla="*/ 538809 h 1011320"/>
                  <a:gd name="connsiteX68" fmla="*/ 866136 w 1011320"/>
                  <a:gd name="connsiteY68" fmla="*/ 645788 h 1011320"/>
                  <a:gd name="connsiteX69" fmla="*/ 814674 w 1011320"/>
                  <a:gd name="connsiteY69" fmla="*/ 697249 h 1011320"/>
                  <a:gd name="connsiteX70" fmla="*/ 391325 w 1011320"/>
                  <a:gd name="connsiteY70" fmla="*/ 368570 h 1011320"/>
                  <a:gd name="connsiteX71" fmla="*/ 619995 w 1011320"/>
                  <a:gd name="connsiteY71" fmla="*/ 368570 h 1011320"/>
                  <a:gd name="connsiteX72" fmla="*/ 244402 w 1011320"/>
                  <a:gd name="connsiteY72" fmla="*/ 142990 h 1011320"/>
                  <a:gd name="connsiteX73" fmla="*/ 311543 w 1011320"/>
                  <a:gd name="connsiteY73" fmla="*/ 209568 h 1011320"/>
                  <a:gd name="connsiteX74" fmla="*/ 321656 w 1011320"/>
                  <a:gd name="connsiteY74" fmla="*/ 202264 h 1011320"/>
                  <a:gd name="connsiteX75" fmla="*/ 334017 w 1011320"/>
                  <a:gd name="connsiteY75" fmla="*/ 194398 h 1011320"/>
                  <a:gd name="connsiteX76" fmla="*/ 345815 w 1011320"/>
                  <a:gd name="connsiteY76" fmla="*/ 187656 h 1011320"/>
                  <a:gd name="connsiteX77" fmla="*/ 346377 w 1011320"/>
                  <a:gd name="connsiteY77" fmla="*/ 187375 h 1011320"/>
                  <a:gd name="connsiteX78" fmla="*/ 406494 w 1011320"/>
                  <a:gd name="connsiteY78" fmla="*/ 162373 h 1011320"/>
                  <a:gd name="connsiteX79" fmla="*/ 434868 w 1011320"/>
                  <a:gd name="connsiteY79" fmla="*/ 155069 h 1011320"/>
                  <a:gd name="connsiteX80" fmla="*/ 446666 w 1011320"/>
                  <a:gd name="connsiteY80" fmla="*/ 152541 h 1011320"/>
                  <a:gd name="connsiteX81" fmla="*/ 446666 w 1011320"/>
                  <a:gd name="connsiteY81" fmla="*/ 58994 h 1011320"/>
                  <a:gd name="connsiteX82" fmla="*/ 564654 w 1011320"/>
                  <a:gd name="connsiteY82" fmla="*/ 58994 h 1011320"/>
                  <a:gd name="connsiteX83" fmla="*/ 564654 w 1011320"/>
                  <a:gd name="connsiteY83" fmla="*/ 152541 h 1011320"/>
                  <a:gd name="connsiteX84" fmla="*/ 576452 w 1011320"/>
                  <a:gd name="connsiteY84" fmla="*/ 155069 h 1011320"/>
                  <a:gd name="connsiteX85" fmla="*/ 604826 w 1011320"/>
                  <a:gd name="connsiteY85" fmla="*/ 162373 h 1011320"/>
                  <a:gd name="connsiteX86" fmla="*/ 665505 w 1011320"/>
                  <a:gd name="connsiteY86" fmla="*/ 187656 h 1011320"/>
                  <a:gd name="connsiteX87" fmla="*/ 689664 w 1011320"/>
                  <a:gd name="connsiteY87" fmla="*/ 202264 h 1011320"/>
                  <a:gd name="connsiteX88" fmla="*/ 699777 w 1011320"/>
                  <a:gd name="connsiteY88" fmla="*/ 209567 h 1011320"/>
                  <a:gd name="connsiteX89" fmla="*/ 766918 w 1011320"/>
                  <a:gd name="connsiteY89" fmla="*/ 142990 h 1011320"/>
                  <a:gd name="connsiteX90" fmla="*/ 850352 w 1011320"/>
                  <a:gd name="connsiteY90" fmla="*/ 226423 h 1011320"/>
                  <a:gd name="connsiteX91" fmla="*/ 783492 w 1011320"/>
                  <a:gd name="connsiteY91" fmla="*/ 293283 h 1011320"/>
                  <a:gd name="connsiteX92" fmla="*/ 790796 w 1011320"/>
                  <a:gd name="connsiteY92" fmla="*/ 303396 h 1011320"/>
                  <a:gd name="connsiteX93" fmla="*/ 798943 w 1011320"/>
                  <a:gd name="connsiteY93" fmla="*/ 315757 h 1011320"/>
                  <a:gd name="connsiteX94" fmla="*/ 805404 w 1011320"/>
                  <a:gd name="connsiteY94" fmla="*/ 327836 h 1011320"/>
                  <a:gd name="connsiteX95" fmla="*/ 805685 w 1011320"/>
                  <a:gd name="connsiteY95" fmla="*/ 328117 h 1011320"/>
                  <a:gd name="connsiteX96" fmla="*/ 823945 w 1011320"/>
                  <a:gd name="connsiteY96" fmla="*/ 368570 h 1011320"/>
                  <a:gd name="connsiteX97" fmla="*/ 695563 w 1011320"/>
                  <a:gd name="connsiteY97" fmla="*/ 368570 h 1011320"/>
                  <a:gd name="connsiteX98" fmla="*/ 387167 w 1011320"/>
                  <a:gd name="connsiteY98" fmla="*/ 297159 h 1011320"/>
                  <a:gd name="connsiteX99" fmla="*/ 315757 w 1011320"/>
                  <a:gd name="connsiteY99" fmla="*/ 368570 h 1011320"/>
                  <a:gd name="connsiteX100" fmla="*/ 187375 w 1011320"/>
                  <a:gd name="connsiteY100" fmla="*/ 368570 h 1011320"/>
                  <a:gd name="connsiteX101" fmla="*/ 205916 w 1011320"/>
                  <a:gd name="connsiteY101" fmla="*/ 327836 h 1011320"/>
                  <a:gd name="connsiteX102" fmla="*/ 220524 w 1011320"/>
                  <a:gd name="connsiteY102" fmla="*/ 303396 h 1011320"/>
                  <a:gd name="connsiteX103" fmla="*/ 227828 w 1011320"/>
                  <a:gd name="connsiteY103" fmla="*/ 293283 h 1011320"/>
                  <a:gd name="connsiteX104" fmla="*/ 160968 w 1011320"/>
                  <a:gd name="connsiteY104" fmla="*/ 226423 h 1011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011320" h="1011320">
                    <a:moveTo>
                      <a:pt x="962440" y="368570"/>
                    </a:moveTo>
                    <a:lnTo>
                      <a:pt x="885748" y="368570"/>
                    </a:lnTo>
                    <a:cubicBezTo>
                      <a:pt x="878487" y="345633"/>
                      <a:pt x="869276" y="323358"/>
                      <a:pt x="858217" y="301992"/>
                    </a:cubicBezTo>
                    <a:lnTo>
                      <a:pt x="904008" y="256201"/>
                    </a:lnTo>
                    <a:cubicBezTo>
                      <a:pt x="920454" y="239805"/>
                      <a:pt x="920494" y="213182"/>
                      <a:pt x="904098" y="196736"/>
                    </a:cubicBezTo>
                    <a:cubicBezTo>
                      <a:pt x="904068" y="196706"/>
                      <a:pt x="904038" y="196676"/>
                      <a:pt x="904008" y="196646"/>
                    </a:cubicBezTo>
                    <a:lnTo>
                      <a:pt x="796415" y="89052"/>
                    </a:lnTo>
                    <a:cubicBezTo>
                      <a:pt x="779735" y="73180"/>
                      <a:pt x="753538" y="73180"/>
                      <a:pt x="736859" y="89052"/>
                    </a:cubicBezTo>
                    <a:lnTo>
                      <a:pt x="691069" y="134843"/>
                    </a:lnTo>
                    <a:cubicBezTo>
                      <a:pt x="669593" y="123525"/>
                      <a:pt x="647117" y="114215"/>
                      <a:pt x="623928" y="107031"/>
                    </a:cubicBezTo>
                    <a:lnTo>
                      <a:pt x="623928" y="42138"/>
                    </a:lnTo>
                    <a:cubicBezTo>
                      <a:pt x="623827" y="18798"/>
                      <a:pt x="604849" y="-54"/>
                      <a:pt x="581509" y="0"/>
                    </a:cubicBezTo>
                    <a:lnTo>
                      <a:pt x="429811" y="0"/>
                    </a:lnTo>
                    <a:cubicBezTo>
                      <a:pt x="406471" y="-54"/>
                      <a:pt x="387493" y="18798"/>
                      <a:pt x="387392" y="42138"/>
                    </a:cubicBezTo>
                    <a:lnTo>
                      <a:pt x="387392" y="107031"/>
                    </a:lnTo>
                    <a:cubicBezTo>
                      <a:pt x="364203" y="114215"/>
                      <a:pt x="341727" y="123525"/>
                      <a:pt x="320251" y="134843"/>
                    </a:cubicBezTo>
                    <a:lnTo>
                      <a:pt x="274461" y="89052"/>
                    </a:lnTo>
                    <a:cubicBezTo>
                      <a:pt x="257782" y="73180"/>
                      <a:pt x="231585" y="73180"/>
                      <a:pt x="214906" y="89052"/>
                    </a:cubicBezTo>
                    <a:lnTo>
                      <a:pt x="107312" y="196646"/>
                    </a:lnTo>
                    <a:cubicBezTo>
                      <a:pt x="90866" y="213041"/>
                      <a:pt x="90826" y="239665"/>
                      <a:pt x="107222" y="256111"/>
                    </a:cubicBezTo>
                    <a:cubicBezTo>
                      <a:pt x="107252" y="256141"/>
                      <a:pt x="107282" y="256171"/>
                      <a:pt x="107312" y="256201"/>
                    </a:cubicBezTo>
                    <a:lnTo>
                      <a:pt x="153103" y="301992"/>
                    </a:lnTo>
                    <a:cubicBezTo>
                      <a:pt x="141995" y="323336"/>
                      <a:pt x="132783" y="345614"/>
                      <a:pt x="125572" y="368570"/>
                    </a:cubicBezTo>
                    <a:lnTo>
                      <a:pt x="48880" y="368570"/>
                    </a:lnTo>
                    <a:cubicBezTo>
                      <a:pt x="21892" y="368589"/>
                      <a:pt x="19" y="390463"/>
                      <a:pt x="0" y="417451"/>
                    </a:cubicBezTo>
                    <a:lnTo>
                      <a:pt x="0" y="962440"/>
                    </a:lnTo>
                    <a:cubicBezTo>
                      <a:pt x="20" y="989427"/>
                      <a:pt x="21893" y="1011300"/>
                      <a:pt x="48880" y="1011320"/>
                    </a:cubicBezTo>
                    <a:lnTo>
                      <a:pt x="962440" y="1011320"/>
                    </a:lnTo>
                    <a:cubicBezTo>
                      <a:pt x="989427" y="1011300"/>
                      <a:pt x="1011300" y="989427"/>
                      <a:pt x="1011320" y="962440"/>
                    </a:cubicBezTo>
                    <a:lnTo>
                      <a:pt x="1011320" y="417451"/>
                    </a:lnTo>
                    <a:cubicBezTo>
                      <a:pt x="1011301" y="390463"/>
                      <a:pt x="989428" y="368589"/>
                      <a:pt x="962440" y="368570"/>
                    </a:cubicBezTo>
                    <a:close/>
                    <a:moveTo>
                      <a:pt x="309014" y="618029"/>
                    </a:moveTo>
                    <a:cubicBezTo>
                      <a:pt x="308909" y="653655"/>
                      <a:pt x="286417" y="685369"/>
                      <a:pt x="252830" y="697249"/>
                    </a:cubicBezTo>
                    <a:lnTo>
                      <a:pt x="252830" y="877320"/>
                    </a:lnTo>
                    <a:cubicBezTo>
                      <a:pt x="252830" y="892835"/>
                      <a:pt x="240253" y="905412"/>
                      <a:pt x="224738" y="905412"/>
                    </a:cubicBezTo>
                    <a:cubicBezTo>
                      <a:pt x="209223" y="905412"/>
                      <a:pt x="196646" y="892835"/>
                      <a:pt x="196646" y="877320"/>
                    </a:cubicBezTo>
                    <a:lnTo>
                      <a:pt x="196646" y="697249"/>
                    </a:lnTo>
                    <a:cubicBezTo>
                      <a:pt x="152894" y="681918"/>
                      <a:pt x="129854" y="634022"/>
                      <a:pt x="145184" y="590270"/>
                    </a:cubicBezTo>
                    <a:cubicBezTo>
                      <a:pt x="153624" y="566186"/>
                      <a:pt x="172561" y="547248"/>
                      <a:pt x="196646" y="538809"/>
                    </a:cubicBezTo>
                    <a:lnTo>
                      <a:pt x="196646" y="515773"/>
                    </a:lnTo>
                    <a:cubicBezTo>
                      <a:pt x="196646" y="500258"/>
                      <a:pt x="209223" y="487681"/>
                      <a:pt x="224738" y="487681"/>
                    </a:cubicBezTo>
                    <a:cubicBezTo>
                      <a:pt x="240253" y="487681"/>
                      <a:pt x="252830" y="500258"/>
                      <a:pt x="252830" y="515773"/>
                    </a:cubicBezTo>
                    <a:lnTo>
                      <a:pt x="252830" y="538809"/>
                    </a:lnTo>
                    <a:cubicBezTo>
                      <a:pt x="286418" y="550689"/>
                      <a:pt x="308910" y="582402"/>
                      <a:pt x="309014" y="618029"/>
                    </a:cubicBezTo>
                    <a:close/>
                    <a:moveTo>
                      <a:pt x="589937" y="758490"/>
                    </a:moveTo>
                    <a:cubicBezTo>
                      <a:pt x="589831" y="794117"/>
                      <a:pt x="567340" y="825830"/>
                      <a:pt x="533752" y="837710"/>
                    </a:cubicBezTo>
                    <a:lnTo>
                      <a:pt x="533752" y="877320"/>
                    </a:lnTo>
                    <a:cubicBezTo>
                      <a:pt x="533752" y="892835"/>
                      <a:pt x="521175" y="905412"/>
                      <a:pt x="505660" y="905412"/>
                    </a:cubicBezTo>
                    <a:cubicBezTo>
                      <a:pt x="490145" y="905412"/>
                      <a:pt x="477568" y="892835"/>
                      <a:pt x="477568" y="877320"/>
                    </a:cubicBezTo>
                    <a:lnTo>
                      <a:pt x="477568" y="837710"/>
                    </a:lnTo>
                    <a:cubicBezTo>
                      <a:pt x="433816" y="822379"/>
                      <a:pt x="410776" y="774483"/>
                      <a:pt x="426106" y="730731"/>
                    </a:cubicBezTo>
                    <a:cubicBezTo>
                      <a:pt x="434546" y="706647"/>
                      <a:pt x="453483" y="687709"/>
                      <a:pt x="477568" y="679270"/>
                    </a:cubicBezTo>
                    <a:lnTo>
                      <a:pt x="477568" y="515773"/>
                    </a:lnTo>
                    <a:cubicBezTo>
                      <a:pt x="477568" y="500258"/>
                      <a:pt x="490145" y="487681"/>
                      <a:pt x="505660" y="487681"/>
                    </a:cubicBezTo>
                    <a:cubicBezTo>
                      <a:pt x="521175" y="487681"/>
                      <a:pt x="533752" y="500258"/>
                      <a:pt x="533752" y="515773"/>
                    </a:cubicBezTo>
                    <a:lnTo>
                      <a:pt x="533752" y="679270"/>
                    </a:lnTo>
                    <a:cubicBezTo>
                      <a:pt x="567340" y="691150"/>
                      <a:pt x="589832" y="722864"/>
                      <a:pt x="589937" y="758490"/>
                    </a:cubicBezTo>
                    <a:close/>
                    <a:moveTo>
                      <a:pt x="814674" y="697249"/>
                    </a:moveTo>
                    <a:lnTo>
                      <a:pt x="814674" y="877320"/>
                    </a:lnTo>
                    <a:cubicBezTo>
                      <a:pt x="814674" y="892835"/>
                      <a:pt x="802097" y="905412"/>
                      <a:pt x="786582" y="905412"/>
                    </a:cubicBezTo>
                    <a:cubicBezTo>
                      <a:pt x="771067" y="905412"/>
                      <a:pt x="758490" y="892835"/>
                      <a:pt x="758490" y="877320"/>
                    </a:cubicBezTo>
                    <a:lnTo>
                      <a:pt x="758490" y="697249"/>
                    </a:lnTo>
                    <a:cubicBezTo>
                      <a:pt x="714738" y="681918"/>
                      <a:pt x="691698" y="634022"/>
                      <a:pt x="707029" y="590270"/>
                    </a:cubicBezTo>
                    <a:cubicBezTo>
                      <a:pt x="715468" y="566186"/>
                      <a:pt x="734405" y="547248"/>
                      <a:pt x="758490" y="538809"/>
                    </a:cubicBezTo>
                    <a:lnTo>
                      <a:pt x="758490" y="515773"/>
                    </a:lnTo>
                    <a:cubicBezTo>
                      <a:pt x="758490" y="500258"/>
                      <a:pt x="771067" y="487681"/>
                      <a:pt x="786582" y="487681"/>
                    </a:cubicBezTo>
                    <a:cubicBezTo>
                      <a:pt x="802097" y="487681"/>
                      <a:pt x="814674" y="500258"/>
                      <a:pt x="814674" y="515773"/>
                    </a:cubicBezTo>
                    <a:lnTo>
                      <a:pt x="814674" y="538809"/>
                    </a:lnTo>
                    <a:cubicBezTo>
                      <a:pt x="858427" y="554140"/>
                      <a:pt x="881467" y="602036"/>
                      <a:pt x="866136" y="645788"/>
                    </a:cubicBezTo>
                    <a:cubicBezTo>
                      <a:pt x="857696" y="669872"/>
                      <a:pt x="838759" y="688810"/>
                      <a:pt x="814674" y="697249"/>
                    </a:cubicBezTo>
                    <a:close/>
                    <a:moveTo>
                      <a:pt x="391325" y="368570"/>
                    </a:moveTo>
                    <a:cubicBezTo>
                      <a:pt x="455020" y="306767"/>
                      <a:pt x="556300" y="306767"/>
                      <a:pt x="619995" y="368570"/>
                    </a:cubicBezTo>
                    <a:close/>
                    <a:moveTo>
                      <a:pt x="244402" y="142990"/>
                    </a:moveTo>
                    <a:lnTo>
                      <a:pt x="311543" y="209568"/>
                    </a:lnTo>
                    <a:lnTo>
                      <a:pt x="321656" y="202264"/>
                    </a:lnTo>
                    <a:cubicBezTo>
                      <a:pt x="325604" y="199381"/>
                      <a:pt x="329733" y="196754"/>
                      <a:pt x="334017" y="194398"/>
                    </a:cubicBezTo>
                    <a:cubicBezTo>
                      <a:pt x="338230" y="191870"/>
                      <a:pt x="342163" y="189623"/>
                      <a:pt x="345815" y="187656"/>
                    </a:cubicBezTo>
                    <a:lnTo>
                      <a:pt x="346377" y="187375"/>
                    </a:lnTo>
                    <a:cubicBezTo>
                      <a:pt x="365638" y="177281"/>
                      <a:pt x="385756" y="168914"/>
                      <a:pt x="406494" y="162373"/>
                    </a:cubicBezTo>
                    <a:cubicBezTo>
                      <a:pt x="415765" y="159564"/>
                      <a:pt x="425316" y="157036"/>
                      <a:pt x="434868" y="155069"/>
                    </a:cubicBezTo>
                    <a:lnTo>
                      <a:pt x="446666" y="152541"/>
                    </a:lnTo>
                    <a:lnTo>
                      <a:pt x="446666" y="58994"/>
                    </a:lnTo>
                    <a:lnTo>
                      <a:pt x="564654" y="58994"/>
                    </a:lnTo>
                    <a:lnTo>
                      <a:pt x="564654" y="152541"/>
                    </a:lnTo>
                    <a:lnTo>
                      <a:pt x="576452" y="155069"/>
                    </a:lnTo>
                    <a:cubicBezTo>
                      <a:pt x="586004" y="157036"/>
                      <a:pt x="595274" y="159564"/>
                      <a:pt x="604826" y="162373"/>
                    </a:cubicBezTo>
                    <a:cubicBezTo>
                      <a:pt x="625779" y="168937"/>
                      <a:pt x="646090" y="177400"/>
                      <a:pt x="665505" y="187656"/>
                    </a:cubicBezTo>
                    <a:cubicBezTo>
                      <a:pt x="673813" y="192091"/>
                      <a:pt x="681878" y="196967"/>
                      <a:pt x="689664" y="202264"/>
                    </a:cubicBezTo>
                    <a:lnTo>
                      <a:pt x="699777" y="209567"/>
                    </a:lnTo>
                    <a:lnTo>
                      <a:pt x="766918" y="142990"/>
                    </a:lnTo>
                    <a:lnTo>
                      <a:pt x="850352" y="226423"/>
                    </a:lnTo>
                    <a:lnTo>
                      <a:pt x="783492" y="293283"/>
                    </a:lnTo>
                    <a:lnTo>
                      <a:pt x="790796" y="303396"/>
                    </a:lnTo>
                    <a:cubicBezTo>
                      <a:pt x="793886" y="307610"/>
                      <a:pt x="796415" y="311824"/>
                      <a:pt x="798943" y="315757"/>
                    </a:cubicBezTo>
                    <a:cubicBezTo>
                      <a:pt x="801190" y="319971"/>
                      <a:pt x="803438" y="324184"/>
                      <a:pt x="805404" y="327836"/>
                    </a:cubicBezTo>
                    <a:lnTo>
                      <a:pt x="805685" y="328117"/>
                    </a:lnTo>
                    <a:cubicBezTo>
                      <a:pt x="812768" y="341129"/>
                      <a:pt x="818872" y="354651"/>
                      <a:pt x="823945" y="368570"/>
                    </a:cubicBezTo>
                    <a:lnTo>
                      <a:pt x="695563" y="368570"/>
                    </a:lnTo>
                    <a:cubicBezTo>
                      <a:pt x="630122" y="263689"/>
                      <a:pt x="492048" y="231718"/>
                      <a:pt x="387167" y="297159"/>
                    </a:cubicBezTo>
                    <a:cubicBezTo>
                      <a:pt x="358235" y="315212"/>
                      <a:pt x="333810" y="339637"/>
                      <a:pt x="315757" y="368570"/>
                    </a:cubicBezTo>
                    <a:lnTo>
                      <a:pt x="187375" y="368570"/>
                    </a:lnTo>
                    <a:cubicBezTo>
                      <a:pt x="192477" y="354527"/>
                      <a:pt x="198676" y="340907"/>
                      <a:pt x="205916" y="327836"/>
                    </a:cubicBezTo>
                    <a:cubicBezTo>
                      <a:pt x="210177" y="319341"/>
                      <a:pt x="215059" y="311172"/>
                      <a:pt x="220524" y="303396"/>
                    </a:cubicBezTo>
                    <a:lnTo>
                      <a:pt x="227828" y="293283"/>
                    </a:lnTo>
                    <a:lnTo>
                      <a:pt x="160968" y="226423"/>
                    </a:ln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orma Livre: Forma 105">
                <a:extLst>
                  <a:ext uri="{FF2B5EF4-FFF2-40B4-BE49-F238E27FC236}">
                    <a16:creationId xmlns:a16="http://schemas.microsoft.com/office/drawing/2014/main" id="{BB2F270F-0C86-C7EA-BBF0-88284AFE993F}"/>
                  </a:ext>
                </a:extLst>
              </p:cNvPr>
              <p:cNvSpPr/>
              <p:nvPr/>
            </p:nvSpPr>
            <p:spPr>
              <a:xfrm>
                <a:off x="6566901" y="2287734"/>
                <a:ext cx="56184" cy="56184"/>
              </a:xfrm>
              <a:custGeom>
                <a:avLst/>
                <a:gdLst>
                  <a:gd name="connsiteX0" fmla="*/ 56184 w 56184"/>
                  <a:gd name="connsiteY0" fmla="*/ 28092 h 56184"/>
                  <a:gd name="connsiteX1" fmla="*/ 28092 w 56184"/>
                  <a:gd name="connsiteY1" fmla="*/ 56184 h 56184"/>
                  <a:gd name="connsiteX2" fmla="*/ 0 w 56184"/>
                  <a:gd name="connsiteY2" fmla="*/ 28092 h 56184"/>
                  <a:gd name="connsiteX3" fmla="*/ 28092 w 56184"/>
                  <a:gd name="connsiteY3" fmla="*/ 0 h 56184"/>
                  <a:gd name="connsiteX4" fmla="*/ 56184 w 56184"/>
                  <a:gd name="connsiteY4" fmla="*/ 28092 h 56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84" h="56184">
                    <a:moveTo>
                      <a:pt x="56184" y="28092"/>
                    </a:moveTo>
                    <a:cubicBezTo>
                      <a:pt x="56184" y="43607"/>
                      <a:pt x="43607" y="56184"/>
                      <a:pt x="28092" y="56184"/>
                    </a:cubicBezTo>
                    <a:cubicBezTo>
                      <a:pt x="12577" y="56184"/>
                      <a:pt x="0" y="43607"/>
                      <a:pt x="0" y="28092"/>
                    </a:cubicBezTo>
                    <a:cubicBezTo>
                      <a:pt x="0" y="12577"/>
                      <a:pt x="12577" y="0"/>
                      <a:pt x="28092" y="0"/>
                    </a:cubicBezTo>
                    <a:cubicBezTo>
                      <a:pt x="43607" y="0"/>
                      <a:pt x="56184" y="12577"/>
                      <a:pt x="56184" y="28092"/>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orma Livre: Forma 106">
                <a:extLst>
                  <a:ext uri="{FF2B5EF4-FFF2-40B4-BE49-F238E27FC236}">
                    <a16:creationId xmlns:a16="http://schemas.microsoft.com/office/drawing/2014/main" id="{026AF92D-691F-91C9-B2EF-2D7D588C5B5B}"/>
                  </a:ext>
                </a:extLst>
              </p:cNvPr>
              <p:cNvSpPr/>
              <p:nvPr/>
            </p:nvSpPr>
            <p:spPr>
              <a:xfrm>
                <a:off x="6847823" y="2428195"/>
                <a:ext cx="56184" cy="56184"/>
              </a:xfrm>
              <a:custGeom>
                <a:avLst/>
                <a:gdLst>
                  <a:gd name="connsiteX0" fmla="*/ 56184 w 56184"/>
                  <a:gd name="connsiteY0" fmla="*/ 28092 h 56184"/>
                  <a:gd name="connsiteX1" fmla="*/ 28092 w 56184"/>
                  <a:gd name="connsiteY1" fmla="*/ 56184 h 56184"/>
                  <a:gd name="connsiteX2" fmla="*/ 0 w 56184"/>
                  <a:gd name="connsiteY2" fmla="*/ 28092 h 56184"/>
                  <a:gd name="connsiteX3" fmla="*/ 28092 w 56184"/>
                  <a:gd name="connsiteY3" fmla="*/ 0 h 56184"/>
                  <a:gd name="connsiteX4" fmla="*/ 56184 w 56184"/>
                  <a:gd name="connsiteY4" fmla="*/ 28092 h 56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84" h="56184">
                    <a:moveTo>
                      <a:pt x="56184" y="28092"/>
                    </a:moveTo>
                    <a:cubicBezTo>
                      <a:pt x="56184" y="43607"/>
                      <a:pt x="43607" y="56184"/>
                      <a:pt x="28092" y="56184"/>
                    </a:cubicBezTo>
                    <a:cubicBezTo>
                      <a:pt x="12577" y="56184"/>
                      <a:pt x="0" y="43607"/>
                      <a:pt x="0" y="28092"/>
                    </a:cubicBezTo>
                    <a:cubicBezTo>
                      <a:pt x="0" y="12577"/>
                      <a:pt x="12577" y="0"/>
                      <a:pt x="28092" y="0"/>
                    </a:cubicBezTo>
                    <a:cubicBezTo>
                      <a:pt x="43607" y="0"/>
                      <a:pt x="56184" y="12577"/>
                      <a:pt x="56184" y="28092"/>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Forma Livre: Forma 108">
                <a:extLst>
                  <a:ext uri="{FF2B5EF4-FFF2-40B4-BE49-F238E27FC236}">
                    <a16:creationId xmlns:a16="http://schemas.microsoft.com/office/drawing/2014/main" id="{05E1C6C6-E75F-0917-C9DC-92DBE3F9EC7F}"/>
                  </a:ext>
                </a:extLst>
              </p:cNvPr>
              <p:cNvSpPr/>
              <p:nvPr/>
            </p:nvSpPr>
            <p:spPr>
              <a:xfrm>
                <a:off x="7128746" y="2287734"/>
                <a:ext cx="56184" cy="56184"/>
              </a:xfrm>
              <a:custGeom>
                <a:avLst/>
                <a:gdLst>
                  <a:gd name="connsiteX0" fmla="*/ 56184 w 56184"/>
                  <a:gd name="connsiteY0" fmla="*/ 28092 h 56184"/>
                  <a:gd name="connsiteX1" fmla="*/ 28092 w 56184"/>
                  <a:gd name="connsiteY1" fmla="*/ 56184 h 56184"/>
                  <a:gd name="connsiteX2" fmla="*/ 0 w 56184"/>
                  <a:gd name="connsiteY2" fmla="*/ 28092 h 56184"/>
                  <a:gd name="connsiteX3" fmla="*/ 28092 w 56184"/>
                  <a:gd name="connsiteY3" fmla="*/ 0 h 56184"/>
                  <a:gd name="connsiteX4" fmla="*/ 56184 w 56184"/>
                  <a:gd name="connsiteY4" fmla="*/ 28092 h 561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84" h="56184">
                    <a:moveTo>
                      <a:pt x="56184" y="28092"/>
                    </a:moveTo>
                    <a:cubicBezTo>
                      <a:pt x="56184" y="43607"/>
                      <a:pt x="43607" y="56184"/>
                      <a:pt x="28092" y="56184"/>
                    </a:cubicBezTo>
                    <a:cubicBezTo>
                      <a:pt x="12577" y="56184"/>
                      <a:pt x="0" y="43607"/>
                      <a:pt x="0" y="28092"/>
                    </a:cubicBezTo>
                    <a:cubicBezTo>
                      <a:pt x="0" y="12577"/>
                      <a:pt x="12577" y="0"/>
                      <a:pt x="28092" y="0"/>
                    </a:cubicBezTo>
                    <a:cubicBezTo>
                      <a:pt x="43607" y="0"/>
                      <a:pt x="56184" y="12577"/>
                      <a:pt x="56184" y="28092"/>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110" name="Forma Livre: Forma 109">
            <a:extLst>
              <a:ext uri="{FF2B5EF4-FFF2-40B4-BE49-F238E27FC236}">
                <a16:creationId xmlns:a16="http://schemas.microsoft.com/office/drawing/2014/main" id="{5EECE608-DEA9-B428-D990-E6F2F5CFD06D}"/>
              </a:ext>
            </a:extLst>
          </p:cNvPr>
          <p:cNvSpPr/>
          <p:nvPr/>
        </p:nvSpPr>
        <p:spPr>
          <a:xfrm>
            <a:off x="2696581" y="2065991"/>
            <a:ext cx="346535" cy="363023"/>
          </a:xfrm>
          <a:custGeom>
            <a:avLst/>
            <a:gdLst>
              <a:gd name="connsiteX0" fmla="*/ 51054 w 436435"/>
              <a:gd name="connsiteY0" fmla="*/ 453390 h 457200"/>
              <a:gd name="connsiteX1" fmla="*/ 58674 w 436435"/>
              <a:gd name="connsiteY1" fmla="*/ 457200 h 457200"/>
              <a:gd name="connsiteX2" fmla="*/ 61150 w 436435"/>
              <a:gd name="connsiteY2" fmla="*/ 456914 h 457200"/>
              <a:gd name="connsiteX3" fmla="*/ 162591 w 436435"/>
              <a:gd name="connsiteY3" fmla="*/ 429387 h 457200"/>
              <a:gd name="connsiteX4" fmla="*/ 218217 w 436435"/>
              <a:gd name="connsiteY4" fmla="*/ 436531 h 457200"/>
              <a:gd name="connsiteX5" fmla="*/ 436435 w 436435"/>
              <a:gd name="connsiteY5" fmla="*/ 218313 h 457200"/>
              <a:gd name="connsiteX6" fmla="*/ 218217 w 436435"/>
              <a:gd name="connsiteY6" fmla="*/ 0 h 457200"/>
              <a:gd name="connsiteX7" fmla="*/ 0 w 436435"/>
              <a:gd name="connsiteY7" fmla="*/ 218313 h 457200"/>
              <a:gd name="connsiteX8" fmla="*/ 82962 w 436435"/>
              <a:gd name="connsiteY8" fmla="*/ 389573 h 457200"/>
              <a:gd name="connsiteX9" fmla="*/ 50482 w 436435"/>
              <a:gd name="connsiteY9" fmla="*/ 442722 h 457200"/>
              <a:gd name="connsiteX10" fmla="*/ 51054 w 436435"/>
              <a:gd name="connsiteY10" fmla="*/ 453390 h 457200"/>
              <a:gd name="connsiteX11" fmla="*/ 84677 w 436435"/>
              <a:gd name="connsiteY11" fmla="*/ 200501 h 457200"/>
              <a:gd name="connsiteX12" fmla="*/ 92583 w 436435"/>
              <a:gd name="connsiteY12" fmla="*/ 191167 h 457200"/>
              <a:gd name="connsiteX13" fmla="*/ 123539 w 436435"/>
              <a:gd name="connsiteY13" fmla="*/ 185833 h 457200"/>
              <a:gd name="connsiteX14" fmla="*/ 128301 w 436435"/>
              <a:gd name="connsiteY14" fmla="*/ 174212 h 457200"/>
              <a:gd name="connsiteX15" fmla="*/ 110299 w 436435"/>
              <a:gd name="connsiteY15" fmla="*/ 148685 h 457200"/>
              <a:gd name="connsiteX16" fmla="*/ 111347 w 436435"/>
              <a:gd name="connsiteY16" fmla="*/ 136493 h 457200"/>
              <a:gd name="connsiteX17" fmla="*/ 136398 w 436435"/>
              <a:gd name="connsiteY17" fmla="*/ 111347 h 457200"/>
              <a:gd name="connsiteX18" fmla="*/ 148590 w 436435"/>
              <a:gd name="connsiteY18" fmla="*/ 110300 h 457200"/>
              <a:gd name="connsiteX19" fmla="*/ 173926 w 436435"/>
              <a:gd name="connsiteY19" fmla="*/ 128206 h 457200"/>
              <a:gd name="connsiteX20" fmla="*/ 185832 w 436435"/>
              <a:gd name="connsiteY20" fmla="*/ 123158 h 457200"/>
              <a:gd name="connsiteX21" fmla="*/ 191071 w 436435"/>
              <a:gd name="connsiteY21" fmla="*/ 92678 h 457200"/>
              <a:gd name="connsiteX22" fmla="*/ 200501 w 436435"/>
              <a:gd name="connsiteY22" fmla="*/ 84773 h 457200"/>
              <a:gd name="connsiteX23" fmla="*/ 236029 w 436435"/>
              <a:gd name="connsiteY23" fmla="*/ 84773 h 457200"/>
              <a:gd name="connsiteX24" fmla="*/ 245459 w 436435"/>
              <a:gd name="connsiteY24" fmla="*/ 92678 h 457200"/>
              <a:gd name="connsiteX25" fmla="*/ 250698 w 436435"/>
              <a:gd name="connsiteY25" fmla="*/ 123254 h 457200"/>
              <a:gd name="connsiteX26" fmla="*/ 262604 w 436435"/>
              <a:gd name="connsiteY26" fmla="*/ 128206 h 457200"/>
              <a:gd name="connsiteX27" fmla="*/ 287845 w 436435"/>
              <a:gd name="connsiteY27" fmla="*/ 110300 h 457200"/>
              <a:gd name="connsiteX28" fmla="*/ 300132 w 436435"/>
              <a:gd name="connsiteY28" fmla="*/ 111347 h 457200"/>
              <a:gd name="connsiteX29" fmla="*/ 325183 w 436435"/>
              <a:gd name="connsiteY29" fmla="*/ 136493 h 457200"/>
              <a:gd name="connsiteX30" fmla="*/ 326231 w 436435"/>
              <a:gd name="connsiteY30" fmla="*/ 148685 h 457200"/>
              <a:gd name="connsiteX31" fmla="*/ 308229 w 436435"/>
              <a:gd name="connsiteY31" fmla="*/ 174212 h 457200"/>
              <a:gd name="connsiteX32" fmla="*/ 312991 w 436435"/>
              <a:gd name="connsiteY32" fmla="*/ 185833 h 457200"/>
              <a:gd name="connsiteX33" fmla="*/ 343852 w 436435"/>
              <a:gd name="connsiteY33" fmla="*/ 191167 h 457200"/>
              <a:gd name="connsiteX34" fmla="*/ 351758 w 436435"/>
              <a:gd name="connsiteY34" fmla="*/ 200501 h 457200"/>
              <a:gd name="connsiteX35" fmla="*/ 351758 w 436435"/>
              <a:gd name="connsiteY35" fmla="*/ 236125 h 457200"/>
              <a:gd name="connsiteX36" fmla="*/ 343852 w 436435"/>
              <a:gd name="connsiteY36" fmla="*/ 245459 h 457200"/>
              <a:gd name="connsiteX37" fmla="*/ 312610 w 436435"/>
              <a:gd name="connsiteY37" fmla="*/ 250793 h 457200"/>
              <a:gd name="connsiteX38" fmla="*/ 307943 w 436435"/>
              <a:gd name="connsiteY38" fmla="*/ 261938 h 457200"/>
              <a:gd name="connsiteX39" fmla="*/ 326231 w 436435"/>
              <a:gd name="connsiteY39" fmla="*/ 287941 h 457200"/>
              <a:gd name="connsiteX40" fmla="*/ 325183 w 436435"/>
              <a:gd name="connsiteY40" fmla="*/ 300133 h 457200"/>
              <a:gd name="connsiteX41" fmla="*/ 300132 w 436435"/>
              <a:gd name="connsiteY41" fmla="*/ 325279 h 457200"/>
              <a:gd name="connsiteX42" fmla="*/ 287845 w 436435"/>
              <a:gd name="connsiteY42" fmla="*/ 326326 h 457200"/>
              <a:gd name="connsiteX43" fmla="*/ 261747 w 436435"/>
              <a:gd name="connsiteY43" fmla="*/ 307848 h 457200"/>
              <a:gd name="connsiteX44" fmla="*/ 250888 w 436435"/>
              <a:gd name="connsiteY44" fmla="*/ 312325 h 457200"/>
              <a:gd name="connsiteX45" fmla="*/ 245459 w 436435"/>
              <a:gd name="connsiteY45" fmla="*/ 343853 h 457200"/>
              <a:gd name="connsiteX46" fmla="*/ 236029 w 436435"/>
              <a:gd name="connsiteY46" fmla="*/ 351758 h 457200"/>
              <a:gd name="connsiteX47" fmla="*/ 200501 w 436435"/>
              <a:gd name="connsiteY47" fmla="*/ 351758 h 457200"/>
              <a:gd name="connsiteX48" fmla="*/ 191071 w 436435"/>
              <a:gd name="connsiteY48" fmla="*/ 343853 h 457200"/>
              <a:gd name="connsiteX49" fmla="*/ 185642 w 436435"/>
              <a:gd name="connsiteY49" fmla="*/ 312325 h 457200"/>
              <a:gd name="connsiteX50" fmla="*/ 174783 w 436435"/>
              <a:gd name="connsiteY50" fmla="*/ 307848 h 457200"/>
              <a:gd name="connsiteX51" fmla="*/ 148590 w 436435"/>
              <a:gd name="connsiteY51" fmla="*/ 326326 h 457200"/>
              <a:gd name="connsiteX52" fmla="*/ 136398 w 436435"/>
              <a:gd name="connsiteY52" fmla="*/ 325279 h 457200"/>
              <a:gd name="connsiteX53" fmla="*/ 111347 w 436435"/>
              <a:gd name="connsiteY53" fmla="*/ 300133 h 457200"/>
              <a:gd name="connsiteX54" fmla="*/ 110299 w 436435"/>
              <a:gd name="connsiteY54" fmla="*/ 287941 h 457200"/>
              <a:gd name="connsiteX55" fmla="*/ 128587 w 436435"/>
              <a:gd name="connsiteY55" fmla="*/ 261938 h 457200"/>
              <a:gd name="connsiteX56" fmla="*/ 123920 w 436435"/>
              <a:gd name="connsiteY56" fmla="*/ 250889 h 457200"/>
              <a:gd name="connsiteX57" fmla="*/ 92583 w 436435"/>
              <a:gd name="connsiteY57" fmla="*/ 245459 h 457200"/>
              <a:gd name="connsiteX58" fmla="*/ 84677 w 436435"/>
              <a:gd name="connsiteY58" fmla="*/ 236125 h 457200"/>
              <a:gd name="connsiteX59" fmla="*/ 84677 w 436435"/>
              <a:gd name="connsiteY59" fmla="*/ 20050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36435" h="457200">
                <a:moveTo>
                  <a:pt x="51054" y="453390"/>
                </a:moveTo>
                <a:cubicBezTo>
                  <a:pt x="52863" y="455867"/>
                  <a:pt x="55721" y="457200"/>
                  <a:pt x="58674" y="457200"/>
                </a:cubicBezTo>
                <a:cubicBezTo>
                  <a:pt x="59436" y="457200"/>
                  <a:pt x="60293" y="457106"/>
                  <a:pt x="61150" y="456914"/>
                </a:cubicBezTo>
                <a:lnTo>
                  <a:pt x="162591" y="429387"/>
                </a:lnTo>
                <a:cubicBezTo>
                  <a:pt x="180784" y="434150"/>
                  <a:pt x="199453" y="436531"/>
                  <a:pt x="218217" y="436531"/>
                </a:cubicBezTo>
                <a:cubicBezTo>
                  <a:pt x="338518" y="436531"/>
                  <a:pt x="436435" y="338614"/>
                  <a:pt x="436435" y="218313"/>
                </a:cubicBezTo>
                <a:cubicBezTo>
                  <a:pt x="436435" y="97917"/>
                  <a:pt x="338518" y="0"/>
                  <a:pt x="218217" y="0"/>
                </a:cubicBezTo>
                <a:cubicBezTo>
                  <a:pt x="97917" y="0"/>
                  <a:pt x="0" y="97917"/>
                  <a:pt x="0" y="218313"/>
                </a:cubicBezTo>
                <a:cubicBezTo>
                  <a:pt x="0" y="284988"/>
                  <a:pt x="30861" y="348425"/>
                  <a:pt x="82962" y="389573"/>
                </a:cubicBezTo>
                <a:lnTo>
                  <a:pt x="50482" y="442722"/>
                </a:lnTo>
                <a:cubicBezTo>
                  <a:pt x="48482" y="446056"/>
                  <a:pt x="48672" y="450342"/>
                  <a:pt x="51054" y="453390"/>
                </a:cubicBezTo>
                <a:close/>
                <a:moveTo>
                  <a:pt x="84677" y="200501"/>
                </a:moveTo>
                <a:cubicBezTo>
                  <a:pt x="84677" y="195929"/>
                  <a:pt x="88011" y="191929"/>
                  <a:pt x="92583" y="191167"/>
                </a:cubicBezTo>
                <a:lnTo>
                  <a:pt x="123539" y="185833"/>
                </a:lnTo>
                <a:cubicBezTo>
                  <a:pt x="124872" y="181832"/>
                  <a:pt x="126492" y="178022"/>
                  <a:pt x="128301" y="174212"/>
                </a:cubicBezTo>
                <a:lnTo>
                  <a:pt x="110299" y="148685"/>
                </a:lnTo>
                <a:cubicBezTo>
                  <a:pt x="107632" y="144875"/>
                  <a:pt x="108013" y="139732"/>
                  <a:pt x="111347" y="136493"/>
                </a:cubicBezTo>
                <a:lnTo>
                  <a:pt x="136398" y="111347"/>
                </a:lnTo>
                <a:cubicBezTo>
                  <a:pt x="139636" y="108014"/>
                  <a:pt x="144875" y="107537"/>
                  <a:pt x="148590" y="110300"/>
                </a:cubicBezTo>
                <a:lnTo>
                  <a:pt x="173926" y="128206"/>
                </a:lnTo>
                <a:cubicBezTo>
                  <a:pt x="177736" y="126206"/>
                  <a:pt x="181737" y="124587"/>
                  <a:pt x="185832" y="123158"/>
                </a:cubicBezTo>
                <a:lnTo>
                  <a:pt x="191071" y="92678"/>
                </a:lnTo>
                <a:cubicBezTo>
                  <a:pt x="191833" y="88106"/>
                  <a:pt x="195834" y="84773"/>
                  <a:pt x="200501" y="84773"/>
                </a:cubicBezTo>
                <a:lnTo>
                  <a:pt x="236029" y="84773"/>
                </a:lnTo>
                <a:cubicBezTo>
                  <a:pt x="240696" y="84773"/>
                  <a:pt x="244602" y="88106"/>
                  <a:pt x="245459" y="92678"/>
                </a:cubicBezTo>
                <a:lnTo>
                  <a:pt x="250698" y="123254"/>
                </a:lnTo>
                <a:cubicBezTo>
                  <a:pt x="254793" y="124587"/>
                  <a:pt x="258794" y="126302"/>
                  <a:pt x="262604" y="128206"/>
                </a:cubicBezTo>
                <a:lnTo>
                  <a:pt x="287845" y="110300"/>
                </a:lnTo>
                <a:cubicBezTo>
                  <a:pt x="291655" y="107537"/>
                  <a:pt x="296799" y="108014"/>
                  <a:pt x="300132" y="111347"/>
                </a:cubicBezTo>
                <a:lnTo>
                  <a:pt x="325183" y="136493"/>
                </a:lnTo>
                <a:cubicBezTo>
                  <a:pt x="328422" y="139732"/>
                  <a:pt x="328898" y="144875"/>
                  <a:pt x="326231" y="148685"/>
                </a:cubicBezTo>
                <a:lnTo>
                  <a:pt x="308229" y="174212"/>
                </a:lnTo>
                <a:cubicBezTo>
                  <a:pt x="310038" y="178022"/>
                  <a:pt x="311658" y="181832"/>
                  <a:pt x="312991" y="185833"/>
                </a:cubicBezTo>
                <a:lnTo>
                  <a:pt x="343852" y="191167"/>
                </a:lnTo>
                <a:cubicBezTo>
                  <a:pt x="348424" y="191929"/>
                  <a:pt x="351758" y="195929"/>
                  <a:pt x="351758" y="200501"/>
                </a:cubicBezTo>
                <a:lnTo>
                  <a:pt x="351758" y="236125"/>
                </a:lnTo>
                <a:cubicBezTo>
                  <a:pt x="351758" y="240697"/>
                  <a:pt x="348424" y="244697"/>
                  <a:pt x="343852" y="245459"/>
                </a:cubicBezTo>
                <a:lnTo>
                  <a:pt x="312610" y="250793"/>
                </a:lnTo>
                <a:cubicBezTo>
                  <a:pt x="311277" y="254603"/>
                  <a:pt x="309753" y="258318"/>
                  <a:pt x="307943" y="261938"/>
                </a:cubicBezTo>
                <a:lnTo>
                  <a:pt x="326231" y="287941"/>
                </a:lnTo>
                <a:cubicBezTo>
                  <a:pt x="328898" y="291751"/>
                  <a:pt x="328422" y="296894"/>
                  <a:pt x="325183" y="300133"/>
                </a:cubicBezTo>
                <a:lnTo>
                  <a:pt x="300132" y="325279"/>
                </a:lnTo>
                <a:cubicBezTo>
                  <a:pt x="296799" y="328518"/>
                  <a:pt x="291655" y="328994"/>
                  <a:pt x="287845" y="326326"/>
                </a:cubicBezTo>
                <a:lnTo>
                  <a:pt x="261747" y="307848"/>
                </a:lnTo>
                <a:cubicBezTo>
                  <a:pt x="258222" y="309563"/>
                  <a:pt x="254508" y="310991"/>
                  <a:pt x="250888" y="312325"/>
                </a:cubicBezTo>
                <a:lnTo>
                  <a:pt x="245459" y="343853"/>
                </a:lnTo>
                <a:cubicBezTo>
                  <a:pt x="244602" y="348425"/>
                  <a:pt x="240696" y="351758"/>
                  <a:pt x="236029" y="351758"/>
                </a:cubicBezTo>
                <a:lnTo>
                  <a:pt x="200501" y="351758"/>
                </a:lnTo>
                <a:cubicBezTo>
                  <a:pt x="195834" y="351758"/>
                  <a:pt x="191833" y="348425"/>
                  <a:pt x="191071" y="343853"/>
                </a:cubicBezTo>
                <a:lnTo>
                  <a:pt x="185642" y="312325"/>
                </a:lnTo>
                <a:cubicBezTo>
                  <a:pt x="181927" y="310991"/>
                  <a:pt x="178308" y="309563"/>
                  <a:pt x="174783" y="307848"/>
                </a:cubicBezTo>
                <a:lnTo>
                  <a:pt x="148590" y="326326"/>
                </a:lnTo>
                <a:cubicBezTo>
                  <a:pt x="144875" y="328994"/>
                  <a:pt x="139636" y="328518"/>
                  <a:pt x="136398" y="325279"/>
                </a:cubicBezTo>
                <a:lnTo>
                  <a:pt x="111347" y="300133"/>
                </a:lnTo>
                <a:cubicBezTo>
                  <a:pt x="108013" y="296894"/>
                  <a:pt x="107632" y="291751"/>
                  <a:pt x="110299" y="287941"/>
                </a:cubicBezTo>
                <a:lnTo>
                  <a:pt x="128587" y="261938"/>
                </a:lnTo>
                <a:cubicBezTo>
                  <a:pt x="126777" y="258318"/>
                  <a:pt x="125253" y="254603"/>
                  <a:pt x="123920" y="250889"/>
                </a:cubicBezTo>
                <a:lnTo>
                  <a:pt x="92583" y="245459"/>
                </a:lnTo>
                <a:cubicBezTo>
                  <a:pt x="88011" y="244697"/>
                  <a:pt x="84677" y="240697"/>
                  <a:pt x="84677" y="236125"/>
                </a:cubicBezTo>
                <a:lnTo>
                  <a:pt x="84677" y="200501"/>
                </a:lnTo>
                <a:close/>
              </a:path>
            </a:pathLst>
          </a:custGeom>
          <a:solidFill>
            <a:srgbClr val="00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111" name="Forma Livre: Forma 110">
            <a:extLst>
              <a:ext uri="{FF2B5EF4-FFF2-40B4-BE49-F238E27FC236}">
                <a16:creationId xmlns:a16="http://schemas.microsoft.com/office/drawing/2014/main" id="{70A3D09A-758D-FBF5-C699-0766B7E0C795}"/>
              </a:ext>
            </a:extLst>
          </p:cNvPr>
          <p:cNvSpPr/>
          <p:nvPr/>
        </p:nvSpPr>
        <p:spPr>
          <a:xfrm>
            <a:off x="2835436" y="2205021"/>
            <a:ext cx="68823" cy="68898"/>
          </a:xfrm>
          <a:custGeom>
            <a:avLst/>
            <a:gdLst>
              <a:gd name="connsiteX0" fmla="*/ 43339 w 86677"/>
              <a:gd name="connsiteY0" fmla="*/ 86773 h 86772"/>
              <a:gd name="connsiteX1" fmla="*/ 86677 w 86677"/>
              <a:gd name="connsiteY1" fmla="*/ 43434 h 86772"/>
              <a:gd name="connsiteX2" fmla="*/ 43339 w 86677"/>
              <a:gd name="connsiteY2" fmla="*/ 0 h 86772"/>
              <a:gd name="connsiteX3" fmla="*/ 0 w 86677"/>
              <a:gd name="connsiteY3" fmla="*/ 43434 h 86772"/>
              <a:gd name="connsiteX4" fmla="*/ 43339 w 86677"/>
              <a:gd name="connsiteY4" fmla="*/ 86773 h 86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77" h="86772">
                <a:moveTo>
                  <a:pt x="43339" y="86773"/>
                </a:moveTo>
                <a:cubicBezTo>
                  <a:pt x="67246" y="86773"/>
                  <a:pt x="86677" y="67342"/>
                  <a:pt x="86677" y="43434"/>
                </a:cubicBezTo>
                <a:cubicBezTo>
                  <a:pt x="86677" y="19431"/>
                  <a:pt x="67246" y="0"/>
                  <a:pt x="43339" y="0"/>
                </a:cubicBezTo>
                <a:cubicBezTo>
                  <a:pt x="19431" y="0"/>
                  <a:pt x="0" y="19431"/>
                  <a:pt x="0" y="43434"/>
                </a:cubicBezTo>
                <a:cubicBezTo>
                  <a:pt x="0" y="67342"/>
                  <a:pt x="19431" y="86773"/>
                  <a:pt x="43339" y="86773"/>
                </a:cubicBezTo>
                <a:close/>
              </a:path>
            </a:pathLst>
          </a:custGeom>
          <a:solidFill>
            <a:srgbClr val="00FFFF"/>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13" name="Agrupar 112">
            <a:extLst>
              <a:ext uri="{FF2B5EF4-FFF2-40B4-BE49-F238E27FC236}">
                <a16:creationId xmlns:a16="http://schemas.microsoft.com/office/drawing/2014/main" id="{470C8A7C-ACE5-55E3-E271-5C5A5739CBB7}"/>
              </a:ext>
            </a:extLst>
          </p:cNvPr>
          <p:cNvGrpSpPr/>
          <p:nvPr/>
        </p:nvGrpSpPr>
        <p:grpSpPr>
          <a:xfrm>
            <a:off x="7126147" y="1981524"/>
            <a:ext cx="502639" cy="502638"/>
            <a:chOff x="4572000" y="1905000"/>
            <a:chExt cx="3048000" cy="3048000"/>
          </a:xfrm>
        </p:grpSpPr>
        <p:sp>
          <p:nvSpPr>
            <p:cNvPr id="114" name="Forma Livre: Forma 113">
              <a:extLst>
                <a:ext uri="{FF2B5EF4-FFF2-40B4-BE49-F238E27FC236}">
                  <a16:creationId xmlns:a16="http://schemas.microsoft.com/office/drawing/2014/main" id="{E34F4E49-9601-042C-7921-4C7863A7535E}"/>
                </a:ext>
              </a:extLst>
            </p:cNvPr>
            <p:cNvSpPr/>
            <p:nvPr/>
          </p:nvSpPr>
          <p:spPr>
            <a:xfrm>
              <a:off x="4572000" y="1905000"/>
              <a:ext cx="3048000" cy="3048000"/>
            </a:xfrm>
            <a:custGeom>
              <a:avLst/>
              <a:gdLst>
                <a:gd name="connsiteX0" fmla="*/ 3048000 w 3048000"/>
                <a:gd name="connsiteY0" fmla="*/ 1524000 h 3048000"/>
                <a:gd name="connsiteX1" fmla="*/ 1524000 w 3048000"/>
                <a:gd name="connsiteY1" fmla="*/ 3048000 h 3048000"/>
                <a:gd name="connsiteX2" fmla="*/ 0 w 3048000"/>
                <a:gd name="connsiteY2" fmla="*/ 1524000 h 3048000"/>
                <a:gd name="connsiteX3" fmla="*/ 1524000 w 3048000"/>
                <a:gd name="connsiteY3" fmla="*/ 0 h 3048000"/>
                <a:gd name="connsiteX4" fmla="*/ 3048000 w 3048000"/>
                <a:gd name="connsiteY4" fmla="*/ 1524000 h 304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0" h="3048000">
                  <a:moveTo>
                    <a:pt x="3048000" y="1524000"/>
                  </a:moveTo>
                  <a:cubicBezTo>
                    <a:pt x="3048000" y="2365682"/>
                    <a:pt x="2365682" y="3048000"/>
                    <a:pt x="1524000" y="3048000"/>
                  </a:cubicBezTo>
                  <a:cubicBezTo>
                    <a:pt x="682318" y="3048000"/>
                    <a:pt x="0" y="2365682"/>
                    <a:pt x="0" y="1524000"/>
                  </a:cubicBezTo>
                  <a:cubicBezTo>
                    <a:pt x="0" y="682318"/>
                    <a:pt x="682318" y="0"/>
                    <a:pt x="1524000" y="0"/>
                  </a:cubicBezTo>
                  <a:cubicBezTo>
                    <a:pt x="2365682" y="0"/>
                    <a:pt x="3048000" y="682318"/>
                    <a:pt x="3048000" y="1524000"/>
                  </a:cubicBezTo>
                  <a:close/>
                </a:path>
              </a:pathLst>
            </a:custGeom>
            <a:noFill/>
            <a:ln w="19050" cap="rnd">
              <a:solidFill>
                <a:srgbClr val="00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5" name="Forma Livre: Forma 114">
              <a:extLst>
                <a:ext uri="{FF2B5EF4-FFF2-40B4-BE49-F238E27FC236}">
                  <a16:creationId xmlns:a16="http://schemas.microsoft.com/office/drawing/2014/main" id="{7F05D718-C5EA-815C-7C9E-21DC457FCB97}"/>
                </a:ext>
              </a:extLst>
            </p:cNvPr>
            <p:cNvSpPr/>
            <p:nvPr/>
          </p:nvSpPr>
          <p:spPr>
            <a:xfrm>
              <a:off x="4885752" y="2235517"/>
              <a:ext cx="959929" cy="1045178"/>
            </a:xfrm>
            <a:custGeom>
              <a:avLst/>
              <a:gdLst>
                <a:gd name="connsiteX0" fmla="*/ -2328 w 959929"/>
                <a:gd name="connsiteY0" fmla="*/ 1043265 h 1045178"/>
                <a:gd name="connsiteX1" fmla="*/ 957602 w 959929"/>
                <a:gd name="connsiteY1" fmla="*/ -1913 h 1045178"/>
              </a:gdLst>
              <a:ahLst/>
              <a:cxnLst>
                <a:cxn ang="0">
                  <a:pos x="connsiteX0" y="connsiteY0"/>
                </a:cxn>
                <a:cxn ang="0">
                  <a:pos x="connsiteX1" y="connsiteY1"/>
                </a:cxn>
              </a:cxnLst>
              <a:rect l="l" t="t" r="r" b="b"/>
              <a:pathLst>
                <a:path w="959929" h="1045178">
                  <a:moveTo>
                    <a:pt x="-2328" y="1043265"/>
                  </a:moveTo>
                  <a:cubicBezTo>
                    <a:pt x="61301" y="525486"/>
                    <a:pt x="447063" y="105434"/>
                    <a:pt x="957602" y="-1913"/>
                  </a:cubicBezTo>
                </a:path>
              </a:pathLst>
            </a:custGeom>
            <a:noFill/>
            <a:ln w="19050" cap="rnd">
              <a:solidFill>
                <a:srgbClr val="00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7" name="Forma Livre: Forma 116">
              <a:extLst>
                <a:ext uri="{FF2B5EF4-FFF2-40B4-BE49-F238E27FC236}">
                  <a16:creationId xmlns:a16="http://schemas.microsoft.com/office/drawing/2014/main" id="{7D6B8302-28D1-49FA-25D0-D26105336AD8}"/>
                </a:ext>
              </a:extLst>
            </p:cNvPr>
            <p:cNvSpPr/>
            <p:nvPr/>
          </p:nvSpPr>
          <p:spPr>
            <a:xfrm>
              <a:off x="6638829" y="3979450"/>
              <a:ext cx="545306" cy="541590"/>
            </a:xfrm>
            <a:custGeom>
              <a:avLst/>
              <a:gdLst>
                <a:gd name="connsiteX0" fmla="*/ 542978 w 545306"/>
                <a:gd name="connsiteY0" fmla="*/ -1913 h 541590"/>
                <a:gd name="connsiteX1" fmla="*/ -2328 w 545306"/>
                <a:gd name="connsiteY1" fmla="*/ 539677 h 541590"/>
              </a:gdLst>
              <a:ahLst/>
              <a:cxnLst>
                <a:cxn ang="0">
                  <a:pos x="connsiteX0" y="connsiteY0"/>
                </a:cxn>
                <a:cxn ang="0">
                  <a:pos x="connsiteX1" y="connsiteY1"/>
                </a:cxn>
              </a:cxnLst>
              <a:rect l="l" t="t" r="r" b="b"/>
              <a:pathLst>
                <a:path w="545306" h="541590">
                  <a:moveTo>
                    <a:pt x="542978" y="-1913"/>
                  </a:moveTo>
                  <a:cubicBezTo>
                    <a:pt x="424011" y="232401"/>
                    <a:pt x="232844" y="422331"/>
                    <a:pt x="-2328" y="539677"/>
                  </a:cubicBezTo>
                </a:path>
              </a:pathLst>
            </a:custGeom>
            <a:noFill/>
            <a:ln w="19050" cap="rnd">
              <a:solidFill>
                <a:srgbClr val="00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8" name="Forma Livre: Forma 117">
              <a:extLst>
                <a:ext uri="{FF2B5EF4-FFF2-40B4-BE49-F238E27FC236}">
                  <a16:creationId xmlns:a16="http://schemas.microsoft.com/office/drawing/2014/main" id="{7838971B-8568-0576-0193-E9FE9D3B732D}"/>
                </a:ext>
              </a:extLst>
            </p:cNvPr>
            <p:cNvSpPr/>
            <p:nvPr/>
          </p:nvSpPr>
          <p:spPr>
            <a:xfrm>
              <a:off x="5257800" y="2743200"/>
              <a:ext cx="1752600" cy="1447800"/>
            </a:xfrm>
            <a:custGeom>
              <a:avLst/>
              <a:gdLst>
                <a:gd name="connsiteX0" fmla="*/ 1447800 w 1752600"/>
                <a:gd name="connsiteY0" fmla="*/ 0 h 1447800"/>
                <a:gd name="connsiteX1" fmla="*/ 609600 w 1752600"/>
                <a:gd name="connsiteY1" fmla="*/ 838200 h 1447800"/>
                <a:gd name="connsiteX2" fmla="*/ 304800 w 1752600"/>
                <a:gd name="connsiteY2" fmla="*/ 533400 h 1447800"/>
                <a:gd name="connsiteX3" fmla="*/ 0 w 1752600"/>
                <a:gd name="connsiteY3" fmla="*/ 838200 h 1447800"/>
                <a:gd name="connsiteX4" fmla="*/ 609600 w 1752600"/>
                <a:gd name="connsiteY4" fmla="*/ 1447800 h 1447800"/>
                <a:gd name="connsiteX5" fmla="*/ 1752600 w 1752600"/>
                <a:gd name="connsiteY5" fmla="*/ 304800 h 1447800"/>
                <a:gd name="connsiteX6" fmla="*/ 1447800 w 1752600"/>
                <a:gd name="connsiteY6" fmla="*/ 0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2600" h="1447800">
                  <a:moveTo>
                    <a:pt x="1447800" y="0"/>
                  </a:moveTo>
                  <a:lnTo>
                    <a:pt x="609600" y="838200"/>
                  </a:lnTo>
                  <a:lnTo>
                    <a:pt x="304800" y="533400"/>
                  </a:lnTo>
                  <a:lnTo>
                    <a:pt x="0" y="838200"/>
                  </a:lnTo>
                  <a:lnTo>
                    <a:pt x="609600" y="1447800"/>
                  </a:lnTo>
                  <a:lnTo>
                    <a:pt x="1752600" y="304800"/>
                  </a:lnTo>
                  <a:lnTo>
                    <a:pt x="1447800" y="0"/>
                  </a:lnTo>
                  <a:close/>
                </a:path>
              </a:pathLst>
            </a:custGeom>
            <a:noFill/>
            <a:ln w="19050" cap="rnd">
              <a:solidFill>
                <a:srgbClr val="00FFFF"/>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20" name="Agrupar 119">
            <a:extLst>
              <a:ext uri="{FF2B5EF4-FFF2-40B4-BE49-F238E27FC236}">
                <a16:creationId xmlns:a16="http://schemas.microsoft.com/office/drawing/2014/main" id="{C446C039-4584-C522-15BE-10E6725964C0}"/>
              </a:ext>
            </a:extLst>
          </p:cNvPr>
          <p:cNvGrpSpPr/>
          <p:nvPr/>
        </p:nvGrpSpPr>
        <p:grpSpPr>
          <a:xfrm>
            <a:off x="1413400" y="1919492"/>
            <a:ext cx="659094" cy="659094"/>
            <a:chOff x="1413400" y="1919492"/>
            <a:chExt cx="659094" cy="659094"/>
          </a:xfrm>
        </p:grpSpPr>
        <p:sp>
          <p:nvSpPr>
            <p:cNvPr id="121" name="Elipse 120">
              <a:extLst>
                <a:ext uri="{FF2B5EF4-FFF2-40B4-BE49-F238E27FC236}">
                  <a16:creationId xmlns:a16="http://schemas.microsoft.com/office/drawing/2014/main" id="{B1DDBBB1-FC0E-1C0F-460E-830B989F201A}"/>
                </a:ext>
              </a:extLst>
            </p:cNvPr>
            <p:cNvSpPr/>
            <p:nvPr/>
          </p:nvSpPr>
          <p:spPr>
            <a:xfrm>
              <a:off x="1413400" y="1919492"/>
              <a:ext cx="659094" cy="65909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2" name="Gráfico 121" descr="Peças de quebra-cabeça com preenchimento sólido">
              <a:extLst>
                <a:ext uri="{FF2B5EF4-FFF2-40B4-BE49-F238E27FC236}">
                  <a16:creationId xmlns:a16="http://schemas.microsoft.com/office/drawing/2014/main" id="{BCE0C55C-44DD-954C-69A1-83246612662B}"/>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474192" y="1967150"/>
              <a:ext cx="569261" cy="569260"/>
            </a:xfrm>
            <a:prstGeom prst="rect">
              <a:avLst/>
            </a:prstGeom>
            <a:effectLst/>
          </p:spPr>
        </p:pic>
      </p:grpSp>
      <p:grpSp>
        <p:nvGrpSpPr>
          <p:cNvPr id="128" name="Agrupar 127">
            <a:extLst>
              <a:ext uri="{FF2B5EF4-FFF2-40B4-BE49-F238E27FC236}">
                <a16:creationId xmlns:a16="http://schemas.microsoft.com/office/drawing/2014/main" id="{07FBE444-FFAD-70D6-2528-E592F7C2F534}"/>
              </a:ext>
            </a:extLst>
          </p:cNvPr>
          <p:cNvGrpSpPr/>
          <p:nvPr/>
        </p:nvGrpSpPr>
        <p:grpSpPr>
          <a:xfrm>
            <a:off x="5921016" y="1919491"/>
            <a:ext cx="659094" cy="659094"/>
            <a:chOff x="5921016" y="1919491"/>
            <a:chExt cx="659094" cy="659094"/>
          </a:xfrm>
        </p:grpSpPr>
        <p:sp>
          <p:nvSpPr>
            <p:cNvPr id="129" name="Elipse 128">
              <a:extLst>
                <a:ext uri="{FF2B5EF4-FFF2-40B4-BE49-F238E27FC236}">
                  <a16:creationId xmlns:a16="http://schemas.microsoft.com/office/drawing/2014/main" id="{E2D3F9B4-031A-3091-9B56-0BBEAF023CCA}"/>
                </a:ext>
              </a:extLst>
            </p:cNvPr>
            <p:cNvSpPr/>
            <p:nvPr/>
          </p:nvSpPr>
          <p:spPr>
            <a:xfrm>
              <a:off x="5921016" y="1919491"/>
              <a:ext cx="659094" cy="659094"/>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31" name="Gráfico 104">
              <a:extLst>
                <a:ext uri="{FF2B5EF4-FFF2-40B4-BE49-F238E27FC236}">
                  <a16:creationId xmlns:a16="http://schemas.microsoft.com/office/drawing/2014/main" id="{A637A9D9-8B55-4719-8844-0F9ED32FEE82}"/>
                </a:ext>
              </a:extLst>
            </p:cNvPr>
            <p:cNvGrpSpPr/>
            <p:nvPr/>
          </p:nvGrpSpPr>
          <p:grpSpPr>
            <a:xfrm>
              <a:off x="6109204" y="2073070"/>
              <a:ext cx="280079" cy="382608"/>
              <a:chOff x="9482367" y="2299546"/>
              <a:chExt cx="320039" cy="437197"/>
            </a:xfrm>
            <a:solidFill>
              <a:srgbClr val="000000"/>
            </a:solidFill>
          </p:grpSpPr>
          <p:sp>
            <p:nvSpPr>
              <p:cNvPr id="132" name="Forma Livre: Forma 131">
                <a:extLst>
                  <a:ext uri="{FF2B5EF4-FFF2-40B4-BE49-F238E27FC236}">
                    <a16:creationId xmlns:a16="http://schemas.microsoft.com/office/drawing/2014/main" id="{2D677D39-516F-6BD6-64FC-121AF329F976}"/>
                  </a:ext>
                </a:extLst>
              </p:cNvPr>
              <p:cNvSpPr/>
              <p:nvPr/>
            </p:nvSpPr>
            <p:spPr>
              <a:xfrm>
                <a:off x="9621489" y="2403100"/>
                <a:ext cx="40004" cy="40005"/>
              </a:xfrm>
              <a:custGeom>
                <a:avLst/>
                <a:gdLst>
                  <a:gd name="connsiteX0" fmla="*/ 0 w 40004"/>
                  <a:gd name="connsiteY0" fmla="*/ 20003 h 40005"/>
                  <a:gd name="connsiteX1" fmla="*/ 20003 w 40004"/>
                  <a:gd name="connsiteY1" fmla="*/ 40005 h 40005"/>
                  <a:gd name="connsiteX2" fmla="*/ 40005 w 40004"/>
                  <a:gd name="connsiteY2" fmla="*/ 20003 h 40005"/>
                  <a:gd name="connsiteX3" fmla="*/ 20003 w 40004"/>
                  <a:gd name="connsiteY3" fmla="*/ 0 h 40005"/>
                  <a:gd name="connsiteX4" fmla="*/ 20003 w 40004"/>
                  <a:gd name="connsiteY4" fmla="*/ 0 h 40005"/>
                  <a:gd name="connsiteX5" fmla="*/ 20003 w 40004"/>
                  <a:gd name="connsiteY5" fmla="*/ 0 h 40005"/>
                  <a:gd name="connsiteX6" fmla="*/ 0 w 40004"/>
                  <a:gd name="connsiteY6" fmla="*/ 20003 h 4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04" h="40005">
                    <a:moveTo>
                      <a:pt x="0" y="20003"/>
                    </a:moveTo>
                    <a:cubicBezTo>
                      <a:pt x="0" y="31433"/>
                      <a:pt x="8572" y="40005"/>
                      <a:pt x="20003" y="40005"/>
                    </a:cubicBezTo>
                    <a:cubicBezTo>
                      <a:pt x="31433" y="40005"/>
                      <a:pt x="40005" y="31433"/>
                      <a:pt x="40005" y="20003"/>
                    </a:cubicBezTo>
                    <a:cubicBezTo>
                      <a:pt x="40005" y="8572"/>
                      <a:pt x="31433" y="0"/>
                      <a:pt x="20003" y="0"/>
                    </a:cubicBezTo>
                    <a:cubicBezTo>
                      <a:pt x="20003" y="0"/>
                      <a:pt x="20003" y="0"/>
                      <a:pt x="20003" y="0"/>
                    </a:cubicBezTo>
                    <a:cubicBezTo>
                      <a:pt x="20003" y="0"/>
                      <a:pt x="20003" y="0"/>
                      <a:pt x="20003" y="0"/>
                    </a:cubicBezTo>
                    <a:cubicBezTo>
                      <a:pt x="8572" y="0"/>
                      <a:pt x="0" y="9525"/>
                      <a:pt x="0" y="20003"/>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3" name="Forma Livre: Forma 132">
                <a:extLst>
                  <a:ext uri="{FF2B5EF4-FFF2-40B4-BE49-F238E27FC236}">
                    <a16:creationId xmlns:a16="http://schemas.microsoft.com/office/drawing/2014/main" id="{ED251BE6-E127-5FEE-8514-69CCFB021020}"/>
                  </a:ext>
                </a:extLst>
              </p:cNvPr>
              <p:cNvSpPr/>
              <p:nvPr/>
            </p:nvSpPr>
            <p:spPr>
              <a:xfrm>
                <a:off x="9482367" y="2299546"/>
                <a:ext cx="320039" cy="437197"/>
              </a:xfrm>
              <a:custGeom>
                <a:avLst/>
                <a:gdLst>
                  <a:gd name="connsiteX0" fmla="*/ 301943 w 320039"/>
                  <a:gd name="connsiteY0" fmla="*/ 52388 h 437197"/>
                  <a:gd name="connsiteX1" fmla="*/ 251460 w 320039"/>
                  <a:gd name="connsiteY1" fmla="*/ 11430 h 437197"/>
                  <a:gd name="connsiteX2" fmla="*/ 220028 w 320039"/>
                  <a:gd name="connsiteY2" fmla="*/ 0 h 437197"/>
                  <a:gd name="connsiteX3" fmla="*/ 49530 w 320039"/>
                  <a:gd name="connsiteY3" fmla="*/ 0 h 437197"/>
                  <a:gd name="connsiteX4" fmla="*/ 0 w 320039"/>
                  <a:gd name="connsiteY4" fmla="*/ 49530 h 437197"/>
                  <a:gd name="connsiteX5" fmla="*/ 0 w 320039"/>
                  <a:gd name="connsiteY5" fmla="*/ 387668 h 437197"/>
                  <a:gd name="connsiteX6" fmla="*/ 49530 w 320039"/>
                  <a:gd name="connsiteY6" fmla="*/ 437198 h 437197"/>
                  <a:gd name="connsiteX7" fmla="*/ 270510 w 320039"/>
                  <a:gd name="connsiteY7" fmla="*/ 437198 h 437197"/>
                  <a:gd name="connsiteX8" fmla="*/ 320040 w 320039"/>
                  <a:gd name="connsiteY8" fmla="*/ 387668 h 437197"/>
                  <a:gd name="connsiteX9" fmla="*/ 320040 w 320039"/>
                  <a:gd name="connsiteY9" fmla="*/ 90488 h 437197"/>
                  <a:gd name="connsiteX10" fmla="*/ 301943 w 320039"/>
                  <a:gd name="connsiteY10" fmla="*/ 52388 h 437197"/>
                  <a:gd name="connsiteX11" fmla="*/ 226695 w 320039"/>
                  <a:gd name="connsiteY11" fmla="*/ 132398 h 437197"/>
                  <a:gd name="connsiteX12" fmla="*/ 226695 w 320039"/>
                  <a:gd name="connsiteY12" fmla="*/ 133350 h 437197"/>
                  <a:gd name="connsiteX13" fmla="*/ 212408 w 320039"/>
                  <a:gd name="connsiteY13" fmla="*/ 146685 h 437197"/>
                  <a:gd name="connsiteX14" fmla="*/ 210503 w 320039"/>
                  <a:gd name="connsiteY14" fmla="*/ 146685 h 437197"/>
                  <a:gd name="connsiteX15" fmla="*/ 206693 w 320039"/>
                  <a:gd name="connsiteY15" fmla="*/ 146685 h 437197"/>
                  <a:gd name="connsiteX16" fmla="*/ 202883 w 320039"/>
                  <a:gd name="connsiteY16" fmla="*/ 155258 h 437197"/>
                  <a:gd name="connsiteX17" fmla="*/ 206693 w 320039"/>
                  <a:gd name="connsiteY17" fmla="*/ 159067 h 437197"/>
                  <a:gd name="connsiteX18" fmla="*/ 205740 w 320039"/>
                  <a:gd name="connsiteY18" fmla="*/ 180023 h 437197"/>
                  <a:gd name="connsiteX19" fmla="*/ 186690 w 320039"/>
                  <a:gd name="connsiteY19" fmla="*/ 179070 h 437197"/>
                  <a:gd name="connsiteX20" fmla="*/ 184785 w 320039"/>
                  <a:gd name="connsiteY20" fmla="*/ 177165 h 437197"/>
                  <a:gd name="connsiteX21" fmla="*/ 181928 w 320039"/>
                  <a:gd name="connsiteY21" fmla="*/ 174308 h 437197"/>
                  <a:gd name="connsiteX22" fmla="*/ 173355 w 320039"/>
                  <a:gd name="connsiteY22" fmla="*/ 178117 h 437197"/>
                  <a:gd name="connsiteX23" fmla="*/ 173355 w 320039"/>
                  <a:gd name="connsiteY23" fmla="*/ 183833 h 437197"/>
                  <a:gd name="connsiteX24" fmla="*/ 159068 w 320039"/>
                  <a:gd name="connsiteY24" fmla="*/ 198120 h 437197"/>
                  <a:gd name="connsiteX25" fmla="*/ 144780 w 320039"/>
                  <a:gd name="connsiteY25" fmla="*/ 183833 h 437197"/>
                  <a:gd name="connsiteX26" fmla="*/ 144780 w 320039"/>
                  <a:gd name="connsiteY26" fmla="*/ 181928 h 437197"/>
                  <a:gd name="connsiteX27" fmla="*/ 144780 w 320039"/>
                  <a:gd name="connsiteY27" fmla="*/ 178117 h 437197"/>
                  <a:gd name="connsiteX28" fmla="*/ 136208 w 320039"/>
                  <a:gd name="connsiteY28" fmla="*/ 174308 h 437197"/>
                  <a:gd name="connsiteX29" fmla="*/ 132398 w 320039"/>
                  <a:gd name="connsiteY29" fmla="*/ 178117 h 437197"/>
                  <a:gd name="connsiteX30" fmla="*/ 112395 w 320039"/>
                  <a:gd name="connsiteY30" fmla="*/ 178117 h 437197"/>
                  <a:gd name="connsiteX31" fmla="*/ 112395 w 320039"/>
                  <a:gd name="connsiteY31" fmla="*/ 158115 h 437197"/>
                  <a:gd name="connsiteX32" fmla="*/ 114300 w 320039"/>
                  <a:gd name="connsiteY32" fmla="*/ 156210 h 437197"/>
                  <a:gd name="connsiteX33" fmla="*/ 117158 w 320039"/>
                  <a:gd name="connsiteY33" fmla="*/ 153353 h 437197"/>
                  <a:gd name="connsiteX34" fmla="*/ 113348 w 320039"/>
                  <a:gd name="connsiteY34" fmla="*/ 144780 h 437197"/>
                  <a:gd name="connsiteX35" fmla="*/ 107633 w 320039"/>
                  <a:gd name="connsiteY35" fmla="*/ 144780 h 437197"/>
                  <a:gd name="connsiteX36" fmla="*/ 93345 w 320039"/>
                  <a:gd name="connsiteY36" fmla="*/ 133350 h 437197"/>
                  <a:gd name="connsiteX37" fmla="*/ 107633 w 320039"/>
                  <a:gd name="connsiteY37" fmla="*/ 116205 h 437197"/>
                  <a:gd name="connsiteX38" fmla="*/ 109538 w 320039"/>
                  <a:gd name="connsiteY38" fmla="*/ 116205 h 437197"/>
                  <a:gd name="connsiteX39" fmla="*/ 113348 w 320039"/>
                  <a:gd name="connsiteY39" fmla="*/ 116205 h 437197"/>
                  <a:gd name="connsiteX40" fmla="*/ 117158 w 320039"/>
                  <a:gd name="connsiteY40" fmla="*/ 107632 h 437197"/>
                  <a:gd name="connsiteX41" fmla="*/ 113348 w 320039"/>
                  <a:gd name="connsiteY41" fmla="*/ 103823 h 437197"/>
                  <a:gd name="connsiteX42" fmla="*/ 114300 w 320039"/>
                  <a:gd name="connsiteY42" fmla="*/ 82867 h 437197"/>
                  <a:gd name="connsiteX43" fmla="*/ 134303 w 320039"/>
                  <a:gd name="connsiteY43" fmla="*/ 83820 h 437197"/>
                  <a:gd name="connsiteX44" fmla="*/ 136208 w 320039"/>
                  <a:gd name="connsiteY44" fmla="*/ 85725 h 437197"/>
                  <a:gd name="connsiteX45" fmla="*/ 139065 w 320039"/>
                  <a:gd name="connsiteY45" fmla="*/ 88582 h 437197"/>
                  <a:gd name="connsiteX46" fmla="*/ 147638 w 320039"/>
                  <a:gd name="connsiteY46" fmla="*/ 84773 h 437197"/>
                  <a:gd name="connsiteX47" fmla="*/ 147638 w 320039"/>
                  <a:gd name="connsiteY47" fmla="*/ 79057 h 437197"/>
                  <a:gd name="connsiteX48" fmla="*/ 163830 w 320039"/>
                  <a:gd name="connsiteY48" fmla="*/ 64770 h 437197"/>
                  <a:gd name="connsiteX49" fmla="*/ 176213 w 320039"/>
                  <a:gd name="connsiteY49" fmla="*/ 79057 h 437197"/>
                  <a:gd name="connsiteX50" fmla="*/ 176213 w 320039"/>
                  <a:gd name="connsiteY50" fmla="*/ 80963 h 437197"/>
                  <a:gd name="connsiteX51" fmla="*/ 176213 w 320039"/>
                  <a:gd name="connsiteY51" fmla="*/ 84773 h 437197"/>
                  <a:gd name="connsiteX52" fmla="*/ 184785 w 320039"/>
                  <a:gd name="connsiteY52" fmla="*/ 88582 h 437197"/>
                  <a:gd name="connsiteX53" fmla="*/ 188595 w 320039"/>
                  <a:gd name="connsiteY53" fmla="*/ 84773 h 437197"/>
                  <a:gd name="connsiteX54" fmla="*/ 205740 w 320039"/>
                  <a:gd name="connsiteY54" fmla="*/ 82867 h 437197"/>
                  <a:gd name="connsiteX55" fmla="*/ 212408 w 320039"/>
                  <a:gd name="connsiteY55" fmla="*/ 92392 h 437197"/>
                  <a:gd name="connsiteX56" fmla="*/ 208597 w 320039"/>
                  <a:gd name="connsiteY56" fmla="*/ 104775 h 437197"/>
                  <a:gd name="connsiteX57" fmla="*/ 206693 w 320039"/>
                  <a:gd name="connsiteY57" fmla="*/ 106680 h 437197"/>
                  <a:gd name="connsiteX58" fmla="*/ 203835 w 320039"/>
                  <a:gd name="connsiteY58" fmla="*/ 109538 h 437197"/>
                  <a:gd name="connsiteX59" fmla="*/ 207645 w 320039"/>
                  <a:gd name="connsiteY59" fmla="*/ 118110 h 437197"/>
                  <a:gd name="connsiteX60" fmla="*/ 213360 w 320039"/>
                  <a:gd name="connsiteY60" fmla="*/ 118110 h 437197"/>
                  <a:gd name="connsiteX61" fmla="*/ 226695 w 320039"/>
                  <a:gd name="connsiteY61" fmla="*/ 132398 h 437197"/>
                  <a:gd name="connsiteX62" fmla="*/ 87630 w 320039"/>
                  <a:gd name="connsiteY62" fmla="*/ 340995 h 437197"/>
                  <a:gd name="connsiteX63" fmla="*/ 105727 w 320039"/>
                  <a:gd name="connsiteY63" fmla="*/ 340995 h 437197"/>
                  <a:gd name="connsiteX64" fmla="*/ 232410 w 320039"/>
                  <a:gd name="connsiteY64" fmla="*/ 340995 h 437197"/>
                  <a:gd name="connsiteX65" fmla="*/ 232410 w 320039"/>
                  <a:gd name="connsiteY65" fmla="*/ 369570 h 437197"/>
                  <a:gd name="connsiteX66" fmla="*/ 214313 w 320039"/>
                  <a:gd name="connsiteY66" fmla="*/ 369570 h 437197"/>
                  <a:gd name="connsiteX67" fmla="*/ 87630 w 320039"/>
                  <a:gd name="connsiteY67" fmla="*/ 369570 h 437197"/>
                  <a:gd name="connsiteX68" fmla="*/ 87630 w 320039"/>
                  <a:gd name="connsiteY68" fmla="*/ 340995 h 437197"/>
                  <a:gd name="connsiteX69" fmla="*/ 87630 w 320039"/>
                  <a:gd name="connsiteY69" fmla="*/ 283845 h 437197"/>
                  <a:gd name="connsiteX70" fmla="*/ 105727 w 320039"/>
                  <a:gd name="connsiteY70" fmla="*/ 283845 h 437197"/>
                  <a:gd name="connsiteX71" fmla="*/ 232410 w 320039"/>
                  <a:gd name="connsiteY71" fmla="*/ 283845 h 437197"/>
                  <a:gd name="connsiteX72" fmla="*/ 232410 w 320039"/>
                  <a:gd name="connsiteY72" fmla="*/ 312420 h 437197"/>
                  <a:gd name="connsiteX73" fmla="*/ 214313 w 320039"/>
                  <a:gd name="connsiteY73" fmla="*/ 312420 h 437197"/>
                  <a:gd name="connsiteX74" fmla="*/ 87630 w 320039"/>
                  <a:gd name="connsiteY74" fmla="*/ 312420 h 437197"/>
                  <a:gd name="connsiteX75" fmla="*/ 87630 w 320039"/>
                  <a:gd name="connsiteY75" fmla="*/ 283845 h 437197"/>
                  <a:gd name="connsiteX76" fmla="*/ 232410 w 320039"/>
                  <a:gd name="connsiteY76" fmla="*/ 254317 h 437197"/>
                  <a:gd name="connsiteX77" fmla="*/ 214313 w 320039"/>
                  <a:gd name="connsiteY77" fmla="*/ 254317 h 437197"/>
                  <a:gd name="connsiteX78" fmla="*/ 87630 w 320039"/>
                  <a:gd name="connsiteY78" fmla="*/ 254317 h 437197"/>
                  <a:gd name="connsiteX79" fmla="*/ 87630 w 320039"/>
                  <a:gd name="connsiteY79" fmla="*/ 225742 h 437197"/>
                  <a:gd name="connsiteX80" fmla="*/ 105727 w 320039"/>
                  <a:gd name="connsiteY80" fmla="*/ 225742 h 437197"/>
                  <a:gd name="connsiteX81" fmla="*/ 232410 w 320039"/>
                  <a:gd name="connsiteY81" fmla="*/ 225742 h 437197"/>
                  <a:gd name="connsiteX82" fmla="*/ 232410 w 320039"/>
                  <a:gd name="connsiteY82" fmla="*/ 254317 h 437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20039" h="437197">
                    <a:moveTo>
                      <a:pt x="301943" y="52388"/>
                    </a:moveTo>
                    <a:lnTo>
                      <a:pt x="251460" y="11430"/>
                    </a:lnTo>
                    <a:cubicBezTo>
                      <a:pt x="242888" y="4763"/>
                      <a:pt x="231458" y="0"/>
                      <a:pt x="220028" y="0"/>
                    </a:cubicBezTo>
                    <a:lnTo>
                      <a:pt x="49530" y="0"/>
                    </a:lnTo>
                    <a:cubicBezTo>
                      <a:pt x="21908" y="0"/>
                      <a:pt x="0" y="21907"/>
                      <a:pt x="0" y="49530"/>
                    </a:cubicBezTo>
                    <a:lnTo>
                      <a:pt x="0" y="387668"/>
                    </a:lnTo>
                    <a:cubicBezTo>
                      <a:pt x="0" y="415290"/>
                      <a:pt x="21908" y="437198"/>
                      <a:pt x="49530" y="437198"/>
                    </a:cubicBezTo>
                    <a:lnTo>
                      <a:pt x="270510" y="437198"/>
                    </a:lnTo>
                    <a:cubicBezTo>
                      <a:pt x="298133" y="437198"/>
                      <a:pt x="320040" y="415290"/>
                      <a:pt x="320040" y="387668"/>
                    </a:cubicBezTo>
                    <a:lnTo>
                      <a:pt x="320040" y="90488"/>
                    </a:lnTo>
                    <a:cubicBezTo>
                      <a:pt x="320040" y="75248"/>
                      <a:pt x="313373" y="61913"/>
                      <a:pt x="301943" y="52388"/>
                    </a:cubicBezTo>
                    <a:close/>
                    <a:moveTo>
                      <a:pt x="226695" y="132398"/>
                    </a:moveTo>
                    <a:cubicBezTo>
                      <a:pt x="226695" y="132398"/>
                      <a:pt x="226695" y="133350"/>
                      <a:pt x="226695" y="133350"/>
                    </a:cubicBezTo>
                    <a:cubicBezTo>
                      <a:pt x="225743" y="140970"/>
                      <a:pt x="220028" y="146685"/>
                      <a:pt x="212408" y="146685"/>
                    </a:cubicBezTo>
                    <a:cubicBezTo>
                      <a:pt x="211455" y="146685"/>
                      <a:pt x="210503" y="146685"/>
                      <a:pt x="210503" y="146685"/>
                    </a:cubicBezTo>
                    <a:cubicBezTo>
                      <a:pt x="209550" y="146685"/>
                      <a:pt x="207645" y="146685"/>
                      <a:pt x="206693" y="146685"/>
                    </a:cubicBezTo>
                    <a:cubicBezTo>
                      <a:pt x="205740" y="149542"/>
                      <a:pt x="204788" y="152400"/>
                      <a:pt x="202883" y="155258"/>
                    </a:cubicBezTo>
                    <a:cubicBezTo>
                      <a:pt x="203835" y="156210"/>
                      <a:pt x="205740" y="158115"/>
                      <a:pt x="206693" y="159067"/>
                    </a:cubicBezTo>
                    <a:cubicBezTo>
                      <a:pt x="212408" y="164783"/>
                      <a:pt x="212408" y="175260"/>
                      <a:pt x="205740" y="180023"/>
                    </a:cubicBezTo>
                    <a:cubicBezTo>
                      <a:pt x="200025" y="184785"/>
                      <a:pt x="191453" y="183833"/>
                      <a:pt x="186690" y="179070"/>
                    </a:cubicBezTo>
                    <a:cubicBezTo>
                      <a:pt x="185738" y="178117"/>
                      <a:pt x="185738" y="178117"/>
                      <a:pt x="184785" y="177165"/>
                    </a:cubicBezTo>
                    <a:cubicBezTo>
                      <a:pt x="183833" y="176213"/>
                      <a:pt x="182880" y="175260"/>
                      <a:pt x="181928" y="174308"/>
                    </a:cubicBezTo>
                    <a:cubicBezTo>
                      <a:pt x="179070" y="175260"/>
                      <a:pt x="176213" y="177165"/>
                      <a:pt x="173355" y="178117"/>
                    </a:cubicBezTo>
                    <a:cubicBezTo>
                      <a:pt x="173355" y="180023"/>
                      <a:pt x="173355" y="181928"/>
                      <a:pt x="173355" y="183833"/>
                    </a:cubicBezTo>
                    <a:cubicBezTo>
                      <a:pt x="173355" y="191453"/>
                      <a:pt x="166688" y="198120"/>
                      <a:pt x="159068" y="198120"/>
                    </a:cubicBezTo>
                    <a:cubicBezTo>
                      <a:pt x="151448" y="198120"/>
                      <a:pt x="144780" y="191453"/>
                      <a:pt x="144780" y="183833"/>
                    </a:cubicBezTo>
                    <a:cubicBezTo>
                      <a:pt x="144780" y="182880"/>
                      <a:pt x="144780" y="181928"/>
                      <a:pt x="144780" y="181928"/>
                    </a:cubicBezTo>
                    <a:cubicBezTo>
                      <a:pt x="144780" y="180975"/>
                      <a:pt x="144780" y="179070"/>
                      <a:pt x="144780" y="178117"/>
                    </a:cubicBezTo>
                    <a:cubicBezTo>
                      <a:pt x="141923" y="177165"/>
                      <a:pt x="139065" y="176213"/>
                      <a:pt x="136208" y="174308"/>
                    </a:cubicBezTo>
                    <a:cubicBezTo>
                      <a:pt x="135255" y="175260"/>
                      <a:pt x="133350" y="177165"/>
                      <a:pt x="132398" y="178117"/>
                    </a:cubicBezTo>
                    <a:cubicBezTo>
                      <a:pt x="126683" y="183833"/>
                      <a:pt x="118110" y="183833"/>
                      <a:pt x="112395" y="178117"/>
                    </a:cubicBezTo>
                    <a:cubicBezTo>
                      <a:pt x="106680" y="172403"/>
                      <a:pt x="106680" y="162878"/>
                      <a:pt x="112395" y="158115"/>
                    </a:cubicBezTo>
                    <a:cubicBezTo>
                      <a:pt x="113348" y="157163"/>
                      <a:pt x="113348" y="157163"/>
                      <a:pt x="114300" y="156210"/>
                    </a:cubicBezTo>
                    <a:cubicBezTo>
                      <a:pt x="115252" y="155258"/>
                      <a:pt x="116205" y="154305"/>
                      <a:pt x="117158" y="153353"/>
                    </a:cubicBezTo>
                    <a:cubicBezTo>
                      <a:pt x="116205" y="150495"/>
                      <a:pt x="114300" y="147638"/>
                      <a:pt x="113348" y="144780"/>
                    </a:cubicBezTo>
                    <a:cubicBezTo>
                      <a:pt x="111443" y="144780"/>
                      <a:pt x="109538" y="144780"/>
                      <a:pt x="107633" y="144780"/>
                    </a:cubicBezTo>
                    <a:cubicBezTo>
                      <a:pt x="100965" y="144780"/>
                      <a:pt x="95250" y="140017"/>
                      <a:pt x="93345" y="133350"/>
                    </a:cubicBezTo>
                    <a:cubicBezTo>
                      <a:pt x="91440" y="124778"/>
                      <a:pt x="99060" y="116205"/>
                      <a:pt x="107633" y="116205"/>
                    </a:cubicBezTo>
                    <a:cubicBezTo>
                      <a:pt x="108585" y="116205"/>
                      <a:pt x="109538" y="116205"/>
                      <a:pt x="109538" y="116205"/>
                    </a:cubicBezTo>
                    <a:cubicBezTo>
                      <a:pt x="110490" y="116205"/>
                      <a:pt x="112395" y="116205"/>
                      <a:pt x="113348" y="116205"/>
                    </a:cubicBezTo>
                    <a:cubicBezTo>
                      <a:pt x="114300" y="113348"/>
                      <a:pt x="115252" y="110490"/>
                      <a:pt x="117158" y="107632"/>
                    </a:cubicBezTo>
                    <a:cubicBezTo>
                      <a:pt x="116205" y="106680"/>
                      <a:pt x="114300" y="104775"/>
                      <a:pt x="113348" y="103823"/>
                    </a:cubicBezTo>
                    <a:cubicBezTo>
                      <a:pt x="107633" y="98107"/>
                      <a:pt x="107633" y="88582"/>
                      <a:pt x="114300" y="82867"/>
                    </a:cubicBezTo>
                    <a:cubicBezTo>
                      <a:pt x="120015" y="78105"/>
                      <a:pt x="128588" y="78105"/>
                      <a:pt x="134303" y="83820"/>
                    </a:cubicBezTo>
                    <a:cubicBezTo>
                      <a:pt x="135255" y="84773"/>
                      <a:pt x="135255" y="84773"/>
                      <a:pt x="136208" y="85725"/>
                    </a:cubicBezTo>
                    <a:cubicBezTo>
                      <a:pt x="137160" y="86678"/>
                      <a:pt x="138113" y="87630"/>
                      <a:pt x="139065" y="88582"/>
                    </a:cubicBezTo>
                    <a:cubicBezTo>
                      <a:pt x="141923" y="87630"/>
                      <a:pt x="144780" y="85725"/>
                      <a:pt x="147638" y="84773"/>
                    </a:cubicBezTo>
                    <a:cubicBezTo>
                      <a:pt x="147638" y="82867"/>
                      <a:pt x="147638" y="80963"/>
                      <a:pt x="147638" y="79057"/>
                    </a:cubicBezTo>
                    <a:cubicBezTo>
                      <a:pt x="147638" y="70485"/>
                      <a:pt x="155258" y="63818"/>
                      <a:pt x="163830" y="64770"/>
                    </a:cubicBezTo>
                    <a:cubicBezTo>
                      <a:pt x="170497" y="65723"/>
                      <a:pt x="176213" y="71438"/>
                      <a:pt x="176213" y="79057"/>
                    </a:cubicBezTo>
                    <a:cubicBezTo>
                      <a:pt x="176213" y="80010"/>
                      <a:pt x="176213" y="80963"/>
                      <a:pt x="176213" y="80963"/>
                    </a:cubicBezTo>
                    <a:cubicBezTo>
                      <a:pt x="176213" y="81915"/>
                      <a:pt x="176213" y="83820"/>
                      <a:pt x="176213" y="84773"/>
                    </a:cubicBezTo>
                    <a:cubicBezTo>
                      <a:pt x="179070" y="85725"/>
                      <a:pt x="181928" y="86678"/>
                      <a:pt x="184785" y="88582"/>
                    </a:cubicBezTo>
                    <a:cubicBezTo>
                      <a:pt x="185738" y="87630"/>
                      <a:pt x="187643" y="85725"/>
                      <a:pt x="188595" y="84773"/>
                    </a:cubicBezTo>
                    <a:cubicBezTo>
                      <a:pt x="193358" y="80010"/>
                      <a:pt x="200978" y="79057"/>
                      <a:pt x="205740" y="82867"/>
                    </a:cubicBezTo>
                    <a:cubicBezTo>
                      <a:pt x="209550" y="84773"/>
                      <a:pt x="211455" y="88582"/>
                      <a:pt x="212408" y="92392"/>
                    </a:cubicBezTo>
                    <a:cubicBezTo>
                      <a:pt x="213360" y="97155"/>
                      <a:pt x="211455" y="101917"/>
                      <a:pt x="208597" y="104775"/>
                    </a:cubicBezTo>
                    <a:cubicBezTo>
                      <a:pt x="207645" y="105728"/>
                      <a:pt x="207645" y="105728"/>
                      <a:pt x="206693" y="106680"/>
                    </a:cubicBezTo>
                    <a:cubicBezTo>
                      <a:pt x="205740" y="107632"/>
                      <a:pt x="204788" y="108585"/>
                      <a:pt x="203835" y="109538"/>
                    </a:cubicBezTo>
                    <a:cubicBezTo>
                      <a:pt x="204788" y="112395"/>
                      <a:pt x="206693" y="115253"/>
                      <a:pt x="207645" y="118110"/>
                    </a:cubicBezTo>
                    <a:cubicBezTo>
                      <a:pt x="209550" y="118110"/>
                      <a:pt x="211455" y="118110"/>
                      <a:pt x="213360" y="118110"/>
                    </a:cubicBezTo>
                    <a:cubicBezTo>
                      <a:pt x="220028" y="118110"/>
                      <a:pt x="225743" y="124778"/>
                      <a:pt x="226695" y="132398"/>
                    </a:cubicBezTo>
                    <a:close/>
                    <a:moveTo>
                      <a:pt x="87630" y="340995"/>
                    </a:moveTo>
                    <a:cubicBezTo>
                      <a:pt x="93345" y="340995"/>
                      <a:pt x="100013" y="340995"/>
                      <a:pt x="105727" y="340995"/>
                    </a:cubicBezTo>
                    <a:cubicBezTo>
                      <a:pt x="147638" y="340995"/>
                      <a:pt x="189547" y="340995"/>
                      <a:pt x="232410" y="340995"/>
                    </a:cubicBezTo>
                    <a:cubicBezTo>
                      <a:pt x="250508" y="340995"/>
                      <a:pt x="250508" y="369570"/>
                      <a:pt x="232410" y="369570"/>
                    </a:cubicBezTo>
                    <a:cubicBezTo>
                      <a:pt x="226695" y="369570"/>
                      <a:pt x="220028" y="369570"/>
                      <a:pt x="214313" y="369570"/>
                    </a:cubicBezTo>
                    <a:cubicBezTo>
                      <a:pt x="172403" y="369570"/>
                      <a:pt x="130493" y="369570"/>
                      <a:pt x="87630" y="369570"/>
                    </a:cubicBezTo>
                    <a:cubicBezTo>
                      <a:pt x="69533" y="369570"/>
                      <a:pt x="69533" y="340995"/>
                      <a:pt x="87630" y="340995"/>
                    </a:cubicBezTo>
                    <a:close/>
                    <a:moveTo>
                      <a:pt x="87630" y="283845"/>
                    </a:moveTo>
                    <a:cubicBezTo>
                      <a:pt x="93345" y="283845"/>
                      <a:pt x="100013" y="283845"/>
                      <a:pt x="105727" y="283845"/>
                    </a:cubicBezTo>
                    <a:cubicBezTo>
                      <a:pt x="147638" y="283845"/>
                      <a:pt x="189547" y="283845"/>
                      <a:pt x="232410" y="283845"/>
                    </a:cubicBezTo>
                    <a:cubicBezTo>
                      <a:pt x="250508" y="283845"/>
                      <a:pt x="250508" y="312420"/>
                      <a:pt x="232410" y="312420"/>
                    </a:cubicBezTo>
                    <a:cubicBezTo>
                      <a:pt x="226695" y="312420"/>
                      <a:pt x="220028" y="312420"/>
                      <a:pt x="214313" y="312420"/>
                    </a:cubicBezTo>
                    <a:cubicBezTo>
                      <a:pt x="172403" y="312420"/>
                      <a:pt x="130493" y="312420"/>
                      <a:pt x="87630" y="312420"/>
                    </a:cubicBezTo>
                    <a:cubicBezTo>
                      <a:pt x="69533" y="312420"/>
                      <a:pt x="69533" y="283845"/>
                      <a:pt x="87630" y="283845"/>
                    </a:cubicBezTo>
                    <a:close/>
                    <a:moveTo>
                      <a:pt x="232410" y="254317"/>
                    </a:moveTo>
                    <a:cubicBezTo>
                      <a:pt x="226695" y="254317"/>
                      <a:pt x="220028" y="254317"/>
                      <a:pt x="214313" y="254317"/>
                    </a:cubicBezTo>
                    <a:cubicBezTo>
                      <a:pt x="172403" y="254317"/>
                      <a:pt x="130493" y="254317"/>
                      <a:pt x="87630" y="254317"/>
                    </a:cubicBezTo>
                    <a:cubicBezTo>
                      <a:pt x="69533" y="254317"/>
                      <a:pt x="69533" y="225742"/>
                      <a:pt x="87630" y="225742"/>
                    </a:cubicBezTo>
                    <a:cubicBezTo>
                      <a:pt x="93345" y="225742"/>
                      <a:pt x="100013" y="225742"/>
                      <a:pt x="105727" y="225742"/>
                    </a:cubicBezTo>
                    <a:cubicBezTo>
                      <a:pt x="147638" y="225742"/>
                      <a:pt x="189547" y="225742"/>
                      <a:pt x="232410" y="225742"/>
                    </a:cubicBezTo>
                    <a:cubicBezTo>
                      <a:pt x="250508" y="225742"/>
                      <a:pt x="250508" y="254317"/>
                      <a:pt x="232410" y="254317"/>
                    </a:cubicBezTo>
                    <a:close/>
                  </a:path>
                </a:pathLst>
              </a:custGeom>
              <a:solidFill>
                <a:srgbClr val="00FFFF"/>
              </a:solidFill>
              <a:ln w="19050">
                <a:noFill/>
              </a:ln>
              <a:effectLst>
                <a:glow rad="139700">
                  <a:srgbClr val="00FFFF">
                    <a:alpha val="15000"/>
                  </a:srgb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263486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8"/>
                                        </p:tgtEl>
                                        <p:attrNameLst>
                                          <p:attrName>style.visibility</p:attrName>
                                        </p:attrNameLst>
                                      </p:cBhvr>
                                      <p:to>
                                        <p:strVal val="visible"/>
                                      </p:to>
                                    </p:set>
                                    <p:animEffect transition="in" filter="fade">
                                      <p:cBhvr>
                                        <p:cTn id="7" dur="500"/>
                                        <p:tgtEl>
                                          <p:spTgt spid="58"/>
                                        </p:tgtEl>
                                      </p:cBhvr>
                                    </p:animEffect>
                                  </p:childTnLst>
                                </p:cTn>
                              </p:par>
                              <p:par>
                                <p:cTn id="8" presetID="35" presetClass="path" presetSubtype="0" accel="17000" decel="83000" fill="hold" grpId="1" nodeType="withEffect">
                                  <p:stCondLst>
                                    <p:cond delay="0"/>
                                  </p:stCondLst>
                                  <p:childTnLst>
                                    <p:animMotion origin="layout" path="M -0.02787 1.34211E-06 L 1.20127E-06 1.34211E-06" pathEditMode="relative" rAng="0" ptsTypes="AA">
                                      <p:cBhvr>
                                        <p:cTn id="9" dur="1100" fill="hold"/>
                                        <p:tgtEl>
                                          <p:spTgt spid="58"/>
                                        </p:tgtEl>
                                        <p:attrNameLst>
                                          <p:attrName>ppt_x</p:attrName>
                                          <p:attrName>ppt_y</p:attrName>
                                        </p:attrNameLst>
                                      </p:cBhvr>
                                      <p:rCtr x="1394" y="0"/>
                                    </p:animMotion>
                                  </p:childTnLst>
                                </p:cTn>
                              </p:par>
                              <p:par>
                                <p:cTn id="10" presetID="10" presetClass="entr" presetSubtype="0" fill="hold" grpId="0" nodeType="withEffect">
                                  <p:stCondLst>
                                    <p:cond delay="0"/>
                                  </p:stCondLst>
                                  <p:childTnLst>
                                    <p:set>
                                      <p:cBhvr>
                                        <p:cTn id="11" dur="1" fill="hold">
                                          <p:stCondLst>
                                            <p:cond delay="0"/>
                                          </p:stCondLst>
                                        </p:cTn>
                                        <p:tgtEl>
                                          <p:spTgt spid="59"/>
                                        </p:tgtEl>
                                        <p:attrNameLst>
                                          <p:attrName>style.visibility</p:attrName>
                                        </p:attrNameLst>
                                      </p:cBhvr>
                                      <p:to>
                                        <p:strVal val="visible"/>
                                      </p:to>
                                    </p:set>
                                    <p:animEffect transition="in" filter="fade">
                                      <p:cBhvr>
                                        <p:cTn id="12" dur="500"/>
                                        <p:tgtEl>
                                          <p:spTgt spid="59"/>
                                        </p:tgtEl>
                                      </p:cBhvr>
                                    </p:animEffect>
                                  </p:childTnLst>
                                </p:cTn>
                              </p:par>
                              <p:par>
                                <p:cTn id="13" presetID="35" presetClass="path" presetSubtype="0" accel="17000" decel="83000" fill="hold" grpId="1" nodeType="withEffect">
                                  <p:stCondLst>
                                    <p:cond delay="0"/>
                                  </p:stCondLst>
                                  <p:childTnLst>
                                    <p:animMotion origin="layout" path="M 0.02823 -4.25525E-06 L -2.29494E-06 -4.25525E-06" pathEditMode="relative" rAng="0" ptsTypes="AA">
                                      <p:cBhvr>
                                        <p:cTn id="14" dur="1100" fill="hold"/>
                                        <p:tgtEl>
                                          <p:spTgt spid="59"/>
                                        </p:tgtEl>
                                        <p:attrNameLst>
                                          <p:attrName>ppt_x</p:attrName>
                                          <p:attrName>ppt_y</p:attrName>
                                        </p:attrNameLst>
                                      </p:cBhvr>
                                      <p:rCtr x="-1411" y="0"/>
                                    </p:animMotion>
                                  </p:childTnLst>
                                </p:cTn>
                              </p:par>
                              <p:par>
                                <p:cTn id="15" presetID="10" presetClass="entr" presetSubtype="0" fill="hold" grpId="0" nodeType="withEffect">
                                  <p:stCondLst>
                                    <p:cond delay="50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par>
                                <p:cTn id="18" presetID="35" presetClass="path" presetSubtype="0" accel="17000" decel="83000" fill="hold" grpId="1" nodeType="withEffect">
                                  <p:stCondLst>
                                    <p:cond delay="500"/>
                                  </p:stCondLst>
                                  <p:childTnLst>
                                    <p:animMotion origin="layout" path="M -0.00123 0.04923 L -2.02858E-6 4.8291E-7 " pathEditMode="relative" rAng="0" ptsTypes="AA">
                                      <p:cBhvr>
                                        <p:cTn id="19" dur="1100" fill="hold"/>
                                        <p:tgtEl>
                                          <p:spTgt spid="19"/>
                                        </p:tgtEl>
                                        <p:attrNameLst>
                                          <p:attrName>ppt_x</p:attrName>
                                          <p:attrName>ppt_y</p:attrName>
                                        </p:attrNameLst>
                                      </p:cBhvr>
                                      <p:rCtr x="53" y="-2477"/>
                                    </p:animMotion>
                                  </p:childTnLst>
                                </p:cTn>
                              </p:par>
                              <p:par>
                                <p:cTn id="20" presetID="10" presetClass="entr" presetSubtype="0" fill="hold" grpId="0" nodeType="withEffect">
                                  <p:stCondLst>
                                    <p:cond delay="75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par>
                                <p:cTn id="23" presetID="35" presetClass="path" presetSubtype="0" accel="17000" decel="83000" fill="hold" grpId="1" nodeType="withEffect">
                                  <p:stCondLst>
                                    <p:cond delay="750"/>
                                  </p:stCondLst>
                                  <p:childTnLst>
                                    <p:animMotion origin="layout" path="M -0.00124 0.04923 L 3.00582E-6 1.39229E-6 " pathEditMode="relative" rAng="0" ptsTypes="AA">
                                      <p:cBhvr>
                                        <p:cTn id="24" dur="1100" fill="hold"/>
                                        <p:tgtEl>
                                          <p:spTgt spid="24"/>
                                        </p:tgtEl>
                                        <p:attrNameLst>
                                          <p:attrName>ppt_x</p:attrName>
                                          <p:attrName>ppt_y</p:attrName>
                                        </p:attrNameLst>
                                      </p:cBhvr>
                                      <p:rCtr x="53" y="-2477"/>
                                    </p:animMotion>
                                  </p:childTnLst>
                                </p:cTn>
                              </p:par>
                              <p:par>
                                <p:cTn id="25" presetID="10" presetClass="entr" presetSubtype="0" fill="hold" grpId="0" nodeType="withEffect">
                                  <p:stCondLst>
                                    <p:cond delay="1250"/>
                                  </p:stCondLst>
                                  <p:childTnLst>
                                    <p:set>
                                      <p:cBhvr>
                                        <p:cTn id="26" dur="1" fill="hold">
                                          <p:stCondLst>
                                            <p:cond delay="0"/>
                                          </p:stCondLst>
                                        </p:cTn>
                                        <p:tgtEl>
                                          <p:spTgt spid="25"/>
                                        </p:tgtEl>
                                        <p:attrNameLst>
                                          <p:attrName>style.visibility</p:attrName>
                                        </p:attrNameLst>
                                      </p:cBhvr>
                                      <p:to>
                                        <p:strVal val="visible"/>
                                      </p:to>
                                    </p:set>
                                    <p:animEffect transition="in" filter="fade">
                                      <p:cBhvr>
                                        <p:cTn id="27" dur="500"/>
                                        <p:tgtEl>
                                          <p:spTgt spid="25"/>
                                        </p:tgtEl>
                                      </p:cBhvr>
                                    </p:animEffect>
                                  </p:childTnLst>
                                </p:cTn>
                              </p:par>
                              <p:par>
                                <p:cTn id="28" presetID="35" presetClass="path" presetSubtype="0" accel="17000" decel="83000" fill="hold" grpId="1" nodeType="withEffect">
                                  <p:stCondLst>
                                    <p:cond delay="1250"/>
                                  </p:stCondLst>
                                  <p:childTnLst>
                                    <p:animMotion origin="layout" path="M -1.78868E-6 0.05299 L -1.78868E-6 2.67796E-6 " pathEditMode="relative" rAng="0" ptsTypes="AA">
                                      <p:cBhvr>
                                        <p:cTn id="29" dur="1100" fill="hold"/>
                                        <p:tgtEl>
                                          <p:spTgt spid="25"/>
                                        </p:tgtEl>
                                        <p:attrNameLst>
                                          <p:attrName>ppt_x</p:attrName>
                                          <p:attrName>ppt_y</p:attrName>
                                        </p:attrNameLst>
                                      </p:cBhvr>
                                      <p:rCtr x="0" y="-2665"/>
                                    </p:animMotion>
                                  </p:childTnLst>
                                </p:cTn>
                              </p:par>
                              <p:par>
                                <p:cTn id="30" presetID="10" presetClass="entr" presetSubtype="0" fill="hold" grpId="0" nodeType="withEffect">
                                  <p:stCondLst>
                                    <p:cond delay="1500"/>
                                  </p:stCondLst>
                                  <p:childTnLst>
                                    <p:set>
                                      <p:cBhvr>
                                        <p:cTn id="31" dur="1" fill="hold">
                                          <p:stCondLst>
                                            <p:cond delay="0"/>
                                          </p:stCondLst>
                                        </p:cTn>
                                        <p:tgtEl>
                                          <p:spTgt spid="26"/>
                                        </p:tgtEl>
                                        <p:attrNameLst>
                                          <p:attrName>style.visibility</p:attrName>
                                        </p:attrNameLst>
                                      </p:cBhvr>
                                      <p:to>
                                        <p:strVal val="visible"/>
                                      </p:to>
                                    </p:set>
                                    <p:animEffect transition="in" filter="fade">
                                      <p:cBhvr>
                                        <p:cTn id="32" dur="500"/>
                                        <p:tgtEl>
                                          <p:spTgt spid="26"/>
                                        </p:tgtEl>
                                      </p:cBhvr>
                                    </p:animEffect>
                                  </p:childTnLst>
                                </p:cTn>
                              </p:par>
                              <p:par>
                                <p:cTn id="33" presetID="35" presetClass="path" presetSubtype="0" accel="17000" decel="83000" fill="hold" grpId="1" nodeType="withEffect">
                                  <p:stCondLst>
                                    <p:cond delay="1500"/>
                                  </p:stCondLst>
                                  <p:childTnLst>
                                    <p:animMotion origin="layout" path="M -0.00123 0.04923 L -1.24713E-6 -1.26372E-6 " pathEditMode="relative" rAng="0" ptsTypes="AA">
                                      <p:cBhvr>
                                        <p:cTn id="34" dur="1100" fill="hold"/>
                                        <p:tgtEl>
                                          <p:spTgt spid="26"/>
                                        </p:tgtEl>
                                        <p:attrNameLst>
                                          <p:attrName>ppt_x</p:attrName>
                                          <p:attrName>ppt_y</p:attrName>
                                        </p:attrNameLst>
                                      </p:cBhvr>
                                      <p:rCtr x="53" y="-2477"/>
                                    </p:animMotion>
                                  </p:childTnLst>
                                </p:cTn>
                              </p:par>
                              <p:par>
                                <p:cTn id="35" presetID="10" presetClass="entr" presetSubtype="0" fill="hold" grpId="0" nodeType="withEffect">
                                  <p:stCondLst>
                                    <p:cond delay="1000"/>
                                  </p:stCondLst>
                                  <p:childTnLst>
                                    <p:set>
                                      <p:cBhvr>
                                        <p:cTn id="36" dur="1" fill="hold">
                                          <p:stCondLst>
                                            <p:cond delay="0"/>
                                          </p:stCondLst>
                                        </p:cTn>
                                        <p:tgtEl>
                                          <p:spTgt spid="9"/>
                                        </p:tgtEl>
                                        <p:attrNameLst>
                                          <p:attrName>style.visibility</p:attrName>
                                        </p:attrNameLst>
                                      </p:cBhvr>
                                      <p:to>
                                        <p:strVal val="visible"/>
                                      </p:to>
                                    </p:set>
                                    <p:animEffect transition="in" filter="fade">
                                      <p:cBhvr>
                                        <p:cTn id="37" dur="500"/>
                                        <p:tgtEl>
                                          <p:spTgt spid="9"/>
                                        </p:tgtEl>
                                      </p:cBhvr>
                                    </p:animEffect>
                                  </p:childTnLst>
                                </p:cTn>
                              </p:par>
                              <p:par>
                                <p:cTn id="38" presetID="35" presetClass="path" presetSubtype="0" accel="17000" decel="83000" fill="hold" grpId="1" nodeType="withEffect">
                                  <p:stCondLst>
                                    <p:cond delay="1000"/>
                                  </p:stCondLst>
                                  <p:childTnLst>
                                    <p:animMotion origin="layout" path="M -2.85235E-6 0.053 L -2.85235E-6 -1.36093E-6 " pathEditMode="relative" rAng="0" ptsTypes="AA">
                                      <p:cBhvr>
                                        <p:cTn id="39" dur="1100" fill="hold"/>
                                        <p:tgtEl>
                                          <p:spTgt spid="9"/>
                                        </p:tgtEl>
                                        <p:attrNameLst>
                                          <p:attrName>ppt_x</p:attrName>
                                          <p:attrName>ppt_y</p:attrName>
                                        </p:attrNameLst>
                                      </p:cBhvr>
                                      <p:rCtr x="0" y="-2665"/>
                                    </p:animMotion>
                                  </p:childTnLst>
                                </p:cTn>
                              </p:par>
                              <p:par>
                                <p:cTn id="40" presetID="10" presetClass="entr" presetSubtype="0" fill="hold" nodeType="withEffect">
                                  <p:stCondLst>
                                    <p:cond delay="25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10" presetClass="entr" presetSubtype="0" fill="hold" grpId="0" nodeType="withEffect">
                                  <p:stCondLst>
                                    <p:cond delay="750"/>
                                  </p:stCondLst>
                                  <p:childTnLst>
                                    <p:set>
                                      <p:cBhvr>
                                        <p:cTn id="44" dur="1" fill="hold">
                                          <p:stCondLst>
                                            <p:cond delay="0"/>
                                          </p:stCondLst>
                                        </p:cTn>
                                        <p:tgtEl>
                                          <p:spTgt spid="47"/>
                                        </p:tgtEl>
                                        <p:attrNameLst>
                                          <p:attrName>style.visibility</p:attrName>
                                        </p:attrNameLst>
                                      </p:cBhvr>
                                      <p:to>
                                        <p:strVal val="visible"/>
                                      </p:to>
                                    </p:set>
                                    <p:animEffect transition="in" filter="fade">
                                      <p:cBhvr>
                                        <p:cTn id="45" dur="500"/>
                                        <p:tgtEl>
                                          <p:spTgt spid="47"/>
                                        </p:tgtEl>
                                      </p:cBhvr>
                                    </p:animEffect>
                                  </p:childTnLst>
                                </p:cTn>
                              </p:par>
                              <p:par>
                                <p:cTn id="46" presetID="35" presetClass="path" presetSubtype="0" accel="17000" decel="83000" fill="hold" grpId="1" nodeType="withEffect">
                                  <p:stCondLst>
                                    <p:cond delay="750"/>
                                  </p:stCondLst>
                                  <p:childTnLst>
                                    <p:animMotion origin="layout" path="M -0.00123 0.04923 L -1.90863E-6 3.50267E-6 " pathEditMode="relative" rAng="0" ptsTypes="AA">
                                      <p:cBhvr>
                                        <p:cTn id="47" dur="1100" fill="hold"/>
                                        <p:tgtEl>
                                          <p:spTgt spid="47"/>
                                        </p:tgtEl>
                                        <p:attrNameLst>
                                          <p:attrName>ppt_x</p:attrName>
                                          <p:attrName>ppt_y</p:attrName>
                                        </p:attrNameLst>
                                      </p:cBhvr>
                                      <p:rCtr x="53" y="-2477"/>
                                    </p:animMotion>
                                  </p:childTnLst>
                                </p:cTn>
                              </p:par>
                              <p:par>
                                <p:cTn id="48" presetID="10" presetClass="entr" presetSubtype="0" fill="hold" grpId="0" nodeType="withEffect">
                                  <p:stCondLst>
                                    <p:cond delay="750"/>
                                  </p:stCondLst>
                                  <p:childTnLst>
                                    <p:set>
                                      <p:cBhvr>
                                        <p:cTn id="49" dur="1" fill="hold">
                                          <p:stCondLst>
                                            <p:cond delay="0"/>
                                          </p:stCondLst>
                                        </p:cTn>
                                        <p:tgtEl>
                                          <p:spTgt spid="54"/>
                                        </p:tgtEl>
                                        <p:attrNameLst>
                                          <p:attrName>style.visibility</p:attrName>
                                        </p:attrNameLst>
                                      </p:cBhvr>
                                      <p:to>
                                        <p:strVal val="visible"/>
                                      </p:to>
                                    </p:set>
                                    <p:animEffect transition="in" filter="fade">
                                      <p:cBhvr>
                                        <p:cTn id="50" dur="500"/>
                                        <p:tgtEl>
                                          <p:spTgt spid="54"/>
                                        </p:tgtEl>
                                      </p:cBhvr>
                                    </p:animEffect>
                                  </p:childTnLst>
                                </p:cTn>
                              </p:par>
                              <p:par>
                                <p:cTn id="51" presetID="35" presetClass="path" presetSubtype="0" accel="17000" decel="83000" fill="hold" grpId="1" nodeType="withEffect">
                                  <p:stCondLst>
                                    <p:cond delay="750"/>
                                  </p:stCondLst>
                                  <p:childTnLst>
                                    <p:animMotion origin="layout" path="M -0.00124 0.04923 L 3.93191E-6 3.50267E-6 " pathEditMode="relative" rAng="0" ptsTypes="AA">
                                      <p:cBhvr>
                                        <p:cTn id="52" dur="1100" fill="hold"/>
                                        <p:tgtEl>
                                          <p:spTgt spid="54"/>
                                        </p:tgtEl>
                                        <p:attrNameLst>
                                          <p:attrName>ppt_x</p:attrName>
                                          <p:attrName>ppt_y</p:attrName>
                                        </p:attrNameLst>
                                      </p:cBhvr>
                                      <p:rCtr x="53" y="-2477"/>
                                    </p:animMotion>
                                  </p:childTnLst>
                                </p:cTn>
                              </p:par>
                              <p:par>
                                <p:cTn id="53" presetID="10" presetClass="entr" presetSubtype="0" fill="hold" grpId="0" nodeType="withEffect">
                                  <p:stCondLst>
                                    <p:cond delay="1000"/>
                                  </p:stCondLst>
                                  <p:childTnLst>
                                    <p:set>
                                      <p:cBhvr>
                                        <p:cTn id="54" dur="1" fill="hold">
                                          <p:stCondLst>
                                            <p:cond delay="0"/>
                                          </p:stCondLst>
                                        </p:cTn>
                                        <p:tgtEl>
                                          <p:spTgt spid="64"/>
                                        </p:tgtEl>
                                        <p:attrNameLst>
                                          <p:attrName>style.visibility</p:attrName>
                                        </p:attrNameLst>
                                      </p:cBhvr>
                                      <p:to>
                                        <p:strVal val="visible"/>
                                      </p:to>
                                    </p:set>
                                    <p:animEffect transition="in" filter="fade">
                                      <p:cBhvr>
                                        <p:cTn id="55" dur="500"/>
                                        <p:tgtEl>
                                          <p:spTgt spid="64"/>
                                        </p:tgtEl>
                                      </p:cBhvr>
                                    </p:animEffect>
                                  </p:childTnLst>
                                </p:cTn>
                              </p:par>
                              <p:par>
                                <p:cTn id="56" presetID="35" presetClass="path" presetSubtype="0" accel="17000" decel="83000" fill="hold" grpId="1" nodeType="withEffect">
                                  <p:stCondLst>
                                    <p:cond delay="1000"/>
                                  </p:stCondLst>
                                  <p:childTnLst>
                                    <p:animMotion origin="layout" path="M -4.23355E-6 0.053 L -4.23355E-6 -3.3741E-6 " pathEditMode="relative" rAng="0" ptsTypes="AA">
                                      <p:cBhvr>
                                        <p:cTn id="57" dur="1100" fill="hold"/>
                                        <p:tgtEl>
                                          <p:spTgt spid="64"/>
                                        </p:tgtEl>
                                        <p:attrNameLst>
                                          <p:attrName>ppt_x</p:attrName>
                                          <p:attrName>ppt_y</p:attrName>
                                        </p:attrNameLst>
                                      </p:cBhvr>
                                      <p:rCtr x="0" y="-2665"/>
                                    </p:animMotion>
                                  </p:childTnLst>
                                </p:cTn>
                              </p:par>
                              <p:par>
                                <p:cTn id="58" presetID="53" presetClass="entr" presetSubtype="16" fill="hold" nodeType="withEffect">
                                  <p:stCondLst>
                                    <p:cond delay="500"/>
                                  </p:stCondLst>
                                  <p:childTnLst>
                                    <p:set>
                                      <p:cBhvr>
                                        <p:cTn id="59" dur="1" fill="hold">
                                          <p:stCondLst>
                                            <p:cond delay="0"/>
                                          </p:stCondLst>
                                        </p:cTn>
                                        <p:tgtEl>
                                          <p:spTgt spid="68"/>
                                        </p:tgtEl>
                                        <p:attrNameLst>
                                          <p:attrName>style.visibility</p:attrName>
                                        </p:attrNameLst>
                                      </p:cBhvr>
                                      <p:to>
                                        <p:strVal val="visible"/>
                                      </p:to>
                                    </p:set>
                                    <p:anim calcmode="lin" valueType="num">
                                      <p:cBhvr>
                                        <p:cTn id="60" dur="500" fill="hold"/>
                                        <p:tgtEl>
                                          <p:spTgt spid="68"/>
                                        </p:tgtEl>
                                        <p:attrNameLst>
                                          <p:attrName>ppt_w</p:attrName>
                                        </p:attrNameLst>
                                      </p:cBhvr>
                                      <p:tavLst>
                                        <p:tav tm="0">
                                          <p:val>
                                            <p:fltVal val="0"/>
                                          </p:val>
                                        </p:tav>
                                        <p:tav tm="100000">
                                          <p:val>
                                            <p:strVal val="#ppt_w"/>
                                          </p:val>
                                        </p:tav>
                                      </p:tavLst>
                                    </p:anim>
                                    <p:anim calcmode="lin" valueType="num">
                                      <p:cBhvr>
                                        <p:cTn id="61" dur="500" fill="hold"/>
                                        <p:tgtEl>
                                          <p:spTgt spid="68"/>
                                        </p:tgtEl>
                                        <p:attrNameLst>
                                          <p:attrName>ppt_h</p:attrName>
                                        </p:attrNameLst>
                                      </p:cBhvr>
                                      <p:tavLst>
                                        <p:tav tm="0">
                                          <p:val>
                                            <p:fltVal val="0"/>
                                          </p:val>
                                        </p:tav>
                                        <p:tav tm="100000">
                                          <p:val>
                                            <p:strVal val="#ppt_h"/>
                                          </p:val>
                                        </p:tav>
                                      </p:tavLst>
                                    </p:anim>
                                    <p:animEffect transition="in" filter="fade">
                                      <p:cBhvr>
                                        <p:cTn id="62" dur="500"/>
                                        <p:tgtEl>
                                          <p:spTgt spid="68"/>
                                        </p:tgtEl>
                                      </p:cBhvr>
                                    </p:animEffect>
                                  </p:childTnLst>
                                </p:cTn>
                              </p:par>
                              <p:par>
                                <p:cTn id="63" presetID="10" presetClass="entr" presetSubtype="0" fill="hold" nodeType="withEffect">
                                  <p:stCondLst>
                                    <p:cond delay="750"/>
                                  </p:stCondLst>
                                  <p:childTnLst>
                                    <p:set>
                                      <p:cBhvr>
                                        <p:cTn id="64" dur="1" fill="hold">
                                          <p:stCondLst>
                                            <p:cond delay="0"/>
                                          </p:stCondLst>
                                        </p:cTn>
                                        <p:tgtEl>
                                          <p:spTgt spid="65"/>
                                        </p:tgtEl>
                                        <p:attrNameLst>
                                          <p:attrName>style.visibility</p:attrName>
                                        </p:attrNameLst>
                                      </p:cBhvr>
                                      <p:to>
                                        <p:strVal val="visible"/>
                                      </p:to>
                                    </p:set>
                                    <p:animEffect transition="in" filter="fade">
                                      <p:cBhvr>
                                        <p:cTn id="65" dur="500"/>
                                        <p:tgtEl>
                                          <p:spTgt spid="65"/>
                                        </p:tgtEl>
                                      </p:cBhvr>
                                    </p:animEffect>
                                  </p:childTnLst>
                                </p:cTn>
                              </p:par>
                              <p:par>
                                <p:cTn id="66" presetID="35" presetClass="path" presetSubtype="0" accel="17000" decel="83000" fill="hold" nodeType="withEffect">
                                  <p:stCondLst>
                                    <p:cond delay="750"/>
                                  </p:stCondLst>
                                  <p:childTnLst>
                                    <p:animMotion origin="layout" path="M -0.0321 -4.23017E-6 L -2.92468E-6 -4.23017E-6 " pathEditMode="relative" rAng="0" ptsTypes="AA">
                                      <p:cBhvr>
                                        <p:cTn id="67" dur="1100" fill="hold"/>
                                        <p:tgtEl>
                                          <p:spTgt spid="65"/>
                                        </p:tgtEl>
                                        <p:attrNameLst>
                                          <p:attrName>ppt_x</p:attrName>
                                          <p:attrName>ppt_y</p:attrName>
                                        </p:attrNameLst>
                                      </p:cBhvr>
                                      <p:rCtr x="1605" y="0"/>
                                    </p:animMotion>
                                  </p:childTnLst>
                                </p:cTn>
                              </p:par>
                              <p:par>
                                <p:cTn id="68" presetID="10" presetClass="entr" presetSubtype="0" fill="hold" nodeType="withEffect">
                                  <p:stCondLst>
                                    <p:cond delay="1000"/>
                                  </p:stCondLst>
                                  <p:childTnLst>
                                    <p:set>
                                      <p:cBhvr>
                                        <p:cTn id="69" dur="1" fill="hold">
                                          <p:stCondLst>
                                            <p:cond delay="0"/>
                                          </p:stCondLst>
                                        </p:cTn>
                                        <p:tgtEl>
                                          <p:spTgt spid="48"/>
                                        </p:tgtEl>
                                        <p:attrNameLst>
                                          <p:attrName>style.visibility</p:attrName>
                                        </p:attrNameLst>
                                      </p:cBhvr>
                                      <p:to>
                                        <p:strVal val="visible"/>
                                      </p:to>
                                    </p:set>
                                    <p:animEffect transition="in" filter="fade">
                                      <p:cBhvr>
                                        <p:cTn id="70" dur="500"/>
                                        <p:tgtEl>
                                          <p:spTgt spid="48"/>
                                        </p:tgtEl>
                                      </p:cBhvr>
                                    </p:animEffect>
                                  </p:childTnLst>
                                </p:cTn>
                              </p:par>
                              <p:par>
                                <p:cTn id="71" presetID="35" presetClass="path" presetSubtype="0" accel="17000" decel="83000" fill="hold" nodeType="withEffect">
                                  <p:stCondLst>
                                    <p:cond delay="1000"/>
                                  </p:stCondLst>
                                  <p:childTnLst>
                                    <p:animMotion origin="layout" path="M -0.03211 -4.23017E-6 L 4.52814E-6 -4.23017E-6 " pathEditMode="relative" rAng="0" ptsTypes="AA">
                                      <p:cBhvr>
                                        <p:cTn id="72" dur="1100" fill="hold"/>
                                        <p:tgtEl>
                                          <p:spTgt spid="48"/>
                                        </p:tgtEl>
                                        <p:attrNameLst>
                                          <p:attrName>ppt_x</p:attrName>
                                          <p:attrName>ppt_y</p:attrName>
                                        </p:attrNameLst>
                                      </p:cBhvr>
                                      <p:rCtr x="1605" y="0"/>
                                    </p:animMotion>
                                  </p:childTnLst>
                                </p:cTn>
                              </p:par>
                              <p:par>
                                <p:cTn id="73" presetID="53" presetClass="entr" presetSubtype="16" fill="hold" nodeType="withEffect">
                                  <p:stCondLst>
                                    <p:cond delay="1500"/>
                                  </p:stCondLst>
                                  <p:childTnLst>
                                    <p:set>
                                      <p:cBhvr>
                                        <p:cTn id="74" dur="1" fill="hold">
                                          <p:stCondLst>
                                            <p:cond delay="0"/>
                                          </p:stCondLst>
                                        </p:cTn>
                                        <p:tgtEl>
                                          <p:spTgt spid="72"/>
                                        </p:tgtEl>
                                        <p:attrNameLst>
                                          <p:attrName>style.visibility</p:attrName>
                                        </p:attrNameLst>
                                      </p:cBhvr>
                                      <p:to>
                                        <p:strVal val="visible"/>
                                      </p:to>
                                    </p:set>
                                    <p:anim calcmode="lin" valueType="num">
                                      <p:cBhvr>
                                        <p:cTn id="75" dur="500" fill="hold"/>
                                        <p:tgtEl>
                                          <p:spTgt spid="72"/>
                                        </p:tgtEl>
                                        <p:attrNameLst>
                                          <p:attrName>ppt_w</p:attrName>
                                        </p:attrNameLst>
                                      </p:cBhvr>
                                      <p:tavLst>
                                        <p:tav tm="0">
                                          <p:val>
                                            <p:fltVal val="0"/>
                                          </p:val>
                                        </p:tav>
                                        <p:tav tm="100000">
                                          <p:val>
                                            <p:strVal val="#ppt_w"/>
                                          </p:val>
                                        </p:tav>
                                      </p:tavLst>
                                    </p:anim>
                                    <p:anim calcmode="lin" valueType="num">
                                      <p:cBhvr>
                                        <p:cTn id="76" dur="500" fill="hold"/>
                                        <p:tgtEl>
                                          <p:spTgt spid="72"/>
                                        </p:tgtEl>
                                        <p:attrNameLst>
                                          <p:attrName>ppt_h</p:attrName>
                                        </p:attrNameLst>
                                      </p:cBhvr>
                                      <p:tavLst>
                                        <p:tav tm="0">
                                          <p:val>
                                            <p:fltVal val="0"/>
                                          </p:val>
                                        </p:tav>
                                        <p:tav tm="100000">
                                          <p:val>
                                            <p:strVal val="#ppt_h"/>
                                          </p:val>
                                        </p:tav>
                                      </p:tavLst>
                                    </p:anim>
                                    <p:animEffect transition="in" filter="fade">
                                      <p:cBhvr>
                                        <p:cTn id="77" dur="500"/>
                                        <p:tgtEl>
                                          <p:spTgt spid="72"/>
                                        </p:tgtEl>
                                      </p:cBhvr>
                                    </p:animEffect>
                                  </p:childTnLst>
                                </p:cTn>
                              </p:par>
                              <p:par>
                                <p:cTn id="78" presetID="10" presetClass="entr" presetSubtype="0" fill="hold" nodeType="withEffect">
                                  <p:stCondLst>
                                    <p:cond delay="1750"/>
                                  </p:stCondLst>
                                  <p:childTnLst>
                                    <p:set>
                                      <p:cBhvr>
                                        <p:cTn id="79" dur="1" fill="hold">
                                          <p:stCondLst>
                                            <p:cond delay="0"/>
                                          </p:stCondLst>
                                        </p:cTn>
                                        <p:tgtEl>
                                          <p:spTgt spid="35"/>
                                        </p:tgtEl>
                                        <p:attrNameLst>
                                          <p:attrName>style.visibility</p:attrName>
                                        </p:attrNameLst>
                                      </p:cBhvr>
                                      <p:to>
                                        <p:strVal val="visible"/>
                                      </p:to>
                                    </p:set>
                                    <p:animEffect transition="in" filter="fade">
                                      <p:cBhvr>
                                        <p:cTn id="80" dur="500"/>
                                        <p:tgtEl>
                                          <p:spTgt spid="35"/>
                                        </p:tgtEl>
                                      </p:cBhvr>
                                    </p:animEffect>
                                  </p:childTnLst>
                                </p:cTn>
                              </p:par>
                              <p:par>
                                <p:cTn id="81" presetID="35" presetClass="path" presetSubtype="0" accel="17000" decel="83000" fill="hold" nodeType="withEffect">
                                  <p:stCondLst>
                                    <p:cond delay="1750"/>
                                  </p:stCondLst>
                                  <p:childTnLst>
                                    <p:animMotion origin="layout" path="M -0.0321 -4.23017E-6 L -3.11342E-6 -4.23017E-6 " pathEditMode="relative" rAng="0" ptsTypes="AA">
                                      <p:cBhvr>
                                        <p:cTn id="82" dur="1100" fill="hold"/>
                                        <p:tgtEl>
                                          <p:spTgt spid="35"/>
                                        </p:tgtEl>
                                        <p:attrNameLst>
                                          <p:attrName>ppt_x</p:attrName>
                                          <p:attrName>ppt_y</p:attrName>
                                        </p:attrNameLst>
                                      </p:cBhvr>
                                      <p:rCtr x="1605" y="0"/>
                                    </p:animMotion>
                                  </p:childTnLst>
                                </p:cTn>
                              </p:par>
                              <p:par>
                                <p:cTn id="83" presetID="10" presetClass="entr" presetSubtype="0" fill="hold" nodeType="withEffect">
                                  <p:stCondLst>
                                    <p:cond delay="2500"/>
                                  </p:stCondLst>
                                  <p:childTnLst>
                                    <p:set>
                                      <p:cBhvr>
                                        <p:cTn id="84" dur="1" fill="hold">
                                          <p:stCondLst>
                                            <p:cond delay="0"/>
                                          </p:stCondLst>
                                        </p:cTn>
                                        <p:tgtEl>
                                          <p:spTgt spid="27"/>
                                        </p:tgtEl>
                                        <p:attrNameLst>
                                          <p:attrName>style.visibility</p:attrName>
                                        </p:attrNameLst>
                                      </p:cBhvr>
                                      <p:to>
                                        <p:strVal val="visible"/>
                                      </p:to>
                                    </p:set>
                                    <p:animEffect transition="in" filter="fade">
                                      <p:cBhvr>
                                        <p:cTn id="85" dur="500"/>
                                        <p:tgtEl>
                                          <p:spTgt spid="27"/>
                                        </p:tgtEl>
                                      </p:cBhvr>
                                    </p:animEffect>
                                  </p:childTnLst>
                                </p:cTn>
                              </p:par>
                              <p:par>
                                <p:cTn id="86" presetID="35" presetClass="path" presetSubtype="0" accel="17000" decel="83000" fill="hold" nodeType="withEffect">
                                  <p:stCondLst>
                                    <p:cond delay="2500"/>
                                  </p:stCondLst>
                                  <p:childTnLst>
                                    <p:animMotion origin="layout" path="M -0.0321 -4.23017E-6 L -1.80984E-6 -4.23017E-6 " pathEditMode="relative" rAng="0" ptsTypes="AA">
                                      <p:cBhvr>
                                        <p:cTn id="87" dur="1100" fill="hold"/>
                                        <p:tgtEl>
                                          <p:spTgt spid="27"/>
                                        </p:tgtEl>
                                        <p:attrNameLst>
                                          <p:attrName>ppt_x</p:attrName>
                                          <p:attrName>ppt_y</p:attrName>
                                        </p:attrNameLst>
                                      </p:cBhvr>
                                      <p:rCtr x="1605" y="0"/>
                                    </p:animMotion>
                                  </p:childTnLst>
                                </p:cTn>
                              </p:par>
                              <p:par>
                                <p:cTn id="88" presetID="10" presetClass="entr" presetSubtype="0" fill="hold" nodeType="withEffect">
                                  <p:stCondLst>
                                    <p:cond delay="1250"/>
                                  </p:stCondLst>
                                  <p:childTnLst>
                                    <p:set>
                                      <p:cBhvr>
                                        <p:cTn id="89" dur="1" fill="hold">
                                          <p:stCondLst>
                                            <p:cond delay="0"/>
                                          </p:stCondLst>
                                        </p:cTn>
                                        <p:tgtEl>
                                          <p:spTgt spid="87"/>
                                        </p:tgtEl>
                                        <p:attrNameLst>
                                          <p:attrName>style.visibility</p:attrName>
                                        </p:attrNameLst>
                                      </p:cBhvr>
                                      <p:to>
                                        <p:strVal val="visible"/>
                                      </p:to>
                                    </p:set>
                                    <p:animEffect transition="in" filter="fade">
                                      <p:cBhvr>
                                        <p:cTn id="90" dur="500"/>
                                        <p:tgtEl>
                                          <p:spTgt spid="87"/>
                                        </p:tgtEl>
                                      </p:cBhvr>
                                    </p:animEffect>
                                  </p:childTnLst>
                                </p:cTn>
                              </p:par>
                              <p:par>
                                <p:cTn id="91" presetID="35" presetClass="path" presetSubtype="0" accel="17000" decel="83000" fill="hold" nodeType="withEffect">
                                  <p:stCondLst>
                                    <p:cond delay="1250"/>
                                  </p:stCondLst>
                                  <p:childTnLst>
                                    <p:animMotion origin="layout" path="M -0.03211 -4.23017E-6 L 1.98095E-6 -4.23017E-6 " pathEditMode="relative" rAng="0" ptsTypes="AA">
                                      <p:cBhvr>
                                        <p:cTn id="92" dur="1100" fill="hold"/>
                                        <p:tgtEl>
                                          <p:spTgt spid="87"/>
                                        </p:tgtEl>
                                        <p:attrNameLst>
                                          <p:attrName>ppt_x</p:attrName>
                                          <p:attrName>ppt_y</p:attrName>
                                        </p:attrNameLst>
                                      </p:cBhvr>
                                      <p:rCtr x="1605" y="0"/>
                                    </p:animMotion>
                                  </p:childTnLst>
                                </p:cTn>
                              </p:par>
                              <p:par>
                                <p:cTn id="93" presetID="53" presetClass="entr" presetSubtype="16" fill="hold" nodeType="withEffect">
                                  <p:stCondLst>
                                    <p:cond delay="1250"/>
                                  </p:stCondLst>
                                  <p:childTnLst>
                                    <p:set>
                                      <p:cBhvr>
                                        <p:cTn id="94" dur="1" fill="hold">
                                          <p:stCondLst>
                                            <p:cond delay="0"/>
                                          </p:stCondLst>
                                        </p:cTn>
                                        <p:tgtEl>
                                          <p:spTgt spid="90"/>
                                        </p:tgtEl>
                                        <p:attrNameLst>
                                          <p:attrName>style.visibility</p:attrName>
                                        </p:attrNameLst>
                                      </p:cBhvr>
                                      <p:to>
                                        <p:strVal val="visible"/>
                                      </p:to>
                                    </p:set>
                                    <p:anim calcmode="lin" valueType="num">
                                      <p:cBhvr>
                                        <p:cTn id="95" dur="500" fill="hold"/>
                                        <p:tgtEl>
                                          <p:spTgt spid="90"/>
                                        </p:tgtEl>
                                        <p:attrNameLst>
                                          <p:attrName>ppt_w</p:attrName>
                                        </p:attrNameLst>
                                      </p:cBhvr>
                                      <p:tavLst>
                                        <p:tav tm="0">
                                          <p:val>
                                            <p:fltVal val="0"/>
                                          </p:val>
                                        </p:tav>
                                        <p:tav tm="100000">
                                          <p:val>
                                            <p:strVal val="#ppt_w"/>
                                          </p:val>
                                        </p:tav>
                                      </p:tavLst>
                                    </p:anim>
                                    <p:anim calcmode="lin" valueType="num">
                                      <p:cBhvr>
                                        <p:cTn id="96" dur="500" fill="hold"/>
                                        <p:tgtEl>
                                          <p:spTgt spid="90"/>
                                        </p:tgtEl>
                                        <p:attrNameLst>
                                          <p:attrName>ppt_h</p:attrName>
                                        </p:attrNameLst>
                                      </p:cBhvr>
                                      <p:tavLst>
                                        <p:tav tm="0">
                                          <p:val>
                                            <p:fltVal val="0"/>
                                          </p:val>
                                        </p:tav>
                                        <p:tav tm="100000">
                                          <p:val>
                                            <p:strVal val="#ppt_h"/>
                                          </p:val>
                                        </p:tav>
                                      </p:tavLst>
                                    </p:anim>
                                    <p:animEffect transition="in" filter="fade">
                                      <p:cBhvr>
                                        <p:cTn id="97" dur="500"/>
                                        <p:tgtEl>
                                          <p:spTgt spid="90"/>
                                        </p:tgtEl>
                                      </p:cBhvr>
                                    </p:animEffect>
                                  </p:childTnLst>
                                </p:cTn>
                              </p:par>
                              <p:par>
                                <p:cTn id="98" presetID="10" presetClass="entr" presetSubtype="0" fill="hold" nodeType="withEffect">
                                  <p:stCondLst>
                                    <p:cond delay="1500"/>
                                  </p:stCondLst>
                                  <p:childTnLst>
                                    <p:set>
                                      <p:cBhvr>
                                        <p:cTn id="99" dur="1" fill="hold">
                                          <p:stCondLst>
                                            <p:cond delay="0"/>
                                          </p:stCondLst>
                                        </p:cTn>
                                        <p:tgtEl>
                                          <p:spTgt spid="95"/>
                                        </p:tgtEl>
                                        <p:attrNameLst>
                                          <p:attrName>style.visibility</p:attrName>
                                        </p:attrNameLst>
                                      </p:cBhvr>
                                      <p:to>
                                        <p:strVal val="visible"/>
                                      </p:to>
                                    </p:set>
                                    <p:animEffect transition="in" filter="fade">
                                      <p:cBhvr>
                                        <p:cTn id="100" dur="500"/>
                                        <p:tgtEl>
                                          <p:spTgt spid="95"/>
                                        </p:tgtEl>
                                      </p:cBhvr>
                                    </p:animEffect>
                                  </p:childTnLst>
                                </p:cTn>
                              </p:par>
                              <p:par>
                                <p:cTn id="101" presetID="35" presetClass="path" presetSubtype="0" accel="17000" decel="83000" fill="hold" nodeType="withEffect">
                                  <p:stCondLst>
                                    <p:cond delay="1500"/>
                                  </p:stCondLst>
                                  <p:childTnLst>
                                    <p:animMotion origin="layout" path="M -0.0321 3.65945E-6 L -5.66237E-7 3.65945E-6 " pathEditMode="relative" rAng="0" ptsTypes="AA">
                                      <p:cBhvr>
                                        <p:cTn id="102" dur="1100" fill="hold"/>
                                        <p:tgtEl>
                                          <p:spTgt spid="95"/>
                                        </p:tgtEl>
                                        <p:attrNameLst>
                                          <p:attrName>ppt_x</p:attrName>
                                          <p:attrName>ppt_y</p:attrName>
                                        </p:attrNameLst>
                                      </p:cBhvr>
                                      <p:rCtr x="1605" y="0"/>
                                    </p:animMotion>
                                  </p:childTnLst>
                                </p:cTn>
                              </p:par>
                              <p:par>
                                <p:cTn id="103" presetID="10" presetClass="entr" presetSubtype="0" fill="hold" nodeType="withEffect">
                                  <p:stCondLst>
                                    <p:cond delay="2000"/>
                                  </p:stCondLst>
                                  <p:childTnLst>
                                    <p:set>
                                      <p:cBhvr>
                                        <p:cTn id="104" dur="1" fill="hold">
                                          <p:stCondLst>
                                            <p:cond delay="0"/>
                                          </p:stCondLst>
                                        </p:cTn>
                                        <p:tgtEl>
                                          <p:spTgt spid="99"/>
                                        </p:tgtEl>
                                        <p:attrNameLst>
                                          <p:attrName>style.visibility</p:attrName>
                                        </p:attrNameLst>
                                      </p:cBhvr>
                                      <p:to>
                                        <p:strVal val="visible"/>
                                      </p:to>
                                    </p:set>
                                    <p:animEffect transition="in" filter="fade">
                                      <p:cBhvr>
                                        <p:cTn id="105" dur="500"/>
                                        <p:tgtEl>
                                          <p:spTgt spid="99"/>
                                        </p:tgtEl>
                                      </p:cBhvr>
                                    </p:animEffect>
                                  </p:childTnLst>
                                </p:cTn>
                              </p:par>
                              <p:par>
                                <p:cTn id="106" presetID="35" presetClass="path" presetSubtype="0" accel="17000" decel="83000" fill="hold" nodeType="withEffect">
                                  <p:stCondLst>
                                    <p:cond delay="2000"/>
                                  </p:stCondLst>
                                  <p:childTnLst>
                                    <p:animMotion origin="layout" path="M -0.03211 -4.23017E-6 L 4.33939E-6 -4.23017E-6 " pathEditMode="relative" rAng="0" ptsTypes="AA">
                                      <p:cBhvr>
                                        <p:cTn id="107" dur="1100" fill="hold"/>
                                        <p:tgtEl>
                                          <p:spTgt spid="99"/>
                                        </p:tgtEl>
                                        <p:attrNameLst>
                                          <p:attrName>ppt_x</p:attrName>
                                          <p:attrName>ppt_y</p:attrName>
                                        </p:attrNameLst>
                                      </p:cBhvr>
                                      <p:rCtr x="1605" y="0"/>
                                    </p:animMotion>
                                  </p:childTnLst>
                                </p:cTn>
                              </p:par>
                              <p:par>
                                <p:cTn id="108" presetID="53" presetClass="entr" presetSubtype="16" fill="hold" nodeType="withEffect">
                                  <p:stCondLst>
                                    <p:cond delay="2500"/>
                                  </p:stCondLst>
                                  <p:childTnLst>
                                    <p:set>
                                      <p:cBhvr>
                                        <p:cTn id="109" dur="1" fill="hold">
                                          <p:stCondLst>
                                            <p:cond delay="0"/>
                                          </p:stCondLst>
                                        </p:cTn>
                                        <p:tgtEl>
                                          <p:spTgt spid="102"/>
                                        </p:tgtEl>
                                        <p:attrNameLst>
                                          <p:attrName>style.visibility</p:attrName>
                                        </p:attrNameLst>
                                      </p:cBhvr>
                                      <p:to>
                                        <p:strVal val="visible"/>
                                      </p:to>
                                    </p:set>
                                    <p:anim calcmode="lin" valueType="num">
                                      <p:cBhvr>
                                        <p:cTn id="110" dur="500" fill="hold"/>
                                        <p:tgtEl>
                                          <p:spTgt spid="102"/>
                                        </p:tgtEl>
                                        <p:attrNameLst>
                                          <p:attrName>ppt_w</p:attrName>
                                        </p:attrNameLst>
                                      </p:cBhvr>
                                      <p:tavLst>
                                        <p:tav tm="0">
                                          <p:val>
                                            <p:fltVal val="0"/>
                                          </p:val>
                                        </p:tav>
                                        <p:tav tm="100000">
                                          <p:val>
                                            <p:strVal val="#ppt_w"/>
                                          </p:val>
                                        </p:tav>
                                      </p:tavLst>
                                    </p:anim>
                                    <p:anim calcmode="lin" valueType="num">
                                      <p:cBhvr>
                                        <p:cTn id="111" dur="500" fill="hold"/>
                                        <p:tgtEl>
                                          <p:spTgt spid="102"/>
                                        </p:tgtEl>
                                        <p:attrNameLst>
                                          <p:attrName>ppt_h</p:attrName>
                                        </p:attrNameLst>
                                      </p:cBhvr>
                                      <p:tavLst>
                                        <p:tav tm="0">
                                          <p:val>
                                            <p:fltVal val="0"/>
                                          </p:val>
                                        </p:tav>
                                        <p:tav tm="100000">
                                          <p:val>
                                            <p:strVal val="#ppt_h"/>
                                          </p:val>
                                        </p:tav>
                                      </p:tavLst>
                                    </p:anim>
                                    <p:animEffect transition="in" filter="fade">
                                      <p:cBhvr>
                                        <p:cTn id="112" dur="500"/>
                                        <p:tgtEl>
                                          <p:spTgt spid="102"/>
                                        </p:tgtEl>
                                      </p:cBhvr>
                                    </p:animEffect>
                                  </p:childTnLst>
                                </p:cTn>
                              </p:par>
                              <p:par>
                                <p:cTn id="113" presetID="53" presetClass="entr" presetSubtype="16" fill="hold" grpId="0" nodeType="withEffect">
                                  <p:stCondLst>
                                    <p:cond delay="1000"/>
                                  </p:stCondLst>
                                  <p:childTnLst>
                                    <p:set>
                                      <p:cBhvr>
                                        <p:cTn id="114" dur="1" fill="hold">
                                          <p:stCondLst>
                                            <p:cond delay="0"/>
                                          </p:stCondLst>
                                        </p:cTn>
                                        <p:tgtEl>
                                          <p:spTgt spid="86"/>
                                        </p:tgtEl>
                                        <p:attrNameLst>
                                          <p:attrName>style.visibility</p:attrName>
                                        </p:attrNameLst>
                                      </p:cBhvr>
                                      <p:to>
                                        <p:strVal val="visible"/>
                                      </p:to>
                                    </p:set>
                                    <p:anim calcmode="lin" valueType="num">
                                      <p:cBhvr>
                                        <p:cTn id="115" dur="500" fill="hold"/>
                                        <p:tgtEl>
                                          <p:spTgt spid="86"/>
                                        </p:tgtEl>
                                        <p:attrNameLst>
                                          <p:attrName>ppt_w</p:attrName>
                                        </p:attrNameLst>
                                      </p:cBhvr>
                                      <p:tavLst>
                                        <p:tav tm="0">
                                          <p:val>
                                            <p:fltVal val="0"/>
                                          </p:val>
                                        </p:tav>
                                        <p:tav tm="100000">
                                          <p:val>
                                            <p:strVal val="#ppt_w"/>
                                          </p:val>
                                        </p:tav>
                                      </p:tavLst>
                                    </p:anim>
                                    <p:anim calcmode="lin" valueType="num">
                                      <p:cBhvr>
                                        <p:cTn id="116" dur="500" fill="hold"/>
                                        <p:tgtEl>
                                          <p:spTgt spid="86"/>
                                        </p:tgtEl>
                                        <p:attrNameLst>
                                          <p:attrName>ppt_h</p:attrName>
                                        </p:attrNameLst>
                                      </p:cBhvr>
                                      <p:tavLst>
                                        <p:tav tm="0">
                                          <p:val>
                                            <p:fltVal val="0"/>
                                          </p:val>
                                        </p:tav>
                                        <p:tav tm="100000">
                                          <p:val>
                                            <p:strVal val="#ppt_h"/>
                                          </p:val>
                                        </p:tav>
                                      </p:tavLst>
                                    </p:anim>
                                    <p:animEffect transition="in" filter="fade">
                                      <p:cBhvr>
                                        <p:cTn id="117" dur="500"/>
                                        <p:tgtEl>
                                          <p:spTgt spid="86"/>
                                        </p:tgtEl>
                                      </p:cBhvr>
                                    </p:animEffect>
                                  </p:childTnLst>
                                </p:cTn>
                              </p:par>
                              <p:par>
                                <p:cTn id="118" presetID="53" presetClass="entr" presetSubtype="16" fill="hold" grpId="0" nodeType="withEffect">
                                  <p:stCondLst>
                                    <p:cond delay="1000"/>
                                  </p:stCondLst>
                                  <p:childTnLst>
                                    <p:set>
                                      <p:cBhvr>
                                        <p:cTn id="119" dur="1" fill="hold">
                                          <p:stCondLst>
                                            <p:cond delay="0"/>
                                          </p:stCondLst>
                                        </p:cTn>
                                        <p:tgtEl>
                                          <p:spTgt spid="110"/>
                                        </p:tgtEl>
                                        <p:attrNameLst>
                                          <p:attrName>style.visibility</p:attrName>
                                        </p:attrNameLst>
                                      </p:cBhvr>
                                      <p:to>
                                        <p:strVal val="visible"/>
                                      </p:to>
                                    </p:set>
                                    <p:anim calcmode="lin" valueType="num">
                                      <p:cBhvr>
                                        <p:cTn id="120" dur="500" fill="hold"/>
                                        <p:tgtEl>
                                          <p:spTgt spid="110"/>
                                        </p:tgtEl>
                                        <p:attrNameLst>
                                          <p:attrName>ppt_w</p:attrName>
                                        </p:attrNameLst>
                                      </p:cBhvr>
                                      <p:tavLst>
                                        <p:tav tm="0">
                                          <p:val>
                                            <p:fltVal val="0"/>
                                          </p:val>
                                        </p:tav>
                                        <p:tav tm="100000">
                                          <p:val>
                                            <p:strVal val="#ppt_w"/>
                                          </p:val>
                                        </p:tav>
                                      </p:tavLst>
                                    </p:anim>
                                    <p:anim calcmode="lin" valueType="num">
                                      <p:cBhvr>
                                        <p:cTn id="121" dur="500" fill="hold"/>
                                        <p:tgtEl>
                                          <p:spTgt spid="110"/>
                                        </p:tgtEl>
                                        <p:attrNameLst>
                                          <p:attrName>ppt_h</p:attrName>
                                        </p:attrNameLst>
                                      </p:cBhvr>
                                      <p:tavLst>
                                        <p:tav tm="0">
                                          <p:val>
                                            <p:fltVal val="0"/>
                                          </p:val>
                                        </p:tav>
                                        <p:tav tm="100000">
                                          <p:val>
                                            <p:strVal val="#ppt_h"/>
                                          </p:val>
                                        </p:tav>
                                      </p:tavLst>
                                    </p:anim>
                                    <p:animEffect transition="in" filter="fade">
                                      <p:cBhvr>
                                        <p:cTn id="122" dur="500"/>
                                        <p:tgtEl>
                                          <p:spTgt spid="110"/>
                                        </p:tgtEl>
                                      </p:cBhvr>
                                    </p:animEffect>
                                  </p:childTnLst>
                                </p:cTn>
                              </p:par>
                              <p:par>
                                <p:cTn id="123" presetID="53" presetClass="entr" presetSubtype="16" fill="hold" grpId="0" nodeType="withEffect">
                                  <p:stCondLst>
                                    <p:cond delay="1000"/>
                                  </p:stCondLst>
                                  <p:childTnLst>
                                    <p:set>
                                      <p:cBhvr>
                                        <p:cTn id="124" dur="1" fill="hold">
                                          <p:stCondLst>
                                            <p:cond delay="0"/>
                                          </p:stCondLst>
                                        </p:cTn>
                                        <p:tgtEl>
                                          <p:spTgt spid="111"/>
                                        </p:tgtEl>
                                        <p:attrNameLst>
                                          <p:attrName>style.visibility</p:attrName>
                                        </p:attrNameLst>
                                      </p:cBhvr>
                                      <p:to>
                                        <p:strVal val="visible"/>
                                      </p:to>
                                    </p:set>
                                    <p:anim calcmode="lin" valueType="num">
                                      <p:cBhvr>
                                        <p:cTn id="125" dur="500" fill="hold"/>
                                        <p:tgtEl>
                                          <p:spTgt spid="111"/>
                                        </p:tgtEl>
                                        <p:attrNameLst>
                                          <p:attrName>ppt_w</p:attrName>
                                        </p:attrNameLst>
                                      </p:cBhvr>
                                      <p:tavLst>
                                        <p:tav tm="0">
                                          <p:val>
                                            <p:fltVal val="0"/>
                                          </p:val>
                                        </p:tav>
                                        <p:tav tm="100000">
                                          <p:val>
                                            <p:strVal val="#ppt_w"/>
                                          </p:val>
                                        </p:tav>
                                      </p:tavLst>
                                    </p:anim>
                                    <p:anim calcmode="lin" valueType="num">
                                      <p:cBhvr>
                                        <p:cTn id="126" dur="500" fill="hold"/>
                                        <p:tgtEl>
                                          <p:spTgt spid="111"/>
                                        </p:tgtEl>
                                        <p:attrNameLst>
                                          <p:attrName>ppt_h</p:attrName>
                                        </p:attrNameLst>
                                      </p:cBhvr>
                                      <p:tavLst>
                                        <p:tav tm="0">
                                          <p:val>
                                            <p:fltVal val="0"/>
                                          </p:val>
                                        </p:tav>
                                        <p:tav tm="100000">
                                          <p:val>
                                            <p:strVal val="#ppt_h"/>
                                          </p:val>
                                        </p:tav>
                                      </p:tavLst>
                                    </p:anim>
                                    <p:animEffect transition="in" filter="fade">
                                      <p:cBhvr>
                                        <p:cTn id="127" dur="500"/>
                                        <p:tgtEl>
                                          <p:spTgt spid="111"/>
                                        </p:tgtEl>
                                      </p:cBhvr>
                                    </p:animEffect>
                                  </p:childTnLst>
                                </p:cTn>
                              </p:par>
                              <p:par>
                                <p:cTn id="128" presetID="53" presetClass="entr" presetSubtype="16" fill="hold" grpId="0" nodeType="withEffect">
                                  <p:stCondLst>
                                    <p:cond delay="2000"/>
                                  </p:stCondLst>
                                  <p:childTnLst>
                                    <p:set>
                                      <p:cBhvr>
                                        <p:cTn id="129" dur="1" fill="hold">
                                          <p:stCondLst>
                                            <p:cond delay="0"/>
                                          </p:stCondLst>
                                        </p:cTn>
                                        <p:tgtEl>
                                          <p:spTgt spid="98"/>
                                        </p:tgtEl>
                                        <p:attrNameLst>
                                          <p:attrName>style.visibility</p:attrName>
                                        </p:attrNameLst>
                                      </p:cBhvr>
                                      <p:to>
                                        <p:strVal val="visible"/>
                                      </p:to>
                                    </p:set>
                                    <p:anim calcmode="lin" valueType="num">
                                      <p:cBhvr>
                                        <p:cTn id="130" dur="500" fill="hold"/>
                                        <p:tgtEl>
                                          <p:spTgt spid="98"/>
                                        </p:tgtEl>
                                        <p:attrNameLst>
                                          <p:attrName>ppt_w</p:attrName>
                                        </p:attrNameLst>
                                      </p:cBhvr>
                                      <p:tavLst>
                                        <p:tav tm="0">
                                          <p:val>
                                            <p:fltVal val="0"/>
                                          </p:val>
                                        </p:tav>
                                        <p:tav tm="100000">
                                          <p:val>
                                            <p:strVal val="#ppt_w"/>
                                          </p:val>
                                        </p:tav>
                                      </p:tavLst>
                                    </p:anim>
                                    <p:anim calcmode="lin" valueType="num">
                                      <p:cBhvr>
                                        <p:cTn id="131" dur="500" fill="hold"/>
                                        <p:tgtEl>
                                          <p:spTgt spid="98"/>
                                        </p:tgtEl>
                                        <p:attrNameLst>
                                          <p:attrName>ppt_h</p:attrName>
                                        </p:attrNameLst>
                                      </p:cBhvr>
                                      <p:tavLst>
                                        <p:tav tm="0">
                                          <p:val>
                                            <p:fltVal val="0"/>
                                          </p:val>
                                        </p:tav>
                                        <p:tav tm="100000">
                                          <p:val>
                                            <p:strVal val="#ppt_h"/>
                                          </p:val>
                                        </p:tav>
                                      </p:tavLst>
                                    </p:anim>
                                    <p:animEffect transition="in" filter="fade">
                                      <p:cBhvr>
                                        <p:cTn id="132" dur="500"/>
                                        <p:tgtEl>
                                          <p:spTgt spid="98"/>
                                        </p:tgtEl>
                                      </p:cBhvr>
                                    </p:animEffect>
                                  </p:childTnLst>
                                </p:cTn>
                              </p:par>
                              <p:par>
                                <p:cTn id="133" presetID="53" presetClass="entr" presetSubtype="16" fill="hold" nodeType="withEffect">
                                  <p:stCondLst>
                                    <p:cond delay="2000"/>
                                  </p:stCondLst>
                                  <p:childTnLst>
                                    <p:set>
                                      <p:cBhvr>
                                        <p:cTn id="134" dur="1" fill="hold">
                                          <p:stCondLst>
                                            <p:cond delay="0"/>
                                          </p:stCondLst>
                                        </p:cTn>
                                        <p:tgtEl>
                                          <p:spTgt spid="113"/>
                                        </p:tgtEl>
                                        <p:attrNameLst>
                                          <p:attrName>style.visibility</p:attrName>
                                        </p:attrNameLst>
                                      </p:cBhvr>
                                      <p:to>
                                        <p:strVal val="visible"/>
                                      </p:to>
                                    </p:set>
                                    <p:anim calcmode="lin" valueType="num">
                                      <p:cBhvr>
                                        <p:cTn id="135" dur="500" fill="hold"/>
                                        <p:tgtEl>
                                          <p:spTgt spid="113"/>
                                        </p:tgtEl>
                                        <p:attrNameLst>
                                          <p:attrName>ppt_w</p:attrName>
                                        </p:attrNameLst>
                                      </p:cBhvr>
                                      <p:tavLst>
                                        <p:tav tm="0">
                                          <p:val>
                                            <p:fltVal val="0"/>
                                          </p:val>
                                        </p:tav>
                                        <p:tav tm="100000">
                                          <p:val>
                                            <p:strVal val="#ppt_w"/>
                                          </p:val>
                                        </p:tav>
                                      </p:tavLst>
                                    </p:anim>
                                    <p:anim calcmode="lin" valueType="num">
                                      <p:cBhvr>
                                        <p:cTn id="136" dur="500" fill="hold"/>
                                        <p:tgtEl>
                                          <p:spTgt spid="113"/>
                                        </p:tgtEl>
                                        <p:attrNameLst>
                                          <p:attrName>ppt_h</p:attrName>
                                        </p:attrNameLst>
                                      </p:cBhvr>
                                      <p:tavLst>
                                        <p:tav tm="0">
                                          <p:val>
                                            <p:fltVal val="0"/>
                                          </p:val>
                                        </p:tav>
                                        <p:tav tm="100000">
                                          <p:val>
                                            <p:strVal val="#ppt_h"/>
                                          </p:val>
                                        </p:tav>
                                      </p:tavLst>
                                    </p:anim>
                                    <p:animEffect transition="in" filter="fade">
                                      <p:cBhvr>
                                        <p:cTn id="137" dur="500"/>
                                        <p:tgtEl>
                                          <p:spTgt spid="113"/>
                                        </p:tgtEl>
                                      </p:cBhvr>
                                    </p:animEffect>
                                  </p:childTnLst>
                                </p:cTn>
                              </p:par>
                              <p:par>
                                <p:cTn id="138" presetID="53" presetClass="entr" presetSubtype="16" fill="hold" nodeType="withEffect">
                                  <p:stCondLst>
                                    <p:cond delay="750"/>
                                  </p:stCondLst>
                                  <p:childTnLst>
                                    <p:set>
                                      <p:cBhvr>
                                        <p:cTn id="139" dur="1" fill="hold">
                                          <p:stCondLst>
                                            <p:cond delay="0"/>
                                          </p:stCondLst>
                                        </p:cTn>
                                        <p:tgtEl>
                                          <p:spTgt spid="120"/>
                                        </p:tgtEl>
                                        <p:attrNameLst>
                                          <p:attrName>style.visibility</p:attrName>
                                        </p:attrNameLst>
                                      </p:cBhvr>
                                      <p:to>
                                        <p:strVal val="visible"/>
                                      </p:to>
                                    </p:set>
                                    <p:anim calcmode="lin" valueType="num">
                                      <p:cBhvr>
                                        <p:cTn id="140" dur="500" fill="hold"/>
                                        <p:tgtEl>
                                          <p:spTgt spid="120"/>
                                        </p:tgtEl>
                                        <p:attrNameLst>
                                          <p:attrName>ppt_w</p:attrName>
                                        </p:attrNameLst>
                                      </p:cBhvr>
                                      <p:tavLst>
                                        <p:tav tm="0">
                                          <p:val>
                                            <p:fltVal val="0"/>
                                          </p:val>
                                        </p:tav>
                                        <p:tav tm="100000">
                                          <p:val>
                                            <p:strVal val="#ppt_w"/>
                                          </p:val>
                                        </p:tav>
                                      </p:tavLst>
                                    </p:anim>
                                    <p:anim calcmode="lin" valueType="num">
                                      <p:cBhvr>
                                        <p:cTn id="141" dur="500" fill="hold"/>
                                        <p:tgtEl>
                                          <p:spTgt spid="120"/>
                                        </p:tgtEl>
                                        <p:attrNameLst>
                                          <p:attrName>ppt_h</p:attrName>
                                        </p:attrNameLst>
                                      </p:cBhvr>
                                      <p:tavLst>
                                        <p:tav tm="0">
                                          <p:val>
                                            <p:fltVal val="0"/>
                                          </p:val>
                                        </p:tav>
                                        <p:tav tm="100000">
                                          <p:val>
                                            <p:strVal val="#ppt_h"/>
                                          </p:val>
                                        </p:tav>
                                      </p:tavLst>
                                    </p:anim>
                                    <p:animEffect transition="in" filter="fade">
                                      <p:cBhvr>
                                        <p:cTn id="142" dur="500"/>
                                        <p:tgtEl>
                                          <p:spTgt spid="120"/>
                                        </p:tgtEl>
                                      </p:cBhvr>
                                    </p:animEffect>
                                  </p:childTnLst>
                                </p:cTn>
                              </p:par>
                              <p:par>
                                <p:cTn id="143" presetID="53" presetClass="entr" presetSubtype="16" fill="hold" nodeType="withEffect">
                                  <p:stCondLst>
                                    <p:cond delay="1750"/>
                                  </p:stCondLst>
                                  <p:childTnLst>
                                    <p:set>
                                      <p:cBhvr>
                                        <p:cTn id="144" dur="1" fill="hold">
                                          <p:stCondLst>
                                            <p:cond delay="0"/>
                                          </p:stCondLst>
                                        </p:cTn>
                                        <p:tgtEl>
                                          <p:spTgt spid="128"/>
                                        </p:tgtEl>
                                        <p:attrNameLst>
                                          <p:attrName>style.visibility</p:attrName>
                                        </p:attrNameLst>
                                      </p:cBhvr>
                                      <p:to>
                                        <p:strVal val="visible"/>
                                      </p:to>
                                    </p:set>
                                    <p:anim calcmode="lin" valueType="num">
                                      <p:cBhvr>
                                        <p:cTn id="145" dur="500" fill="hold"/>
                                        <p:tgtEl>
                                          <p:spTgt spid="128"/>
                                        </p:tgtEl>
                                        <p:attrNameLst>
                                          <p:attrName>ppt_w</p:attrName>
                                        </p:attrNameLst>
                                      </p:cBhvr>
                                      <p:tavLst>
                                        <p:tav tm="0">
                                          <p:val>
                                            <p:fltVal val="0"/>
                                          </p:val>
                                        </p:tav>
                                        <p:tav tm="100000">
                                          <p:val>
                                            <p:strVal val="#ppt_w"/>
                                          </p:val>
                                        </p:tav>
                                      </p:tavLst>
                                    </p:anim>
                                    <p:anim calcmode="lin" valueType="num">
                                      <p:cBhvr>
                                        <p:cTn id="146" dur="500" fill="hold"/>
                                        <p:tgtEl>
                                          <p:spTgt spid="128"/>
                                        </p:tgtEl>
                                        <p:attrNameLst>
                                          <p:attrName>ppt_h</p:attrName>
                                        </p:attrNameLst>
                                      </p:cBhvr>
                                      <p:tavLst>
                                        <p:tav tm="0">
                                          <p:val>
                                            <p:fltVal val="0"/>
                                          </p:val>
                                        </p:tav>
                                        <p:tav tm="100000">
                                          <p:val>
                                            <p:strVal val="#ppt_h"/>
                                          </p:val>
                                        </p:tav>
                                      </p:tavLst>
                                    </p:anim>
                                    <p:animEffect transition="in" filter="fade">
                                      <p:cBhvr>
                                        <p:cTn id="147" dur="500"/>
                                        <p:tgtEl>
                                          <p:spTgt spid="1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19" grpId="1"/>
      <p:bldP spid="24" grpId="0"/>
      <p:bldP spid="24" grpId="1"/>
      <p:bldP spid="25" grpId="0"/>
      <p:bldP spid="25" grpId="1"/>
      <p:bldP spid="26" grpId="0"/>
      <p:bldP spid="26" grpId="1"/>
      <p:bldP spid="58" grpId="0"/>
      <p:bldP spid="58" grpId="1"/>
      <p:bldP spid="59" grpId="0"/>
      <p:bldP spid="59" grpId="1"/>
      <p:bldP spid="9" grpId="0"/>
      <p:bldP spid="9" grpId="1"/>
      <p:bldP spid="47" grpId="0"/>
      <p:bldP spid="47" grpId="1"/>
      <p:bldP spid="54" grpId="0"/>
      <p:bldP spid="54" grpId="1"/>
      <p:bldP spid="64" grpId="0"/>
      <p:bldP spid="64" grpId="1"/>
      <p:bldP spid="86" grpId="0" animBg="1"/>
      <p:bldP spid="98" grpId="0" animBg="1"/>
      <p:bldP spid="110" grpId="0" animBg="1"/>
      <p:bldP spid="111"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think-cell data - do not delete" hidden="1">
            <a:extLst>
              <a:ext uri="{FF2B5EF4-FFF2-40B4-BE49-F238E27FC236}">
                <a16:creationId xmlns:a16="http://schemas.microsoft.com/office/drawing/2014/main" id="{34FC9A8F-F16A-D8EB-16B1-78D84C31C6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37" imgW="0" imgH="0" progId="TCLayout.ActiveDocument.1">
                  <p:embed/>
                </p:oleObj>
              </mc:Choice>
              <mc:Fallback>
                <p:oleObj name="Slide do think-cell" r:id="rId137" imgW="0" imgH="0" progId="TCLayout.ActiveDocument.1">
                  <p:embed/>
                  <p:pic>
                    <p:nvPicPr>
                      <p:cNvPr id="0" name=""/>
                      <p:cNvPicPr/>
                      <p:nvPr/>
                    </p:nvPicPr>
                    <p:blipFill>
                      <a:blip r:embed="rId138"/>
                      <a:stretch>
                        <a:fillRect/>
                      </a:stretch>
                    </p:blipFill>
                    <p:spPr>
                      <a:xfrm>
                        <a:off x="1588" y="1588"/>
                        <a:ext cx="1588" cy="1588"/>
                      </a:xfrm>
                      <a:prstGeom prst="rect">
                        <a:avLst/>
                      </a:prstGeom>
                    </p:spPr>
                  </p:pic>
                </p:oleObj>
              </mc:Fallback>
            </mc:AlternateContent>
          </a:graphicData>
        </a:graphic>
      </p:graphicFrame>
      <p:pic>
        <p:nvPicPr>
          <p:cNvPr id="12" name="Imagem 11" descr="Imagem em branco e azul&#10;&#10;Descrição gerada automaticamente com confiança média">
            <a:extLst>
              <a:ext uri="{FF2B5EF4-FFF2-40B4-BE49-F238E27FC236}">
                <a16:creationId xmlns:a16="http://schemas.microsoft.com/office/drawing/2014/main" id="{969E21A6-A7E2-D647-4C3D-9F2CF4181B42}"/>
              </a:ext>
            </a:extLst>
          </p:cNvPr>
          <p:cNvPicPr>
            <a:picLocks noChangeAspect="1"/>
          </p:cNvPicPr>
          <p:nvPr>
            <p:custDataLst>
              <p:tags r:id="rId2"/>
            </p:custDataLst>
          </p:nvPr>
        </p:nvPicPr>
        <p:blipFill>
          <a:blip r:embed="rId139">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3" name="Imagem 2" descr="Uma imagem contendo comida, água, mesa, bolo&#10;&#10;Descrição gerada automaticamente">
            <a:extLst>
              <a:ext uri="{FF2B5EF4-FFF2-40B4-BE49-F238E27FC236}">
                <a16:creationId xmlns:a16="http://schemas.microsoft.com/office/drawing/2014/main" id="{2DB2DCD9-6B29-9804-1D8B-C1AB7765D6BC}"/>
              </a:ext>
            </a:extLst>
          </p:cNvPr>
          <p:cNvPicPr>
            <a:picLocks noChangeAspect="1"/>
          </p:cNvPicPr>
          <p:nvPr>
            <p:custDataLst>
              <p:tags r:id="rId3"/>
            </p:custDataLst>
          </p:nvPr>
        </p:nvPicPr>
        <p:blipFill>
          <a:blip r:embed="rId140">
            <a:extLst>
              <a:ext uri="{28A0092B-C50C-407E-A947-70E740481C1C}">
                <a14:useLocalDpi xmlns:a14="http://schemas.microsoft.com/office/drawing/2010/main"/>
              </a:ext>
            </a:extLst>
          </a:blip>
          <a:stretch>
            <a:fillRect/>
          </a:stretch>
        </p:blipFill>
        <p:spPr>
          <a:xfrm>
            <a:off x="0" y="298"/>
            <a:ext cx="8999538" cy="5062240"/>
          </a:xfrm>
          <a:prstGeom prst="rect">
            <a:avLst/>
          </a:prstGeom>
        </p:spPr>
      </p:pic>
      <p:grpSp>
        <p:nvGrpSpPr>
          <p:cNvPr id="13" name="Gráfico 13">
            <a:extLst>
              <a:ext uri="{FF2B5EF4-FFF2-40B4-BE49-F238E27FC236}">
                <a16:creationId xmlns:a16="http://schemas.microsoft.com/office/drawing/2014/main" id="{2532B4D2-48BB-4DCA-CC3F-C7B6D173EF39}"/>
              </a:ext>
            </a:extLst>
          </p:cNvPr>
          <p:cNvGrpSpPr/>
          <p:nvPr>
            <p:custDataLst>
              <p:tags r:id="rId4"/>
            </p:custDataLst>
          </p:nvPr>
        </p:nvGrpSpPr>
        <p:grpSpPr>
          <a:xfrm>
            <a:off x="3002516" y="1136263"/>
            <a:ext cx="3234544" cy="3325946"/>
            <a:chOff x="3048926" y="652549"/>
            <a:chExt cx="2901684" cy="2983680"/>
          </a:xfrm>
          <a:solidFill>
            <a:schemeClr val="bg1"/>
          </a:solidFill>
        </p:grpSpPr>
        <p:sp>
          <p:nvSpPr>
            <p:cNvPr id="14" name="Forma Livre: Forma 13">
              <a:extLst>
                <a:ext uri="{FF2B5EF4-FFF2-40B4-BE49-F238E27FC236}">
                  <a16:creationId xmlns:a16="http://schemas.microsoft.com/office/drawing/2014/main" id="{D7A3C3BC-DA35-8BFA-F360-8D1A9BE5FFD9}"/>
                </a:ext>
              </a:extLst>
            </p:cNvPr>
            <p:cNvSpPr/>
            <p:nvPr>
              <p:custDataLst>
                <p:tags r:id="rId108"/>
              </p:custDataLst>
            </p:nvPr>
          </p:nvSpPr>
          <p:spPr>
            <a:xfrm>
              <a:off x="5670042" y="1506370"/>
              <a:ext cx="280568" cy="160656"/>
            </a:xfrm>
            <a:custGeom>
              <a:avLst/>
              <a:gdLst>
                <a:gd name="connsiteX0" fmla="*/ 257452 w 280568"/>
                <a:gd name="connsiteY0" fmla="*/ 43815 h 160656"/>
                <a:gd name="connsiteX1" fmla="*/ 210614 w 280568"/>
                <a:gd name="connsiteY1" fmla="*/ 43815 h 160656"/>
                <a:gd name="connsiteX2" fmla="*/ 206092 w 280568"/>
                <a:gd name="connsiteY2" fmla="*/ 41953 h 160656"/>
                <a:gd name="connsiteX3" fmla="*/ 188271 w 280568"/>
                <a:gd name="connsiteY3" fmla="*/ 24132 h 160656"/>
                <a:gd name="connsiteX4" fmla="*/ 177220 w 280568"/>
                <a:gd name="connsiteY4" fmla="*/ 35207 h 160656"/>
                <a:gd name="connsiteX5" fmla="*/ 177220 w 280568"/>
                <a:gd name="connsiteY5" fmla="*/ 58953 h 160656"/>
                <a:gd name="connsiteX6" fmla="*/ 175334 w 280568"/>
                <a:gd name="connsiteY6" fmla="*/ 63450 h 160656"/>
                <a:gd name="connsiteX7" fmla="*/ 163655 w 280568"/>
                <a:gd name="connsiteY7" fmla="*/ 75154 h 160656"/>
                <a:gd name="connsiteX8" fmla="*/ 162688 w 280568"/>
                <a:gd name="connsiteY8" fmla="*/ 75952 h 160656"/>
                <a:gd name="connsiteX9" fmla="*/ 162035 w 280568"/>
                <a:gd name="connsiteY9" fmla="*/ 76290 h 160656"/>
                <a:gd name="connsiteX10" fmla="*/ 161575 w 280568"/>
                <a:gd name="connsiteY10" fmla="*/ 76532 h 160656"/>
                <a:gd name="connsiteX11" fmla="*/ 160777 w 280568"/>
                <a:gd name="connsiteY11" fmla="*/ 76774 h 160656"/>
                <a:gd name="connsiteX12" fmla="*/ 160366 w 280568"/>
                <a:gd name="connsiteY12" fmla="*/ 76895 h 160656"/>
                <a:gd name="connsiteX13" fmla="*/ 159278 w 280568"/>
                <a:gd name="connsiteY13" fmla="*/ 76991 h 160656"/>
                <a:gd name="connsiteX14" fmla="*/ 159157 w 280568"/>
                <a:gd name="connsiteY14" fmla="*/ 76991 h 160656"/>
                <a:gd name="connsiteX15" fmla="*/ 158988 w 280568"/>
                <a:gd name="connsiteY15" fmla="*/ 76991 h 160656"/>
                <a:gd name="connsiteX16" fmla="*/ 157900 w 280568"/>
                <a:gd name="connsiteY16" fmla="*/ 76895 h 160656"/>
                <a:gd name="connsiteX17" fmla="*/ 157489 w 280568"/>
                <a:gd name="connsiteY17" fmla="*/ 76774 h 160656"/>
                <a:gd name="connsiteX18" fmla="*/ 156715 w 280568"/>
                <a:gd name="connsiteY18" fmla="*/ 76532 h 160656"/>
                <a:gd name="connsiteX19" fmla="*/ 156256 w 280568"/>
                <a:gd name="connsiteY19" fmla="*/ 76290 h 160656"/>
                <a:gd name="connsiteX20" fmla="*/ 155627 w 280568"/>
                <a:gd name="connsiteY20" fmla="*/ 75952 h 160656"/>
                <a:gd name="connsiteX21" fmla="*/ 154636 w 280568"/>
                <a:gd name="connsiteY21" fmla="*/ 75154 h 160656"/>
                <a:gd name="connsiteX22" fmla="*/ 144020 w 280568"/>
                <a:gd name="connsiteY22" fmla="*/ 64538 h 160656"/>
                <a:gd name="connsiteX23" fmla="*/ 97279 w 280568"/>
                <a:gd name="connsiteY23" fmla="*/ 64538 h 160656"/>
                <a:gd name="connsiteX24" fmla="*/ 90919 w 280568"/>
                <a:gd name="connsiteY24" fmla="*/ 58179 h 160656"/>
                <a:gd name="connsiteX25" fmla="*/ 90919 w 280568"/>
                <a:gd name="connsiteY25" fmla="*/ 37456 h 160656"/>
                <a:gd name="connsiteX26" fmla="*/ 92781 w 280568"/>
                <a:gd name="connsiteY26" fmla="*/ 32958 h 160656"/>
                <a:gd name="connsiteX27" fmla="*/ 117591 w 280568"/>
                <a:gd name="connsiteY27" fmla="*/ 8149 h 160656"/>
                <a:gd name="connsiteX28" fmla="*/ 117591 w 280568"/>
                <a:gd name="connsiteY28" fmla="*/ 0 h 160656"/>
                <a:gd name="connsiteX29" fmla="*/ 83544 w 280568"/>
                <a:gd name="connsiteY29" fmla="*/ 0 h 160656"/>
                <a:gd name="connsiteX30" fmla="*/ 48966 w 280568"/>
                <a:gd name="connsiteY30" fmla="*/ 34578 h 160656"/>
                <a:gd name="connsiteX31" fmla="*/ 44444 w 280568"/>
                <a:gd name="connsiteY31" fmla="*/ 36440 h 160656"/>
                <a:gd name="connsiteX32" fmla="*/ 39947 w 280568"/>
                <a:gd name="connsiteY32" fmla="*/ 34578 h 160656"/>
                <a:gd name="connsiteX33" fmla="*/ 26792 w 280568"/>
                <a:gd name="connsiteY33" fmla="*/ 21448 h 160656"/>
                <a:gd name="connsiteX34" fmla="*/ 0 w 280568"/>
                <a:gd name="connsiteY34" fmla="*/ 48216 h 160656"/>
                <a:gd name="connsiteX35" fmla="*/ 0 w 280568"/>
                <a:gd name="connsiteY35" fmla="*/ 70970 h 160656"/>
                <a:gd name="connsiteX36" fmla="*/ 21158 w 280568"/>
                <a:gd name="connsiteY36" fmla="*/ 92128 h 160656"/>
                <a:gd name="connsiteX37" fmla="*/ 23020 w 280568"/>
                <a:gd name="connsiteY37" fmla="*/ 96650 h 160656"/>
                <a:gd name="connsiteX38" fmla="*/ 21158 w 280568"/>
                <a:gd name="connsiteY38" fmla="*/ 101148 h 160656"/>
                <a:gd name="connsiteX39" fmla="*/ 14146 w 280568"/>
                <a:gd name="connsiteY39" fmla="*/ 108184 h 160656"/>
                <a:gd name="connsiteX40" fmla="*/ 40406 w 280568"/>
                <a:gd name="connsiteY40" fmla="*/ 134420 h 160656"/>
                <a:gd name="connsiteX41" fmla="*/ 55229 w 280568"/>
                <a:gd name="connsiteY41" fmla="*/ 134420 h 160656"/>
                <a:gd name="connsiteX42" fmla="*/ 102429 w 280568"/>
                <a:gd name="connsiteY42" fmla="*/ 87220 h 160656"/>
                <a:gd name="connsiteX43" fmla="*/ 111400 w 280568"/>
                <a:gd name="connsiteY43" fmla="*/ 87220 h 160656"/>
                <a:gd name="connsiteX44" fmla="*/ 128375 w 280568"/>
                <a:gd name="connsiteY44" fmla="*/ 104170 h 160656"/>
                <a:gd name="connsiteX45" fmla="*/ 130237 w 280568"/>
                <a:gd name="connsiteY45" fmla="*/ 108692 h 160656"/>
                <a:gd name="connsiteX46" fmla="*/ 130237 w 280568"/>
                <a:gd name="connsiteY46" fmla="*/ 156981 h 160656"/>
                <a:gd name="connsiteX47" fmla="*/ 133913 w 280568"/>
                <a:gd name="connsiteY47" fmla="*/ 160657 h 160656"/>
                <a:gd name="connsiteX48" fmla="*/ 168201 w 280568"/>
                <a:gd name="connsiteY48" fmla="*/ 126368 h 160656"/>
                <a:gd name="connsiteX49" fmla="*/ 172699 w 280568"/>
                <a:gd name="connsiteY49" fmla="*/ 124506 h 160656"/>
                <a:gd name="connsiteX50" fmla="*/ 210348 w 280568"/>
                <a:gd name="connsiteY50" fmla="*/ 124506 h 160656"/>
                <a:gd name="connsiteX51" fmla="*/ 232449 w 280568"/>
                <a:gd name="connsiteY51" fmla="*/ 102381 h 160656"/>
                <a:gd name="connsiteX52" fmla="*/ 236971 w 280568"/>
                <a:gd name="connsiteY52" fmla="*/ 100519 h 160656"/>
                <a:gd name="connsiteX53" fmla="*/ 280569 w 280568"/>
                <a:gd name="connsiteY53" fmla="*/ 100519 h 160656"/>
                <a:gd name="connsiteX54" fmla="*/ 280569 w 280568"/>
                <a:gd name="connsiteY54" fmla="*/ 66956 h 160656"/>
                <a:gd name="connsiteX55" fmla="*/ 257452 w 280568"/>
                <a:gd name="connsiteY55" fmla="*/ 43815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80568" h="160656">
                  <a:moveTo>
                    <a:pt x="257452" y="43815"/>
                  </a:moveTo>
                  <a:lnTo>
                    <a:pt x="210614" y="43815"/>
                  </a:lnTo>
                  <a:cubicBezTo>
                    <a:pt x="208921" y="43815"/>
                    <a:pt x="207301" y="43163"/>
                    <a:pt x="206092" y="41953"/>
                  </a:cubicBezTo>
                  <a:lnTo>
                    <a:pt x="188271" y="24132"/>
                  </a:lnTo>
                  <a:lnTo>
                    <a:pt x="177220" y="35207"/>
                  </a:lnTo>
                  <a:lnTo>
                    <a:pt x="177220" y="58953"/>
                  </a:lnTo>
                  <a:cubicBezTo>
                    <a:pt x="177220" y="60645"/>
                    <a:pt x="176543" y="62265"/>
                    <a:pt x="175334" y="63450"/>
                  </a:cubicBezTo>
                  <a:lnTo>
                    <a:pt x="163655" y="75154"/>
                  </a:lnTo>
                  <a:cubicBezTo>
                    <a:pt x="163341" y="75444"/>
                    <a:pt x="163026" y="75734"/>
                    <a:pt x="162688" y="75952"/>
                  </a:cubicBezTo>
                  <a:cubicBezTo>
                    <a:pt x="162446" y="76097"/>
                    <a:pt x="162228" y="76193"/>
                    <a:pt x="162035" y="76290"/>
                  </a:cubicBezTo>
                  <a:cubicBezTo>
                    <a:pt x="161866" y="76363"/>
                    <a:pt x="161745" y="76459"/>
                    <a:pt x="161575" y="76532"/>
                  </a:cubicBezTo>
                  <a:cubicBezTo>
                    <a:pt x="161309" y="76653"/>
                    <a:pt x="161043" y="76701"/>
                    <a:pt x="160777" y="76774"/>
                  </a:cubicBezTo>
                  <a:cubicBezTo>
                    <a:pt x="160657" y="76798"/>
                    <a:pt x="160536" y="76846"/>
                    <a:pt x="160366" y="76895"/>
                  </a:cubicBezTo>
                  <a:cubicBezTo>
                    <a:pt x="160004" y="76967"/>
                    <a:pt x="159665" y="76991"/>
                    <a:pt x="159278" y="76991"/>
                  </a:cubicBezTo>
                  <a:cubicBezTo>
                    <a:pt x="159230" y="76991"/>
                    <a:pt x="159206" y="76991"/>
                    <a:pt x="159157" y="76991"/>
                  </a:cubicBezTo>
                  <a:cubicBezTo>
                    <a:pt x="159109" y="76991"/>
                    <a:pt x="159061" y="76991"/>
                    <a:pt x="158988" y="76991"/>
                  </a:cubicBezTo>
                  <a:cubicBezTo>
                    <a:pt x="158625" y="76991"/>
                    <a:pt x="158263" y="76967"/>
                    <a:pt x="157900" y="76895"/>
                  </a:cubicBezTo>
                  <a:cubicBezTo>
                    <a:pt x="157779" y="76870"/>
                    <a:pt x="157634" y="76822"/>
                    <a:pt x="157489" y="76774"/>
                  </a:cubicBezTo>
                  <a:cubicBezTo>
                    <a:pt x="157223" y="76701"/>
                    <a:pt x="156981" y="76653"/>
                    <a:pt x="156715" y="76532"/>
                  </a:cubicBezTo>
                  <a:cubicBezTo>
                    <a:pt x="156546" y="76459"/>
                    <a:pt x="156401" y="76387"/>
                    <a:pt x="156256" y="76290"/>
                  </a:cubicBezTo>
                  <a:cubicBezTo>
                    <a:pt x="156038" y="76193"/>
                    <a:pt x="155796" y="76097"/>
                    <a:pt x="155627" y="75952"/>
                  </a:cubicBezTo>
                  <a:cubicBezTo>
                    <a:pt x="155264" y="75734"/>
                    <a:pt x="154950" y="75444"/>
                    <a:pt x="154636" y="75154"/>
                  </a:cubicBezTo>
                  <a:lnTo>
                    <a:pt x="144020" y="64538"/>
                  </a:lnTo>
                  <a:lnTo>
                    <a:pt x="97279" y="64538"/>
                  </a:lnTo>
                  <a:cubicBezTo>
                    <a:pt x="93773" y="64538"/>
                    <a:pt x="90919" y="61685"/>
                    <a:pt x="90919" y="58179"/>
                  </a:cubicBezTo>
                  <a:lnTo>
                    <a:pt x="90919" y="37456"/>
                  </a:lnTo>
                  <a:cubicBezTo>
                    <a:pt x="90919" y="35763"/>
                    <a:pt x="91572" y="34167"/>
                    <a:pt x="92781" y="32958"/>
                  </a:cubicBezTo>
                  <a:lnTo>
                    <a:pt x="117591" y="8149"/>
                  </a:lnTo>
                  <a:lnTo>
                    <a:pt x="117591" y="0"/>
                  </a:lnTo>
                  <a:lnTo>
                    <a:pt x="83544" y="0"/>
                  </a:lnTo>
                  <a:lnTo>
                    <a:pt x="48966" y="34578"/>
                  </a:lnTo>
                  <a:cubicBezTo>
                    <a:pt x="47757" y="35763"/>
                    <a:pt x="46161" y="36440"/>
                    <a:pt x="44444" y="36440"/>
                  </a:cubicBezTo>
                  <a:cubicBezTo>
                    <a:pt x="42776" y="36440"/>
                    <a:pt x="41155" y="35763"/>
                    <a:pt x="39947" y="34578"/>
                  </a:cubicBezTo>
                  <a:lnTo>
                    <a:pt x="26792" y="21448"/>
                  </a:lnTo>
                  <a:lnTo>
                    <a:pt x="0" y="48216"/>
                  </a:lnTo>
                  <a:lnTo>
                    <a:pt x="0" y="70970"/>
                  </a:lnTo>
                  <a:lnTo>
                    <a:pt x="21158" y="92128"/>
                  </a:lnTo>
                  <a:cubicBezTo>
                    <a:pt x="22367" y="93337"/>
                    <a:pt x="23020" y="94933"/>
                    <a:pt x="23020" y="96650"/>
                  </a:cubicBezTo>
                  <a:cubicBezTo>
                    <a:pt x="23020" y="98319"/>
                    <a:pt x="22367" y="99939"/>
                    <a:pt x="21158" y="101148"/>
                  </a:cubicBezTo>
                  <a:lnTo>
                    <a:pt x="14146" y="108184"/>
                  </a:lnTo>
                  <a:lnTo>
                    <a:pt x="40406" y="134420"/>
                  </a:lnTo>
                  <a:lnTo>
                    <a:pt x="55229" y="134420"/>
                  </a:lnTo>
                  <a:lnTo>
                    <a:pt x="102429" y="87220"/>
                  </a:lnTo>
                  <a:cubicBezTo>
                    <a:pt x="104920" y="84729"/>
                    <a:pt x="108934" y="84729"/>
                    <a:pt x="111400" y="87220"/>
                  </a:cubicBezTo>
                  <a:lnTo>
                    <a:pt x="128375" y="104170"/>
                  </a:lnTo>
                  <a:cubicBezTo>
                    <a:pt x="129560" y="105379"/>
                    <a:pt x="130237" y="106975"/>
                    <a:pt x="130237" y="108692"/>
                  </a:cubicBezTo>
                  <a:lnTo>
                    <a:pt x="130237" y="156981"/>
                  </a:lnTo>
                  <a:lnTo>
                    <a:pt x="133913" y="160657"/>
                  </a:lnTo>
                  <a:lnTo>
                    <a:pt x="168201" y="126368"/>
                  </a:lnTo>
                  <a:cubicBezTo>
                    <a:pt x="169410" y="125183"/>
                    <a:pt x="171006" y="124506"/>
                    <a:pt x="172699" y="124506"/>
                  </a:cubicBezTo>
                  <a:lnTo>
                    <a:pt x="210348" y="124506"/>
                  </a:lnTo>
                  <a:lnTo>
                    <a:pt x="232449" y="102381"/>
                  </a:lnTo>
                  <a:cubicBezTo>
                    <a:pt x="233634" y="101196"/>
                    <a:pt x="235254" y="100519"/>
                    <a:pt x="236971" y="100519"/>
                  </a:cubicBezTo>
                  <a:lnTo>
                    <a:pt x="280569" y="100519"/>
                  </a:lnTo>
                  <a:lnTo>
                    <a:pt x="280569" y="66956"/>
                  </a:lnTo>
                  <a:lnTo>
                    <a:pt x="257452" y="43815"/>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18" name="Forma Livre: Forma 17">
              <a:extLst>
                <a:ext uri="{FF2B5EF4-FFF2-40B4-BE49-F238E27FC236}">
                  <a16:creationId xmlns:a16="http://schemas.microsoft.com/office/drawing/2014/main" id="{2058ECB9-5D70-9CAD-4080-96E7D89AFDD1}"/>
                </a:ext>
              </a:extLst>
            </p:cNvPr>
            <p:cNvSpPr/>
            <p:nvPr>
              <p:custDataLst>
                <p:tags r:id="rId109"/>
              </p:custDataLst>
            </p:nvPr>
          </p:nvSpPr>
          <p:spPr>
            <a:xfrm>
              <a:off x="5697922" y="1418956"/>
              <a:ext cx="225920" cy="149098"/>
            </a:xfrm>
            <a:custGeom>
              <a:avLst/>
              <a:gdLst>
                <a:gd name="connsiteX0" fmla="*/ 51650 w 225920"/>
                <a:gd name="connsiteY0" fmla="*/ 22246 h 149098"/>
                <a:gd name="connsiteX1" fmla="*/ 51650 w 225920"/>
                <a:gd name="connsiteY1" fmla="*/ 37577 h 149098"/>
                <a:gd name="connsiteX2" fmla="*/ 51505 w 225920"/>
                <a:gd name="connsiteY2" fmla="*/ 38834 h 149098"/>
                <a:gd name="connsiteX3" fmla="*/ 49788 w 225920"/>
                <a:gd name="connsiteY3" fmla="*/ 42074 h 149098"/>
                <a:gd name="connsiteX4" fmla="*/ 0 w 225920"/>
                <a:gd name="connsiteY4" fmla="*/ 91838 h 149098"/>
                <a:gd name="connsiteX5" fmla="*/ 16636 w 225920"/>
                <a:gd name="connsiteY5" fmla="*/ 108475 h 149098"/>
                <a:gd name="connsiteX6" fmla="*/ 48579 w 225920"/>
                <a:gd name="connsiteY6" fmla="*/ 76532 h 149098"/>
                <a:gd name="connsiteX7" fmla="*/ 53101 w 225920"/>
                <a:gd name="connsiteY7" fmla="*/ 74670 h 149098"/>
                <a:gd name="connsiteX8" fmla="*/ 96142 w 225920"/>
                <a:gd name="connsiteY8" fmla="*/ 74670 h 149098"/>
                <a:gd name="connsiteX9" fmla="*/ 102502 w 225920"/>
                <a:gd name="connsiteY9" fmla="*/ 81030 h 149098"/>
                <a:gd name="connsiteX10" fmla="*/ 102502 w 225920"/>
                <a:gd name="connsiteY10" fmla="*/ 98198 h 149098"/>
                <a:gd name="connsiteX11" fmla="*/ 100640 w 225920"/>
                <a:gd name="connsiteY11" fmla="*/ 102695 h 149098"/>
                <a:gd name="connsiteX12" fmla="*/ 75831 w 225920"/>
                <a:gd name="connsiteY12" fmla="*/ 127505 h 149098"/>
                <a:gd name="connsiteX13" fmla="*/ 75831 w 225920"/>
                <a:gd name="connsiteY13" fmla="*/ 139232 h 149098"/>
                <a:gd name="connsiteX14" fmla="*/ 118800 w 225920"/>
                <a:gd name="connsiteY14" fmla="*/ 139232 h 149098"/>
                <a:gd name="connsiteX15" fmla="*/ 123297 w 225920"/>
                <a:gd name="connsiteY15" fmla="*/ 141094 h 149098"/>
                <a:gd name="connsiteX16" fmla="*/ 131325 w 225920"/>
                <a:gd name="connsiteY16" fmla="*/ 149098 h 149098"/>
                <a:gd name="connsiteX17" fmla="*/ 136669 w 225920"/>
                <a:gd name="connsiteY17" fmla="*/ 143754 h 149098"/>
                <a:gd name="connsiteX18" fmla="*/ 136669 w 225920"/>
                <a:gd name="connsiteY18" fmla="*/ 119985 h 149098"/>
                <a:gd name="connsiteX19" fmla="*/ 138507 w 225920"/>
                <a:gd name="connsiteY19" fmla="*/ 115487 h 149098"/>
                <a:gd name="connsiteX20" fmla="*/ 155965 w 225920"/>
                <a:gd name="connsiteY20" fmla="*/ 98029 h 149098"/>
                <a:gd name="connsiteX21" fmla="*/ 164961 w 225920"/>
                <a:gd name="connsiteY21" fmla="*/ 98029 h 149098"/>
                <a:gd name="connsiteX22" fmla="*/ 185442 w 225920"/>
                <a:gd name="connsiteY22" fmla="*/ 118485 h 149098"/>
                <a:gd name="connsiteX23" fmla="*/ 225920 w 225920"/>
                <a:gd name="connsiteY23" fmla="*/ 118485 h 149098"/>
                <a:gd name="connsiteX24" fmla="*/ 225920 w 225920"/>
                <a:gd name="connsiteY24" fmla="*/ 55229 h 149098"/>
                <a:gd name="connsiteX25" fmla="*/ 196976 w 225920"/>
                <a:gd name="connsiteY25" fmla="*/ 26260 h 149098"/>
                <a:gd name="connsiteX26" fmla="*/ 119598 w 225920"/>
                <a:gd name="connsiteY26" fmla="*/ 26260 h 149098"/>
                <a:gd name="connsiteX27" fmla="*/ 115076 w 225920"/>
                <a:gd name="connsiteY27" fmla="*/ 24398 h 149098"/>
                <a:gd name="connsiteX28" fmla="*/ 90581 w 225920"/>
                <a:gd name="connsiteY28" fmla="*/ 0 h 149098"/>
                <a:gd name="connsiteX29" fmla="*/ 73896 w 225920"/>
                <a:gd name="connsiteY29" fmla="*/ 0 h 149098"/>
                <a:gd name="connsiteX30" fmla="*/ 51650 w 225920"/>
                <a:gd name="connsiteY30" fmla="*/ 22246 h 14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20" h="149098">
                  <a:moveTo>
                    <a:pt x="51650" y="22246"/>
                  </a:moveTo>
                  <a:lnTo>
                    <a:pt x="51650" y="37577"/>
                  </a:lnTo>
                  <a:cubicBezTo>
                    <a:pt x="51650" y="37988"/>
                    <a:pt x="51602" y="38423"/>
                    <a:pt x="51505" y="38834"/>
                  </a:cubicBezTo>
                  <a:cubicBezTo>
                    <a:pt x="51263" y="40067"/>
                    <a:pt x="50658" y="41180"/>
                    <a:pt x="49788" y="42074"/>
                  </a:cubicBezTo>
                  <a:lnTo>
                    <a:pt x="0" y="91838"/>
                  </a:lnTo>
                  <a:lnTo>
                    <a:pt x="16636" y="108475"/>
                  </a:lnTo>
                  <a:lnTo>
                    <a:pt x="48579" y="76532"/>
                  </a:lnTo>
                  <a:cubicBezTo>
                    <a:pt x="49788" y="75347"/>
                    <a:pt x="51384" y="74670"/>
                    <a:pt x="53101" y="74670"/>
                  </a:cubicBezTo>
                  <a:lnTo>
                    <a:pt x="96142" y="74670"/>
                  </a:lnTo>
                  <a:cubicBezTo>
                    <a:pt x="99649" y="74670"/>
                    <a:pt x="102502" y="77523"/>
                    <a:pt x="102502" y="81030"/>
                  </a:cubicBezTo>
                  <a:lnTo>
                    <a:pt x="102502" y="98198"/>
                  </a:lnTo>
                  <a:cubicBezTo>
                    <a:pt x="102502" y="99866"/>
                    <a:pt x="101849" y="101511"/>
                    <a:pt x="100640" y="102695"/>
                  </a:cubicBezTo>
                  <a:lnTo>
                    <a:pt x="75831" y="127505"/>
                  </a:lnTo>
                  <a:lnTo>
                    <a:pt x="75831" y="139232"/>
                  </a:lnTo>
                  <a:lnTo>
                    <a:pt x="118800" y="139232"/>
                  </a:lnTo>
                  <a:cubicBezTo>
                    <a:pt x="120468" y="139232"/>
                    <a:pt x="122137" y="139910"/>
                    <a:pt x="123297" y="141094"/>
                  </a:cubicBezTo>
                  <a:lnTo>
                    <a:pt x="131325" y="149098"/>
                  </a:lnTo>
                  <a:lnTo>
                    <a:pt x="136669" y="143754"/>
                  </a:lnTo>
                  <a:lnTo>
                    <a:pt x="136669" y="119985"/>
                  </a:lnTo>
                  <a:cubicBezTo>
                    <a:pt x="136669" y="118316"/>
                    <a:pt x="137322" y="116672"/>
                    <a:pt x="138507" y="115487"/>
                  </a:cubicBezTo>
                  <a:lnTo>
                    <a:pt x="155965" y="98029"/>
                  </a:lnTo>
                  <a:cubicBezTo>
                    <a:pt x="158456" y="95538"/>
                    <a:pt x="162494" y="95538"/>
                    <a:pt x="164961" y="98029"/>
                  </a:cubicBezTo>
                  <a:lnTo>
                    <a:pt x="185442" y="118485"/>
                  </a:lnTo>
                  <a:lnTo>
                    <a:pt x="225920" y="118485"/>
                  </a:lnTo>
                  <a:lnTo>
                    <a:pt x="225920" y="55229"/>
                  </a:lnTo>
                  <a:lnTo>
                    <a:pt x="196976" y="26260"/>
                  </a:lnTo>
                  <a:lnTo>
                    <a:pt x="119598" y="26260"/>
                  </a:lnTo>
                  <a:cubicBezTo>
                    <a:pt x="117905" y="26260"/>
                    <a:pt x="116261" y="25607"/>
                    <a:pt x="115076" y="24398"/>
                  </a:cubicBezTo>
                  <a:lnTo>
                    <a:pt x="90581" y="0"/>
                  </a:lnTo>
                  <a:lnTo>
                    <a:pt x="73896" y="0"/>
                  </a:lnTo>
                  <a:lnTo>
                    <a:pt x="51650" y="2224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21" name="Forma Livre: Forma 20">
              <a:extLst>
                <a:ext uri="{FF2B5EF4-FFF2-40B4-BE49-F238E27FC236}">
                  <a16:creationId xmlns:a16="http://schemas.microsoft.com/office/drawing/2014/main" id="{DCA0339D-5D54-6EB6-4FEB-1AB4B6BD66A5}"/>
                </a:ext>
              </a:extLst>
            </p:cNvPr>
            <p:cNvSpPr/>
            <p:nvPr>
              <p:custDataLst>
                <p:tags r:id="rId110"/>
              </p:custDataLst>
            </p:nvPr>
          </p:nvSpPr>
          <p:spPr>
            <a:xfrm>
              <a:off x="5473308" y="1269399"/>
              <a:ext cx="302427" cy="362033"/>
            </a:xfrm>
            <a:custGeom>
              <a:avLst/>
              <a:gdLst>
                <a:gd name="connsiteX0" fmla="*/ 24 w 302427"/>
                <a:gd name="connsiteY0" fmla="*/ 47394 h 362033"/>
                <a:gd name="connsiteX1" fmla="*/ 28968 w 302427"/>
                <a:gd name="connsiteY1" fmla="*/ 76363 h 362033"/>
                <a:gd name="connsiteX2" fmla="*/ 30830 w 302427"/>
                <a:gd name="connsiteY2" fmla="*/ 80860 h 362033"/>
                <a:gd name="connsiteX3" fmla="*/ 30830 w 302427"/>
                <a:gd name="connsiteY3" fmla="*/ 143126 h 362033"/>
                <a:gd name="connsiteX4" fmla="*/ 43477 w 302427"/>
                <a:gd name="connsiteY4" fmla="*/ 155772 h 362033"/>
                <a:gd name="connsiteX5" fmla="*/ 45339 w 302427"/>
                <a:gd name="connsiteY5" fmla="*/ 160270 h 362033"/>
                <a:gd name="connsiteX6" fmla="*/ 45339 w 302427"/>
                <a:gd name="connsiteY6" fmla="*/ 257065 h 362033"/>
                <a:gd name="connsiteX7" fmla="*/ 78587 w 302427"/>
                <a:gd name="connsiteY7" fmla="*/ 290313 h 362033"/>
                <a:gd name="connsiteX8" fmla="*/ 80425 w 302427"/>
                <a:gd name="connsiteY8" fmla="*/ 294811 h 362033"/>
                <a:gd name="connsiteX9" fmla="*/ 80425 w 302427"/>
                <a:gd name="connsiteY9" fmla="*/ 329051 h 362033"/>
                <a:gd name="connsiteX10" fmla="*/ 140369 w 302427"/>
                <a:gd name="connsiteY10" fmla="*/ 329051 h 362033"/>
                <a:gd name="connsiteX11" fmla="*/ 141626 w 302427"/>
                <a:gd name="connsiteY11" fmla="*/ 329172 h 362033"/>
                <a:gd name="connsiteX12" fmla="*/ 144867 w 302427"/>
                <a:gd name="connsiteY12" fmla="*/ 330913 h 362033"/>
                <a:gd name="connsiteX13" fmla="*/ 176011 w 302427"/>
                <a:gd name="connsiteY13" fmla="*/ 362033 h 362033"/>
                <a:gd name="connsiteX14" fmla="*/ 197435 w 302427"/>
                <a:gd name="connsiteY14" fmla="*/ 340609 h 362033"/>
                <a:gd name="connsiteX15" fmla="*/ 197435 w 302427"/>
                <a:gd name="connsiteY15" fmla="*/ 340609 h 362033"/>
                <a:gd name="connsiteX16" fmla="*/ 204448 w 302427"/>
                <a:gd name="connsiteY16" fmla="*/ 333597 h 362033"/>
                <a:gd name="connsiteX17" fmla="*/ 185925 w 302427"/>
                <a:gd name="connsiteY17" fmla="*/ 315050 h 362033"/>
                <a:gd name="connsiteX18" fmla="*/ 184064 w 302427"/>
                <a:gd name="connsiteY18" fmla="*/ 310553 h 362033"/>
                <a:gd name="connsiteX19" fmla="*/ 184064 w 302427"/>
                <a:gd name="connsiteY19" fmla="*/ 282551 h 362033"/>
                <a:gd name="connsiteX20" fmla="*/ 184184 w 302427"/>
                <a:gd name="connsiteY20" fmla="*/ 281318 h 362033"/>
                <a:gd name="connsiteX21" fmla="*/ 185925 w 302427"/>
                <a:gd name="connsiteY21" fmla="*/ 278054 h 362033"/>
                <a:gd name="connsiteX22" fmla="*/ 214580 w 302427"/>
                <a:gd name="connsiteY22" fmla="*/ 249400 h 362033"/>
                <a:gd name="connsiteX23" fmla="*/ 211097 w 302427"/>
                <a:gd name="connsiteY23" fmla="*/ 245918 h 362033"/>
                <a:gd name="connsiteX24" fmla="*/ 209332 w 302427"/>
                <a:gd name="connsiteY24" fmla="*/ 242629 h 362033"/>
                <a:gd name="connsiteX25" fmla="*/ 209236 w 302427"/>
                <a:gd name="connsiteY25" fmla="*/ 241420 h 362033"/>
                <a:gd name="connsiteX26" fmla="*/ 211097 w 302427"/>
                <a:gd name="connsiteY26" fmla="*/ 236922 h 362033"/>
                <a:gd name="connsiteX27" fmla="*/ 263497 w 302427"/>
                <a:gd name="connsiteY27" fmla="*/ 184523 h 362033"/>
                <a:gd name="connsiteX28" fmla="*/ 263497 w 302427"/>
                <a:gd name="connsiteY28" fmla="*/ 169192 h 362033"/>
                <a:gd name="connsiteX29" fmla="*/ 263618 w 302427"/>
                <a:gd name="connsiteY29" fmla="*/ 167959 h 362033"/>
                <a:gd name="connsiteX30" fmla="*/ 265335 w 302427"/>
                <a:gd name="connsiteY30" fmla="*/ 164719 h 362033"/>
                <a:gd name="connsiteX31" fmla="*/ 291329 w 302427"/>
                <a:gd name="connsiteY31" fmla="*/ 138725 h 362033"/>
                <a:gd name="connsiteX32" fmla="*/ 295827 w 302427"/>
                <a:gd name="connsiteY32" fmla="*/ 136863 h 362033"/>
                <a:gd name="connsiteX33" fmla="*/ 302428 w 302427"/>
                <a:gd name="connsiteY33" fmla="*/ 136863 h 362033"/>
                <a:gd name="connsiteX34" fmla="*/ 217675 w 302427"/>
                <a:gd name="connsiteY34" fmla="*/ 52109 h 362033"/>
                <a:gd name="connsiteX35" fmla="*/ 188827 w 302427"/>
                <a:gd name="connsiteY35" fmla="*/ 52109 h 362033"/>
                <a:gd name="connsiteX36" fmla="*/ 184330 w 302427"/>
                <a:gd name="connsiteY36" fmla="*/ 50247 h 362033"/>
                <a:gd name="connsiteX37" fmla="*/ 134106 w 302427"/>
                <a:gd name="connsiteY37" fmla="*/ 0 h 362033"/>
                <a:gd name="connsiteX38" fmla="*/ 20650 w 302427"/>
                <a:gd name="connsiteY38" fmla="*/ 0 h 362033"/>
                <a:gd name="connsiteX39" fmla="*/ 0 w 302427"/>
                <a:gd name="connsiteY39" fmla="*/ 20674 h 362033"/>
                <a:gd name="connsiteX40" fmla="*/ 0 w 302427"/>
                <a:gd name="connsiteY40" fmla="*/ 47394 h 3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2427" h="362033">
                  <a:moveTo>
                    <a:pt x="24" y="47394"/>
                  </a:moveTo>
                  <a:lnTo>
                    <a:pt x="28968" y="76363"/>
                  </a:lnTo>
                  <a:cubicBezTo>
                    <a:pt x="30153" y="77547"/>
                    <a:pt x="30830" y="79168"/>
                    <a:pt x="30830" y="80860"/>
                  </a:cubicBezTo>
                  <a:lnTo>
                    <a:pt x="30830" y="143126"/>
                  </a:lnTo>
                  <a:lnTo>
                    <a:pt x="43477" y="155772"/>
                  </a:lnTo>
                  <a:cubicBezTo>
                    <a:pt x="44662" y="156957"/>
                    <a:pt x="45339" y="158577"/>
                    <a:pt x="45339" y="160270"/>
                  </a:cubicBezTo>
                  <a:lnTo>
                    <a:pt x="45339" y="257065"/>
                  </a:lnTo>
                  <a:lnTo>
                    <a:pt x="78587" y="290313"/>
                  </a:lnTo>
                  <a:cubicBezTo>
                    <a:pt x="79772" y="291498"/>
                    <a:pt x="80425" y="293118"/>
                    <a:pt x="80425" y="294811"/>
                  </a:cubicBezTo>
                  <a:lnTo>
                    <a:pt x="80425" y="329051"/>
                  </a:lnTo>
                  <a:lnTo>
                    <a:pt x="140369" y="329051"/>
                  </a:lnTo>
                  <a:cubicBezTo>
                    <a:pt x="140804" y="329051"/>
                    <a:pt x="141215" y="329099"/>
                    <a:pt x="141626" y="329172"/>
                  </a:cubicBezTo>
                  <a:cubicBezTo>
                    <a:pt x="142835" y="329414"/>
                    <a:pt x="143996" y="330018"/>
                    <a:pt x="144867" y="330913"/>
                  </a:cubicBezTo>
                  <a:lnTo>
                    <a:pt x="176011" y="362033"/>
                  </a:lnTo>
                  <a:lnTo>
                    <a:pt x="197435" y="340609"/>
                  </a:lnTo>
                  <a:lnTo>
                    <a:pt x="197435" y="340609"/>
                  </a:lnTo>
                  <a:lnTo>
                    <a:pt x="204448" y="333597"/>
                  </a:lnTo>
                  <a:lnTo>
                    <a:pt x="185925" y="315050"/>
                  </a:lnTo>
                  <a:cubicBezTo>
                    <a:pt x="184716" y="313865"/>
                    <a:pt x="184064" y="312245"/>
                    <a:pt x="184064" y="310553"/>
                  </a:cubicBezTo>
                  <a:lnTo>
                    <a:pt x="184064" y="282551"/>
                  </a:lnTo>
                  <a:cubicBezTo>
                    <a:pt x="184064" y="282140"/>
                    <a:pt x="184088" y="281729"/>
                    <a:pt x="184184" y="281318"/>
                  </a:cubicBezTo>
                  <a:cubicBezTo>
                    <a:pt x="184426" y="280085"/>
                    <a:pt x="185007" y="278949"/>
                    <a:pt x="185925" y="278054"/>
                  </a:cubicBezTo>
                  <a:lnTo>
                    <a:pt x="214580" y="249400"/>
                  </a:lnTo>
                  <a:lnTo>
                    <a:pt x="211097" y="245918"/>
                  </a:lnTo>
                  <a:cubicBezTo>
                    <a:pt x="210155" y="244975"/>
                    <a:pt x="209574" y="243838"/>
                    <a:pt x="209332" y="242629"/>
                  </a:cubicBezTo>
                  <a:cubicBezTo>
                    <a:pt x="209260" y="242242"/>
                    <a:pt x="209236" y="241831"/>
                    <a:pt x="209236" y="241420"/>
                  </a:cubicBezTo>
                  <a:cubicBezTo>
                    <a:pt x="209236" y="239800"/>
                    <a:pt x="209840" y="238180"/>
                    <a:pt x="211097" y="236922"/>
                  </a:cubicBezTo>
                  <a:lnTo>
                    <a:pt x="263497" y="184523"/>
                  </a:lnTo>
                  <a:lnTo>
                    <a:pt x="263497" y="169192"/>
                  </a:lnTo>
                  <a:cubicBezTo>
                    <a:pt x="263497" y="168781"/>
                    <a:pt x="263521" y="168346"/>
                    <a:pt x="263618" y="167959"/>
                  </a:cubicBezTo>
                  <a:cubicBezTo>
                    <a:pt x="263860" y="166726"/>
                    <a:pt x="264464" y="165614"/>
                    <a:pt x="265335" y="164719"/>
                  </a:cubicBezTo>
                  <a:lnTo>
                    <a:pt x="291329" y="138725"/>
                  </a:lnTo>
                  <a:cubicBezTo>
                    <a:pt x="292538" y="137540"/>
                    <a:pt x="294134" y="136863"/>
                    <a:pt x="295827" y="136863"/>
                  </a:cubicBezTo>
                  <a:lnTo>
                    <a:pt x="302428" y="136863"/>
                  </a:lnTo>
                  <a:lnTo>
                    <a:pt x="217675" y="52109"/>
                  </a:lnTo>
                  <a:lnTo>
                    <a:pt x="188827" y="52109"/>
                  </a:lnTo>
                  <a:cubicBezTo>
                    <a:pt x="187159" y="52109"/>
                    <a:pt x="185538" y="51432"/>
                    <a:pt x="184330" y="50247"/>
                  </a:cubicBezTo>
                  <a:lnTo>
                    <a:pt x="134106" y="0"/>
                  </a:lnTo>
                  <a:lnTo>
                    <a:pt x="20650" y="0"/>
                  </a:lnTo>
                  <a:lnTo>
                    <a:pt x="0" y="20674"/>
                  </a:lnTo>
                  <a:lnTo>
                    <a:pt x="0" y="47394"/>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24" name="Forma Livre: Forma 23">
              <a:extLst>
                <a:ext uri="{FF2B5EF4-FFF2-40B4-BE49-F238E27FC236}">
                  <a16:creationId xmlns:a16="http://schemas.microsoft.com/office/drawing/2014/main" id="{F9A7DC1E-0A8E-766F-43FA-A139A0ED8BE3}"/>
                </a:ext>
              </a:extLst>
            </p:cNvPr>
            <p:cNvSpPr/>
            <p:nvPr>
              <p:custDataLst>
                <p:tags r:id="rId111"/>
              </p:custDataLst>
            </p:nvPr>
          </p:nvSpPr>
          <p:spPr>
            <a:xfrm>
              <a:off x="5129845" y="1269399"/>
              <a:ext cx="411168" cy="606959"/>
            </a:xfrm>
            <a:custGeom>
              <a:avLst/>
              <a:gdLst>
                <a:gd name="connsiteX0" fmla="*/ 280617 w 411168"/>
                <a:gd name="connsiteY0" fmla="*/ 37891 h 606959"/>
                <a:gd name="connsiteX1" fmla="*/ 272637 w 411168"/>
                <a:gd name="connsiteY1" fmla="*/ 37891 h 606959"/>
                <a:gd name="connsiteX2" fmla="*/ 248602 w 411168"/>
                <a:gd name="connsiteY2" fmla="*/ 61951 h 606959"/>
                <a:gd name="connsiteX3" fmla="*/ 248602 w 411168"/>
                <a:gd name="connsiteY3" fmla="*/ 175963 h 606959"/>
                <a:gd name="connsiteX4" fmla="*/ 246764 w 411168"/>
                <a:gd name="connsiteY4" fmla="*/ 180461 h 606959"/>
                <a:gd name="connsiteX5" fmla="*/ 227299 w 411168"/>
                <a:gd name="connsiteY5" fmla="*/ 199902 h 606959"/>
                <a:gd name="connsiteX6" fmla="*/ 227299 w 411168"/>
                <a:gd name="connsiteY6" fmla="*/ 231288 h 606959"/>
                <a:gd name="connsiteX7" fmla="*/ 257815 w 411168"/>
                <a:gd name="connsiteY7" fmla="*/ 261804 h 606959"/>
                <a:gd name="connsiteX8" fmla="*/ 259677 w 411168"/>
                <a:gd name="connsiteY8" fmla="*/ 266302 h 606959"/>
                <a:gd name="connsiteX9" fmla="*/ 257815 w 411168"/>
                <a:gd name="connsiteY9" fmla="*/ 270800 h 606959"/>
                <a:gd name="connsiteX10" fmla="*/ 228169 w 411168"/>
                <a:gd name="connsiteY10" fmla="*/ 300469 h 606959"/>
                <a:gd name="connsiteX11" fmla="*/ 223647 w 411168"/>
                <a:gd name="connsiteY11" fmla="*/ 302331 h 606959"/>
                <a:gd name="connsiteX12" fmla="*/ 190399 w 411168"/>
                <a:gd name="connsiteY12" fmla="*/ 302331 h 606959"/>
                <a:gd name="connsiteX13" fmla="*/ 185877 w 411168"/>
                <a:gd name="connsiteY13" fmla="*/ 300469 h 606959"/>
                <a:gd name="connsiteX14" fmla="*/ 174343 w 411168"/>
                <a:gd name="connsiteY14" fmla="*/ 288911 h 606959"/>
                <a:gd name="connsiteX15" fmla="*/ 155216 w 411168"/>
                <a:gd name="connsiteY15" fmla="*/ 288911 h 606959"/>
                <a:gd name="connsiteX16" fmla="*/ 88743 w 411168"/>
                <a:gd name="connsiteY16" fmla="*/ 355384 h 606959"/>
                <a:gd name="connsiteX17" fmla="*/ 85527 w 411168"/>
                <a:gd name="connsiteY17" fmla="*/ 357125 h 606959"/>
                <a:gd name="connsiteX18" fmla="*/ 84246 w 411168"/>
                <a:gd name="connsiteY18" fmla="*/ 357246 h 606959"/>
                <a:gd name="connsiteX19" fmla="*/ 45895 w 411168"/>
                <a:gd name="connsiteY19" fmla="*/ 357246 h 606959"/>
                <a:gd name="connsiteX20" fmla="*/ 34192 w 411168"/>
                <a:gd name="connsiteY20" fmla="*/ 368973 h 606959"/>
                <a:gd name="connsiteX21" fmla="*/ 34192 w 411168"/>
                <a:gd name="connsiteY21" fmla="*/ 418955 h 606959"/>
                <a:gd name="connsiteX22" fmla="*/ 32330 w 411168"/>
                <a:gd name="connsiteY22" fmla="*/ 423452 h 606959"/>
                <a:gd name="connsiteX23" fmla="*/ 0 w 411168"/>
                <a:gd name="connsiteY23" fmla="*/ 455758 h 606959"/>
                <a:gd name="connsiteX24" fmla="*/ 19465 w 411168"/>
                <a:gd name="connsiteY24" fmla="*/ 475223 h 606959"/>
                <a:gd name="connsiteX25" fmla="*/ 21352 w 411168"/>
                <a:gd name="connsiteY25" fmla="*/ 479721 h 606959"/>
                <a:gd name="connsiteX26" fmla="*/ 21352 w 411168"/>
                <a:gd name="connsiteY26" fmla="*/ 552070 h 606959"/>
                <a:gd name="connsiteX27" fmla="*/ 76242 w 411168"/>
                <a:gd name="connsiteY27" fmla="*/ 606960 h 606959"/>
                <a:gd name="connsiteX28" fmla="*/ 97956 w 411168"/>
                <a:gd name="connsiteY28" fmla="*/ 585246 h 606959"/>
                <a:gd name="connsiteX29" fmla="*/ 102454 w 411168"/>
                <a:gd name="connsiteY29" fmla="*/ 583384 h 606959"/>
                <a:gd name="connsiteX30" fmla="*/ 134808 w 411168"/>
                <a:gd name="connsiteY30" fmla="*/ 583384 h 606959"/>
                <a:gd name="connsiteX31" fmla="*/ 181742 w 411168"/>
                <a:gd name="connsiteY31" fmla="*/ 536449 h 606959"/>
                <a:gd name="connsiteX32" fmla="*/ 159496 w 411168"/>
                <a:gd name="connsiteY32" fmla="*/ 514203 h 606959"/>
                <a:gd name="connsiteX33" fmla="*/ 157634 w 411168"/>
                <a:gd name="connsiteY33" fmla="*/ 509705 h 606959"/>
                <a:gd name="connsiteX34" fmla="*/ 159496 w 411168"/>
                <a:gd name="connsiteY34" fmla="*/ 505207 h 606959"/>
                <a:gd name="connsiteX35" fmla="*/ 199781 w 411168"/>
                <a:gd name="connsiteY35" fmla="*/ 464922 h 606959"/>
                <a:gd name="connsiteX36" fmla="*/ 206697 w 411168"/>
                <a:gd name="connsiteY36" fmla="*/ 463520 h 606959"/>
                <a:gd name="connsiteX37" fmla="*/ 208800 w 411168"/>
                <a:gd name="connsiteY37" fmla="*/ 464922 h 606959"/>
                <a:gd name="connsiteX38" fmla="*/ 251044 w 411168"/>
                <a:gd name="connsiteY38" fmla="*/ 507166 h 606959"/>
                <a:gd name="connsiteX39" fmla="*/ 282140 w 411168"/>
                <a:gd name="connsiteY39" fmla="*/ 476070 h 606959"/>
                <a:gd name="connsiteX40" fmla="*/ 286662 w 411168"/>
                <a:gd name="connsiteY40" fmla="*/ 474208 h 606959"/>
                <a:gd name="connsiteX41" fmla="*/ 303395 w 411168"/>
                <a:gd name="connsiteY41" fmla="*/ 474208 h 606959"/>
                <a:gd name="connsiteX42" fmla="*/ 349822 w 411168"/>
                <a:gd name="connsiteY42" fmla="*/ 427805 h 606959"/>
                <a:gd name="connsiteX43" fmla="*/ 401738 w 411168"/>
                <a:gd name="connsiteY43" fmla="*/ 375889 h 606959"/>
                <a:gd name="connsiteX44" fmla="*/ 395475 w 411168"/>
                <a:gd name="connsiteY44" fmla="*/ 369626 h 606959"/>
                <a:gd name="connsiteX45" fmla="*/ 393734 w 411168"/>
                <a:gd name="connsiteY45" fmla="*/ 366362 h 606959"/>
                <a:gd name="connsiteX46" fmla="*/ 393589 w 411168"/>
                <a:gd name="connsiteY46" fmla="*/ 365104 h 606959"/>
                <a:gd name="connsiteX47" fmla="*/ 393589 w 411168"/>
                <a:gd name="connsiteY47" fmla="*/ 335483 h 606959"/>
                <a:gd name="connsiteX48" fmla="*/ 399973 w 411168"/>
                <a:gd name="connsiteY48" fmla="*/ 329099 h 606959"/>
                <a:gd name="connsiteX49" fmla="*/ 411169 w 411168"/>
                <a:gd name="connsiteY49" fmla="*/ 329099 h 606959"/>
                <a:gd name="connsiteX50" fmla="*/ 411169 w 411168"/>
                <a:gd name="connsiteY50" fmla="*/ 297495 h 606959"/>
                <a:gd name="connsiteX51" fmla="*/ 377920 w 411168"/>
                <a:gd name="connsiteY51" fmla="*/ 264247 h 606959"/>
                <a:gd name="connsiteX52" fmla="*/ 376034 w 411168"/>
                <a:gd name="connsiteY52" fmla="*/ 259749 h 606959"/>
                <a:gd name="connsiteX53" fmla="*/ 376034 w 411168"/>
                <a:gd name="connsiteY53" fmla="*/ 162954 h 606959"/>
                <a:gd name="connsiteX54" fmla="*/ 363412 w 411168"/>
                <a:gd name="connsiteY54" fmla="*/ 150307 h 606959"/>
                <a:gd name="connsiteX55" fmla="*/ 361550 w 411168"/>
                <a:gd name="connsiteY55" fmla="*/ 145810 h 606959"/>
                <a:gd name="connsiteX56" fmla="*/ 361550 w 411168"/>
                <a:gd name="connsiteY56" fmla="*/ 83544 h 606959"/>
                <a:gd name="connsiteX57" fmla="*/ 332581 w 411168"/>
                <a:gd name="connsiteY57" fmla="*/ 54576 h 606959"/>
                <a:gd name="connsiteX58" fmla="*/ 330720 w 411168"/>
                <a:gd name="connsiteY58" fmla="*/ 50054 h 606959"/>
                <a:gd name="connsiteX59" fmla="*/ 330720 w 411168"/>
                <a:gd name="connsiteY59" fmla="*/ 18063 h 606959"/>
                <a:gd name="connsiteX60" fmla="*/ 330840 w 411168"/>
                <a:gd name="connsiteY60" fmla="*/ 16806 h 606959"/>
                <a:gd name="connsiteX61" fmla="*/ 332581 w 411168"/>
                <a:gd name="connsiteY61" fmla="*/ 13565 h 606959"/>
                <a:gd name="connsiteX62" fmla="*/ 346147 w 411168"/>
                <a:gd name="connsiteY62" fmla="*/ 0 h 606959"/>
                <a:gd name="connsiteX63" fmla="*/ 321168 w 411168"/>
                <a:gd name="connsiteY63" fmla="*/ 0 h 606959"/>
                <a:gd name="connsiteX64" fmla="*/ 285115 w 411168"/>
                <a:gd name="connsiteY64" fmla="*/ 36053 h 606959"/>
                <a:gd name="connsiteX65" fmla="*/ 280617 w 411168"/>
                <a:gd name="connsiteY65" fmla="*/ 37891 h 6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11168" h="606959">
                  <a:moveTo>
                    <a:pt x="280617" y="37891"/>
                  </a:moveTo>
                  <a:lnTo>
                    <a:pt x="272637" y="37891"/>
                  </a:lnTo>
                  <a:lnTo>
                    <a:pt x="248602" y="61951"/>
                  </a:lnTo>
                  <a:lnTo>
                    <a:pt x="248602" y="175963"/>
                  </a:lnTo>
                  <a:cubicBezTo>
                    <a:pt x="248602" y="177631"/>
                    <a:pt x="247949" y="179252"/>
                    <a:pt x="246764" y="180461"/>
                  </a:cubicBezTo>
                  <a:lnTo>
                    <a:pt x="227299" y="199902"/>
                  </a:lnTo>
                  <a:lnTo>
                    <a:pt x="227299" y="231288"/>
                  </a:lnTo>
                  <a:lnTo>
                    <a:pt x="257815" y="261804"/>
                  </a:lnTo>
                  <a:cubicBezTo>
                    <a:pt x="259072" y="263038"/>
                    <a:pt x="259677" y="264682"/>
                    <a:pt x="259677" y="266302"/>
                  </a:cubicBezTo>
                  <a:cubicBezTo>
                    <a:pt x="259677" y="267922"/>
                    <a:pt x="259072" y="269542"/>
                    <a:pt x="257815" y="270800"/>
                  </a:cubicBezTo>
                  <a:lnTo>
                    <a:pt x="228169" y="300469"/>
                  </a:lnTo>
                  <a:cubicBezTo>
                    <a:pt x="226960" y="301654"/>
                    <a:pt x="225364" y="302331"/>
                    <a:pt x="223647" y="302331"/>
                  </a:cubicBezTo>
                  <a:lnTo>
                    <a:pt x="190399" y="302331"/>
                  </a:lnTo>
                  <a:cubicBezTo>
                    <a:pt x="188706" y="302331"/>
                    <a:pt x="187086" y="301654"/>
                    <a:pt x="185877" y="300469"/>
                  </a:cubicBezTo>
                  <a:lnTo>
                    <a:pt x="174343" y="288911"/>
                  </a:lnTo>
                  <a:lnTo>
                    <a:pt x="155216" y="288911"/>
                  </a:lnTo>
                  <a:lnTo>
                    <a:pt x="88743" y="355384"/>
                  </a:lnTo>
                  <a:cubicBezTo>
                    <a:pt x="87873" y="356278"/>
                    <a:pt x="86736" y="356883"/>
                    <a:pt x="85527" y="357125"/>
                  </a:cubicBezTo>
                  <a:cubicBezTo>
                    <a:pt x="85092" y="357197"/>
                    <a:pt x="84681" y="357246"/>
                    <a:pt x="84246" y="357246"/>
                  </a:cubicBezTo>
                  <a:lnTo>
                    <a:pt x="45895" y="357246"/>
                  </a:lnTo>
                  <a:lnTo>
                    <a:pt x="34192" y="368973"/>
                  </a:lnTo>
                  <a:lnTo>
                    <a:pt x="34192" y="418955"/>
                  </a:lnTo>
                  <a:cubicBezTo>
                    <a:pt x="34192" y="420623"/>
                    <a:pt x="33514" y="422268"/>
                    <a:pt x="32330" y="423452"/>
                  </a:cubicBezTo>
                  <a:lnTo>
                    <a:pt x="0" y="455758"/>
                  </a:lnTo>
                  <a:lnTo>
                    <a:pt x="19465" y="475223"/>
                  </a:lnTo>
                  <a:cubicBezTo>
                    <a:pt x="20675" y="476408"/>
                    <a:pt x="21352" y="478028"/>
                    <a:pt x="21352" y="479721"/>
                  </a:cubicBezTo>
                  <a:lnTo>
                    <a:pt x="21352" y="552070"/>
                  </a:lnTo>
                  <a:lnTo>
                    <a:pt x="76242" y="606960"/>
                  </a:lnTo>
                  <a:lnTo>
                    <a:pt x="97956" y="585246"/>
                  </a:lnTo>
                  <a:cubicBezTo>
                    <a:pt x="99141" y="584061"/>
                    <a:pt x="100761" y="583384"/>
                    <a:pt x="102454" y="583384"/>
                  </a:cubicBezTo>
                  <a:lnTo>
                    <a:pt x="134808" y="583384"/>
                  </a:lnTo>
                  <a:lnTo>
                    <a:pt x="181742" y="536449"/>
                  </a:lnTo>
                  <a:lnTo>
                    <a:pt x="159496" y="514203"/>
                  </a:lnTo>
                  <a:cubicBezTo>
                    <a:pt x="158287" y="513018"/>
                    <a:pt x="157634" y="511398"/>
                    <a:pt x="157634" y="509705"/>
                  </a:cubicBezTo>
                  <a:cubicBezTo>
                    <a:pt x="157634" y="508012"/>
                    <a:pt x="158287" y="506392"/>
                    <a:pt x="159496" y="505207"/>
                  </a:cubicBezTo>
                  <a:lnTo>
                    <a:pt x="199781" y="464922"/>
                  </a:lnTo>
                  <a:cubicBezTo>
                    <a:pt x="201667" y="463036"/>
                    <a:pt x="204375" y="462577"/>
                    <a:pt x="206697" y="463520"/>
                  </a:cubicBezTo>
                  <a:cubicBezTo>
                    <a:pt x="207422" y="463834"/>
                    <a:pt x="208172" y="464294"/>
                    <a:pt x="208800" y="464922"/>
                  </a:cubicBezTo>
                  <a:lnTo>
                    <a:pt x="251044" y="507166"/>
                  </a:lnTo>
                  <a:lnTo>
                    <a:pt x="282140" y="476070"/>
                  </a:lnTo>
                  <a:cubicBezTo>
                    <a:pt x="283350" y="474885"/>
                    <a:pt x="284970" y="474208"/>
                    <a:pt x="286662" y="474208"/>
                  </a:cubicBezTo>
                  <a:lnTo>
                    <a:pt x="303395" y="474208"/>
                  </a:lnTo>
                  <a:lnTo>
                    <a:pt x="349822" y="427805"/>
                  </a:lnTo>
                  <a:lnTo>
                    <a:pt x="401738" y="375889"/>
                  </a:lnTo>
                  <a:lnTo>
                    <a:pt x="395475" y="369626"/>
                  </a:lnTo>
                  <a:cubicBezTo>
                    <a:pt x="394557" y="368731"/>
                    <a:pt x="393952" y="367595"/>
                    <a:pt x="393734" y="366362"/>
                  </a:cubicBezTo>
                  <a:cubicBezTo>
                    <a:pt x="393638" y="365951"/>
                    <a:pt x="393589" y="365540"/>
                    <a:pt x="393589" y="365104"/>
                  </a:cubicBezTo>
                  <a:lnTo>
                    <a:pt x="393589" y="335483"/>
                  </a:lnTo>
                  <a:cubicBezTo>
                    <a:pt x="393589" y="331953"/>
                    <a:pt x="396443" y="329099"/>
                    <a:pt x="399973" y="329099"/>
                  </a:cubicBezTo>
                  <a:lnTo>
                    <a:pt x="411169" y="329099"/>
                  </a:lnTo>
                  <a:lnTo>
                    <a:pt x="411169" y="297495"/>
                  </a:lnTo>
                  <a:lnTo>
                    <a:pt x="377920" y="264247"/>
                  </a:lnTo>
                  <a:cubicBezTo>
                    <a:pt x="376735" y="263038"/>
                    <a:pt x="376034" y="261442"/>
                    <a:pt x="376034" y="259749"/>
                  </a:cubicBezTo>
                  <a:lnTo>
                    <a:pt x="376034" y="162954"/>
                  </a:lnTo>
                  <a:lnTo>
                    <a:pt x="363412" y="150307"/>
                  </a:lnTo>
                  <a:cubicBezTo>
                    <a:pt x="362203" y="149122"/>
                    <a:pt x="361550" y="147502"/>
                    <a:pt x="361550" y="145810"/>
                  </a:cubicBezTo>
                  <a:lnTo>
                    <a:pt x="361550" y="83544"/>
                  </a:lnTo>
                  <a:lnTo>
                    <a:pt x="332581" y="54576"/>
                  </a:lnTo>
                  <a:cubicBezTo>
                    <a:pt x="331397" y="53367"/>
                    <a:pt x="330720" y="51747"/>
                    <a:pt x="330720" y="50054"/>
                  </a:cubicBezTo>
                  <a:lnTo>
                    <a:pt x="330720" y="18063"/>
                  </a:lnTo>
                  <a:cubicBezTo>
                    <a:pt x="330720" y="17628"/>
                    <a:pt x="330768" y="17217"/>
                    <a:pt x="330840" y="16806"/>
                  </a:cubicBezTo>
                  <a:cubicBezTo>
                    <a:pt x="331082" y="15597"/>
                    <a:pt x="331711" y="14436"/>
                    <a:pt x="332581" y="13565"/>
                  </a:cubicBezTo>
                  <a:lnTo>
                    <a:pt x="346147" y="0"/>
                  </a:lnTo>
                  <a:lnTo>
                    <a:pt x="321168" y="0"/>
                  </a:lnTo>
                  <a:lnTo>
                    <a:pt x="285115" y="36053"/>
                  </a:lnTo>
                  <a:cubicBezTo>
                    <a:pt x="283930" y="37238"/>
                    <a:pt x="282286" y="37891"/>
                    <a:pt x="280617" y="37891"/>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0" name="Forma Livre: Forma 29">
              <a:extLst>
                <a:ext uri="{FF2B5EF4-FFF2-40B4-BE49-F238E27FC236}">
                  <a16:creationId xmlns:a16="http://schemas.microsoft.com/office/drawing/2014/main" id="{9D88BF88-BB78-375F-9D91-DEAFFAFBB599}"/>
                </a:ext>
              </a:extLst>
            </p:cNvPr>
            <p:cNvSpPr/>
            <p:nvPr>
              <p:custDataLst>
                <p:tags r:id="rId112"/>
              </p:custDataLst>
            </p:nvPr>
          </p:nvSpPr>
          <p:spPr>
            <a:xfrm>
              <a:off x="4797506" y="1447949"/>
              <a:ext cx="320128" cy="607467"/>
            </a:xfrm>
            <a:custGeom>
              <a:avLst/>
              <a:gdLst>
                <a:gd name="connsiteX0" fmla="*/ 320128 w 320128"/>
                <a:gd name="connsiteY0" fmla="*/ 394411 h 607467"/>
                <a:gd name="connsiteX1" fmla="*/ 269591 w 320128"/>
                <a:gd name="connsiteY1" fmla="*/ 343898 h 607467"/>
                <a:gd name="connsiteX2" fmla="*/ 267753 w 320128"/>
                <a:gd name="connsiteY2" fmla="*/ 339400 h 607467"/>
                <a:gd name="connsiteX3" fmla="*/ 269591 w 320128"/>
                <a:gd name="connsiteY3" fmla="*/ 334903 h 607467"/>
                <a:gd name="connsiteX4" fmla="*/ 279166 w 320128"/>
                <a:gd name="connsiteY4" fmla="*/ 325327 h 607467"/>
                <a:gd name="connsiteX5" fmla="*/ 239752 w 320128"/>
                <a:gd name="connsiteY5" fmla="*/ 285888 h 607467"/>
                <a:gd name="connsiteX6" fmla="*/ 239752 w 320128"/>
                <a:gd name="connsiteY6" fmla="*/ 276893 h 607467"/>
                <a:gd name="connsiteX7" fmla="*/ 301896 w 320128"/>
                <a:gd name="connsiteY7" fmla="*/ 214749 h 607467"/>
                <a:gd name="connsiteX8" fmla="*/ 280883 w 320128"/>
                <a:gd name="connsiteY8" fmla="*/ 193760 h 607467"/>
                <a:gd name="connsiteX9" fmla="*/ 266133 w 320128"/>
                <a:gd name="connsiteY9" fmla="*/ 208534 h 607467"/>
                <a:gd name="connsiteX10" fmla="*/ 257137 w 320128"/>
                <a:gd name="connsiteY10" fmla="*/ 208534 h 607467"/>
                <a:gd name="connsiteX11" fmla="*/ 195718 w 320128"/>
                <a:gd name="connsiteY11" fmla="*/ 147091 h 607467"/>
                <a:gd name="connsiteX12" fmla="*/ 194921 w 320128"/>
                <a:gd name="connsiteY12" fmla="*/ 146100 h 607467"/>
                <a:gd name="connsiteX13" fmla="*/ 194534 w 320128"/>
                <a:gd name="connsiteY13" fmla="*/ 145399 h 607467"/>
                <a:gd name="connsiteX14" fmla="*/ 194316 w 320128"/>
                <a:gd name="connsiteY14" fmla="*/ 145012 h 607467"/>
                <a:gd name="connsiteX15" fmla="*/ 194074 w 320128"/>
                <a:gd name="connsiteY15" fmla="*/ 144165 h 607467"/>
                <a:gd name="connsiteX16" fmla="*/ 193953 w 320128"/>
                <a:gd name="connsiteY16" fmla="*/ 143803 h 607467"/>
                <a:gd name="connsiteX17" fmla="*/ 193832 w 320128"/>
                <a:gd name="connsiteY17" fmla="*/ 142569 h 607467"/>
                <a:gd name="connsiteX18" fmla="*/ 193832 w 320128"/>
                <a:gd name="connsiteY18" fmla="*/ 142569 h 607467"/>
                <a:gd name="connsiteX19" fmla="*/ 193953 w 320128"/>
                <a:gd name="connsiteY19" fmla="*/ 141336 h 607467"/>
                <a:gd name="connsiteX20" fmla="*/ 194074 w 320128"/>
                <a:gd name="connsiteY20" fmla="*/ 140973 h 607467"/>
                <a:gd name="connsiteX21" fmla="*/ 194316 w 320128"/>
                <a:gd name="connsiteY21" fmla="*/ 140151 h 607467"/>
                <a:gd name="connsiteX22" fmla="*/ 194558 w 320128"/>
                <a:gd name="connsiteY22" fmla="*/ 139716 h 607467"/>
                <a:gd name="connsiteX23" fmla="*/ 194921 w 320128"/>
                <a:gd name="connsiteY23" fmla="*/ 139063 h 607467"/>
                <a:gd name="connsiteX24" fmla="*/ 195718 w 320128"/>
                <a:gd name="connsiteY24" fmla="*/ 138072 h 607467"/>
                <a:gd name="connsiteX25" fmla="*/ 214120 w 320128"/>
                <a:gd name="connsiteY25" fmla="*/ 119670 h 607467"/>
                <a:gd name="connsiteX26" fmla="*/ 214120 w 320128"/>
                <a:gd name="connsiteY26" fmla="*/ 30879 h 607467"/>
                <a:gd name="connsiteX27" fmla="*/ 183241 w 320128"/>
                <a:gd name="connsiteY27" fmla="*/ 0 h 607467"/>
                <a:gd name="connsiteX28" fmla="*/ 157900 w 320128"/>
                <a:gd name="connsiteY28" fmla="*/ 0 h 607467"/>
                <a:gd name="connsiteX29" fmla="*/ 187570 w 320128"/>
                <a:gd name="connsiteY29" fmla="*/ 29670 h 607467"/>
                <a:gd name="connsiteX30" fmla="*/ 189311 w 320128"/>
                <a:gd name="connsiteY30" fmla="*/ 32910 h 607467"/>
                <a:gd name="connsiteX31" fmla="*/ 189432 w 320128"/>
                <a:gd name="connsiteY31" fmla="*/ 34167 h 607467"/>
                <a:gd name="connsiteX32" fmla="*/ 187570 w 320128"/>
                <a:gd name="connsiteY32" fmla="*/ 38665 h 607467"/>
                <a:gd name="connsiteX33" fmla="*/ 104315 w 320128"/>
                <a:gd name="connsiteY33" fmla="*/ 121943 h 607467"/>
                <a:gd name="connsiteX34" fmla="*/ 104315 w 320128"/>
                <a:gd name="connsiteY34" fmla="*/ 153838 h 607467"/>
                <a:gd name="connsiteX35" fmla="*/ 103904 w 320128"/>
                <a:gd name="connsiteY35" fmla="*/ 155990 h 607467"/>
                <a:gd name="connsiteX36" fmla="*/ 103808 w 320128"/>
                <a:gd name="connsiteY36" fmla="*/ 156256 h 607467"/>
                <a:gd name="connsiteX37" fmla="*/ 103711 w 320128"/>
                <a:gd name="connsiteY37" fmla="*/ 156473 h 607467"/>
                <a:gd name="connsiteX38" fmla="*/ 102429 w 320128"/>
                <a:gd name="connsiteY38" fmla="*/ 158311 h 607467"/>
                <a:gd name="connsiteX39" fmla="*/ 85721 w 320128"/>
                <a:gd name="connsiteY39" fmla="*/ 175020 h 607467"/>
                <a:gd name="connsiteX40" fmla="*/ 94691 w 320128"/>
                <a:gd name="connsiteY40" fmla="*/ 183991 h 607467"/>
                <a:gd name="connsiteX41" fmla="*/ 96433 w 320128"/>
                <a:gd name="connsiteY41" fmla="*/ 187231 h 607467"/>
                <a:gd name="connsiteX42" fmla="*/ 96553 w 320128"/>
                <a:gd name="connsiteY42" fmla="*/ 188489 h 607467"/>
                <a:gd name="connsiteX43" fmla="*/ 96553 w 320128"/>
                <a:gd name="connsiteY43" fmla="*/ 240598 h 607467"/>
                <a:gd name="connsiteX44" fmla="*/ 94691 w 320128"/>
                <a:gd name="connsiteY44" fmla="*/ 245096 h 607467"/>
                <a:gd name="connsiteX45" fmla="*/ 23383 w 320128"/>
                <a:gd name="connsiteY45" fmla="*/ 316429 h 607467"/>
                <a:gd name="connsiteX46" fmla="*/ 23383 w 320128"/>
                <a:gd name="connsiteY46" fmla="*/ 336281 h 607467"/>
                <a:gd name="connsiteX47" fmla="*/ 23383 w 320128"/>
                <a:gd name="connsiteY47" fmla="*/ 366507 h 607467"/>
                <a:gd name="connsiteX48" fmla="*/ 23262 w 320128"/>
                <a:gd name="connsiteY48" fmla="*/ 367764 h 607467"/>
                <a:gd name="connsiteX49" fmla="*/ 21545 w 320128"/>
                <a:gd name="connsiteY49" fmla="*/ 371004 h 607467"/>
                <a:gd name="connsiteX50" fmla="*/ 0 w 320128"/>
                <a:gd name="connsiteY50" fmla="*/ 392525 h 607467"/>
                <a:gd name="connsiteX51" fmla="*/ 0 w 320128"/>
                <a:gd name="connsiteY51" fmla="*/ 532943 h 607467"/>
                <a:gd name="connsiteX52" fmla="*/ 74549 w 320128"/>
                <a:gd name="connsiteY52" fmla="*/ 607468 h 607467"/>
                <a:gd name="connsiteX53" fmla="*/ 74549 w 320128"/>
                <a:gd name="connsiteY53" fmla="*/ 587083 h 607467"/>
                <a:gd name="connsiteX54" fmla="*/ 80908 w 320128"/>
                <a:gd name="connsiteY54" fmla="*/ 580724 h 607467"/>
                <a:gd name="connsiteX55" fmla="*/ 139160 w 320128"/>
                <a:gd name="connsiteY55" fmla="*/ 580724 h 607467"/>
                <a:gd name="connsiteX56" fmla="*/ 145519 w 320128"/>
                <a:gd name="connsiteY56" fmla="*/ 587083 h 607467"/>
                <a:gd name="connsiteX57" fmla="*/ 145519 w 320128"/>
                <a:gd name="connsiteY57" fmla="*/ 603744 h 607467"/>
                <a:gd name="connsiteX58" fmla="*/ 254671 w 320128"/>
                <a:gd name="connsiteY58" fmla="*/ 603744 h 607467"/>
                <a:gd name="connsiteX59" fmla="*/ 277038 w 320128"/>
                <a:gd name="connsiteY59" fmla="*/ 581377 h 607467"/>
                <a:gd name="connsiteX60" fmla="*/ 281584 w 320128"/>
                <a:gd name="connsiteY60" fmla="*/ 579491 h 607467"/>
                <a:gd name="connsiteX61" fmla="*/ 304266 w 320128"/>
                <a:gd name="connsiteY61" fmla="*/ 579491 h 607467"/>
                <a:gd name="connsiteX62" fmla="*/ 304266 w 320128"/>
                <a:gd name="connsiteY62" fmla="*/ 491255 h 607467"/>
                <a:gd name="connsiteX63" fmla="*/ 268309 w 320128"/>
                <a:gd name="connsiteY63" fmla="*/ 455274 h 607467"/>
                <a:gd name="connsiteX64" fmla="*/ 268309 w 320128"/>
                <a:gd name="connsiteY64" fmla="*/ 446255 h 607467"/>
                <a:gd name="connsiteX65" fmla="*/ 320128 w 320128"/>
                <a:gd name="connsiteY65" fmla="*/ 394411 h 6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20128" h="607467">
                  <a:moveTo>
                    <a:pt x="320128" y="394411"/>
                  </a:moveTo>
                  <a:lnTo>
                    <a:pt x="269591" y="343898"/>
                  </a:lnTo>
                  <a:cubicBezTo>
                    <a:pt x="268406" y="342713"/>
                    <a:pt x="267753" y="341093"/>
                    <a:pt x="267753" y="339400"/>
                  </a:cubicBezTo>
                  <a:cubicBezTo>
                    <a:pt x="267753" y="337708"/>
                    <a:pt x="268406" y="336112"/>
                    <a:pt x="269591" y="334903"/>
                  </a:cubicBezTo>
                  <a:lnTo>
                    <a:pt x="279166" y="325327"/>
                  </a:lnTo>
                  <a:lnTo>
                    <a:pt x="239752" y="285888"/>
                  </a:lnTo>
                  <a:cubicBezTo>
                    <a:pt x="237261" y="283398"/>
                    <a:pt x="237261" y="279384"/>
                    <a:pt x="239752" y="276893"/>
                  </a:cubicBezTo>
                  <a:lnTo>
                    <a:pt x="301896" y="214749"/>
                  </a:lnTo>
                  <a:lnTo>
                    <a:pt x="280883" y="193760"/>
                  </a:lnTo>
                  <a:lnTo>
                    <a:pt x="266133" y="208534"/>
                  </a:lnTo>
                  <a:cubicBezTo>
                    <a:pt x="263642" y="211025"/>
                    <a:pt x="259604" y="211025"/>
                    <a:pt x="257137" y="208534"/>
                  </a:cubicBezTo>
                  <a:lnTo>
                    <a:pt x="195718" y="147091"/>
                  </a:lnTo>
                  <a:cubicBezTo>
                    <a:pt x="195404" y="146801"/>
                    <a:pt x="195138" y="146462"/>
                    <a:pt x="194921" y="146100"/>
                  </a:cubicBezTo>
                  <a:cubicBezTo>
                    <a:pt x="194775" y="145882"/>
                    <a:pt x="194655" y="145640"/>
                    <a:pt x="194534" y="145399"/>
                  </a:cubicBezTo>
                  <a:cubicBezTo>
                    <a:pt x="194461" y="145253"/>
                    <a:pt x="194389" y="145133"/>
                    <a:pt x="194316" y="145012"/>
                  </a:cubicBezTo>
                  <a:cubicBezTo>
                    <a:pt x="194195" y="144721"/>
                    <a:pt x="194123" y="144455"/>
                    <a:pt x="194074" y="144165"/>
                  </a:cubicBezTo>
                  <a:cubicBezTo>
                    <a:pt x="194026" y="144044"/>
                    <a:pt x="193978" y="143948"/>
                    <a:pt x="193953" y="143803"/>
                  </a:cubicBezTo>
                  <a:cubicBezTo>
                    <a:pt x="193881" y="143392"/>
                    <a:pt x="193832" y="142980"/>
                    <a:pt x="193832" y="142569"/>
                  </a:cubicBezTo>
                  <a:lnTo>
                    <a:pt x="193832" y="142569"/>
                  </a:lnTo>
                  <a:cubicBezTo>
                    <a:pt x="193832" y="142158"/>
                    <a:pt x="193881" y="141747"/>
                    <a:pt x="193953" y="141336"/>
                  </a:cubicBezTo>
                  <a:cubicBezTo>
                    <a:pt x="193978" y="141215"/>
                    <a:pt x="194050" y="141119"/>
                    <a:pt x="194074" y="140973"/>
                  </a:cubicBezTo>
                  <a:cubicBezTo>
                    <a:pt x="194123" y="140708"/>
                    <a:pt x="194195" y="140417"/>
                    <a:pt x="194316" y="140151"/>
                  </a:cubicBezTo>
                  <a:cubicBezTo>
                    <a:pt x="194389" y="140006"/>
                    <a:pt x="194461" y="139861"/>
                    <a:pt x="194558" y="139716"/>
                  </a:cubicBezTo>
                  <a:cubicBezTo>
                    <a:pt x="194679" y="139498"/>
                    <a:pt x="194775" y="139257"/>
                    <a:pt x="194921" y="139063"/>
                  </a:cubicBezTo>
                  <a:cubicBezTo>
                    <a:pt x="195138" y="138701"/>
                    <a:pt x="195428" y="138386"/>
                    <a:pt x="195718" y="138072"/>
                  </a:cubicBezTo>
                  <a:lnTo>
                    <a:pt x="214120" y="119670"/>
                  </a:lnTo>
                  <a:lnTo>
                    <a:pt x="214120" y="30879"/>
                  </a:lnTo>
                  <a:lnTo>
                    <a:pt x="183241" y="0"/>
                  </a:lnTo>
                  <a:lnTo>
                    <a:pt x="157900" y="0"/>
                  </a:lnTo>
                  <a:lnTo>
                    <a:pt x="187570" y="29670"/>
                  </a:lnTo>
                  <a:cubicBezTo>
                    <a:pt x="188464" y="30564"/>
                    <a:pt x="189093" y="31701"/>
                    <a:pt x="189311" y="32910"/>
                  </a:cubicBezTo>
                  <a:cubicBezTo>
                    <a:pt x="189407" y="33321"/>
                    <a:pt x="189432" y="33756"/>
                    <a:pt x="189432" y="34167"/>
                  </a:cubicBezTo>
                  <a:cubicBezTo>
                    <a:pt x="189432" y="35860"/>
                    <a:pt x="188779" y="37480"/>
                    <a:pt x="187570" y="38665"/>
                  </a:cubicBezTo>
                  <a:lnTo>
                    <a:pt x="104315" y="121943"/>
                  </a:lnTo>
                  <a:lnTo>
                    <a:pt x="104315" y="153838"/>
                  </a:lnTo>
                  <a:cubicBezTo>
                    <a:pt x="104315" y="154587"/>
                    <a:pt x="104146" y="155313"/>
                    <a:pt x="103904" y="155990"/>
                  </a:cubicBezTo>
                  <a:cubicBezTo>
                    <a:pt x="103856" y="156086"/>
                    <a:pt x="103856" y="156159"/>
                    <a:pt x="103808" y="156256"/>
                  </a:cubicBezTo>
                  <a:cubicBezTo>
                    <a:pt x="103784" y="156328"/>
                    <a:pt x="103735" y="156401"/>
                    <a:pt x="103711" y="156473"/>
                  </a:cubicBezTo>
                  <a:cubicBezTo>
                    <a:pt x="103397" y="157150"/>
                    <a:pt x="102985" y="157779"/>
                    <a:pt x="102429" y="158311"/>
                  </a:cubicBezTo>
                  <a:lnTo>
                    <a:pt x="85721" y="175020"/>
                  </a:lnTo>
                  <a:lnTo>
                    <a:pt x="94691" y="183991"/>
                  </a:lnTo>
                  <a:cubicBezTo>
                    <a:pt x="95610" y="184886"/>
                    <a:pt x="96215" y="186022"/>
                    <a:pt x="96433" y="187231"/>
                  </a:cubicBezTo>
                  <a:cubicBezTo>
                    <a:pt x="96505" y="187642"/>
                    <a:pt x="96553" y="188053"/>
                    <a:pt x="96553" y="188489"/>
                  </a:cubicBezTo>
                  <a:lnTo>
                    <a:pt x="96553" y="240598"/>
                  </a:lnTo>
                  <a:cubicBezTo>
                    <a:pt x="96553" y="242266"/>
                    <a:pt x="95901" y="243887"/>
                    <a:pt x="94691" y="245096"/>
                  </a:cubicBezTo>
                  <a:lnTo>
                    <a:pt x="23383" y="316429"/>
                  </a:lnTo>
                  <a:lnTo>
                    <a:pt x="23383" y="336281"/>
                  </a:lnTo>
                  <a:lnTo>
                    <a:pt x="23383" y="366507"/>
                  </a:lnTo>
                  <a:cubicBezTo>
                    <a:pt x="23383" y="366918"/>
                    <a:pt x="23358" y="367353"/>
                    <a:pt x="23262" y="367764"/>
                  </a:cubicBezTo>
                  <a:cubicBezTo>
                    <a:pt x="22996" y="368973"/>
                    <a:pt x="22415" y="370110"/>
                    <a:pt x="21545" y="371004"/>
                  </a:cubicBezTo>
                  <a:lnTo>
                    <a:pt x="0" y="392525"/>
                  </a:lnTo>
                  <a:lnTo>
                    <a:pt x="0" y="532943"/>
                  </a:lnTo>
                  <a:lnTo>
                    <a:pt x="74549" y="607468"/>
                  </a:lnTo>
                  <a:lnTo>
                    <a:pt x="74549" y="587083"/>
                  </a:lnTo>
                  <a:cubicBezTo>
                    <a:pt x="74549" y="583553"/>
                    <a:pt x="77378" y="580724"/>
                    <a:pt x="80908" y="580724"/>
                  </a:cubicBezTo>
                  <a:lnTo>
                    <a:pt x="139160" y="580724"/>
                  </a:lnTo>
                  <a:cubicBezTo>
                    <a:pt x="142666" y="580724"/>
                    <a:pt x="145519" y="583577"/>
                    <a:pt x="145519" y="587083"/>
                  </a:cubicBezTo>
                  <a:lnTo>
                    <a:pt x="145519" y="603744"/>
                  </a:lnTo>
                  <a:lnTo>
                    <a:pt x="254671" y="603744"/>
                  </a:lnTo>
                  <a:lnTo>
                    <a:pt x="277038" y="581377"/>
                  </a:lnTo>
                  <a:cubicBezTo>
                    <a:pt x="278247" y="580168"/>
                    <a:pt x="279843" y="579491"/>
                    <a:pt x="281584" y="579491"/>
                  </a:cubicBezTo>
                  <a:lnTo>
                    <a:pt x="304266" y="579491"/>
                  </a:lnTo>
                  <a:lnTo>
                    <a:pt x="304266" y="491255"/>
                  </a:lnTo>
                  <a:lnTo>
                    <a:pt x="268309" y="455274"/>
                  </a:lnTo>
                  <a:cubicBezTo>
                    <a:pt x="265794" y="452784"/>
                    <a:pt x="265794" y="448745"/>
                    <a:pt x="268309" y="446255"/>
                  </a:cubicBezTo>
                  <a:lnTo>
                    <a:pt x="320128" y="39441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1" name="Forma Livre: Forma 30">
              <a:extLst>
                <a:ext uri="{FF2B5EF4-FFF2-40B4-BE49-F238E27FC236}">
                  <a16:creationId xmlns:a16="http://schemas.microsoft.com/office/drawing/2014/main" id="{452C2FDA-B81C-54B1-2EFD-D27F2E17775B}"/>
                </a:ext>
              </a:extLst>
            </p:cNvPr>
            <p:cNvSpPr/>
            <p:nvPr>
              <p:custDataLst>
                <p:tags r:id="rId113"/>
              </p:custDataLst>
            </p:nvPr>
          </p:nvSpPr>
          <p:spPr>
            <a:xfrm>
              <a:off x="4760291" y="2134125"/>
              <a:ext cx="820717" cy="661076"/>
            </a:xfrm>
            <a:custGeom>
              <a:avLst/>
              <a:gdLst>
                <a:gd name="connsiteX0" fmla="*/ 480809 w 820717"/>
                <a:gd name="connsiteY0" fmla="*/ 24 h 661076"/>
                <a:gd name="connsiteX1" fmla="*/ 402730 w 820717"/>
                <a:gd name="connsiteY1" fmla="*/ 78104 h 661076"/>
                <a:gd name="connsiteX2" fmla="*/ 398232 w 820717"/>
                <a:gd name="connsiteY2" fmla="*/ 79941 h 661076"/>
                <a:gd name="connsiteX3" fmla="*/ 368707 w 820717"/>
                <a:gd name="connsiteY3" fmla="*/ 79941 h 661076"/>
                <a:gd name="connsiteX4" fmla="*/ 362324 w 820717"/>
                <a:gd name="connsiteY4" fmla="*/ 73582 h 661076"/>
                <a:gd name="connsiteX5" fmla="*/ 362324 w 820717"/>
                <a:gd name="connsiteY5" fmla="*/ 43598 h 661076"/>
                <a:gd name="connsiteX6" fmla="*/ 333839 w 820717"/>
                <a:gd name="connsiteY6" fmla="*/ 43598 h 661076"/>
                <a:gd name="connsiteX7" fmla="*/ 333839 w 820717"/>
                <a:gd name="connsiteY7" fmla="*/ 62676 h 661076"/>
                <a:gd name="connsiteX8" fmla="*/ 333694 w 820717"/>
                <a:gd name="connsiteY8" fmla="*/ 63958 h 661076"/>
                <a:gd name="connsiteX9" fmla="*/ 327479 w 820717"/>
                <a:gd name="connsiteY9" fmla="*/ 69036 h 661076"/>
                <a:gd name="connsiteX10" fmla="*/ 303516 w 820717"/>
                <a:gd name="connsiteY10" fmla="*/ 69036 h 661076"/>
                <a:gd name="connsiteX11" fmla="*/ 303516 w 820717"/>
                <a:gd name="connsiteY11" fmla="*/ 134348 h 661076"/>
                <a:gd name="connsiteX12" fmla="*/ 303419 w 820717"/>
                <a:gd name="connsiteY12" fmla="*/ 135629 h 661076"/>
                <a:gd name="connsiteX13" fmla="*/ 297157 w 820717"/>
                <a:gd name="connsiteY13" fmla="*/ 140707 h 661076"/>
                <a:gd name="connsiteX14" fmla="*/ 275225 w 820717"/>
                <a:gd name="connsiteY14" fmla="*/ 140707 h 661076"/>
                <a:gd name="connsiteX15" fmla="*/ 275225 w 820717"/>
                <a:gd name="connsiteY15" fmla="*/ 195501 h 661076"/>
                <a:gd name="connsiteX16" fmla="*/ 291885 w 820717"/>
                <a:gd name="connsiteY16" fmla="*/ 212161 h 661076"/>
                <a:gd name="connsiteX17" fmla="*/ 293747 w 820717"/>
                <a:gd name="connsiteY17" fmla="*/ 216659 h 661076"/>
                <a:gd name="connsiteX18" fmla="*/ 291885 w 820717"/>
                <a:gd name="connsiteY18" fmla="*/ 221205 h 661076"/>
                <a:gd name="connsiteX19" fmla="*/ 261006 w 820717"/>
                <a:gd name="connsiteY19" fmla="*/ 252035 h 661076"/>
                <a:gd name="connsiteX20" fmla="*/ 267946 w 820717"/>
                <a:gd name="connsiteY20" fmla="*/ 252035 h 661076"/>
                <a:gd name="connsiteX21" fmla="*/ 274185 w 820717"/>
                <a:gd name="connsiteY21" fmla="*/ 257138 h 661076"/>
                <a:gd name="connsiteX22" fmla="*/ 274306 w 820717"/>
                <a:gd name="connsiteY22" fmla="*/ 258419 h 661076"/>
                <a:gd name="connsiteX23" fmla="*/ 274306 w 820717"/>
                <a:gd name="connsiteY23" fmla="*/ 288234 h 661076"/>
                <a:gd name="connsiteX24" fmla="*/ 272444 w 820717"/>
                <a:gd name="connsiteY24" fmla="*/ 292780 h 661076"/>
                <a:gd name="connsiteX25" fmla="*/ 222293 w 820717"/>
                <a:gd name="connsiteY25" fmla="*/ 342931 h 661076"/>
                <a:gd name="connsiteX26" fmla="*/ 221302 w 820717"/>
                <a:gd name="connsiteY26" fmla="*/ 343753 h 661076"/>
                <a:gd name="connsiteX27" fmla="*/ 217796 w 820717"/>
                <a:gd name="connsiteY27" fmla="*/ 344793 h 661076"/>
                <a:gd name="connsiteX28" fmla="*/ 213274 w 820717"/>
                <a:gd name="connsiteY28" fmla="*/ 342931 h 661076"/>
                <a:gd name="connsiteX29" fmla="*/ 199999 w 820717"/>
                <a:gd name="connsiteY29" fmla="*/ 329655 h 661076"/>
                <a:gd name="connsiteX30" fmla="*/ 142594 w 820717"/>
                <a:gd name="connsiteY30" fmla="*/ 329655 h 661076"/>
                <a:gd name="connsiteX31" fmla="*/ 124531 w 820717"/>
                <a:gd name="connsiteY31" fmla="*/ 347719 h 661076"/>
                <a:gd name="connsiteX32" fmla="*/ 120009 w 820717"/>
                <a:gd name="connsiteY32" fmla="*/ 349580 h 661076"/>
                <a:gd name="connsiteX33" fmla="*/ 57744 w 820717"/>
                <a:gd name="connsiteY33" fmla="*/ 349580 h 661076"/>
                <a:gd name="connsiteX34" fmla="*/ 0 w 820717"/>
                <a:gd name="connsiteY34" fmla="*/ 407324 h 661076"/>
                <a:gd name="connsiteX35" fmla="*/ 0 w 820717"/>
                <a:gd name="connsiteY35" fmla="*/ 439073 h 661076"/>
                <a:gd name="connsiteX36" fmla="*/ 7012 w 820717"/>
                <a:gd name="connsiteY36" fmla="*/ 432061 h 661076"/>
                <a:gd name="connsiteX37" fmla="*/ 11558 w 820717"/>
                <a:gd name="connsiteY37" fmla="*/ 430223 h 661076"/>
                <a:gd name="connsiteX38" fmla="*/ 104122 w 820717"/>
                <a:gd name="connsiteY38" fmla="*/ 430223 h 661076"/>
                <a:gd name="connsiteX39" fmla="*/ 105380 w 820717"/>
                <a:gd name="connsiteY39" fmla="*/ 430320 h 661076"/>
                <a:gd name="connsiteX40" fmla="*/ 108644 w 820717"/>
                <a:gd name="connsiteY40" fmla="*/ 432061 h 661076"/>
                <a:gd name="connsiteX41" fmla="*/ 135944 w 820717"/>
                <a:gd name="connsiteY41" fmla="*/ 459385 h 661076"/>
                <a:gd name="connsiteX42" fmla="*/ 147986 w 820717"/>
                <a:gd name="connsiteY42" fmla="*/ 447343 h 661076"/>
                <a:gd name="connsiteX43" fmla="*/ 152508 w 820717"/>
                <a:gd name="connsiteY43" fmla="*/ 445481 h 661076"/>
                <a:gd name="connsiteX44" fmla="*/ 213540 w 820717"/>
                <a:gd name="connsiteY44" fmla="*/ 445481 h 661076"/>
                <a:gd name="connsiteX45" fmla="*/ 221834 w 820717"/>
                <a:gd name="connsiteY45" fmla="*/ 437211 h 661076"/>
                <a:gd name="connsiteX46" fmla="*/ 226331 w 820717"/>
                <a:gd name="connsiteY46" fmla="*/ 435325 h 661076"/>
                <a:gd name="connsiteX47" fmla="*/ 254744 w 820717"/>
                <a:gd name="connsiteY47" fmla="*/ 435325 h 661076"/>
                <a:gd name="connsiteX48" fmla="*/ 259241 w 820717"/>
                <a:gd name="connsiteY48" fmla="*/ 437211 h 661076"/>
                <a:gd name="connsiteX49" fmla="*/ 279287 w 820717"/>
                <a:gd name="connsiteY49" fmla="*/ 457233 h 661076"/>
                <a:gd name="connsiteX50" fmla="*/ 281173 w 820717"/>
                <a:gd name="connsiteY50" fmla="*/ 461730 h 661076"/>
                <a:gd name="connsiteX51" fmla="*/ 281173 w 820717"/>
                <a:gd name="connsiteY51" fmla="*/ 482961 h 661076"/>
                <a:gd name="connsiteX52" fmla="*/ 288984 w 820717"/>
                <a:gd name="connsiteY52" fmla="*/ 490772 h 661076"/>
                <a:gd name="connsiteX53" fmla="*/ 290821 w 820717"/>
                <a:gd name="connsiteY53" fmla="*/ 495293 h 661076"/>
                <a:gd name="connsiteX54" fmla="*/ 288984 w 820717"/>
                <a:gd name="connsiteY54" fmla="*/ 499791 h 661076"/>
                <a:gd name="connsiteX55" fmla="*/ 278465 w 820717"/>
                <a:gd name="connsiteY55" fmla="*/ 510310 h 661076"/>
                <a:gd name="connsiteX56" fmla="*/ 278465 w 820717"/>
                <a:gd name="connsiteY56" fmla="*/ 550232 h 661076"/>
                <a:gd name="connsiteX57" fmla="*/ 328761 w 820717"/>
                <a:gd name="connsiteY57" fmla="*/ 550232 h 661076"/>
                <a:gd name="connsiteX58" fmla="*/ 329728 w 820717"/>
                <a:gd name="connsiteY58" fmla="*/ 550304 h 661076"/>
                <a:gd name="connsiteX59" fmla="*/ 334661 w 820717"/>
                <a:gd name="connsiteY59" fmla="*/ 554149 h 661076"/>
                <a:gd name="connsiteX60" fmla="*/ 333258 w 820717"/>
                <a:gd name="connsiteY60" fmla="*/ 561065 h 661076"/>
                <a:gd name="connsiteX61" fmla="*/ 313745 w 820717"/>
                <a:gd name="connsiteY61" fmla="*/ 580603 h 661076"/>
                <a:gd name="connsiteX62" fmla="*/ 313745 w 820717"/>
                <a:gd name="connsiteY62" fmla="*/ 613295 h 661076"/>
                <a:gd name="connsiteX63" fmla="*/ 339618 w 820717"/>
                <a:gd name="connsiteY63" fmla="*/ 639193 h 661076"/>
                <a:gd name="connsiteX64" fmla="*/ 341480 w 820717"/>
                <a:gd name="connsiteY64" fmla="*/ 643690 h 661076"/>
                <a:gd name="connsiteX65" fmla="*/ 341480 w 820717"/>
                <a:gd name="connsiteY65" fmla="*/ 661076 h 661076"/>
                <a:gd name="connsiteX66" fmla="*/ 371488 w 820717"/>
                <a:gd name="connsiteY66" fmla="*/ 661076 h 661076"/>
                <a:gd name="connsiteX67" fmla="*/ 389672 w 820717"/>
                <a:gd name="connsiteY67" fmla="*/ 642844 h 661076"/>
                <a:gd name="connsiteX68" fmla="*/ 394170 w 820717"/>
                <a:gd name="connsiteY68" fmla="*/ 641006 h 661076"/>
                <a:gd name="connsiteX69" fmla="*/ 436703 w 820717"/>
                <a:gd name="connsiteY69" fmla="*/ 641006 h 661076"/>
                <a:gd name="connsiteX70" fmla="*/ 453823 w 820717"/>
                <a:gd name="connsiteY70" fmla="*/ 623910 h 661076"/>
                <a:gd name="connsiteX71" fmla="*/ 462819 w 820717"/>
                <a:gd name="connsiteY71" fmla="*/ 623910 h 661076"/>
                <a:gd name="connsiteX72" fmla="*/ 466276 w 820717"/>
                <a:gd name="connsiteY72" fmla="*/ 627368 h 661076"/>
                <a:gd name="connsiteX73" fmla="*/ 480761 w 820717"/>
                <a:gd name="connsiteY73" fmla="*/ 612908 h 661076"/>
                <a:gd name="connsiteX74" fmla="*/ 485258 w 820717"/>
                <a:gd name="connsiteY74" fmla="*/ 611022 h 661076"/>
                <a:gd name="connsiteX75" fmla="*/ 535820 w 820717"/>
                <a:gd name="connsiteY75" fmla="*/ 611022 h 661076"/>
                <a:gd name="connsiteX76" fmla="*/ 545347 w 820717"/>
                <a:gd name="connsiteY76" fmla="*/ 601495 h 661076"/>
                <a:gd name="connsiteX77" fmla="*/ 549845 w 820717"/>
                <a:gd name="connsiteY77" fmla="*/ 599633 h 661076"/>
                <a:gd name="connsiteX78" fmla="*/ 596731 w 820717"/>
                <a:gd name="connsiteY78" fmla="*/ 599633 h 661076"/>
                <a:gd name="connsiteX79" fmla="*/ 643158 w 820717"/>
                <a:gd name="connsiteY79" fmla="*/ 553230 h 661076"/>
                <a:gd name="connsiteX80" fmla="*/ 643158 w 820717"/>
                <a:gd name="connsiteY80" fmla="*/ 540777 h 661076"/>
                <a:gd name="connsiteX81" fmla="*/ 644996 w 820717"/>
                <a:gd name="connsiteY81" fmla="*/ 536255 h 661076"/>
                <a:gd name="connsiteX82" fmla="*/ 675657 w 820717"/>
                <a:gd name="connsiteY82" fmla="*/ 505594 h 661076"/>
                <a:gd name="connsiteX83" fmla="*/ 675657 w 820717"/>
                <a:gd name="connsiteY83" fmla="*/ 466301 h 661076"/>
                <a:gd name="connsiteX84" fmla="*/ 682041 w 820717"/>
                <a:gd name="connsiteY84" fmla="*/ 459917 h 661076"/>
                <a:gd name="connsiteX85" fmla="*/ 706512 w 820717"/>
                <a:gd name="connsiteY85" fmla="*/ 459917 h 661076"/>
                <a:gd name="connsiteX86" fmla="*/ 727646 w 820717"/>
                <a:gd name="connsiteY86" fmla="*/ 438759 h 661076"/>
                <a:gd name="connsiteX87" fmla="*/ 727646 w 820717"/>
                <a:gd name="connsiteY87" fmla="*/ 418616 h 661076"/>
                <a:gd name="connsiteX88" fmla="*/ 729508 w 820717"/>
                <a:gd name="connsiteY88" fmla="*/ 414119 h 661076"/>
                <a:gd name="connsiteX89" fmla="*/ 747329 w 820717"/>
                <a:gd name="connsiteY89" fmla="*/ 396297 h 661076"/>
                <a:gd name="connsiteX90" fmla="*/ 747329 w 820717"/>
                <a:gd name="connsiteY90" fmla="*/ 378138 h 661076"/>
                <a:gd name="connsiteX91" fmla="*/ 727283 w 820717"/>
                <a:gd name="connsiteY91" fmla="*/ 358092 h 661076"/>
                <a:gd name="connsiteX92" fmla="*/ 725397 w 820717"/>
                <a:gd name="connsiteY92" fmla="*/ 353594 h 661076"/>
                <a:gd name="connsiteX93" fmla="*/ 727283 w 820717"/>
                <a:gd name="connsiteY93" fmla="*/ 349073 h 661076"/>
                <a:gd name="connsiteX94" fmla="*/ 737028 w 820717"/>
                <a:gd name="connsiteY94" fmla="*/ 339328 h 661076"/>
                <a:gd name="connsiteX95" fmla="*/ 720392 w 820717"/>
                <a:gd name="connsiteY95" fmla="*/ 322691 h 661076"/>
                <a:gd name="connsiteX96" fmla="*/ 718530 w 820717"/>
                <a:gd name="connsiteY96" fmla="*/ 318194 h 661076"/>
                <a:gd name="connsiteX97" fmla="*/ 720392 w 820717"/>
                <a:gd name="connsiteY97" fmla="*/ 313672 h 661076"/>
                <a:gd name="connsiteX98" fmla="*/ 756542 w 820717"/>
                <a:gd name="connsiteY98" fmla="*/ 277522 h 661076"/>
                <a:gd name="connsiteX99" fmla="*/ 761039 w 820717"/>
                <a:gd name="connsiteY99" fmla="*/ 275684 h 661076"/>
                <a:gd name="connsiteX100" fmla="*/ 793441 w 820717"/>
                <a:gd name="connsiteY100" fmla="*/ 275684 h 661076"/>
                <a:gd name="connsiteX101" fmla="*/ 793441 w 820717"/>
                <a:gd name="connsiteY101" fmla="*/ 268527 h 661076"/>
                <a:gd name="connsiteX102" fmla="*/ 772573 w 820717"/>
                <a:gd name="connsiteY102" fmla="*/ 247635 h 661076"/>
                <a:gd name="connsiteX103" fmla="*/ 770712 w 820717"/>
                <a:gd name="connsiteY103" fmla="*/ 243137 h 661076"/>
                <a:gd name="connsiteX104" fmla="*/ 770712 w 820717"/>
                <a:gd name="connsiteY104" fmla="*/ 205439 h 661076"/>
                <a:gd name="connsiteX105" fmla="*/ 777095 w 820717"/>
                <a:gd name="connsiteY105" fmla="*/ 199080 h 661076"/>
                <a:gd name="connsiteX106" fmla="*/ 793272 w 820717"/>
                <a:gd name="connsiteY106" fmla="*/ 199080 h 661076"/>
                <a:gd name="connsiteX107" fmla="*/ 793272 w 820717"/>
                <a:gd name="connsiteY107" fmla="*/ 175890 h 661076"/>
                <a:gd name="connsiteX108" fmla="*/ 795134 w 820717"/>
                <a:gd name="connsiteY108" fmla="*/ 171393 h 661076"/>
                <a:gd name="connsiteX109" fmla="*/ 820717 w 820717"/>
                <a:gd name="connsiteY109" fmla="*/ 145810 h 661076"/>
                <a:gd name="connsiteX110" fmla="*/ 797213 w 820717"/>
                <a:gd name="connsiteY110" fmla="*/ 122306 h 661076"/>
                <a:gd name="connsiteX111" fmla="*/ 705907 w 820717"/>
                <a:gd name="connsiteY111" fmla="*/ 122306 h 661076"/>
                <a:gd name="connsiteX112" fmla="*/ 699644 w 820717"/>
                <a:gd name="connsiteY112" fmla="*/ 117228 h 661076"/>
                <a:gd name="connsiteX113" fmla="*/ 699524 w 820717"/>
                <a:gd name="connsiteY113" fmla="*/ 115922 h 661076"/>
                <a:gd name="connsiteX114" fmla="*/ 699524 w 820717"/>
                <a:gd name="connsiteY114" fmla="*/ 102042 h 661076"/>
                <a:gd name="connsiteX115" fmla="*/ 668258 w 820717"/>
                <a:gd name="connsiteY115" fmla="*/ 70753 h 661076"/>
                <a:gd name="connsiteX116" fmla="*/ 644924 w 820717"/>
                <a:gd name="connsiteY116" fmla="*/ 94087 h 661076"/>
                <a:gd name="connsiteX117" fmla="*/ 635904 w 820717"/>
                <a:gd name="connsiteY117" fmla="*/ 94087 h 661076"/>
                <a:gd name="connsiteX118" fmla="*/ 582876 w 820717"/>
                <a:gd name="connsiteY118" fmla="*/ 41035 h 661076"/>
                <a:gd name="connsiteX119" fmla="*/ 565248 w 820717"/>
                <a:gd name="connsiteY119" fmla="*/ 58662 h 661076"/>
                <a:gd name="connsiteX120" fmla="*/ 556253 w 820717"/>
                <a:gd name="connsiteY120" fmla="*/ 58662 h 661076"/>
                <a:gd name="connsiteX121" fmla="*/ 533983 w 820717"/>
                <a:gd name="connsiteY121" fmla="*/ 36392 h 661076"/>
                <a:gd name="connsiteX122" fmla="*/ 532096 w 820717"/>
                <a:gd name="connsiteY122" fmla="*/ 31894 h 661076"/>
                <a:gd name="connsiteX123" fmla="*/ 532096 w 820717"/>
                <a:gd name="connsiteY123" fmla="*/ 0 h 661076"/>
                <a:gd name="connsiteX124" fmla="*/ 480809 w 820717"/>
                <a:gd name="connsiteY124" fmla="*/ 0 h 66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820717" h="661076">
                  <a:moveTo>
                    <a:pt x="480809" y="24"/>
                  </a:moveTo>
                  <a:lnTo>
                    <a:pt x="402730" y="78104"/>
                  </a:lnTo>
                  <a:cubicBezTo>
                    <a:pt x="401545" y="79289"/>
                    <a:pt x="399925" y="79941"/>
                    <a:pt x="398232" y="79941"/>
                  </a:cubicBezTo>
                  <a:lnTo>
                    <a:pt x="368707" y="79941"/>
                  </a:lnTo>
                  <a:cubicBezTo>
                    <a:pt x="365177" y="79941"/>
                    <a:pt x="362324" y="77088"/>
                    <a:pt x="362324" y="73582"/>
                  </a:cubicBezTo>
                  <a:lnTo>
                    <a:pt x="362324" y="43598"/>
                  </a:lnTo>
                  <a:lnTo>
                    <a:pt x="333839" y="43598"/>
                  </a:lnTo>
                  <a:lnTo>
                    <a:pt x="333839" y="62676"/>
                  </a:lnTo>
                  <a:cubicBezTo>
                    <a:pt x="333839" y="63136"/>
                    <a:pt x="333790" y="63547"/>
                    <a:pt x="333694" y="63958"/>
                  </a:cubicBezTo>
                  <a:cubicBezTo>
                    <a:pt x="333113" y="66860"/>
                    <a:pt x="330526" y="69036"/>
                    <a:pt x="327479" y="69036"/>
                  </a:cubicBezTo>
                  <a:lnTo>
                    <a:pt x="303516" y="69036"/>
                  </a:lnTo>
                  <a:lnTo>
                    <a:pt x="303516" y="134348"/>
                  </a:lnTo>
                  <a:cubicBezTo>
                    <a:pt x="303516" y="134783"/>
                    <a:pt x="303492" y="135194"/>
                    <a:pt x="303419" y="135629"/>
                  </a:cubicBezTo>
                  <a:cubicBezTo>
                    <a:pt x="302815" y="138531"/>
                    <a:pt x="300252" y="140707"/>
                    <a:pt x="297157" y="140707"/>
                  </a:cubicBezTo>
                  <a:lnTo>
                    <a:pt x="275225" y="140707"/>
                  </a:lnTo>
                  <a:lnTo>
                    <a:pt x="275225" y="195501"/>
                  </a:lnTo>
                  <a:lnTo>
                    <a:pt x="291885" y="212161"/>
                  </a:lnTo>
                  <a:cubicBezTo>
                    <a:pt x="293094" y="213371"/>
                    <a:pt x="293747" y="214967"/>
                    <a:pt x="293747" y="216659"/>
                  </a:cubicBezTo>
                  <a:cubicBezTo>
                    <a:pt x="293747" y="218376"/>
                    <a:pt x="293094" y="219996"/>
                    <a:pt x="291885" y="221205"/>
                  </a:cubicBezTo>
                  <a:lnTo>
                    <a:pt x="261006" y="252035"/>
                  </a:lnTo>
                  <a:lnTo>
                    <a:pt x="267946" y="252035"/>
                  </a:lnTo>
                  <a:cubicBezTo>
                    <a:pt x="271017" y="252035"/>
                    <a:pt x="273580" y="254236"/>
                    <a:pt x="274185" y="257138"/>
                  </a:cubicBezTo>
                  <a:cubicBezTo>
                    <a:pt x="274257" y="257549"/>
                    <a:pt x="274306" y="257984"/>
                    <a:pt x="274306" y="258419"/>
                  </a:cubicBezTo>
                  <a:lnTo>
                    <a:pt x="274306" y="288234"/>
                  </a:lnTo>
                  <a:cubicBezTo>
                    <a:pt x="274306" y="289927"/>
                    <a:pt x="273653" y="291571"/>
                    <a:pt x="272444" y="292780"/>
                  </a:cubicBezTo>
                  <a:lnTo>
                    <a:pt x="222293" y="342931"/>
                  </a:lnTo>
                  <a:cubicBezTo>
                    <a:pt x="221979" y="343245"/>
                    <a:pt x="221665" y="343487"/>
                    <a:pt x="221302" y="343753"/>
                  </a:cubicBezTo>
                  <a:cubicBezTo>
                    <a:pt x="220238" y="344430"/>
                    <a:pt x="219005" y="344793"/>
                    <a:pt x="217796" y="344793"/>
                  </a:cubicBezTo>
                  <a:cubicBezTo>
                    <a:pt x="216151" y="344793"/>
                    <a:pt x="214531" y="344164"/>
                    <a:pt x="213274" y="342931"/>
                  </a:cubicBezTo>
                  <a:lnTo>
                    <a:pt x="199999" y="329655"/>
                  </a:lnTo>
                  <a:lnTo>
                    <a:pt x="142594" y="329655"/>
                  </a:lnTo>
                  <a:lnTo>
                    <a:pt x="124531" y="347719"/>
                  </a:lnTo>
                  <a:cubicBezTo>
                    <a:pt x="123322" y="348927"/>
                    <a:pt x="121726" y="349580"/>
                    <a:pt x="120009" y="349580"/>
                  </a:cubicBezTo>
                  <a:lnTo>
                    <a:pt x="57744" y="349580"/>
                  </a:lnTo>
                  <a:lnTo>
                    <a:pt x="0" y="407324"/>
                  </a:lnTo>
                  <a:lnTo>
                    <a:pt x="0" y="439073"/>
                  </a:lnTo>
                  <a:lnTo>
                    <a:pt x="7012" y="432061"/>
                  </a:lnTo>
                  <a:cubicBezTo>
                    <a:pt x="8221" y="430876"/>
                    <a:pt x="9817" y="430223"/>
                    <a:pt x="11558" y="430223"/>
                  </a:cubicBezTo>
                  <a:lnTo>
                    <a:pt x="104122" y="430223"/>
                  </a:lnTo>
                  <a:cubicBezTo>
                    <a:pt x="104557" y="430223"/>
                    <a:pt x="104944" y="430247"/>
                    <a:pt x="105380" y="430320"/>
                  </a:cubicBezTo>
                  <a:cubicBezTo>
                    <a:pt x="106588" y="430586"/>
                    <a:pt x="107725" y="431190"/>
                    <a:pt x="108644" y="432061"/>
                  </a:cubicBezTo>
                  <a:lnTo>
                    <a:pt x="135944" y="459385"/>
                  </a:lnTo>
                  <a:lnTo>
                    <a:pt x="147986" y="447343"/>
                  </a:lnTo>
                  <a:cubicBezTo>
                    <a:pt x="149171" y="446134"/>
                    <a:pt x="150791" y="445481"/>
                    <a:pt x="152508" y="445481"/>
                  </a:cubicBezTo>
                  <a:lnTo>
                    <a:pt x="213540" y="445481"/>
                  </a:lnTo>
                  <a:lnTo>
                    <a:pt x="221834" y="437211"/>
                  </a:lnTo>
                  <a:cubicBezTo>
                    <a:pt x="223043" y="436002"/>
                    <a:pt x="224639" y="435325"/>
                    <a:pt x="226331" y="435325"/>
                  </a:cubicBezTo>
                  <a:lnTo>
                    <a:pt x="254744" y="435325"/>
                  </a:lnTo>
                  <a:cubicBezTo>
                    <a:pt x="256412" y="435325"/>
                    <a:pt x="258056" y="436002"/>
                    <a:pt x="259241" y="437211"/>
                  </a:cubicBezTo>
                  <a:lnTo>
                    <a:pt x="279287" y="457233"/>
                  </a:lnTo>
                  <a:cubicBezTo>
                    <a:pt x="280496" y="458442"/>
                    <a:pt x="281173" y="460038"/>
                    <a:pt x="281173" y="461730"/>
                  </a:cubicBezTo>
                  <a:lnTo>
                    <a:pt x="281173" y="482961"/>
                  </a:lnTo>
                  <a:lnTo>
                    <a:pt x="288984" y="490772"/>
                  </a:lnTo>
                  <a:cubicBezTo>
                    <a:pt x="290168" y="491956"/>
                    <a:pt x="290821" y="493576"/>
                    <a:pt x="290821" y="495293"/>
                  </a:cubicBezTo>
                  <a:cubicBezTo>
                    <a:pt x="290821" y="496962"/>
                    <a:pt x="290168" y="498582"/>
                    <a:pt x="288984" y="499791"/>
                  </a:cubicBezTo>
                  <a:lnTo>
                    <a:pt x="278465" y="510310"/>
                  </a:lnTo>
                  <a:lnTo>
                    <a:pt x="278465" y="550232"/>
                  </a:lnTo>
                  <a:lnTo>
                    <a:pt x="328761" y="550232"/>
                  </a:lnTo>
                  <a:cubicBezTo>
                    <a:pt x="329099" y="550232"/>
                    <a:pt x="329390" y="550256"/>
                    <a:pt x="329728" y="550304"/>
                  </a:cubicBezTo>
                  <a:cubicBezTo>
                    <a:pt x="331904" y="550643"/>
                    <a:pt x="333790" y="552070"/>
                    <a:pt x="334661" y="554149"/>
                  </a:cubicBezTo>
                  <a:cubicBezTo>
                    <a:pt x="335628" y="556519"/>
                    <a:pt x="335072" y="559251"/>
                    <a:pt x="333258" y="561065"/>
                  </a:cubicBezTo>
                  <a:lnTo>
                    <a:pt x="313745" y="580603"/>
                  </a:lnTo>
                  <a:lnTo>
                    <a:pt x="313745" y="613295"/>
                  </a:lnTo>
                  <a:lnTo>
                    <a:pt x="339618" y="639193"/>
                  </a:lnTo>
                  <a:cubicBezTo>
                    <a:pt x="340803" y="640377"/>
                    <a:pt x="341480" y="641998"/>
                    <a:pt x="341480" y="643690"/>
                  </a:cubicBezTo>
                  <a:lnTo>
                    <a:pt x="341480" y="661076"/>
                  </a:lnTo>
                  <a:lnTo>
                    <a:pt x="371488" y="661076"/>
                  </a:lnTo>
                  <a:lnTo>
                    <a:pt x="389672" y="642844"/>
                  </a:lnTo>
                  <a:cubicBezTo>
                    <a:pt x="390881" y="641659"/>
                    <a:pt x="392477" y="641006"/>
                    <a:pt x="394170" y="641006"/>
                  </a:cubicBezTo>
                  <a:lnTo>
                    <a:pt x="436703" y="641006"/>
                  </a:lnTo>
                  <a:lnTo>
                    <a:pt x="453823" y="623910"/>
                  </a:lnTo>
                  <a:cubicBezTo>
                    <a:pt x="456314" y="621420"/>
                    <a:pt x="460352" y="621420"/>
                    <a:pt x="462819" y="623910"/>
                  </a:cubicBezTo>
                  <a:lnTo>
                    <a:pt x="466276" y="627368"/>
                  </a:lnTo>
                  <a:lnTo>
                    <a:pt x="480761" y="612908"/>
                  </a:lnTo>
                  <a:cubicBezTo>
                    <a:pt x="481970" y="611699"/>
                    <a:pt x="483566" y="611022"/>
                    <a:pt x="485258" y="611022"/>
                  </a:cubicBezTo>
                  <a:lnTo>
                    <a:pt x="535820" y="611022"/>
                  </a:lnTo>
                  <a:lnTo>
                    <a:pt x="545347" y="601495"/>
                  </a:lnTo>
                  <a:cubicBezTo>
                    <a:pt x="546532" y="600286"/>
                    <a:pt x="548152" y="599633"/>
                    <a:pt x="549845" y="599633"/>
                  </a:cubicBezTo>
                  <a:lnTo>
                    <a:pt x="596731" y="599633"/>
                  </a:lnTo>
                  <a:lnTo>
                    <a:pt x="643158" y="553230"/>
                  </a:lnTo>
                  <a:lnTo>
                    <a:pt x="643158" y="540777"/>
                  </a:lnTo>
                  <a:cubicBezTo>
                    <a:pt x="643158" y="539085"/>
                    <a:pt x="643811" y="537464"/>
                    <a:pt x="644996" y="536255"/>
                  </a:cubicBezTo>
                  <a:lnTo>
                    <a:pt x="675657" y="505594"/>
                  </a:lnTo>
                  <a:lnTo>
                    <a:pt x="675657" y="466301"/>
                  </a:lnTo>
                  <a:cubicBezTo>
                    <a:pt x="675657" y="462770"/>
                    <a:pt x="678511" y="459917"/>
                    <a:pt x="682041" y="459917"/>
                  </a:cubicBezTo>
                  <a:lnTo>
                    <a:pt x="706512" y="459917"/>
                  </a:lnTo>
                  <a:lnTo>
                    <a:pt x="727646" y="438759"/>
                  </a:lnTo>
                  <a:lnTo>
                    <a:pt x="727646" y="418616"/>
                  </a:lnTo>
                  <a:cubicBezTo>
                    <a:pt x="727646" y="416924"/>
                    <a:pt x="728299" y="415304"/>
                    <a:pt x="729508" y="414119"/>
                  </a:cubicBezTo>
                  <a:lnTo>
                    <a:pt x="747329" y="396297"/>
                  </a:lnTo>
                  <a:lnTo>
                    <a:pt x="747329" y="378138"/>
                  </a:lnTo>
                  <a:lnTo>
                    <a:pt x="727283" y="358092"/>
                  </a:lnTo>
                  <a:cubicBezTo>
                    <a:pt x="726098" y="356883"/>
                    <a:pt x="725397" y="355287"/>
                    <a:pt x="725397" y="353594"/>
                  </a:cubicBezTo>
                  <a:cubicBezTo>
                    <a:pt x="725397" y="351902"/>
                    <a:pt x="726098" y="350282"/>
                    <a:pt x="727283" y="349073"/>
                  </a:cubicBezTo>
                  <a:lnTo>
                    <a:pt x="737028" y="339328"/>
                  </a:lnTo>
                  <a:lnTo>
                    <a:pt x="720392" y="322691"/>
                  </a:lnTo>
                  <a:cubicBezTo>
                    <a:pt x="719182" y="321482"/>
                    <a:pt x="718530" y="319886"/>
                    <a:pt x="718530" y="318194"/>
                  </a:cubicBezTo>
                  <a:cubicBezTo>
                    <a:pt x="718530" y="316501"/>
                    <a:pt x="719182" y="314881"/>
                    <a:pt x="720392" y="313672"/>
                  </a:cubicBezTo>
                  <a:lnTo>
                    <a:pt x="756542" y="277522"/>
                  </a:lnTo>
                  <a:cubicBezTo>
                    <a:pt x="757727" y="276337"/>
                    <a:pt x="759347" y="275684"/>
                    <a:pt x="761039" y="275684"/>
                  </a:cubicBezTo>
                  <a:lnTo>
                    <a:pt x="793441" y="275684"/>
                  </a:lnTo>
                  <a:lnTo>
                    <a:pt x="793441" y="268527"/>
                  </a:lnTo>
                  <a:lnTo>
                    <a:pt x="772573" y="247635"/>
                  </a:lnTo>
                  <a:cubicBezTo>
                    <a:pt x="771389" y="246425"/>
                    <a:pt x="770712" y="244830"/>
                    <a:pt x="770712" y="243137"/>
                  </a:cubicBezTo>
                  <a:lnTo>
                    <a:pt x="770712" y="205439"/>
                  </a:lnTo>
                  <a:cubicBezTo>
                    <a:pt x="770712" y="201909"/>
                    <a:pt x="773565" y="199080"/>
                    <a:pt x="777095" y="199080"/>
                  </a:cubicBezTo>
                  <a:lnTo>
                    <a:pt x="793272" y="199080"/>
                  </a:lnTo>
                  <a:lnTo>
                    <a:pt x="793272" y="175890"/>
                  </a:lnTo>
                  <a:cubicBezTo>
                    <a:pt x="793272" y="174222"/>
                    <a:pt x="793925" y="172602"/>
                    <a:pt x="795134" y="171393"/>
                  </a:cubicBezTo>
                  <a:lnTo>
                    <a:pt x="820717" y="145810"/>
                  </a:lnTo>
                  <a:lnTo>
                    <a:pt x="797213" y="122306"/>
                  </a:lnTo>
                  <a:lnTo>
                    <a:pt x="705907" y="122306"/>
                  </a:lnTo>
                  <a:cubicBezTo>
                    <a:pt x="702812" y="122306"/>
                    <a:pt x="700273" y="120130"/>
                    <a:pt x="699644" y="117228"/>
                  </a:cubicBezTo>
                  <a:cubicBezTo>
                    <a:pt x="699572" y="116793"/>
                    <a:pt x="699524" y="116382"/>
                    <a:pt x="699524" y="115922"/>
                  </a:cubicBezTo>
                  <a:lnTo>
                    <a:pt x="699524" y="102042"/>
                  </a:lnTo>
                  <a:lnTo>
                    <a:pt x="668258" y="70753"/>
                  </a:lnTo>
                  <a:lnTo>
                    <a:pt x="644924" y="94087"/>
                  </a:lnTo>
                  <a:cubicBezTo>
                    <a:pt x="642409" y="96578"/>
                    <a:pt x="638371" y="96578"/>
                    <a:pt x="635904" y="94087"/>
                  </a:cubicBezTo>
                  <a:lnTo>
                    <a:pt x="582876" y="41035"/>
                  </a:lnTo>
                  <a:lnTo>
                    <a:pt x="565248" y="58662"/>
                  </a:lnTo>
                  <a:cubicBezTo>
                    <a:pt x="562830" y="61080"/>
                    <a:pt x="558623" y="61080"/>
                    <a:pt x="556253" y="58662"/>
                  </a:cubicBezTo>
                  <a:lnTo>
                    <a:pt x="533983" y="36392"/>
                  </a:lnTo>
                  <a:cubicBezTo>
                    <a:pt x="532773" y="35183"/>
                    <a:pt x="532096" y="33587"/>
                    <a:pt x="532096" y="31894"/>
                  </a:cubicBezTo>
                  <a:lnTo>
                    <a:pt x="532096" y="0"/>
                  </a:lnTo>
                  <a:lnTo>
                    <a:pt x="480809" y="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2" name="Forma Livre: Forma 31">
              <a:extLst>
                <a:ext uri="{FF2B5EF4-FFF2-40B4-BE49-F238E27FC236}">
                  <a16:creationId xmlns:a16="http://schemas.microsoft.com/office/drawing/2014/main" id="{48E7C670-F950-61AA-0F14-B3918886F4F3}"/>
                </a:ext>
              </a:extLst>
            </p:cNvPr>
            <p:cNvSpPr/>
            <p:nvPr>
              <p:custDataLst>
                <p:tags r:id="rId114"/>
              </p:custDataLst>
            </p:nvPr>
          </p:nvSpPr>
          <p:spPr>
            <a:xfrm>
              <a:off x="4970277" y="2230630"/>
              <a:ext cx="52568" cy="31483"/>
            </a:xfrm>
            <a:custGeom>
              <a:avLst/>
              <a:gdLst>
                <a:gd name="connsiteX0" fmla="*/ 0 w 52568"/>
                <a:gd name="connsiteY0" fmla="*/ 0 h 31483"/>
                <a:gd name="connsiteX1" fmla="*/ 52569 w 52568"/>
                <a:gd name="connsiteY1" fmla="*/ 0 h 31483"/>
                <a:gd name="connsiteX2" fmla="*/ 52569 w 52568"/>
                <a:gd name="connsiteY2" fmla="*/ 31483 h 31483"/>
                <a:gd name="connsiteX3" fmla="*/ 0 w 52568"/>
                <a:gd name="connsiteY3" fmla="*/ 31483 h 31483"/>
              </a:gdLst>
              <a:ahLst/>
              <a:cxnLst>
                <a:cxn ang="0">
                  <a:pos x="connsiteX0" y="connsiteY0"/>
                </a:cxn>
                <a:cxn ang="0">
                  <a:pos x="connsiteX1" y="connsiteY1"/>
                </a:cxn>
                <a:cxn ang="0">
                  <a:pos x="connsiteX2" y="connsiteY2"/>
                </a:cxn>
                <a:cxn ang="0">
                  <a:pos x="connsiteX3" y="connsiteY3"/>
                </a:cxn>
              </a:cxnLst>
              <a:rect l="l" t="t" r="r" b="b"/>
              <a:pathLst>
                <a:path w="52568" h="31483">
                  <a:moveTo>
                    <a:pt x="0" y="0"/>
                  </a:moveTo>
                  <a:lnTo>
                    <a:pt x="52569" y="0"/>
                  </a:lnTo>
                  <a:lnTo>
                    <a:pt x="52569" y="31483"/>
                  </a:lnTo>
                  <a:lnTo>
                    <a:pt x="0" y="31483"/>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3" name="Forma Livre: Forma 32">
              <a:extLst>
                <a:ext uri="{FF2B5EF4-FFF2-40B4-BE49-F238E27FC236}">
                  <a16:creationId xmlns:a16="http://schemas.microsoft.com/office/drawing/2014/main" id="{6D7A9FB3-8816-242E-566B-23EE7D2719D3}"/>
                </a:ext>
              </a:extLst>
            </p:cNvPr>
            <p:cNvSpPr/>
            <p:nvPr>
              <p:custDataLst>
                <p:tags r:id="rId115"/>
              </p:custDataLst>
            </p:nvPr>
          </p:nvSpPr>
          <p:spPr>
            <a:xfrm>
              <a:off x="4605873" y="1998882"/>
              <a:ext cx="516814" cy="519570"/>
            </a:xfrm>
            <a:custGeom>
              <a:avLst/>
              <a:gdLst>
                <a:gd name="connsiteX0" fmla="*/ 495874 w 516814"/>
                <a:gd name="connsiteY0" fmla="*/ 120952 h 519570"/>
                <a:gd name="connsiteX1" fmla="*/ 495874 w 516814"/>
                <a:gd name="connsiteY1" fmla="*/ 41276 h 519570"/>
                <a:gd name="connsiteX2" fmla="*/ 475804 w 516814"/>
                <a:gd name="connsiteY2" fmla="*/ 41276 h 519570"/>
                <a:gd name="connsiteX3" fmla="*/ 453412 w 516814"/>
                <a:gd name="connsiteY3" fmla="*/ 63644 h 519570"/>
                <a:gd name="connsiteX4" fmla="*/ 448915 w 516814"/>
                <a:gd name="connsiteY4" fmla="*/ 65530 h 519570"/>
                <a:gd name="connsiteX5" fmla="*/ 330768 w 516814"/>
                <a:gd name="connsiteY5" fmla="*/ 65530 h 519570"/>
                <a:gd name="connsiteX6" fmla="*/ 324384 w 516814"/>
                <a:gd name="connsiteY6" fmla="*/ 59146 h 519570"/>
                <a:gd name="connsiteX7" fmla="*/ 324384 w 516814"/>
                <a:gd name="connsiteY7" fmla="*/ 42485 h 519570"/>
                <a:gd name="connsiteX8" fmla="*/ 278852 w 516814"/>
                <a:gd name="connsiteY8" fmla="*/ 42485 h 519570"/>
                <a:gd name="connsiteX9" fmla="*/ 278852 w 516814"/>
                <a:gd name="connsiteY9" fmla="*/ 71865 h 519570"/>
                <a:gd name="connsiteX10" fmla="*/ 274935 w 516814"/>
                <a:gd name="connsiteY10" fmla="*/ 77741 h 519570"/>
                <a:gd name="connsiteX11" fmla="*/ 273846 w 516814"/>
                <a:gd name="connsiteY11" fmla="*/ 78079 h 519570"/>
                <a:gd name="connsiteX12" fmla="*/ 273508 w 516814"/>
                <a:gd name="connsiteY12" fmla="*/ 78128 h 519570"/>
                <a:gd name="connsiteX13" fmla="*/ 272686 w 516814"/>
                <a:gd name="connsiteY13" fmla="*/ 78200 h 519570"/>
                <a:gd name="connsiteX14" fmla="*/ 272492 w 516814"/>
                <a:gd name="connsiteY14" fmla="*/ 78224 h 519570"/>
                <a:gd name="connsiteX15" fmla="*/ 272371 w 516814"/>
                <a:gd name="connsiteY15" fmla="*/ 78224 h 519570"/>
                <a:gd name="connsiteX16" fmla="*/ 271259 w 516814"/>
                <a:gd name="connsiteY16" fmla="*/ 78104 h 519570"/>
                <a:gd name="connsiteX17" fmla="*/ 271259 w 516814"/>
                <a:gd name="connsiteY17" fmla="*/ 78104 h 519570"/>
                <a:gd name="connsiteX18" fmla="*/ 270195 w 516814"/>
                <a:gd name="connsiteY18" fmla="*/ 77789 h 519570"/>
                <a:gd name="connsiteX19" fmla="*/ 269881 w 516814"/>
                <a:gd name="connsiteY19" fmla="*/ 77668 h 519570"/>
                <a:gd name="connsiteX20" fmla="*/ 269155 w 516814"/>
                <a:gd name="connsiteY20" fmla="*/ 77282 h 519570"/>
                <a:gd name="connsiteX21" fmla="*/ 268865 w 516814"/>
                <a:gd name="connsiteY21" fmla="*/ 77112 h 519570"/>
                <a:gd name="connsiteX22" fmla="*/ 267995 w 516814"/>
                <a:gd name="connsiteY22" fmla="*/ 76387 h 519570"/>
                <a:gd name="connsiteX23" fmla="*/ 191584 w 516814"/>
                <a:gd name="connsiteY23" fmla="*/ 0 h 519570"/>
                <a:gd name="connsiteX24" fmla="*/ 191584 w 516814"/>
                <a:gd name="connsiteY24" fmla="*/ 69399 h 519570"/>
                <a:gd name="connsiteX25" fmla="*/ 189746 w 516814"/>
                <a:gd name="connsiteY25" fmla="*/ 73896 h 519570"/>
                <a:gd name="connsiteX26" fmla="*/ 163050 w 516814"/>
                <a:gd name="connsiteY26" fmla="*/ 100592 h 519570"/>
                <a:gd name="connsiteX27" fmla="*/ 163050 w 516814"/>
                <a:gd name="connsiteY27" fmla="*/ 147067 h 519570"/>
                <a:gd name="connsiteX28" fmla="*/ 161164 w 516814"/>
                <a:gd name="connsiteY28" fmla="*/ 151589 h 519570"/>
                <a:gd name="connsiteX29" fmla="*/ 101245 w 516814"/>
                <a:gd name="connsiteY29" fmla="*/ 211509 h 519570"/>
                <a:gd name="connsiteX30" fmla="*/ 101245 w 516814"/>
                <a:gd name="connsiteY30" fmla="*/ 243330 h 519570"/>
                <a:gd name="connsiteX31" fmla="*/ 99407 w 516814"/>
                <a:gd name="connsiteY31" fmla="*/ 247828 h 519570"/>
                <a:gd name="connsiteX32" fmla="*/ 0 w 516814"/>
                <a:gd name="connsiteY32" fmla="*/ 347235 h 519570"/>
                <a:gd name="connsiteX33" fmla="*/ 0 w 516814"/>
                <a:gd name="connsiteY33" fmla="*/ 424202 h 519570"/>
                <a:gd name="connsiteX34" fmla="*/ 0 w 516814"/>
                <a:gd name="connsiteY34" fmla="*/ 451405 h 519570"/>
                <a:gd name="connsiteX35" fmla="*/ 15984 w 516814"/>
                <a:gd name="connsiteY35" fmla="*/ 467389 h 519570"/>
                <a:gd name="connsiteX36" fmla="*/ 39753 w 516814"/>
                <a:gd name="connsiteY36" fmla="*/ 467389 h 519570"/>
                <a:gd name="connsiteX37" fmla="*/ 44251 w 516814"/>
                <a:gd name="connsiteY37" fmla="*/ 469251 h 519570"/>
                <a:gd name="connsiteX38" fmla="*/ 94571 w 516814"/>
                <a:gd name="connsiteY38" fmla="*/ 519571 h 519570"/>
                <a:gd name="connsiteX39" fmla="*/ 159472 w 516814"/>
                <a:gd name="connsiteY39" fmla="*/ 519571 h 519570"/>
                <a:gd name="connsiteX40" fmla="*/ 205077 w 516814"/>
                <a:gd name="connsiteY40" fmla="*/ 473966 h 519570"/>
                <a:gd name="connsiteX41" fmla="*/ 209598 w 516814"/>
                <a:gd name="connsiteY41" fmla="*/ 472104 h 519570"/>
                <a:gd name="connsiteX42" fmla="*/ 271864 w 516814"/>
                <a:gd name="connsiteY42" fmla="*/ 472104 h 519570"/>
                <a:gd name="connsiteX43" fmla="*/ 289927 w 516814"/>
                <a:gd name="connsiteY43" fmla="*/ 454041 h 519570"/>
                <a:gd name="connsiteX44" fmla="*/ 294424 w 516814"/>
                <a:gd name="connsiteY44" fmla="*/ 452179 h 519570"/>
                <a:gd name="connsiteX45" fmla="*/ 357101 w 516814"/>
                <a:gd name="connsiteY45" fmla="*/ 452179 h 519570"/>
                <a:gd name="connsiteX46" fmla="*/ 361622 w 516814"/>
                <a:gd name="connsiteY46" fmla="*/ 454041 h 519570"/>
                <a:gd name="connsiteX47" fmla="*/ 372262 w 516814"/>
                <a:gd name="connsiteY47" fmla="*/ 464656 h 519570"/>
                <a:gd name="connsiteX48" fmla="*/ 416077 w 516814"/>
                <a:gd name="connsiteY48" fmla="*/ 420841 h 519570"/>
                <a:gd name="connsiteX49" fmla="*/ 416077 w 516814"/>
                <a:gd name="connsiteY49" fmla="*/ 399997 h 519570"/>
                <a:gd name="connsiteX50" fmla="*/ 400166 w 516814"/>
                <a:gd name="connsiteY50" fmla="*/ 399997 h 519570"/>
                <a:gd name="connsiteX51" fmla="*/ 394266 w 516814"/>
                <a:gd name="connsiteY51" fmla="*/ 396104 h 519570"/>
                <a:gd name="connsiteX52" fmla="*/ 395669 w 516814"/>
                <a:gd name="connsiteY52" fmla="*/ 389140 h 519570"/>
                <a:gd name="connsiteX53" fmla="*/ 432883 w 516814"/>
                <a:gd name="connsiteY53" fmla="*/ 351902 h 519570"/>
                <a:gd name="connsiteX54" fmla="*/ 418858 w 516814"/>
                <a:gd name="connsiteY54" fmla="*/ 337877 h 519570"/>
                <a:gd name="connsiteX55" fmla="*/ 416996 w 516814"/>
                <a:gd name="connsiteY55" fmla="*/ 333379 h 519570"/>
                <a:gd name="connsiteX56" fmla="*/ 416996 w 516814"/>
                <a:gd name="connsiteY56" fmla="*/ 275950 h 519570"/>
                <a:gd name="connsiteX57" fmla="*/ 358044 w 516814"/>
                <a:gd name="connsiteY57" fmla="*/ 275950 h 519570"/>
                <a:gd name="connsiteX58" fmla="*/ 351684 w 516814"/>
                <a:gd name="connsiteY58" fmla="*/ 269591 h 519570"/>
                <a:gd name="connsiteX59" fmla="*/ 351684 w 516814"/>
                <a:gd name="connsiteY59" fmla="*/ 225388 h 519570"/>
                <a:gd name="connsiteX60" fmla="*/ 358044 w 516814"/>
                <a:gd name="connsiteY60" fmla="*/ 219029 h 519570"/>
                <a:gd name="connsiteX61" fmla="*/ 423331 w 516814"/>
                <a:gd name="connsiteY61" fmla="*/ 219029 h 519570"/>
                <a:gd name="connsiteX62" fmla="*/ 429594 w 516814"/>
                <a:gd name="connsiteY62" fmla="*/ 224107 h 519570"/>
                <a:gd name="connsiteX63" fmla="*/ 429715 w 516814"/>
                <a:gd name="connsiteY63" fmla="*/ 225388 h 519570"/>
                <a:gd name="connsiteX64" fmla="*/ 429715 w 516814"/>
                <a:gd name="connsiteY64" fmla="*/ 263231 h 519570"/>
                <a:gd name="connsiteX65" fmla="*/ 445312 w 516814"/>
                <a:gd name="connsiteY65" fmla="*/ 263231 h 519570"/>
                <a:gd name="connsiteX66" fmla="*/ 445312 w 516814"/>
                <a:gd name="connsiteY66" fmla="*/ 197919 h 519570"/>
                <a:gd name="connsiteX67" fmla="*/ 451671 w 516814"/>
                <a:gd name="connsiteY67" fmla="*/ 191559 h 519570"/>
                <a:gd name="connsiteX68" fmla="*/ 475610 w 516814"/>
                <a:gd name="connsiteY68" fmla="*/ 191559 h 519570"/>
                <a:gd name="connsiteX69" fmla="*/ 475610 w 516814"/>
                <a:gd name="connsiteY69" fmla="*/ 172481 h 519570"/>
                <a:gd name="connsiteX70" fmla="*/ 481994 w 516814"/>
                <a:gd name="connsiteY70" fmla="*/ 166097 h 519570"/>
                <a:gd name="connsiteX71" fmla="*/ 516814 w 516814"/>
                <a:gd name="connsiteY71" fmla="*/ 166097 h 519570"/>
                <a:gd name="connsiteX72" fmla="*/ 516814 w 516814"/>
                <a:gd name="connsiteY72" fmla="*/ 144504 h 519570"/>
                <a:gd name="connsiteX73" fmla="*/ 497760 w 516814"/>
                <a:gd name="connsiteY73" fmla="*/ 125449 h 519570"/>
                <a:gd name="connsiteX74" fmla="*/ 495874 w 516814"/>
                <a:gd name="connsiteY74" fmla="*/ 120952 h 51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6814" h="519570">
                  <a:moveTo>
                    <a:pt x="495874" y="120952"/>
                  </a:moveTo>
                  <a:lnTo>
                    <a:pt x="495874" y="41276"/>
                  </a:lnTo>
                  <a:lnTo>
                    <a:pt x="475804" y="41276"/>
                  </a:lnTo>
                  <a:lnTo>
                    <a:pt x="453412" y="63644"/>
                  </a:lnTo>
                  <a:cubicBezTo>
                    <a:pt x="452227" y="64828"/>
                    <a:pt x="450607" y="65530"/>
                    <a:pt x="448915" y="65530"/>
                  </a:cubicBezTo>
                  <a:lnTo>
                    <a:pt x="330768" y="65530"/>
                  </a:lnTo>
                  <a:cubicBezTo>
                    <a:pt x="327237" y="65530"/>
                    <a:pt x="324384" y="62676"/>
                    <a:pt x="324384" y="59146"/>
                  </a:cubicBezTo>
                  <a:lnTo>
                    <a:pt x="324384" y="42485"/>
                  </a:lnTo>
                  <a:lnTo>
                    <a:pt x="278852" y="42485"/>
                  </a:lnTo>
                  <a:lnTo>
                    <a:pt x="278852" y="71865"/>
                  </a:lnTo>
                  <a:cubicBezTo>
                    <a:pt x="278852" y="74428"/>
                    <a:pt x="277329" y="76750"/>
                    <a:pt x="274935" y="77741"/>
                  </a:cubicBezTo>
                  <a:cubicBezTo>
                    <a:pt x="274572" y="77886"/>
                    <a:pt x="274209" y="78007"/>
                    <a:pt x="273846" y="78079"/>
                  </a:cubicBezTo>
                  <a:cubicBezTo>
                    <a:pt x="273750" y="78079"/>
                    <a:pt x="273629" y="78104"/>
                    <a:pt x="273508" y="78128"/>
                  </a:cubicBezTo>
                  <a:cubicBezTo>
                    <a:pt x="273242" y="78176"/>
                    <a:pt x="272976" y="78200"/>
                    <a:pt x="272686" y="78200"/>
                  </a:cubicBezTo>
                  <a:cubicBezTo>
                    <a:pt x="272637" y="78200"/>
                    <a:pt x="272565" y="78224"/>
                    <a:pt x="272492" y="78224"/>
                  </a:cubicBezTo>
                  <a:cubicBezTo>
                    <a:pt x="272444" y="78224"/>
                    <a:pt x="272396" y="78224"/>
                    <a:pt x="272371" y="78224"/>
                  </a:cubicBezTo>
                  <a:cubicBezTo>
                    <a:pt x="271985" y="78224"/>
                    <a:pt x="271646" y="78200"/>
                    <a:pt x="271259" y="78104"/>
                  </a:cubicBezTo>
                  <a:lnTo>
                    <a:pt x="271259" y="78104"/>
                  </a:lnTo>
                  <a:cubicBezTo>
                    <a:pt x="270897" y="78055"/>
                    <a:pt x="270558" y="77910"/>
                    <a:pt x="270195" y="77789"/>
                  </a:cubicBezTo>
                  <a:cubicBezTo>
                    <a:pt x="270098" y="77765"/>
                    <a:pt x="269978" y="77717"/>
                    <a:pt x="269881" y="77668"/>
                  </a:cubicBezTo>
                  <a:cubicBezTo>
                    <a:pt x="269615" y="77572"/>
                    <a:pt x="269373" y="77427"/>
                    <a:pt x="269155" y="77282"/>
                  </a:cubicBezTo>
                  <a:cubicBezTo>
                    <a:pt x="269059" y="77233"/>
                    <a:pt x="268962" y="77185"/>
                    <a:pt x="268865" y="77112"/>
                  </a:cubicBezTo>
                  <a:cubicBezTo>
                    <a:pt x="268551" y="76895"/>
                    <a:pt x="268261" y="76653"/>
                    <a:pt x="267995" y="76387"/>
                  </a:cubicBezTo>
                  <a:lnTo>
                    <a:pt x="191584" y="0"/>
                  </a:lnTo>
                  <a:lnTo>
                    <a:pt x="191584" y="69399"/>
                  </a:lnTo>
                  <a:cubicBezTo>
                    <a:pt x="191584" y="71091"/>
                    <a:pt x="190931" y="72711"/>
                    <a:pt x="189746" y="73896"/>
                  </a:cubicBezTo>
                  <a:lnTo>
                    <a:pt x="163050" y="100592"/>
                  </a:lnTo>
                  <a:lnTo>
                    <a:pt x="163050" y="147067"/>
                  </a:lnTo>
                  <a:cubicBezTo>
                    <a:pt x="163050" y="148760"/>
                    <a:pt x="162373" y="150380"/>
                    <a:pt x="161164" y="151589"/>
                  </a:cubicBezTo>
                  <a:lnTo>
                    <a:pt x="101245" y="211509"/>
                  </a:lnTo>
                  <a:lnTo>
                    <a:pt x="101245" y="243330"/>
                  </a:lnTo>
                  <a:cubicBezTo>
                    <a:pt x="101245" y="244999"/>
                    <a:pt x="100592" y="246643"/>
                    <a:pt x="99407" y="247828"/>
                  </a:cubicBezTo>
                  <a:lnTo>
                    <a:pt x="0" y="347235"/>
                  </a:lnTo>
                  <a:lnTo>
                    <a:pt x="0" y="424202"/>
                  </a:lnTo>
                  <a:lnTo>
                    <a:pt x="0" y="451405"/>
                  </a:lnTo>
                  <a:lnTo>
                    <a:pt x="15984" y="467389"/>
                  </a:lnTo>
                  <a:lnTo>
                    <a:pt x="39753" y="467389"/>
                  </a:lnTo>
                  <a:cubicBezTo>
                    <a:pt x="41421" y="467389"/>
                    <a:pt x="43066" y="468042"/>
                    <a:pt x="44251" y="469251"/>
                  </a:cubicBezTo>
                  <a:lnTo>
                    <a:pt x="94571" y="519571"/>
                  </a:lnTo>
                  <a:lnTo>
                    <a:pt x="159472" y="519571"/>
                  </a:lnTo>
                  <a:lnTo>
                    <a:pt x="205077" y="473966"/>
                  </a:lnTo>
                  <a:cubicBezTo>
                    <a:pt x="206286" y="472757"/>
                    <a:pt x="207882" y="472104"/>
                    <a:pt x="209598" y="472104"/>
                  </a:cubicBezTo>
                  <a:lnTo>
                    <a:pt x="271864" y="472104"/>
                  </a:lnTo>
                  <a:lnTo>
                    <a:pt x="289927" y="454041"/>
                  </a:lnTo>
                  <a:cubicBezTo>
                    <a:pt x="291112" y="452832"/>
                    <a:pt x="292732" y="452179"/>
                    <a:pt x="294424" y="452179"/>
                  </a:cubicBezTo>
                  <a:lnTo>
                    <a:pt x="357101" y="452179"/>
                  </a:lnTo>
                  <a:cubicBezTo>
                    <a:pt x="358793" y="452179"/>
                    <a:pt x="360438" y="452832"/>
                    <a:pt x="361622" y="454041"/>
                  </a:cubicBezTo>
                  <a:lnTo>
                    <a:pt x="372262" y="464656"/>
                  </a:lnTo>
                  <a:lnTo>
                    <a:pt x="416077" y="420841"/>
                  </a:lnTo>
                  <a:lnTo>
                    <a:pt x="416077" y="399997"/>
                  </a:lnTo>
                  <a:lnTo>
                    <a:pt x="400166" y="399997"/>
                  </a:lnTo>
                  <a:cubicBezTo>
                    <a:pt x="397579" y="399997"/>
                    <a:pt x="395282" y="398474"/>
                    <a:pt x="394266" y="396104"/>
                  </a:cubicBezTo>
                  <a:cubicBezTo>
                    <a:pt x="393299" y="393686"/>
                    <a:pt x="393831" y="390978"/>
                    <a:pt x="395669" y="389140"/>
                  </a:cubicBezTo>
                  <a:lnTo>
                    <a:pt x="432883" y="351902"/>
                  </a:lnTo>
                  <a:lnTo>
                    <a:pt x="418858" y="337877"/>
                  </a:lnTo>
                  <a:cubicBezTo>
                    <a:pt x="417649" y="336668"/>
                    <a:pt x="416996" y="335072"/>
                    <a:pt x="416996" y="333379"/>
                  </a:cubicBezTo>
                  <a:lnTo>
                    <a:pt x="416996" y="275950"/>
                  </a:lnTo>
                  <a:lnTo>
                    <a:pt x="358044" y="275950"/>
                  </a:lnTo>
                  <a:cubicBezTo>
                    <a:pt x="354538" y="275950"/>
                    <a:pt x="351684" y="273121"/>
                    <a:pt x="351684" y="269591"/>
                  </a:cubicBezTo>
                  <a:lnTo>
                    <a:pt x="351684" y="225388"/>
                  </a:lnTo>
                  <a:cubicBezTo>
                    <a:pt x="351684" y="221882"/>
                    <a:pt x="354538" y="219029"/>
                    <a:pt x="358044" y="219029"/>
                  </a:cubicBezTo>
                  <a:lnTo>
                    <a:pt x="423331" y="219029"/>
                  </a:lnTo>
                  <a:cubicBezTo>
                    <a:pt x="426427" y="219029"/>
                    <a:pt x="428966" y="221229"/>
                    <a:pt x="429594" y="224107"/>
                  </a:cubicBezTo>
                  <a:cubicBezTo>
                    <a:pt x="429667" y="224542"/>
                    <a:pt x="429715" y="224977"/>
                    <a:pt x="429715" y="225388"/>
                  </a:cubicBezTo>
                  <a:lnTo>
                    <a:pt x="429715" y="263231"/>
                  </a:lnTo>
                  <a:lnTo>
                    <a:pt x="445312" y="263231"/>
                  </a:lnTo>
                  <a:lnTo>
                    <a:pt x="445312" y="197919"/>
                  </a:lnTo>
                  <a:cubicBezTo>
                    <a:pt x="445312" y="194389"/>
                    <a:pt x="448141" y="191559"/>
                    <a:pt x="451671" y="191559"/>
                  </a:cubicBezTo>
                  <a:lnTo>
                    <a:pt x="475610" y="191559"/>
                  </a:lnTo>
                  <a:lnTo>
                    <a:pt x="475610" y="172481"/>
                  </a:lnTo>
                  <a:cubicBezTo>
                    <a:pt x="475610" y="168951"/>
                    <a:pt x="478464" y="166097"/>
                    <a:pt x="481994" y="166097"/>
                  </a:cubicBezTo>
                  <a:lnTo>
                    <a:pt x="516814" y="166097"/>
                  </a:lnTo>
                  <a:lnTo>
                    <a:pt x="516814" y="144504"/>
                  </a:lnTo>
                  <a:lnTo>
                    <a:pt x="497760" y="125449"/>
                  </a:lnTo>
                  <a:cubicBezTo>
                    <a:pt x="496551" y="124289"/>
                    <a:pt x="495874" y="122669"/>
                    <a:pt x="495874" y="120952"/>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4" name="Forma Livre: Forma 33">
              <a:extLst>
                <a:ext uri="{FF2B5EF4-FFF2-40B4-BE49-F238E27FC236}">
                  <a16:creationId xmlns:a16="http://schemas.microsoft.com/office/drawing/2014/main" id="{7416F682-C4C8-4DB9-7010-36D0FF0A7600}"/>
                </a:ext>
              </a:extLst>
            </p:cNvPr>
            <p:cNvSpPr/>
            <p:nvPr>
              <p:custDataLst>
                <p:tags r:id="rId116"/>
              </p:custDataLst>
            </p:nvPr>
          </p:nvSpPr>
          <p:spPr>
            <a:xfrm>
              <a:off x="4955381" y="1140564"/>
              <a:ext cx="484025" cy="692801"/>
            </a:xfrm>
            <a:custGeom>
              <a:avLst/>
              <a:gdLst>
                <a:gd name="connsiteX0" fmla="*/ 116527 w 484025"/>
                <a:gd name="connsiteY0" fmla="*/ 192575 h 692801"/>
                <a:gd name="connsiteX1" fmla="*/ 114665 w 484025"/>
                <a:gd name="connsiteY1" fmla="*/ 197097 h 692801"/>
                <a:gd name="connsiteX2" fmla="*/ 55519 w 484025"/>
                <a:gd name="connsiteY2" fmla="*/ 256243 h 692801"/>
                <a:gd name="connsiteX3" fmla="*/ 51021 w 484025"/>
                <a:gd name="connsiteY3" fmla="*/ 258129 h 692801"/>
                <a:gd name="connsiteX4" fmla="*/ 36561 w 484025"/>
                <a:gd name="connsiteY4" fmla="*/ 258129 h 692801"/>
                <a:gd name="connsiteX5" fmla="*/ 0 w 484025"/>
                <a:gd name="connsiteY5" fmla="*/ 294690 h 692801"/>
                <a:gd name="connsiteX6" fmla="*/ 28001 w 484025"/>
                <a:gd name="connsiteY6" fmla="*/ 294690 h 692801"/>
                <a:gd name="connsiteX7" fmla="*/ 32499 w 484025"/>
                <a:gd name="connsiteY7" fmla="*/ 296576 h 692801"/>
                <a:gd name="connsiteX8" fmla="*/ 67101 w 484025"/>
                <a:gd name="connsiteY8" fmla="*/ 331179 h 692801"/>
                <a:gd name="connsiteX9" fmla="*/ 68987 w 484025"/>
                <a:gd name="connsiteY9" fmla="*/ 335676 h 692801"/>
                <a:gd name="connsiteX10" fmla="*/ 68987 w 484025"/>
                <a:gd name="connsiteY10" fmla="*/ 429764 h 692801"/>
                <a:gd name="connsiteX11" fmla="*/ 68842 w 484025"/>
                <a:gd name="connsiteY11" fmla="*/ 430997 h 692801"/>
                <a:gd name="connsiteX12" fmla="*/ 67101 w 484025"/>
                <a:gd name="connsiteY12" fmla="*/ 434237 h 692801"/>
                <a:gd name="connsiteX13" fmla="*/ 51360 w 484025"/>
                <a:gd name="connsiteY13" fmla="*/ 450003 h 692801"/>
                <a:gd name="connsiteX14" fmla="*/ 103808 w 484025"/>
                <a:gd name="connsiteY14" fmla="*/ 502427 h 692801"/>
                <a:gd name="connsiteX15" fmla="*/ 118558 w 484025"/>
                <a:gd name="connsiteY15" fmla="*/ 487652 h 692801"/>
                <a:gd name="connsiteX16" fmla="*/ 127577 w 484025"/>
                <a:gd name="connsiteY16" fmla="*/ 487652 h 692801"/>
                <a:gd name="connsiteX17" fmla="*/ 157537 w 484025"/>
                <a:gd name="connsiteY17" fmla="*/ 517636 h 692801"/>
                <a:gd name="connsiteX18" fmla="*/ 157537 w 484025"/>
                <a:gd name="connsiteY18" fmla="*/ 526631 h 692801"/>
                <a:gd name="connsiteX19" fmla="*/ 95393 w 484025"/>
                <a:gd name="connsiteY19" fmla="*/ 588800 h 692801"/>
                <a:gd name="connsiteX20" fmla="*/ 134832 w 484025"/>
                <a:gd name="connsiteY20" fmla="*/ 628215 h 692801"/>
                <a:gd name="connsiteX21" fmla="*/ 136548 w 484025"/>
                <a:gd name="connsiteY21" fmla="*/ 631455 h 692801"/>
                <a:gd name="connsiteX22" fmla="*/ 136694 w 484025"/>
                <a:gd name="connsiteY22" fmla="*/ 632712 h 692801"/>
                <a:gd name="connsiteX23" fmla="*/ 134832 w 484025"/>
                <a:gd name="connsiteY23" fmla="*/ 637210 h 692801"/>
                <a:gd name="connsiteX24" fmla="*/ 125256 w 484025"/>
                <a:gd name="connsiteY24" fmla="*/ 646785 h 692801"/>
                <a:gd name="connsiteX25" fmla="*/ 171248 w 484025"/>
                <a:gd name="connsiteY25" fmla="*/ 692801 h 692801"/>
                <a:gd name="connsiteX26" fmla="*/ 181452 w 484025"/>
                <a:gd name="connsiteY26" fmla="*/ 682645 h 692801"/>
                <a:gd name="connsiteX27" fmla="*/ 183145 w 484025"/>
                <a:gd name="connsiteY27" fmla="*/ 680929 h 692801"/>
                <a:gd name="connsiteX28" fmla="*/ 183145 w 484025"/>
                <a:gd name="connsiteY28" fmla="*/ 611216 h 692801"/>
                <a:gd name="connsiteX29" fmla="*/ 161043 w 484025"/>
                <a:gd name="connsiteY29" fmla="*/ 589114 h 692801"/>
                <a:gd name="connsiteX30" fmla="*/ 161043 w 484025"/>
                <a:gd name="connsiteY30" fmla="*/ 580095 h 692801"/>
                <a:gd name="connsiteX31" fmla="*/ 195960 w 484025"/>
                <a:gd name="connsiteY31" fmla="*/ 545154 h 692801"/>
                <a:gd name="connsiteX32" fmla="*/ 195960 w 484025"/>
                <a:gd name="connsiteY32" fmla="*/ 495172 h 692801"/>
                <a:gd name="connsiteX33" fmla="*/ 196106 w 484025"/>
                <a:gd name="connsiteY33" fmla="*/ 493915 h 692801"/>
                <a:gd name="connsiteX34" fmla="*/ 197847 w 484025"/>
                <a:gd name="connsiteY34" fmla="*/ 490675 h 692801"/>
                <a:gd name="connsiteX35" fmla="*/ 213322 w 484025"/>
                <a:gd name="connsiteY35" fmla="*/ 475223 h 692801"/>
                <a:gd name="connsiteX36" fmla="*/ 216562 w 484025"/>
                <a:gd name="connsiteY36" fmla="*/ 473482 h 692801"/>
                <a:gd name="connsiteX37" fmla="*/ 217820 w 484025"/>
                <a:gd name="connsiteY37" fmla="*/ 473337 h 692801"/>
                <a:gd name="connsiteX38" fmla="*/ 256170 w 484025"/>
                <a:gd name="connsiteY38" fmla="*/ 473337 h 692801"/>
                <a:gd name="connsiteX39" fmla="*/ 322619 w 484025"/>
                <a:gd name="connsiteY39" fmla="*/ 406889 h 692801"/>
                <a:gd name="connsiteX40" fmla="*/ 327117 w 484025"/>
                <a:gd name="connsiteY40" fmla="*/ 405027 h 692801"/>
                <a:gd name="connsiteX41" fmla="*/ 351515 w 484025"/>
                <a:gd name="connsiteY41" fmla="*/ 405027 h 692801"/>
                <a:gd name="connsiteX42" fmla="*/ 356037 w 484025"/>
                <a:gd name="connsiteY42" fmla="*/ 406889 h 692801"/>
                <a:gd name="connsiteX43" fmla="*/ 367571 w 484025"/>
                <a:gd name="connsiteY43" fmla="*/ 418447 h 692801"/>
                <a:gd name="connsiteX44" fmla="*/ 395548 w 484025"/>
                <a:gd name="connsiteY44" fmla="*/ 418447 h 692801"/>
                <a:gd name="connsiteX45" fmla="*/ 418834 w 484025"/>
                <a:gd name="connsiteY45" fmla="*/ 395161 h 692801"/>
                <a:gd name="connsiteX46" fmla="*/ 390978 w 484025"/>
                <a:gd name="connsiteY46" fmla="*/ 367281 h 692801"/>
                <a:gd name="connsiteX47" fmla="*/ 389116 w 484025"/>
                <a:gd name="connsiteY47" fmla="*/ 362783 h 692801"/>
                <a:gd name="connsiteX48" fmla="*/ 389116 w 484025"/>
                <a:gd name="connsiteY48" fmla="*/ 326125 h 692801"/>
                <a:gd name="connsiteX49" fmla="*/ 389237 w 484025"/>
                <a:gd name="connsiteY49" fmla="*/ 324868 h 692801"/>
                <a:gd name="connsiteX50" fmla="*/ 390978 w 484025"/>
                <a:gd name="connsiteY50" fmla="*/ 321603 h 692801"/>
                <a:gd name="connsiteX51" fmla="*/ 410419 w 484025"/>
                <a:gd name="connsiteY51" fmla="*/ 302162 h 692801"/>
                <a:gd name="connsiteX52" fmla="*/ 410419 w 484025"/>
                <a:gd name="connsiteY52" fmla="*/ 188150 h 692801"/>
                <a:gd name="connsiteX53" fmla="*/ 410564 w 484025"/>
                <a:gd name="connsiteY53" fmla="*/ 186917 h 692801"/>
                <a:gd name="connsiteX54" fmla="*/ 412305 w 484025"/>
                <a:gd name="connsiteY54" fmla="*/ 183652 h 692801"/>
                <a:gd name="connsiteX55" fmla="*/ 440065 w 484025"/>
                <a:gd name="connsiteY55" fmla="*/ 155893 h 692801"/>
                <a:gd name="connsiteX56" fmla="*/ 444562 w 484025"/>
                <a:gd name="connsiteY56" fmla="*/ 154031 h 692801"/>
                <a:gd name="connsiteX57" fmla="*/ 452518 w 484025"/>
                <a:gd name="connsiteY57" fmla="*/ 154031 h 692801"/>
                <a:gd name="connsiteX58" fmla="*/ 484025 w 484025"/>
                <a:gd name="connsiteY58" fmla="*/ 122524 h 692801"/>
                <a:gd name="connsiteX59" fmla="*/ 476456 w 484025"/>
                <a:gd name="connsiteY59" fmla="*/ 114955 h 692801"/>
                <a:gd name="connsiteX60" fmla="*/ 428530 w 484025"/>
                <a:gd name="connsiteY60" fmla="*/ 114955 h 692801"/>
                <a:gd name="connsiteX61" fmla="*/ 424033 w 484025"/>
                <a:gd name="connsiteY61" fmla="*/ 113093 h 692801"/>
                <a:gd name="connsiteX62" fmla="*/ 399513 w 484025"/>
                <a:gd name="connsiteY62" fmla="*/ 88598 h 692801"/>
                <a:gd name="connsiteX63" fmla="*/ 291547 w 484025"/>
                <a:gd name="connsiteY63" fmla="*/ 88598 h 692801"/>
                <a:gd name="connsiteX64" fmla="*/ 287049 w 484025"/>
                <a:gd name="connsiteY64" fmla="*/ 86736 h 692801"/>
                <a:gd name="connsiteX65" fmla="*/ 200289 w 484025"/>
                <a:gd name="connsiteY65" fmla="*/ 0 h 692801"/>
                <a:gd name="connsiteX66" fmla="*/ 168515 w 484025"/>
                <a:gd name="connsiteY66" fmla="*/ 0 h 692801"/>
                <a:gd name="connsiteX67" fmla="*/ 168515 w 484025"/>
                <a:gd name="connsiteY67" fmla="*/ 67682 h 692801"/>
                <a:gd name="connsiteX68" fmla="*/ 168394 w 484025"/>
                <a:gd name="connsiteY68" fmla="*/ 68939 h 692801"/>
                <a:gd name="connsiteX69" fmla="*/ 166653 w 484025"/>
                <a:gd name="connsiteY69" fmla="*/ 72204 h 692801"/>
                <a:gd name="connsiteX70" fmla="*/ 116599 w 484025"/>
                <a:gd name="connsiteY70" fmla="*/ 122282 h 692801"/>
                <a:gd name="connsiteX71" fmla="*/ 116599 w 484025"/>
                <a:gd name="connsiteY71" fmla="*/ 192575 h 6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84025" h="692801">
                  <a:moveTo>
                    <a:pt x="116527" y="192575"/>
                  </a:moveTo>
                  <a:cubicBezTo>
                    <a:pt x="116527" y="194268"/>
                    <a:pt x="115874" y="195888"/>
                    <a:pt x="114665" y="197097"/>
                  </a:cubicBezTo>
                  <a:lnTo>
                    <a:pt x="55519" y="256243"/>
                  </a:lnTo>
                  <a:cubicBezTo>
                    <a:pt x="54310" y="257428"/>
                    <a:pt x="52714" y="258129"/>
                    <a:pt x="51021" y="258129"/>
                  </a:cubicBezTo>
                  <a:lnTo>
                    <a:pt x="36561" y="258129"/>
                  </a:lnTo>
                  <a:lnTo>
                    <a:pt x="0" y="294690"/>
                  </a:lnTo>
                  <a:lnTo>
                    <a:pt x="28001" y="294690"/>
                  </a:lnTo>
                  <a:cubicBezTo>
                    <a:pt x="29670" y="294690"/>
                    <a:pt x="31290" y="295367"/>
                    <a:pt x="32499" y="296576"/>
                  </a:cubicBezTo>
                  <a:lnTo>
                    <a:pt x="67101" y="331179"/>
                  </a:lnTo>
                  <a:cubicBezTo>
                    <a:pt x="68310" y="332364"/>
                    <a:pt x="68987" y="333984"/>
                    <a:pt x="68987" y="335676"/>
                  </a:cubicBezTo>
                  <a:lnTo>
                    <a:pt x="68987" y="429764"/>
                  </a:lnTo>
                  <a:cubicBezTo>
                    <a:pt x="68987" y="430175"/>
                    <a:pt x="68939" y="430586"/>
                    <a:pt x="68842" y="430997"/>
                  </a:cubicBezTo>
                  <a:cubicBezTo>
                    <a:pt x="68601" y="432230"/>
                    <a:pt x="68020" y="433342"/>
                    <a:pt x="67101" y="434237"/>
                  </a:cubicBezTo>
                  <a:lnTo>
                    <a:pt x="51360" y="450003"/>
                  </a:lnTo>
                  <a:lnTo>
                    <a:pt x="103808" y="502427"/>
                  </a:lnTo>
                  <a:lnTo>
                    <a:pt x="118558" y="487652"/>
                  </a:lnTo>
                  <a:cubicBezTo>
                    <a:pt x="120952" y="485258"/>
                    <a:pt x="125159" y="485258"/>
                    <a:pt x="127577" y="487652"/>
                  </a:cubicBezTo>
                  <a:lnTo>
                    <a:pt x="157537" y="517636"/>
                  </a:lnTo>
                  <a:cubicBezTo>
                    <a:pt x="160052" y="520127"/>
                    <a:pt x="160052" y="524141"/>
                    <a:pt x="157537" y="526631"/>
                  </a:cubicBezTo>
                  <a:lnTo>
                    <a:pt x="95393" y="588800"/>
                  </a:lnTo>
                  <a:lnTo>
                    <a:pt x="134832" y="628215"/>
                  </a:lnTo>
                  <a:cubicBezTo>
                    <a:pt x="135726" y="629109"/>
                    <a:pt x="136331" y="630246"/>
                    <a:pt x="136548" y="631455"/>
                  </a:cubicBezTo>
                  <a:cubicBezTo>
                    <a:pt x="136645" y="631866"/>
                    <a:pt x="136694" y="632301"/>
                    <a:pt x="136694" y="632712"/>
                  </a:cubicBezTo>
                  <a:cubicBezTo>
                    <a:pt x="136694" y="634405"/>
                    <a:pt x="136041" y="636025"/>
                    <a:pt x="134832" y="637210"/>
                  </a:cubicBezTo>
                  <a:lnTo>
                    <a:pt x="125256" y="646785"/>
                  </a:lnTo>
                  <a:lnTo>
                    <a:pt x="171248" y="692801"/>
                  </a:lnTo>
                  <a:lnTo>
                    <a:pt x="181452" y="682645"/>
                  </a:lnTo>
                  <a:lnTo>
                    <a:pt x="183145" y="680929"/>
                  </a:lnTo>
                  <a:lnTo>
                    <a:pt x="183145" y="611216"/>
                  </a:lnTo>
                  <a:lnTo>
                    <a:pt x="161043" y="589114"/>
                  </a:lnTo>
                  <a:cubicBezTo>
                    <a:pt x="158529" y="586624"/>
                    <a:pt x="158529" y="582586"/>
                    <a:pt x="161043" y="580095"/>
                  </a:cubicBezTo>
                  <a:lnTo>
                    <a:pt x="195960" y="545154"/>
                  </a:lnTo>
                  <a:lnTo>
                    <a:pt x="195960" y="495172"/>
                  </a:lnTo>
                  <a:cubicBezTo>
                    <a:pt x="195960" y="494737"/>
                    <a:pt x="196009" y="494326"/>
                    <a:pt x="196106" y="493915"/>
                  </a:cubicBezTo>
                  <a:cubicBezTo>
                    <a:pt x="196347" y="492682"/>
                    <a:pt x="196952" y="491545"/>
                    <a:pt x="197847" y="490675"/>
                  </a:cubicBezTo>
                  <a:lnTo>
                    <a:pt x="213322" y="475223"/>
                  </a:lnTo>
                  <a:cubicBezTo>
                    <a:pt x="214193" y="474329"/>
                    <a:pt x="215329" y="473724"/>
                    <a:pt x="216562" y="473482"/>
                  </a:cubicBezTo>
                  <a:cubicBezTo>
                    <a:pt x="216973" y="473386"/>
                    <a:pt x="217384" y="473337"/>
                    <a:pt x="217820" y="473337"/>
                  </a:cubicBezTo>
                  <a:lnTo>
                    <a:pt x="256170" y="473337"/>
                  </a:lnTo>
                  <a:lnTo>
                    <a:pt x="322619" y="406889"/>
                  </a:lnTo>
                  <a:cubicBezTo>
                    <a:pt x="323828" y="405704"/>
                    <a:pt x="325424" y="405027"/>
                    <a:pt x="327117" y="405027"/>
                  </a:cubicBezTo>
                  <a:lnTo>
                    <a:pt x="351515" y="405027"/>
                  </a:lnTo>
                  <a:cubicBezTo>
                    <a:pt x="353207" y="405027"/>
                    <a:pt x="354828" y="405680"/>
                    <a:pt x="356037" y="406889"/>
                  </a:cubicBezTo>
                  <a:lnTo>
                    <a:pt x="367571" y="418447"/>
                  </a:lnTo>
                  <a:lnTo>
                    <a:pt x="395548" y="418447"/>
                  </a:lnTo>
                  <a:lnTo>
                    <a:pt x="418834" y="395161"/>
                  </a:lnTo>
                  <a:lnTo>
                    <a:pt x="390978" y="367281"/>
                  </a:lnTo>
                  <a:cubicBezTo>
                    <a:pt x="389793" y="366096"/>
                    <a:pt x="389116" y="364476"/>
                    <a:pt x="389116" y="362783"/>
                  </a:cubicBezTo>
                  <a:lnTo>
                    <a:pt x="389116" y="326125"/>
                  </a:lnTo>
                  <a:cubicBezTo>
                    <a:pt x="389116" y="325690"/>
                    <a:pt x="389164" y="325279"/>
                    <a:pt x="389237" y="324868"/>
                  </a:cubicBezTo>
                  <a:cubicBezTo>
                    <a:pt x="389478" y="323659"/>
                    <a:pt x="390107" y="322498"/>
                    <a:pt x="390978" y="321603"/>
                  </a:cubicBezTo>
                  <a:lnTo>
                    <a:pt x="410419" y="302162"/>
                  </a:lnTo>
                  <a:lnTo>
                    <a:pt x="410419" y="188150"/>
                  </a:lnTo>
                  <a:cubicBezTo>
                    <a:pt x="410419" y="187715"/>
                    <a:pt x="410467" y="187304"/>
                    <a:pt x="410564" y="186917"/>
                  </a:cubicBezTo>
                  <a:cubicBezTo>
                    <a:pt x="410806" y="185684"/>
                    <a:pt x="411386" y="184547"/>
                    <a:pt x="412305" y="183652"/>
                  </a:cubicBezTo>
                  <a:lnTo>
                    <a:pt x="440065" y="155893"/>
                  </a:lnTo>
                  <a:cubicBezTo>
                    <a:pt x="441249" y="154684"/>
                    <a:pt x="442869" y="154031"/>
                    <a:pt x="444562" y="154031"/>
                  </a:cubicBezTo>
                  <a:lnTo>
                    <a:pt x="452518" y="154031"/>
                  </a:lnTo>
                  <a:lnTo>
                    <a:pt x="484025" y="122524"/>
                  </a:lnTo>
                  <a:lnTo>
                    <a:pt x="476456" y="114955"/>
                  </a:lnTo>
                  <a:lnTo>
                    <a:pt x="428530" y="114955"/>
                  </a:lnTo>
                  <a:cubicBezTo>
                    <a:pt x="426862" y="114955"/>
                    <a:pt x="425218" y="114278"/>
                    <a:pt x="424033" y="113093"/>
                  </a:cubicBezTo>
                  <a:lnTo>
                    <a:pt x="399513" y="88598"/>
                  </a:lnTo>
                  <a:lnTo>
                    <a:pt x="291547" y="88598"/>
                  </a:lnTo>
                  <a:cubicBezTo>
                    <a:pt x="289878" y="88598"/>
                    <a:pt x="288234" y="87921"/>
                    <a:pt x="287049" y="86736"/>
                  </a:cubicBezTo>
                  <a:lnTo>
                    <a:pt x="200289" y="0"/>
                  </a:lnTo>
                  <a:lnTo>
                    <a:pt x="168515" y="0"/>
                  </a:lnTo>
                  <a:lnTo>
                    <a:pt x="168515" y="67682"/>
                  </a:lnTo>
                  <a:cubicBezTo>
                    <a:pt x="168515" y="68117"/>
                    <a:pt x="168467" y="68528"/>
                    <a:pt x="168394" y="68939"/>
                  </a:cubicBezTo>
                  <a:cubicBezTo>
                    <a:pt x="168152" y="70172"/>
                    <a:pt x="167548" y="71309"/>
                    <a:pt x="166653" y="72204"/>
                  </a:cubicBezTo>
                  <a:lnTo>
                    <a:pt x="116599" y="122282"/>
                  </a:lnTo>
                  <a:lnTo>
                    <a:pt x="116599" y="192575"/>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5" name="Forma Livre: Forma 34">
              <a:extLst>
                <a:ext uri="{FF2B5EF4-FFF2-40B4-BE49-F238E27FC236}">
                  <a16:creationId xmlns:a16="http://schemas.microsoft.com/office/drawing/2014/main" id="{F901DDCC-42FA-D5B7-B27A-9059E5B8FC98}"/>
                </a:ext>
              </a:extLst>
            </p:cNvPr>
            <p:cNvSpPr/>
            <p:nvPr>
              <p:custDataLst>
                <p:tags r:id="rId117"/>
              </p:custDataLst>
            </p:nvPr>
          </p:nvSpPr>
          <p:spPr>
            <a:xfrm>
              <a:off x="4486082" y="721295"/>
              <a:ext cx="333427" cy="392138"/>
            </a:xfrm>
            <a:custGeom>
              <a:avLst/>
              <a:gdLst>
                <a:gd name="connsiteX0" fmla="*/ 32499 w 333427"/>
                <a:gd name="connsiteY0" fmla="*/ 177752 h 392138"/>
                <a:gd name="connsiteX1" fmla="*/ 53052 w 333427"/>
                <a:gd name="connsiteY1" fmla="*/ 198306 h 392138"/>
                <a:gd name="connsiteX2" fmla="*/ 69665 w 333427"/>
                <a:gd name="connsiteY2" fmla="*/ 198306 h 392138"/>
                <a:gd name="connsiteX3" fmla="*/ 74186 w 333427"/>
                <a:gd name="connsiteY3" fmla="*/ 200168 h 392138"/>
                <a:gd name="connsiteX4" fmla="*/ 84028 w 333427"/>
                <a:gd name="connsiteY4" fmla="*/ 210034 h 392138"/>
                <a:gd name="connsiteX5" fmla="*/ 93918 w 333427"/>
                <a:gd name="connsiteY5" fmla="*/ 219899 h 392138"/>
                <a:gd name="connsiteX6" fmla="*/ 95635 w 333427"/>
                <a:gd name="connsiteY6" fmla="*/ 223140 h 392138"/>
                <a:gd name="connsiteX7" fmla="*/ 95756 w 333427"/>
                <a:gd name="connsiteY7" fmla="*/ 224397 h 392138"/>
                <a:gd name="connsiteX8" fmla="*/ 95756 w 333427"/>
                <a:gd name="connsiteY8" fmla="*/ 239607 h 392138"/>
                <a:gd name="connsiteX9" fmla="*/ 116454 w 333427"/>
                <a:gd name="connsiteY9" fmla="*/ 260305 h 392138"/>
                <a:gd name="connsiteX10" fmla="*/ 118316 w 333427"/>
                <a:gd name="connsiteY10" fmla="*/ 264803 h 392138"/>
                <a:gd name="connsiteX11" fmla="*/ 118316 w 333427"/>
                <a:gd name="connsiteY11" fmla="*/ 305257 h 392138"/>
                <a:gd name="connsiteX12" fmla="*/ 156111 w 333427"/>
                <a:gd name="connsiteY12" fmla="*/ 343052 h 392138"/>
                <a:gd name="connsiteX13" fmla="*/ 157973 w 333427"/>
                <a:gd name="connsiteY13" fmla="*/ 347549 h 392138"/>
                <a:gd name="connsiteX14" fmla="*/ 157973 w 333427"/>
                <a:gd name="connsiteY14" fmla="*/ 355771 h 392138"/>
                <a:gd name="connsiteX15" fmla="*/ 174923 w 333427"/>
                <a:gd name="connsiteY15" fmla="*/ 372746 h 392138"/>
                <a:gd name="connsiteX16" fmla="*/ 176809 w 333427"/>
                <a:gd name="connsiteY16" fmla="*/ 377243 h 392138"/>
                <a:gd name="connsiteX17" fmla="*/ 176809 w 333427"/>
                <a:gd name="connsiteY17" fmla="*/ 392138 h 392138"/>
                <a:gd name="connsiteX18" fmla="*/ 211605 w 333427"/>
                <a:gd name="connsiteY18" fmla="*/ 392138 h 392138"/>
                <a:gd name="connsiteX19" fmla="*/ 211605 w 333427"/>
                <a:gd name="connsiteY19" fmla="*/ 372625 h 392138"/>
                <a:gd name="connsiteX20" fmla="*/ 213467 w 333427"/>
                <a:gd name="connsiteY20" fmla="*/ 368103 h 392138"/>
                <a:gd name="connsiteX21" fmla="*/ 249811 w 333427"/>
                <a:gd name="connsiteY21" fmla="*/ 331759 h 392138"/>
                <a:gd name="connsiteX22" fmla="*/ 249811 w 333427"/>
                <a:gd name="connsiteY22" fmla="*/ 318000 h 392138"/>
                <a:gd name="connsiteX23" fmla="*/ 249956 w 333427"/>
                <a:gd name="connsiteY23" fmla="*/ 316767 h 392138"/>
                <a:gd name="connsiteX24" fmla="*/ 251697 w 333427"/>
                <a:gd name="connsiteY24" fmla="*/ 313503 h 392138"/>
                <a:gd name="connsiteX25" fmla="*/ 309150 w 333427"/>
                <a:gd name="connsiteY25" fmla="*/ 256049 h 392138"/>
                <a:gd name="connsiteX26" fmla="*/ 312415 w 333427"/>
                <a:gd name="connsiteY26" fmla="*/ 254308 h 392138"/>
                <a:gd name="connsiteX27" fmla="*/ 313648 w 333427"/>
                <a:gd name="connsiteY27" fmla="*/ 254188 h 392138"/>
                <a:gd name="connsiteX28" fmla="*/ 333428 w 333427"/>
                <a:gd name="connsiteY28" fmla="*/ 254188 h 392138"/>
                <a:gd name="connsiteX29" fmla="*/ 333428 w 333427"/>
                <a:gd name="connsiteY29" fmla="*/ 250464 h 392138"/>
                <a:gd name="connsiteX30" fmla="*/ 333428 w 333427"/>
                <a:gd name="connsiteY30" fmla="*/ 188658 h 392138"/>
                <a:gd name="connsiteX31" fmla="*/ 315171 w 333427"/>
                <a:gd name="connsiteY31" fmla="*/ 188658 h 392138"/>
                <a:gd name="connsiteX32" fmla="*/ 310674 w 333427"/>
                <a:gd name="connsiteY32" fmla="*/ 186796 h 392138"/>
                <a:gd name="connsiteX33" fmla="*/ 251939 w 333427"/>
                <a:gd name="connsiteY33" fmla="*/ 128085 h 392138"/>
                <a:gd name="connsiteX34" fmla="*/ 250077 w 333427"/>
                <a:gd name="connsiteY34" fmla="*/ 123588 h 392138"/>
                <a:gd name="connsiteX35" fmla="*/ 250077 w 333427"/>
                <a:gd name="connsiteY35" fmla="*/ 19514 h 392138"/>
                <a:gd name="connsiteX36" fmla="*/ 230587 w 333427"/>
                <a:gd name="connsiteY36" fmla="*/ 0 h 392138"/>
                <a:gd name="connsiteX37" fmla="*/ 205367 w 333427"/>
                <a:gd name="connsiteY37" fmla="*/ 25196 h 392138"/>
                <a:gd name="connsiteX38" fmla="*/ 205367 w 333427"/>
                <a:gd name="connsiteY38" fmla="*/ 44662 h 392138"/>
                <a:gd name="connsiteX39" fmla="*/ 203505 w 333427"/>
                <a:gd name="connsiteY39" fmla="*/ 49159 h 392138"/>
                <a:gd name="connsiteX40" fmla="*/ 172239 w 333427"/>
                <a:gd name="connsiteY40" fmla="*/ 80425 h 392138"/>
                <a:gd name="connsiteX41" fmla="*/ 172239 w 333427"/>
                <a:gd name="connsiteY41" fmla="*/ 119767 h 392138"/>
                <a:gd name="connsiteX42" fmla="*/ 170377 w 333427"/>
                <a:gd name="connsiteY42" fmla="*/ 124265 h 392138"/>
                <a:gd name="connsiteX43" fmla="*/ 140248 w 333427"/>
                <a:gd name="connsiteY43" fmla="*/ 154418 h 392138"/>
                <a:gd name="connsiteX44" fmla="*/ 135726 w 333427"/>
                <a:gd name="connsiteY44" fmla="*/ 156280 h 392138"/>
                <a:gd name="connsiteX45" fmla="*/ 17845 w 333427"/>
                <a:gd name="connsiteY45" fmla="*/ 156280 h 392138"/>
                <a:gd name="connsiteX46" fmla="*/ 13348 w 333427"/>
                <a:gd name="connsiteY46" fmla="*/ 154418 h 392138"/>
                <a:gd name="connsiteX47" fmla="*/ 0 w 333427"/>
                <a:gd name="connsiteY47" fmla="*/ 141046 h 392138"/>
                <a:gd name="connsiteX48" fmla="*/ 0 w 333427"/>
                <a:gd name="connsiteY48" fmla="*/ 175890 h 392138"/>
                <a:gd name="connsiteX49" fmla="*/ 27953 w 333427"/>
                <a:gd name="connsiteY49" fmla="*/ 175890 h 392138"/>
                <a:gd name="connsiteX50" fmla="*/ 32499 w 333427"/>
                <a:gd name="connsiteY50" fmla="*/ 177752 h 3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3427" h="392138">
                  <a:moveTo>
                    <a:pt x="32499" y="177752"/>
                  </a:moveTo>
                  <a:lnTo>
                    <a:pt x="53052" y="198306"/>
                  </a:lnTo>
                  <a:lnTo>
                    <a:pt x="69665" y="198306"/>
                  </a:lnTo>
                  <a:cubicBezTo>
                    <a:pt x="71357" y="198306"/>
                    <a:pt x="73002" y="198983"/>
                    <a:pt x="74186" y="200168"/>
                  </a:cubicBezTo>
                  <a:lnTo>
                    <a:pt x="84028" y="210034"/>
                  </a:lnTo>
                  <a:lnTo>
                    <a:pt x="93918" y="219899"/>
                  </a:lnTo>
                  <a:cubicBezTo>
                    <a:pt x="94788" y="220794"/>
                    <a:pt x="95393" y="221930"/>
                    <a:pt x="95635" y="223140"/>
                  </a:cubicBezTo>
                  <a:cubicBezTo>
                    <a:pt x="95707" y="223551"/>
                    <a:pt x="95756" y="223986"/>
                    <a:pt x="95756" y="224397"/>
                  </a:cubicBezTo>
                  <a:lnTo>
                    <a:pt x="95756" y="239607"/>
                  </a:lnTo>
                  <a:lnTo>
                    <a:pt x="116454" y="260305"/>
                  </a:lnTo>
                  <a:cubicBezTo>
                    <a:pt x="117639" y="261490"/>
                    <a:pt x="118316" y="263110"/>
                    <a:pt x="118316" y="264803"/>
                  </a:cubicBezTo>
                  <a:lnTo>
                    <a:pt x="118316" y="305257"/>
                  </a:lnTo>
                  <a:lnTo>
                    <a:pt x="156111" y="343052"/>
                  </a:lnTo>
                  <a:cubicBezTo>
                    <a:pt x="157296" y="344236"/>
                    <a:pt x="157973" y="345857"/>
                    <a:pt x="157973" y="347549"/>
                  </a:cubicBezTo>
                  <a:lnTo>
                    <a:pt x="157973" y="355771"/>
                  </a:lnTo>
                  <a:lnTo>
                    <a:pt x="174923" y="372746"/>
                  </a:lnTo>
                  <a:cubicBezTo>
                    <a:pt x="176108" y="373930"/>
                    <a:pt x="176809" y="375550"/>
                    <a:pt x="176809" y="377243"/>
                  </a:cubicBezTo>
                  <a:lnTo>
                    <a:pt x="176809" y="392138"/>
                  </a:lnTo>
                  <a:lnTo>
                    <a:pt x="211605" y="392138"/>
                  </a:lnTo>
                  <a:lnTo>
                    <a:pt x="211605" y="372625"/>
                  </a:lnTo>
                  <a:cubicBezTo>
                    <a:pt x="211605" y="370932"/>
                    <a:pt x="212258" y="369312"/>
                    <a:pt x="213467" y="368103"/>
                  </a:cubicBezTo>
                  <a:lnTo>
                    <a:pt x="249811" y="331759"/>
                  </a:lnTo>
                  <a:lnTo>
                    <a:pt x="249811" y="318000"/>
                  </a:lnTo>
                  <a:cubicBezTo>
                    <a:pt x="249811" y="317565"/>
                    <a:pt x="249859" y="317154"/>
                    <a:pt x="249956" y="316767"/>
                  </a:cubicBezTo>
                  <a:cubicBezTo>
                    <a:pt x="250198" y="315534"/>
                    <a:pt x="250802" y="314397"/>
                    <a:pt x="251697" y="313503"/>
                  </a:cubicBezTo>
                  <a:lnTo>
                    <a:pt x="309150" y="256049"/>
                  </a:lnTo>
                  <a:cubicBezTo>
                    <a:pt x="310045" y="255155"/>
                    <a:pt x="311182" y="254550"/>
                    <a:pt x="312415" y="254308"/>
                  </a:cubicBezTo>
                  <a:cubicBezTo>
                    <a:pt x="312826" y="254212"/>
                    <a:pt x="313213" y="254188"/>
                    <a:pt x="313648" y="254188"/>
                  </a:cubicBezTo>
                  <a:lnTo>
                    <a:pt x="333428" y="254188"/>
                  </a:lnTo>
                  <a:lnTo>
                    <a:pt x="333428" y="250464"/>
                  </a:lnTo>
                  <a:lnTo>
                    <a:pt x="333428" y="188658"/>
                  </a:lnTo>
                  <a:lnTo>
                    <a:pt x="315171" y="188658"/>
                  </a:lnTo>
                  <a:cubicBezTo>
                    <a:pt x="313503" y="188658"/>
                    <a:pt x="311859" y="188005"/>
                    <a:pt x="310674" y="186796"/>
                  </a:cubicBezTo>
                  <a:lnTo>
                    <a:pt x="251939" y="128085"/>
                  </a:lnTo>
                  <a:cubicBezTo>
                    <a:pt x="250754" y="126900"/>
                    <a:pt x="250077" y="125280"/>
                    <a:pt x="250077" y="123588"/>
                  </a:cubicBezTo>
                  <a:lnTo>
                    <a:pt x="250077" y="19514"/>
                  </a:lnTo>
                  <a:lnTo>
                    <a:pt x="230587" y="0"/>
                  </a:lnTo>
                  <a:lnTo>
                    <a:pt x="205367" y="25196"/>
                  </a:lnTo>
                  <a:lnTo>
                    <a:pt x="205367" y="44662"/>
                  </a:lnTo>
                  <a:cubicBezTo>
                    <a:pt x="205367" y="46354"/>
                    <a:pt x="204714" y="47975"/>
                    <a:pt x="203505" y="49159"/>
                  </a:cubicBezTo>
                  <a:lnTo>
                    <a:pt x="172239" y="80425"/>
                  </a:lnTo>
                  <a:lnTo>
                    <a:pt x="172239" y="119767"/>
                  </a:lnTo>
                  <a:cubicBezTo>
                    <a:pt x="172239" y="121460"/>
                    <a:pt x="171562" y="123056"/>
                    <a:pt x="170377" y="124265"/>
                  </a:cubicBezTo>
                  <a:lnTo>
                    <a:pt x="140248" y="154418"/>
                  </a:lnTo>
                  <a:cubicBezTo>
                    <a:pt x="139039" y="155603"/>
                    <a:pt x="137443" y="156280"/>
                    <a:pt x="135726" y="156280"/>
                  </a:cubicBezTo>
                  <a:lnTo>
                    <a:pt x="17845" y="156280"/>
                  </a:lnTo>
                  <a:cubicBezTo>
                    <a:pt x="16177" y="156280"/>
                    <a:pt x="14533" y="155627"/>
                    <a:pt x="13348" y="154418"/>
                  </a:cubicBezTo>
                  <a:lnTo>
                    <a:pt x="0" y="141046"/>
                  </a:lnTo>
                  <a:lnTo>
                    <a:pt x="0" y="175890"/>
                  </a:lnTo>
                  <a:lnTo>
                    <a:pt x="27953" y="175890"/>
                  </a:lnTo>
                  <a:cubicBezTo>
                    <a:pt x="29694" y="175866"/>
                    <a:pt x="31314" y="176543"/>
                    <a:pt x="32499" y="177752"/>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6" name="Forma Livre: Forma 35">
              <a:extLst>
                <a:ext uri="{FF2B5EF4-FFF2-40B4-BE49-F238E27FC236}">
                  <a16:creationId xmlns:a16="http://schemas.microsoft.com/office/drawing/2014/main" id="{07A33A4F-5441-9919-8A89-04C93DF4E5AE}"/>
                </a:ext>
              </a:extLst>
            </p:cNvPr>
            <p:cNvSpPr/>
            <p:nvPr>
              <p:custDataLst>
                <p:tags r:id="rId118"/>
              </p:custDataLst>
            </p:nvPr>
          </p:nvSpPr>
          <p:spPr>
            <a:xfrm>
              <a:off x="4177101" y="865436"/>
              <a:ext cx="934076" cy="912434"/>
            </a:xfrm>
            <a:custGeom>
              <a:avLst/>
              <a:gdLst>
                <a:gd name="connsiteX0" fmla="*/ 123322 w 934076"/>
                <a:gd name="connsiteY0" fmla="*/ 301292 h 912434"/>
                <a:gd name="connsiteX1" fmla="*/ 124579 w 934076"/>
                <a:gd name="connsiteY1" fmla="*/ 301412 h 912434"/>
                <a:gd name="connsiteX2" fmla="*/ 127819 w 934076"/>
                <a:gd name="connsiteY2" fmla="*/ 303153 h 912434"/>
                <a:gd name="connsiteX3" fmla="*/ 156522 w 934076"/>
                <a:gd name="connsiteY3" fmla="*/ 331856 h 912434"/>
                <a:gd name="connsiteX4" fmla="*/ 197822 w 934076"/>
                <a:gd name="connsiteY4" fmla="*/ 331856 h 912434"/>
                <a:gd name="connsiteX5" fmla="*/ 198790 w 934076"/>
                <a:gd name="connsiteY5" fmla="*/ 331904 h 912434"/>
                <a:gd name="connsiteX6" fmla="*/ 203723 w 934076"/>
                <a:gd name="connsiteY6" fmla="*/ 335773 h 912434"/>
                <a:gd name="connsiteX7" fmla="*/ 203456 w 934076"/>
                <a:gd name="connsiteY7" fmla="*/ 341190 h 912434"/>
                <a:gd name="connsiteX8" fmla="*/ 202344 w 934076"/>
                <a:gd name="connsiteY8" fmla="*/ 342713 h 912434"/>
                <a:gd name="connsiteX9" fmla="*/ 148663 w 934076"/>
                <a:gd name="connsiteY9" fmla="*/ 396394 h 912434"/>
                <a:gd name="connsiteX10" fmla="*/ 148663 w 934076"/>
                <a:gd name="connsiteY10" fmla="*/ 447730 h 912434"/>
                <a:gd name="connsiteX11" fmla="*/ 146777 w 934076"/>
                <a:gd name="connsiteY11" fmla="*/ 452227 h 912434"/>
                <a:gd name="connsiteX12" fmla="*/ 113770 w 934076"/>
                <a:gd name="connsiteY12" fmla="*/ 485234 h 912434"/>
                <a:gd name="connsiteX13" fmla="*/ 113770 w 934076"/>
                <a:gd name="connsiteY13" fmla="*/ 534176 h 912434"/>
                <a:gd name="connsiteX14" fmla="*/ 113649 w 934076"/>
                <a:gd name="connsiteY14" fmla="*/ 535433 h 912434"/>
                <a:gd name="connsiteX15" fmla="*/ 111908 w 934076"/>
                <a:gd name="connsiteY15" fmla="*/ 538698 h 912434"/>
                <a:gd name="connsiteX16" fmla="*/ 73558 w 934076"/>
                <a:gd name="connsiteY16" fmla="*/ 577048 h 912434"/>
                <a:gd name="connsiteX17" fmla="*/ 73558 w 934076"/>
                <a:gd name="connsiteY17" fmla="*/ 625700 h 912434"/>
                <a:gd name="connsiteX18" fmla="*/ 73437 w 934076"/>
                <a:gd name="connsiteY18" fmla="*/ 626933 h 912434"/>
                <a:gd name="connsiteX19" fmla="*/ 71696 w 934076"/>
                <a:gd name="connsiteY19" fmla="*/ 630197 h 912434"/>
                <a:gd name="connsiteX20" fmla="*/ 15137 w 934076"/>
                <a:gd name="connsiteY20" fmla="*/ 686780 h 912434"/>
                <a:gd name="connsiteX21" fmla="*/ 64587 w 934076"/>
                <a:gd name="connsiteY21" fmla="*/ 736230 h 912434"/>
                <a:gd name="connsiteX22" fmla="*/ 100737 w 934076"/>
                <a:gd name="connsiteY22" fmla="*/ 772380 h 912434"/>
                <a:gd name="connsiteX23" fmla="*/ 102599 w 934076"/>
                <a:gd name="connsiteY23" fmla="*/ 776878 h 912434"/>
                <a:gd name="connsiteX24" fmla="*/ 102599 w 934076"/>
                <a:gd name="connsiteY24" fmla="*/ 842722 h 912434"/>
                <a:gd name="connsiteX25" fmla="*/ 172312 w 934076"/>
                <a:gd name="connsiteY25" fmla="*/ 912435 h 912434"/>
                <a:gd name="connsiteX26" fmla="*/ 631092 w 934076"/>
                <a:gd name="connsiteY26" fmla="*/ 912435 h 912434"/>
                <a:gd name="connsiteX27" fmla="*/ 631092 w 934076"/>
                <a:gd name="connsiteY27" fmla="*/ 896282 h 912434"/>
                <a:gd name="connsiteX28" fmla="*/ 631237 w 934076"/>
                <a:gd name="connsiteY28" fmla="*/ 895049 h 912434"/>
                <a:gd name="connsiteX29" fmla="*/ 632954 w 934076"/>
                <a:gd name="connsiteY29" fmla="*/ 891784 h 912434"/>
                <a:gd name="connsiteX30" fmla="*/ 704287 w 934076"/>
                <a:gd name="connsiteY30" fmla="*/ 820475 h 912434"/>
                <a:gd name="connsiteX31" fmla="*/ 704287 w 934076"/>
                <a:gd name="connsiteY31" fmla="*/ 773637 h 912434"/>
                <a:gd name="connsiteX32" fmla="*/ 692681 w 934076"/>
                <a:gd name="connsiteY32" fmla="*/ 762031 h 912434"/>
                <a:gd name="connsiteX33" fmla="*/ 690819 w 934076"/>
                <a:gd name="connsiteY33" fmla="*/ 757533 h 912434"/>
                <a:gd name="connsiteX34" fmla="*/ 692681 w 934076"/>
                <a:gd name="connsiteY34" fmla="*/ 753011 h 912434"/>
                <a:gd name="connsiteX35" fmla="*/ 712025 w 934076"/>
                <a:gd name="connsiteY35" fmla="*/ 733691 h 912434"/>
                <a:gd name="connsiteX36" fmla="*/ 712025 w 934076"/>
                <a:gd name="connsiteY36" fmla="*/ 701796 h 912434"/>
                <a:gd name="connsiteX37" fmla="*/ 712170 w 934076"/>
                <a:gd name="connsiteY37" fmla="*/ 700539 h 912434"/>
                <a:gd name="connsiteX38" fmla="*/ 713887 w 934076"/>
                <a:gd name="connsiteY38" fmla="*/ 697275 h 912434"/>
                <a:gd name="connsiteX39" fmla="*/ 794530 w 934076"/>
                <a:gd name="connsiteY39" fmla="*/ 616656 h 912434"/>
                <a:gd name="connsiteX40" fmla="*/ 758500 w 934076"/>
                <a:gd name="connsiteY40" fmla="*/ 580627 h 912434"/>
                <a:gd name="connsiteX41" fmla="*/ 758307 w 934076"/>
                <a:gd name="connsiteY41" fmla="*/ 580409 h 912434"/>
                <a:gd name="connsiteX42" fmla="*/ 757968 w 934076"/>
                <a:gd name="connsiteY42" fmla="*/ 580022 h 912434"/>
                <a:gd name="connsiteX43" fmla="*/ 757775 w 934076"/>
                <a:gd name="connsiteY43" fmla="*/ 579732 h 912434"/>
                <a:gd name="connsiteX44" fmla="*/ 757606 w 934076"/>
                <a:gd name="connsiteY44" fmla="*/ 579515 h 912434"/>
                <a:gd name="connsiteX45" fmla="*/ 757461 w 934076"/>
                <a:gd name="connsiteY45" fmla="*/ 579249 h 912434"/>
                <a:gd name="connsiteX46" fmla="*/ 757219 w 934076"/>
                <a:gd name="connsiteY46" fmla="*/ 578813 h 912434"/>
                <a:gd name="connsiteX47" fmla="*/ 757098 w 934076"/>
                <a:gd name="connsiteY47" fmla="*/ 578547 h 912434"/>
                <a:gd name="connsiteX48" fmla="*/ 757098 w 934076"/>
                <a:gd name="connsiteY48" fmla="*/ 578547 h 912434"/>
                <a:gd name="connsiteX49" fmla="*/ 757049 w 934076"/>
                <a:gd name="connsiteY49" fmla="*/ 578402 h 912434"/>
                <a:gd name="connsiteX50" fmla="*/ 756880 w 934076"/>
                <a:gd name="connsiteY50" fmla="*/ 577943 h 912434"/>
                <a:gd name="connsiteX51" fmla="*/ 756759 w 934076"/>
                <a:gd name="connsiteY51" fmla="*/ 577508 h 912434"/>
                <a:gd name="connsiteX52" fmla="*/ 756735 w 934076"/>
                <a:gd name="connsiteY52" fmla="*/ 577363 h 912434"/>
                <a:gd name="connsiteX53" fmla="*/ 756711 w 934076"/>
                <a:gd name="connsiteY53" fmla="*/ 577266 h 912434"/>
                <a:gd name="connsiteX54" fmla="*/ 756687 w 934076"/>
                <a:gd name="connsiteY54" fmla="*/ 577072 h 912434"/>
                <a:gd name="connsiteX55" fmla="*/ 756614 w 934076"/>
                <a:gd name="connsiteY55" fmla="*/ 576613 h 912434"/>
                <a:gd name="connsiteX56" fmla="*/ 756614 w 934076"/>
                <a:gd name="connsiteY56" fmla="*/ 576275 h 912434"/>
                <a:gd name="connsiteX57" fmla="*/ 756614 w 934076"/>
                <a:gd name="connsiteY57" fmla="*/ 576008 h 912434"/>
                <a:gd name="connsiteX58" fmla="*/ 756614 w 934076"/>
                <a:gd name="connsiteY58" fmla="*/ 575670 h 912434"/>
                <a:gd name="connsiteX59" fmla="*/ 756687 w 934076"/>
                <a:gd name="connsiteY59" fmla="*/ 575211 h 912434"/>
                <a:gd name="connsiteX60" fmla="*/ 756711 w 934076"/>
                <a:gd name="connsiteY60" fmla="*/ 575017 h 912434"/>
                <a:gd name="connsiteX61" fmla="*/ 756735 w 934076"/>
                <a:gd name="connsiteY61" fmla="*/ 574920 h 912434"/>
                <a:gd name="connsiteX62" fmla="*/ 756759 w 934076"/>
                <a:gd name="connsiteY62" fmla="*/ 574775 h 912434"/>
                <a:gd name="connsiteX63" fmla="*/ 756880 w 934076"/>
                <a:gd name="connsiteY63" fmla="*/ 574340 h 912434"/>
                <a:gd name="connsiteX64" fmla="*/ 757049 w 934076"/>
                <a:gd name="connsiteY64" fmla="*/ 573881 h 912434"/>
                <a:gd name="connsiteX65" fmla="*/ 757098 w 934076"/>
                <a:gd name="connsiteY65" fmla="*/ 573735 h 912434"/>
                <a:gd name="connsiteX66" fmla="*/ 757098 w 934076"/>
                <a:gd name="connsiteY66" fmla="*/ 573735 h 912434"/>
                <a:gd name="connsiteX67" fmla="*/ 757219 w 934076"/>
                <a:gd name="connsiteY67" fmla="*/ 573470 h 912434"/>
                <a:gd name="connsiteX68" fmla="*/ 757461 w 934076"/>
                <a:gd name="connsiteY68" fmla="*/ 573034 h 912434"/>
                <a:gd name="connsiteX69" fmla="*/ 757606 w 934076"/>
                <a:gd name="connsiteY69" fmla="*/ 572744 h 912434"/>
                <a:gd name="connsiteX70" fmla="*/ 757775 w 934076"/>
                <a:gd name="connsiteY70" fmla="*/ 572551 h 912434"/>
                <a:gd name="connsiteX71" fmla="*/ 757968 w 934076"/>
                <a:gd name="connsiteY71" fmla="*/ 572261 h 912434"/>
                <a:gd name="connsiteX72" fmla="*/ 758307 w 934076"/>
                <a:gd name="connsiteY72" fmla="*/ 571874 h 912434"/>
                <a:gd name="connsiteX73" fmla="*/ 758500 w 934076"/>
                <a:gd name="connsiteY73" fmla="*/ 571680 h 912434"/>
                <a:gd name="connsiteX74" fmla="*/ 807805 w 934076"/>
                <a:gd name="connsiteY74" fmla="*/ 522376 h 912434"/>
                <a:gd name="connsiteX75" fmla="*/ 812302 w 934076"/>
                <a:gd name="connsiteY75" fmla="*/ 520514 h 912434"/>
                <a:gd name="connsiteX76" fmla="*/ 826738 w 934076"/>
                <a:gd name="connsiteY76" fmla="*/ 520514 h 912434"/>
                <a:gd name="connsiteX77" fmla="*/ 882160 w 934076"/>
                <a:gd name="connsiteY77" fmla="*/ 465092 h 912434"/>
                <a:gd name="connsiteX78" fmla="*/ 882160 w 934076"/>
                <a:gd name="connsiteY78" fmla="*/ 394726 h 912434"/>
                <a:gd name="connsiteX79" fmla="*/ 882281 w 934076"/>
                <a:gd name="connsiteY79" fmla="*/ 393468 h 912434"/>
                <a:gd name="connsiteX80" fmla="*/ 883998 w 934076"/>
                <a:gd name="connsiteY80" fmla="*/ 390204 h 912434"/>
                <a:gd name="connsiteX81" fmla="*/ 934077 w 934076"/>
                <a:gd name="connsiteY81" fmla="*/ 340126 h 912434"/>
                <a:gd name="connsiteX82" fmla="*/ 934077 w 934076"/>
                <a:gd name="connsiteY82" fmla="*/ 271356 h 912434"/>
                <a:gd name="connsiteX83" fmla="*/ 908977 w 934076"/>
                <a:gd name="connsiteY83" fmla="*/ 246232 h 912434"/>
                <a:gd name="connsiteX84" fmla="*/ 829374 w 934076"/>
                <a:gd name="connsiteY84" fmla="*/ 246232 h 912434"/>
                <a:gd name="connsiteX85" fmla="*/ 824852 w 934076"/>
                <a:gd name="connsiteY85" fmla="*/ 244370 h 912434"/>
                <a:gd name="connsiteX86" fmla="*/ 803791 w 934076"/>
                <a:gd name="connsiteY86" fmla="*/ 223285 h 912434"/>
                <a:gd name="connsiteX87" fmla="*/ 759516 w 934076"/>
                <a:gd name="connsiteY87" fmla="*/ 223285 h 912434"/>
                <a:gd name="connsiteX88" fmla="*/ 755018 w 934076"/>
                <a:gd name="connsiteY88" fmla="*/ 221423 h 912434"/>
                <a:gd name="connsiteX89" fmla="*/ 653822 w 934076"/>
                <a:gd name="connsiteY89" fmla="*/ 120251 h 912434"/>
                <a:gd name="connsiteX90" fmla="*/ 653604 w 934076"/>
                <a:gd name="connsiteY90" fmla="*/ 120492 h 912434"/>
                <a:gd name="connsiteX91" fmla="*/ 653024 w 934076"/>
                <a:gd name="connsiteY91" fmla="*/ 121073 h 912434"/>
                <a:gd name="connsiteX92" fmla="*/ 652637 w 934076"/>
                <a:gd name="connsiteY92" fmla="*/ 121411 h 912434"/>
                <a:gd name="connsiteX93" fmla="*/ 651936 w 934076"/>
                <a:gd name="connsiteY93" fmla="*/ 121847 h 912434"/>
                <a:gd name="connsiteX94" fmla="*/ 651477 w 934076"/>
                <a:gd name="connsiteY94" fmla="*/ 122113 h 912434"/>
                <a:gd name="connsiteX95" fmla="*/ 650630 w 934076"/>
                <a:gd name="connsiteY95" fmla="*/ 122403 h 912434"/>
                <a:gd name="connsiteX96" fmla="*/ 650195 w 934076"/>
                <a:gd name="connsiteY96" fmla="*/ 122548 h 912434"/>
                <a:gd name="connsiteX97" fmla="*/ 648793 w 934076"/>
                <a:gd name="connsiteY97" fmla="*/ 122717 h 912434"/>
                <a:gd name="connsiteX98" fmla="*/ 625289 w 934076"/>
                <a:gd name="connsiteY98" fmla="*/ 122717 h 912434"/>
                <a:gd name="connsiteX99" fmla="*/ 571535 w 934076"/>
                <a:gd name="connsiteY99" fmla="*/ 176447 h 912434"/>
                <a:gd name="connsiteX100" fmla="*/ 571535 w 934076"/>
                <a:gd name="connsiteY100" fmla="*/ 190205 h 912434"/>
                <a:gd name="connsiteX101" fmla="*/ 569698 w 934076"/>
                <a:gd name="connsiteY101" fmla="*/ 194703 h 912434"/>
                <a:gd name="connsiteX102" fmla="*/ 533330 w 934076"/>
                <a:gd name="connsiteY102" fmla="*/ 231071 h 912434"/>
                <a:gd name="connsiteX103" fmla="*/ 533330 w 934076"/>
                <a:gd name="connsiteY103" fmla="*/ 254333 h 912434"/>
                <a:gd name="connsiteX104" fmla="*/ 526946 w 934076"/>
                <a:gd name="connsiteY104" fmla="*/ 260692 h 912434"/>
                <a:gd name="connsiteX105" fmla="*/ 479407 w 934076"/>
                <a:gd name="connsiteY105" fmla="*/ 260692 h 912434"/>
                <a:gd name="connsiteX106" fmla="*/ 473023 w 934076"/>
                <a:gd name="connsiteY106" fmla="*/ 254333 h 912434"/>
                <a:gd name="connsiteX107" fmla="*/ 473023 w 934076"/>
                <a:gd name="connsiteY107" fmla="*/ 235689 h 912434"/>
                <a:gd name="connsiteX108" fmla="*/ 456048 w 934076"/>
                <a:gd name="connsiteY108" fmla="*/ 218714 h 912434"/>
                <a:gd name="connsiteX109" fmla="*/ 454210 w 934076"/>
                <a:gd name="connsiteY109" fmla="*/ 214217 h 912434"/>
                <a:gd name="connsiteX110" fmla="*/ 454210 w 934076"/>
                <a:gd name="connsiteY110" fmla="*/ 205995 h 912434"/>
                <a:gd name="connsiteX111" fmla="*/ 416416 w 934076"/>
                <a:gd name="connsiteY111" fmla="*/ 168201 h 912434"/>
                <a:gd name="connsiteX112" fmla="*/ 414578 w 934076"/>
                <a:gd name="connsiteY112" fmla="*/ 163703 h 912434"/>
                <a:gd name="connsiteX113" fmla="*/ 414578 w 934076"/>
                <a:gd name="connsiteY113" fmla="*/ 123249 h 912434"/>
                <a:gd name="connsiteX114" fmla="*/ 393880 w 934076"/>
                <a:gd name="connsiteY114" fmla="*/ 102550 h 912434"/>
                <a:gd name="connsiteX115" fmla="*/ 392139 w 934076"/>
                <a:gd name="connsiteY115" fmla="*/ 99310 h 912434"/>
                <a:gd name="connsiteX116" fmla="*/ 392018 w 934076"/>
                <a:gd name="connsiteY116" fmla="*/ 98077 h 912434"/>
                <a:gd name="connsiteX117" fmla="*/ 392018 w 934076"/>
                <a:gd name="connsiteY117" fmla="*/ 82891 h 912434"/>
                <a:gd name="connsiteX118" fmla="*/ 376010 w 934076"/>
                <a:gd name="connsiteY118" fmla="*/ 66884 h 912434"/>
                <a:gd name="connsiteX119" fmla="*/ 359398 w 934076"/>
                <a:gd name="connsiteY119" fmla="*/ 66884 h 912434"/>
                <a:gd name="connsiteX120" fmla="*/ 358141 w 934076"/>
                <a:gd name="connsiteY120" fmla="*/ 66763 h 912434"/>
                <a:gd name="connsiteX121" fmla="*/ 354900 w 934076"/>
                <a:gd name="connsiteY121" fmla="*/ 65022 h 912434"/>
                <a:gd name="connsiteX122" fmla="*/ 334347 w 934076"/>
                <a:gd name="connsiteY122" fmla="*/ 44468 h 912434"/>
                <a:gd name="connsiteX123" fmla="*/ 302670 w 934076"/>
                <a:gd name="connsiteY123" fmla="*/ 44468 h 912434"/>
                <a:gd name="connsiteX124" fmla="*/ 296310 w 934076"/>
                <a:gd name="connsiteY124" fmla="*/ 38109 h 912434"/>
                <a:gd name="connsiteX125" fmla="*/ 296310 w 934076"/>
                <a:gd name="connsiteY125" fmla="*/ 0 h 912434"/>
                <a:gd name="connsiteX126" fmla="*/ 215861 w 934076"/>
                <a:gd name="connsiteY126" fmla="*/ 0 h 912434"/>
                <a:gd name="connsiteX127" fmla="*/ 215861 w 934076"/>
                <a:gd name="connsiteY127" fmla="*/ 31773 h 912434"/>
                <a:gd name="connsiteX128" fmla="*/ 209502 w 934076"/>
                <a:gd name="connsiteY128" fmla="*/ 38133 h 912434"/>
                <a:gd name="connsiteX129" fmla="*/ 106734 w 934076"/>
                <a:gd name="connsiteY129" fmla="*/ 38133 h 912434"/>
                <a:gd name="connsiteX130" fmla="*/ 72615 w 934076"/>
                <a:gd name="connsiteY130" fmla="*/ 72252 h 912434"/>
                <a:gd name="connsiteX131" fmla="*/ 68117 w 934076"/>
                <a:gd name="connsiteY131" fmla="*/ 74114 h 912434"/>
                <a:gd name="connsiteX132" fmla="*/ 15210 w 934076"/>
                <a:gd name="connsiteY132" fmla="*/ 74114 h 912434"/>
                <a:gd name="connsiteX133" fmla="*/ 0 w 934076"/>
                <a:gd name="connsiteY133" fmla="*/ 89324 h 912434"/>
                <a:gd name="connsiteX134" fmla="*/ 0 w 934076"/>
                <a:gd name="connsiteY134" fmla="*/ 162543 h 912434"/>
                <a:gd name="connsiteX135" fmla="*/ 0 w 934076"/>
                <a:gd name="connsiteY135" fmla="*/ 203263 h 912434"/>
                <a:gd name="connsiteX136" fmla="*/ 98029 w 934076"/>
                <a:gd name="connsiteY136" fmla="*/ 301292 h 912434"/>
                <a:gd name="connsiteX137" fmla="*/ 123322 w 934076"/>
                <a:gd name="connsiteY137" fmla="*/ 301292 h 91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934076" h="912434">
                  <a:moveTo>
                    <a:pt x="123322" y="301292"/>
                  </a:moveTo>
                  <a:cubicBezTo>
                    <a:pt x="123733" y="301292"/>
                    <a:pt x="124168" y="301340"/>
                    <a:pt x="124579" y="301412"/>
                  </a:cubicBezTo>
                  <a:cubicBezTo>
                    <a:pt x="125788" y="301654"/>
                    <a:pt x="126925" y="302259"/>
                    <a:pt x="127819" y="303153"/>
                  </a:cubicBezTo>
                  <a:lnTo>
                    <a:pt x="156522" y="331856"/>
                  </a:lnTo>
                  <a:lnTo>
                    <a:pt x="197822" y="331856"/>
                  </a:lnTo>
                  <a:cubicBezTo>
                    <a:pt x="198137" y="331856"/>
                    <a:pt x="198451" y="331856"/>
                    <a:pt x="198790" y="331904"/>
                  </a:cubicBezTo>
                  <a:cubicBezTo>
                    <a:pt x="200966" y="332243"/>
                    <a:pt x="202852" y="333694"/>
                    <a:pt x="203723" y="335773"/>
                  </a:cubicBezTo>
                  <a:cubicBezTo>
                    <a:pt x="204472" y="337563"/>
                    <a:pt x="204327" y="339545"/>
                    <a:pt x="203456" y="341190"/>
                  </a:cubicBezTo>
                  <a:cubicBezTo>
                    <a:pt x="203166" y="341722"/>
                    <a:pt x="202779" y="342254"/>
                    <a:pt x="202344" y="342713"/>
                  </a:cubicBezTo>
                  <a:lnTo>
                    <a:pt x="148663" y="396394"/>
                  </a:lnTo>
                  <a:lnTo>
                    <a:pt x="148663" y="447730"/>
                  </a:lnTo>
                  <a:cubicBezTo>
                    <a:pt x="148663" y="449422"/>
                    <a:pt x="147986" y="451043"/>
                    <a:pt x="146777" y="452227"/>
                  </a:cubicBezTo>
                  <a:lnTo>
                    <a:pt x="113770" y="485234"/>
                  </a:lnTo>
                  <a:lnTo>
                    <a:pt x="113770" y="534176"/>
                  </a:lnTo>
                  <a:cubicBezTo>
                    <a:pt x="113770" y="534611"/>
                    <a:pt x="113746" y="535022"/>
                    <a:pt x="113649" y="535433"/>
                  </a:cubicBezTo>
                  <a:cubicBezTo>
                    <a:pt x="113408" y="536667"/>
                    <a:pt x="112803" y="537803"/>
                    <a:pt x="111908" y="538698"/>
                  </a:cubicBezTo>
                  <a:lnTo>
                    <a:pt x="73558" y="577048"/>
                  </a:lnTo>
                  <a:lnTo>
                    <a:pt x="73558" y="625700"/>
                  </a:lnTo>
                  <a:cubicBezTo>
                    <a:pt x="73558" y="626135"/>
                    <a:pt x="73534" y="626546"/>
                    <a:pt x="73437" y="626933"/>
                  </a:cubicBezTo>
                  <a:cubicBezTo>
                    <a:pt x="73195" y="628166"/>
                    <a:pt x="72591" y="629303"/>
                    <a:pt x="71696" y="630197"/>
                  </a:cubicBezTo>
                  <a:lnTo>
                    <a:pt x="15137" y="686780"/>
                  </a:lnTo>
                  <a:lnTo>
                    <a:pt x="64587" y="736230"/>
                  </a:lnTo>
                  <a:lnTo>
                    <a:pt x="100737" y="772380"/>
                  </a:lnTo>
                  <a:cubicBezTo>
                    <a:pt x="101946" y="773565"/>
                    <a:pt x="102599" y="775185"/>
                    <a:pt x="102599" y="776878"/>
                  </a:cubicBezTo>
                  <a:lnTo>
                    <a:pt x="102599" y="842722"/>
                  </a:lnTo>
                  <a:lnTo>
                    <a:pt x="172312" y="912435"/>
                  </a:lnTo>
                  <a:lnTo>
                    <a:pt x="631092" y="912435"/>
                  </a:lnTo>
                  <a:lnTo>
                    <a:pt x="631092" y="896282"/>
                  </a:lnTo>
                  <a:cubicBezTo>
                    <a:pt x="631092" y="895871"/>
                    <a:pt x="631141" y="895460"/>
                    <a:pt x="631237" y="895049"/>
                  </a:cubicBezTo>
                  <a:cubicBezTo>
                    <a:pt x="631479" y="893815"/>
                    <a:pt x="632084" y="892679"/>
                    <a:pt x="632954" y="891784"/>
                  </a:cubicBezTo>
                  <a:lnTo>
                    <a:pt x="704287" y="820475"/>
                  </a:lnTo>
                  <a:lnTo>
                    <a:pt x="704287" y="773637"/>
                  </a:lnTo>
                  <a:lnTo>
                    <a:pt x="692681" y="762031"/>
                  </a:lnTo>
                  <a:cubicBezTo>
                    <a:pt x="691471" y="760846"/>
                    <a:pt x="690819" y="759201"/>
                    <a:pt x="690819" y="757533"/>
                  </a:cubicBezTo>
                  <a:cubicBezTo>
                    <a:pt x="690819" y="755840"/>
                    <a:pt x="691471" y="754220"/>
                    <a:pt x="692681" y="753011"/>
                  </a:cubicBezTo>
                  <a:lnTo>
                    <a:pt x="712025" y="733691"/>
                  </a:lnTo>
                  <a:lnTo>
                    <a:pt x="712025" y="701796"/>
                  </a:lnTo>
                  <a:cubicBezTo>
                    <a:pt x="712025" y="701361"/>
                    <a:pt x="712073" y="700950"/>
                    <a:pt x="712170" y="700539"/>
                  </a:cubicBezTo>
                  <a:cubicBezTo>
                    <a:pt x="712412" y="699330"/>
                    <a:pt x="712992" y="698169"/>
                    <a:pt x="713887" y="697275"/>
                  </a:cubicBezTo>
                  <a:lnTo>
                    <a:pt x="794530" y="616656"/>
                  </a:lnTo>
                  <a:lnTo>
                    <a:pt x="758500" y="580627"/>
                  </a:lnTo>
                  <a:cubicBezTo>
                    <a:pt x="758428" y="580554"/>
                    <a:pt x="758379" y="580482"/>
                    <a:pt x="758307" y="580409"/>
                  </a:cubicBezTo>
                  <a:cubicBezTo>
                    <a:pt x="758210" y="580288"/>
                    <a:pt x="758089" y="580168"/>
                    <a:pt x="757968" y="580022"/>
                  </a:cubicBezTo>
                  <a:cubicBezTo>
                    <a:pt x="757896" y="579926"/>
                    <a:pt x="757848" y="579829"/>
                    <a:pt x="757775" y="579732"/>
                  </a:cubicBezTo>
                  <a:cubicBezTo>
                    <a:pt x="757702" y="579660"/>
                    <a:pt x="757654" y="579611"/>
                    <a:pt x="757606" y="579515"/>
                  </a:cubicBezTo>
                  <a:cubicBezTo>
                    <a:pt x="757557" y="579418"/>
                    <a:pt x="757485" y="579345"/>
                    <a:pt x="757461" y="579249"/>
                  </a:cubicBezTo>
                  <a:cubicBezTo>
                    <a:pt x="757364" y="579104"/>
                    <a:pt x="757291" y="578958"/>
                    <a:pt x="757219" y="578813"/>
                  </a:cubicBezTo>
                  <a:cubicBezTo>
                    <a:pt x="757170" y="578741"/>
                    <a:pt x="757146" y="578644"/>
                    <a:pt x="757098" y="578547"/>
                  </a:cubicBezTo>
                  <a:lnTo>
                    <a:pt x="757098" y="578547"/>
                  </a:lnTo>
                  <a:cubicBezTo>
                    <a:pt x="757074" y="578499"/>
                    <a:pt x="757074" y="578451"/>
                    <a:pt x="757049" y="578402"/>
                  </a:cubicBezTo>
                  <a:cubicBezTo>
                    <a:pt x="756977" y="578257"/>
                    <a:pt x="756929" y="578112"/>
                    <a:pt x="756880" y="577943"/>
                  </a:cubicBezTo>
                  <a:cubicBezTo>
                    <a:pt x="756832" y="577798"/>
                    <a:pt x="756784" y="577653"/>
                    <a:pt x="756759" y="577508"/>
                  </a:cubicBezTo>
                  <a:cubicBezTo>
                    <a:pt x="756759" y="577459"/>
                    <a:pt x="756735" y="577411"/>
                    <a:pt x="756735" y="577363"/>
                  </a:cubicBezTo>
                  <a:cubicBezTo>
                    <a:pt x="756711" y="577338"/>
                    <a:pt x="756711" y="577314"/>
                    <a:pt x="756711" y="577266"/>
                  </a:cubicBezTo>
                  <a:cubicBezTo>
                    <a:pt x="756711" y="577193"/>
                    <a:pt x="756687" y="577145"/>
                    <a:pt x="756687" y="577072"/>
                  </a:cubicBezTo>
                  <a:cubicBezTo>
                    <a:pt x="756663" y="576927"/>
                    <a:pt x="756638" y="576782"/>
                    <a:pt x="756614" y="576613"/>
                  </a:cubicBezTo>
                  <a:cubicBezTo>
                    <a:pt x="756614" y="576492"/>
                    <a:pt x="756614" y="576395"/>
                    <a:pt x="756614" y="576275"/>
                  </a:cubicBezTo>
                  <a:cubicBezTo>
                    <a:pt x="756614" y="576202"/>
                    <a:pt x="756614" y="576105"/>
                    <a:pt x="756614" y="576008"/>
                  </a:cubicBezTo>
                  <a:cubicBezTo>
                    <a:pt x="756614" y="575912"/>
                    <a:pt x="756614" y="575791"/>
                    <a:pt x="756614" y="575670"/>
                  </a:cubicBezTo>
                  <a:cubicBezTo>
                    <a:pt x="756638" y="575525"/>
                    <a:pt x="756663" y="575356"/>
                    <a:pt x="756687" y="575211"/>
                  </a:cubicBezTo>
                  <a:cubicBezTo>
                    <a:pt x="756687" y="575162"/>
                    <a:pt x="756711" y="575090"/>
                    <a:pt x="756711" y="575017"/>
                  </a:cubicBezTo>
                  <a:cubicBezTo>
                    <a:pt x="756711" y="574993"/>
                    <a:pt x="756711" y="574945"/>
                    <a:pt x="756735" y="574920"/>
                  </a:cubicBezTo>
                  <a:cubicBezTo>
                    <a:pt x="756735" y="574872"/>
                    <a:pt x="756759" y="574824"/>
                    <a:pt x="756759" y="574775"/>
                  </a:cubicBezTo>
                  <a:cubicBezTo>
                    <a:pt x="756784" y="574630"/>
                    <a:pt x="756832" y="574485"/>
                    <a:pt x="756880" y="574340"/>
                  </a:cubicBezTo>
                  <a:cubicBezTo>
                    <a:pt x="756929" y="574195"/>
                    <a:pt x="756977" y="574026"/>
                    <a:pt x="757049" y="573881"/>
                  </a:cubicBezTo>
                  <a:cubicBezTo>
                    <a:pt x="757074" y="573832"/>
                    <a:pt x="757074" y="573784"/>
                    <a:pt x="757098" y="573735"/>
                  </a:cubicBezTo>
                  <a:lnTo>
                    <a:pt x="757098" y="573735"/>
                  </a:lnTo>
                  <a:cubicBezTo>
                    <a:pt x="757146" y="573639"/>
                    <a:pt x="757170" y="573566"/>
                    <a:pt x="757219" y="573470"/>
                  </a:cubicBezTo>
                  <a:cubicBezTo>
                    <a:pt x="757291" y="573324"/>
                    <a:pt x="757364" y="573179"/>
                    <a:pt x="757461" y="573034"/>
                  </a:cubicBezTo>
                  <a:cubicBezTo>
                    <a:pt x="757485" y="572938"/>
                    <a:pt x="757557" y="572865"/>
                    <a:pt x="757606" y="572744"/>
                  </a:cubicBezTo>
                  <a:cubicBezTo>
                    <a:pt x="757654" y="572696"/>
                    <a:pt x="757702" y="572623"/>
                    <a:pt x="757775" y="572551"/>
                  </a:cubicBezTo>
                  <a:cubicBezTo>
                    <a:pt x="757848" y="572454"/>
                    <a:pt x="757896" y="572357"/>
                    <a:pt x="757968" y="572261"/>
                  </a:cubicBezTo>
                  <a:cubicBezTo>
                    <a:pt x="758089" y="572115"/>
                    <a:pt x="758210" y="571994"/>
                    <a:pt x="758307" y="571874"/>
                  </a:cubicBezTo>
                  <a:cubicBezTo>
                    <a:pt x="758379" y="571801"/>
                    <a:pt x="758428" y="571728"/>
                    <a:pt x="758500" y="571680"/>
                  </a:cubicBezTo>
                  <a:lnTo>
                    <a:pt x="807805" y="522376"/>
                  </a:lnTo>
                  <a:cubicBezTo>
                    <a:pt x="808990" y="521191"/>
                    <a:pt x="810610" y="520514"/>
                    <a:pt x="812302" y="520514"/>
                  </a:cubicBezTo>
                  <a:lnTo>
                    <a:pt x="826738" y="520514"/>
                  </a:lnTo>
                  <a:lnTo>
                    <a:pt x="882160" y="465092"/>
                  </a:lnTo>
                  <a:lnTo>
                    <a:pt x="882160" y="394726"/>
                  </a:lnTo>
                  <a:cubicBezTo>
                    <a:pt x="882160" y="394291"/>
                    <a:pt x="882209" y="393879"/>
                    <a:pt x="882281" y="393468"/>
                  </a:cubicBezTo>
                  <a:cubicBezTo>
                    <a:pt x="882547" y="392259"/>
                    <a:pt x="883128" y="391099"/>
                    <a:pt x="883998" y="390204"/>
                  </a:cubicBezTo>
                  <a:lnTo>
                    <a:pt x="934077" y="340126"/>
                  </a:lnTo>
                  <a:lnTo>
                    <a:pt x="934077" y="271356"/>
                  </a:lnTo>
                  <a:lnTo>
                    <a:pt x="908977" y="246232"/>
                  </a:lnTo>
                  <a:lnTo>
                    <a:pt x="829374" y="246232"/>
                  </a:lnTo>
                  <a:cubicBezTo>
                    <a:pt x="827681" y="246232"/>
                    <a:pt x="826061" y="245555"/>
                    <a:pt x="824852" y="244370"/>
                  </a:cubicBezTo>
                  <a:lnTo>
                    <a:pt x="803791" y="223285"/>
                  </a:lnTo>
                  <a:lnTo>
                    <a:pt x="759516" y="223285"/>
                  </a:lnTo>
                  <a:cubicBezTo>
                    <a:pt x="757848" y="223285"/>
                    <a:pt x="756203" y="222608"/>
                    <a:pt x="755018" y="221423"/>
                  </a:cubicBezTo>
                  <a:lnTo>
                    <a:pt x="653822" y="120251"/>
                  </a:lnTo>
                  <a:cubicBezTo>
                    <a:pt x="653750" y="120347"/>
                    <a:pt x="653677" y="120396"/>
                    <a:pt x="653604" y="120492"/>
                  </a:cubicBezTo>
                  <a:cubicBezTo>
                    <a:pt x="653411" y="120686"/>
                    <a:pt x="653218" y="120903"/>
                    <a:pt x="653024" y="121073"/>
                  </a:cubicBezTo>
                  <a:cubicBezTo>
                    <a:pt x="652903" y="121194"/>
                    <a:pt x="652758" y="121290"/>
                    <a:pt x="652637" y="121411"/>
                  </a:cubicBezTo>
                  <a:cubicBezTo>
                    <a:pt x="652395" y="121581"/>
                    <a:pt x="652178" y="121726"/>
                    <a:pt x="651936" y="121847"/>
                  </a:cubicBezTo>
                  <a:cubicBezTo>
                    <a:pt x="651791" y="121943"/>
                    <a:pt x="651622" y="122016"/>
                    <a:pt x="651477" y="122113"/>
                  </a:cubicBezTo>
                  <a:cubicBezTo>
                    <a:pt x="651211" y="122233"/>
                    <a:pt x="650920" y="122330"/>
                    <a:pt x="650630" y="122403"/>
                  </a:cubicBezTo>
                  <a:cubicBezTo>
                    <a:pt x="650485" y="122451"/>
                    <a:pt x="650340" y="122499"/>
                    <a:pt x="650195" y="122548"/>
                  </a:cubicBezTo>
                  <a:cubicBezTo>
                    <a:pt x="649736" y="122645"/>
                    <a:pt x="649300" y="122717"/>
                    <a:pt x="648793" y="122717"/>
                  </a:cubicBezTo>
                  <a:lnTo>
                    <a:pt x="625289" y="122717"/>
                  </a:lnTo>
                  <a:lnTo>
                    <a:pt x="571535" y="176447"/>
                  </a:lnTo>
                  <a:lnTo>
                    <a:pt x="571535" y="190205"/>
                  </a:lnTo>
                  <a:cubicBezTo>
                    <a:pt x="571535" y="191874"/>
                    <a:pt x="570882" y="193494"/>
                    <a:pt x="569698" y="194703"/>
                  </a:cubicBezTo>
                  <a:lnTo>
                    <a:pt x="533330" y="231071"/>
                  </a:lnTo>
                  <a:lnTo>
                    <a:pt x="533330" y="254333"/>
                  </a:lnTo>
                  <a:cubicBezTo>
                    <a:pt x="533330" y="257839"/>
                    <a:pt x="530476" y="260692"/>
                    <a:pt x="526946" y="260692"/>
                  </a:cubicBezTo>
                  <a:lnTo>
                    <a:pt x="479407" y="260692"/>
                  </a:lnTo>
                  <a:cubicBezTo>
                    <a:pt x="475876" y="260692"/>
                    <a:pt x="473023" y="257839"/>
                    <a:pt x="473023" y="254333"/>
                  </a:cubicBezTo>
                  <a:lnTo>
                    <a:pt x="473023" y="235689"/>
                  </a:lnTo>
                  <a:lnTo>
                    <a:pt x="456048" y="218714"/>
                  </a:lnTo>
                  <a:cubicBezTo>
                    <a:pt x="454863" y="217505"/>
                    <a:pt x="454210" y="215885"/>
                    <a:pt x="454210" y="214217"/>
                  </a:cubicBezTo>
                  <a:lnTo>
                    <a:pt x="454210" y="205995"/>
                  </a:lnTo>
                  <a:lnTo>
                    <a:pt x="416416" y="168201"/>
                  </a:lnTo>
                  <a:cubicBezTo>
                    <a:pt x="415231" y="166992"/>
                    <a:pt x="414578" y="165396"/>
                    <a:pt x="414578" y="163703"/>
                  </a:cubicBezTo>
                  <a:lnTo>
                    <a:pt x="414578" y="123249"/>
                  </a:lnTo>
                  <a:lnTo>
                    <a:pt x="393880" y="102550"/>
                  </a:lnTo>
                  <a:cubicBezTo>
                    <a:pt x="393009" y="101656"/>
                    <a:pt x="392380" y="100543"/>
                    <a:pt x="392139" y="99310"/>
                  </a:cubicBezTo>
                  <a:cubicBezTo>
                    <a:pt x="392066" y="98899"/>
                    <a:pt x="392018" y="98488"/>
                    <a:pt x="392018" y="98077"/>
                  </a:cubicBezTo>
                  <a:lnTo>
                    <a:pt x="392018" y="82891"/>
                  </a:lnTo>
                  <a:lnTo>
                    <a:pt x="376010" y="66884"/>
                  </a:lnTo>
                  <a:lnTo>
                    <a:pt x="359398" y="66884"/>
                  </a:lnTo>
                  <a:cubicBezTo>
                    <a:pt x="358987" y="66884"/>
                    <a:pt x="358576" y="66835"/>
                    <a:pt x="358141" y="66763"/>
                  </a:cubicBezTo>
                  <a:cubicBezTo>
                    <a:pt x="356907" y="66521"/>
                    <a:pt x="355771" y="65917"/>
                    <a:pt x="354900" y="65022"/>
                  </a:cubicBezTo>
                  <a:lnTo>
                    <a:pt x="334347" y="44468"/>
                  </a:lnTo>
                  <a:lnTo>
                    <a:pt x="302670" y="44468"/>
                  </a:lnTo>
                  <a:cubicBezTo>
                    <a:pt x="299140" y="44468"/>
                    <a:pt x="296310" y="41615"/>
                    <a:pt x="296310" y="38109"/>
                  </a:cubicBezTo>
                  <a:lnTo>
                    <a:pt x="296310" y="0"/>
                  </a:lnTo>
                  <a:lnTo>
                    <a:pt x="215861" y="0"/>
                  </a:lnTo>
                  <a:lnTo>
                    <a:pt x="215861" y="31773"/>
                  </a:lnTo>
                  <a:cubicBezTo>
                    <a:pt x="215861" y="35304"/>
                    <a:pt x="213008" y="38133"/>
                    <a:pt x="209502" y="38133"/>
                  </a:cubicBezTo>
                  <a:lnTo>
                    <a:pt x="106734" y="38133"/>
                  </a:lnTo>
                  <a:lnTo>
                    <a:pt x="72615" y="72252"/>
                  </a:lnTo>
                  <a:cubicBezTo>
                    <a:pt x="71430" y="73461"/>
                    <a:pt x="69810" y="74114"/>
                    <a:pt x="68117" y="74114"/>
                  </a:cubicBezTo>
                  <a:lnTo>
                    <a:pt x="15210" y="74114"/>
                  </a:lnTo>
                  <a:lnTo>
                    <a:pt x="0" y="89324"/>
                  </a:lnTo>
                  <a:lnTo>
                    <a:pt x="0" y="162543"/>
                  </a:lnTo>
                  <a:lnTo>
                    <a:pt x="0" y="203263"/>
                  </a:lnTo>
                  <a:lnTo>
                    <a:pt x="98029" y="301292"/>
                  </a:lnTo>
                  <a:lnTo>
                    <a:pt x="123322" y="301292"/>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7" name="Forma Livre: Forma 36">
              <a:extLst>
                <a:ext uri="{FF2B5EF4-FFF2-40B4-BE49-F238E27FC236}">
                  <a16:creationId xmlns:a16="http://schemas.microsoft.com/office/drawing/2014/main" id="{6C8B09C5-A448-7707-FF7E-507CC163412B}"/>
                </a:ext>
              </a:extLst>
            </p:cNvPr>
            <p:cNvSpPr/>
            <p:nvPr>
              <p:custDataLst>
                <p:tags r:id="rId119"/>
              </p:custDataLst>
            </p:nvPr>
          </p:nvSpPr>
          <p:spPr>
            <a:xfrm>
              <a:off x="3751206" y="652549"/>
              <a:ext cx="413127" cy="498364"/>
            </a:xfrm>
            <a:custGeom>
              <a:avLst/>
              <a:gdLst>
                <a:gd name="connsiteX0" fmla="*/ 27614 w 413127"/>
                <a:gd name="connsiteY0" fmla="*/ 107386 h 498364"/>
                <a:gd name="connsiteX1" fmla="*/ 27614 w 413127"/>
                <a:gd name="connsiteY1" fmla="*/ 145471 h 498364"/>
                <a:gd name="connsiteX2" fmla="*/ 42461 w 413127"/>
                <a:gd name="connsiteY2" fmla="*/ 160342 h 498364"/>
                <a:gd name="connsiteX3" fmla="*/ 44323 w 413127"/>
                <a:gd name="connsiteY3" fmla="*/ 164864 h 498364"/>
                <a:gd name="connsiteX4" fmla="*/ 44323 w 413127"/>
                <a:gd name="connsiteY4" fmla="*/ 188464 h 498364"/>
                <a:gd name="connsiteX5" fmla="*/ 76774 w 413127"/>
                <a:gd name="connsiteY5" fmla="*/ 188464 h 498364"/>
                <a:gd name="connsiteX6" fmla="*/ 81271 w 413127"/>
                <a:gd name="connsiteY6" fmla="*/ 190350 h 498364"/>
                <a:gd name="connsiteX7" fmla="*/ 109224 w 413127"/>
                <a:gd name="connsiteY7" fmla="*/ 218303 h 498364"/>
                <a:gd name="connsiteX8" fmla="*/ 109224 w 413127"/>
                <a:gd name="connsiteY8" fmla="*/ 218303 h 498364"/>
                <a:gd name="connsiteX9" fmla="*/ 127650 w 413127"/>
                <a:gd name="connsiteY9" fmla="*/ 236753 h 498364"/>
                <a:gd name="connsiteX10" fmla="*/ 129512 w 413127"/>
                <a:gd name="connsiteY10" fmla="*/ 241251 h 498364"/>
                <a:gd name="connsiteX11" fmla="*/ 129512 w 413127"/>
                <a:gd name="connsiteY11" fmla="*/ 264803 h 498364"/>
                <a:gd name="connsiteX12" fmla="*/ 157779 w 413127"/>
                <a:gd name="connsiteY12" fmla="*/ 293070 h 498364"/>
                <a:gd name="connsiteX13" fmla="*/ 159520 w 413127"/>
                <a:gd name="connsiteY13" fmla="*/ 296310 h 498364"/>
                <a:gd name="connsiteX14" fmla="*/ 159641 w 413127"/>
                <a:gd name="connsiteY14" fmla="*/ 297544 h 498364"/>
                <a:gd name="connsiteX15" fmla="*/ 159641 w 413127"/>
                <a:gd name="connsiteY15" fmla="*/ 405003 h 498364"/>
                <a:gd name="connsiteX16" fmla="*/ 159520 w 413127"/>
                <a:gd name="connsiteY16" fmla="*/ 406260 h 498364"/>
                <a:gd name="connsiteX17" fmla="*/ 157779 w 413127"/>
                <a:gd name="connsiteY17" fmla="*/ 409500 h 498364"/>
                <a:gd name="connsiteX18" fmla="*/ 131108 w 413127"/>
                <a:gd name="connsiteY18" fmla="*/ 436171 h 498364"/>
                <a:gd name="connsiteX19" fmla="*/ 193301 w 413127"/>
                <a:gd name="connsiteY19" fmla="*/ 498364 h 498364"/>
                <a:gd name="connsiteX20" fmla="*/ 193301 w 413127"/>
                <a:gd name="connsiteY20" fmla="*/ 446811 h 498364"/>
                <a:gd name="connsiteX21" fmla="*/ 195162 w 413127"/>
                <a:gd name="connsiteY21" fmla="*/ 442313 h 498364"/>
                <a:gd name="connsiteX22" fmla="*/ 234456 w 413127"/>
                <a:gd name="connsiteY22" fmla="*/ 403020 h 498364"/>
                <a:gd name="connsiteX23" fmla="*/ 243451 w 413127"/>
                <a:gd name="connsiteY23" fmla="*/ 403020 h 498364"/>
                <a:gd name="connsiteX24" fmla="*/ 287871 w 413127"/>
                <a:gd name="connsiteY24" fmla="*/ 447440 h 498364"/>
                <a:gd name="connsiteX25" fmla="*/ 305378 w 413127"/>
                <a:gd name="connsiteY25" fmla="*/ 429933 h 498364"/>
                <a:gd name="connsiteX26" fmla="*/ 305378 w 413127"/>
                <a:gd name="connsiteY26" fmla="*/ 404978 h 498364"/>
                <a:gd name="connsiteX27" fmla="*/ 307240 w 413127"/>
                <a:gd name="connsiteY27" fmla="*/ 400481 h 498364"/>
                <a:gd name="connsiteX28" fmla="*/ 336813 w 413127"/>
                <a:gd name="connsiteY28" fmla="*/ 370908 h 498364"/>
                <a:gd name="connsiteX29" fmla="*/ 341311 w 413127"/>
                <a:gd name="connsiteY29" fmla="*/ 369046 h 498364"/>
                <a:gd name="connsiteX30" fmla="*/ 413127 w 413127"/>
                <a:gd name="connsiteY30" fmla="*/ 369046 h 498364"/>
                <a:gd name="connsiteX31" fmla="*/ 413127 w 413127"/>
                <a:gd name="connsiteY31" fmla="*/ 302186 h 498364"/>
                <a:gd name="connsiteX32" fmla="*/ 344938 w 413127"/>
                <a:gd name="connsiteY32" fmla="*/ 233997 h 498364"/>
                <a:gd name="connsiteX33" fmla="*/ 343052 w 413127"/>
                <a:gd name="connsiteY33" fmla="*/ 229475 h 498364"/>
                <a:gd name="connsiteX34" fmla="*/ 343052 w 413127"/>
                <a:gd name="connsiteY34" fmla="*/ 206165 h 498364"/>
                <a:gd name="connsiteX35" fmla="*/ 318436 w 413127"/>
                <a:gd name="connsiteY35" fmla="*/ 181549 h 498364"/>
                <a:gd name="connsiteX36" fmla="*/ 316574 w 413127"/>
                <a:gd name="connsiteY36" fmla="*/ 177051 h 498364"/>
                <a:gd name="connsiteX37" fmla="*/ 316574 w 413127"/>
                <a:gd name="connsiteY37" fmla="*/ 113383 h 498364"/>
                <a:gd name="connsiteX38" fmla="*/ 318436 w 413127"/>
                <a:gd name="connsiteY38" fmla="*/ 108886 h 498364"/>
                <a:gd name="connsiteX39" fmla="*/ 348637 w 413127"/>
                <a:gd name="connsiteY39" fmla="*/ 78684 h 498364"/>
                <a:gd name="connsiteX40" fmla="*/ 314639 w 413127"/>
                <a:gd name="connsiteY40" fmla="*/ 44686 h 498364"/>
                <a:gd name="connsiteX41" fmla="*/ 312777 w 413127"/>
                <a:gd name="connsiteY41" fmla="*/ 40164 h 498364"/>
                <a:gd name="connsiteX42" fmla="*/ 312777 w 413127"/>
                <a:gd name="connsiteY42" fmla="*/ 0 h 498364"/>
                <a:gd name="connsiteX43" fmla="*/ 265262 w 413127"/>
                <a:gd name="connsiteY43" fmla="*/ 47539 h 498364"/>
                <a:gd name="connsiteX44" fmla="*/ 260741 w 413127"/>
                <a:gd name="connsiteY44" fmla="*/ 49401 h 498364"/>
                <a:gd name="connsiteX45" fmla="*/ 223309 w 413127"/>
                <a:gd name="connsiteY45" fmla="*/ 49401 h 498364"/>
                <a:gd name="connsiteX46" fmla="*/ 186820 w 413127"/>
                <a:gd name="connsiteY46" fmla="*/ 85866 h 498364"/>
                <a:gd name="connsiteX47" fmla="*/ 182323 w 413127"/>
                <a:gd name="connsiteY47" fmla="*/ 87728 h 498364"/>
                <a:gd name="connsiteX48" fmla="*/ 136137 w 413127"/>
                <a:gd name="connsiteY48" fmla="*/ 87728 h 498364"/>
                <a:gd name="connsiteX49" fmla="*/ 136137 w 413127"/>
                <a:gd name="connsiteY49" fmla="*/ 98875 h 498364"/>
                <a:gd name="connsiteX50" fmla="*/ 134275 w 413127"/>
                <a:gd name="connsiteY50" fmla="*/ 103372 h 498364"/>
                <a:gd name="connsiteX51" fmla="*/ 120106 w 413127"/>
                <a:gd name="connsiteY51" fmla="*/ 117567 h 498364"/>
                <a:gd name="connsiteX52" fmla="*/ 111110 w 413127"/>
                <a:gd name="connsiteY52" fmla="*/ 117567 h 498364"/>
                <a:gd name="connsiteX53" fmla="*/ 87389 w 413127"/>
                <a:gd name="connsiteY53" fmla="*/ 93845 h 498364"/>
                <a:gd name="connsiteX54" fmla="*/ 41470 w 413127"/>
                <a:gd name="connsiteY54" fmla="*/ 93845 h 498364"/>
                <a:gd name="connsiteX55" fmla="*/ 36948 w 413127"/>
                <a:gd name="connsiteY55" fmla="*/ 91983 h 498364"/>
                <a:gd name="connsiteX56" fmla="*/ 22101 w 413127"/>
                <a:gd name="connsiteY56" fmla="*/ 77136 h 498364"/>
                <a:gd name="connsiteX57" fmla="*/ 0 w 413127"/>
                <a:gd name="connsiteY57" fmla="*/ 77136 h 498364"/>
                <a:gd name="connsiteX58" fmla="*/ 25728 w 413127"/>
                <a:gd name="connsiteY58" fmla="*/ 102889 h 498364"/>
                <a:gd name="connsiteX59" fmla="*/ 27614 w 413127"/>
                <a:gd name="connsiteY59" fmla="*/ 107386 h 49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13127" h="498363">
                  <a:moveTo>
                    <a:pt x="27614" y="107386"/>
                  </a:moveTo>
                  <a:lnTo>
                    <a:pt x="27614" y="145471"/>
                  </a:lnTo>
                  <a:lnTo>
                    <a:pt x="42461" y="160342"/>
                  </a:lnTo>
                  <a:cubicBezTo>
                    <a:pt x="43646" y="161527"/>
                    <a:pt x="44323" y="163147"/>
                    <a:pt x="44323" y="164864"/>
                  </a:cubicBezTo>
                  <a:lnTo>
                    <a:pt x="44323" y="188464"/>
                  </a:lnTo>
                  <a:lnTo>
                    <a:pt x="76774" y="188464"/>
                  </a:lnTo>
                  <a:cubicBezTo>
                    <a:pt x="78466" y="188464"/>
                    <a:pt x="80062" y="189141"/>
                    <a:pt x="81271" y="190350"/>
                  </a:cubicBezTo>
                  <a:lnTo>
                    <a:pt x="109224" y="218303"/>
                  </a:lnTo>
                  <a:lnTo>
                    <a:pt x="109224" y="218303"/>
                  </a:lnTo>
                  <a:lnTo>
                    <a:pt x="127650" y="236753"/>
                  </a:lnTo>
                  <a:cubicBezTo>
                    <a:pt x="128835" y="237938"/>
                    <a:pt x="129512" y="239558"/>
                    <a:pt x="129512" y="241251"/>
                  </a:cubicBezTo>
                  <a:lnTo>
                    <a:pt x="129512" y="264803"/>
                  </a:lnTo>
                  <a:lnTo>
                    <a:pt x="157779" y="293070"/>
                  </a:lnTo>
                  <a:cubicBezTo>
                    <a:pt x="158674" y="293965"/>
                    <a:pt x="159278" y="295077"/>
                    <a:pt x="159520" y="296310"/>
                  </a:cubicBezTo>
                  <a:cubicBezTo>
                    <a:pt x="159593" y="296721"/>
                    <a:pt x="159641" y="297132"/>
                    <a:pt x="159641" y="297544"/>
                  </a:cubicBezTo>
                  <a:lnTo>
                    <a:pt x="159641" y="405003"/>
                  </a:lnTo>
                  <a:cubicBezTo>
                    <a:pt x="159641" y="405414"/>
                    <a:pt x="159617" y="405849"/>
                    <a:pt x="159520" y="406260"/>
                  </a:cubicBezTo>
                  <a:cubicBezTo>
                    <a:pt x="159278" y="407493"/>
                    <a:pt x="158674" y="408605"/>
                    <a:pt x="157779" y="409500"/>
                  </a:cubicBezTo>
                  <a:lnTo>
                    <a:pt x="131108" y="436171"/>
                  </a:lnTo>
                  <a:lnTo>
                    <a:pt x="193301" y="498364"/>
                  </a:lnTo>
                  <a:lnTo>
                    <a:pt x="193301" y="446811"/>
                  </a:lnTo>
                  <a:cubicBezTo>
                    <a:pt x="193301" y="445118"/>
                    <a:pt x="193953" y="443498"/>
                    <a:pt x="195162" y="442313"/>
                  </a:cubicBezTo>
                  <a:lnTo>
                    <a:pt x="234456" y="403020"/>
                  </a:lnTo>
                  <a:cubicBezTo>
                    <a:pt x="236826" y="400626"/>
                    <a:pt x="241057" y="400626"/>
                    <a:pt x="243451" y="403020"/>
                  </a:cubicBezTo>
                  <a:lnTo>
                    <a:pt x="287871" y="447440"/>
                  </a:lnTo>
                  <a:lnTo>
                    <a:pt x="305378" y="429933"/>
                  </a:lnTo>
                  <a:lnTo>
                    <a:pt x="305378" y="404978"/>
                  </a:lnTo>
                  <a:cubicBezTo>
                    <a:pt x="305378" y="403286"/>
                    <a:pt x="306031" y="401666"/>
                    <a:pt x="307240" y="400481"/>
                  </a:cubicBezTo>
                  <a:lnTo>
                    <a:pt x="336813" y="370908"/>
                  </a:lnTo>
                  <a:cubicBezTo>
                    <a:pt x="337998" y="369723"/>
                    <a:pt x="339618" y="369046"/>
                    <a:pt x="341311" y="369046"/>
                  </a:cubicBezTo>
                  <a:lnTo>
                    <a:pt x="413127" y="369046"/>
                  </a:lnTo>
                  <a:lnTo>
                    <a:pt x="413127" y="302186"/>
                  </a:lnTo>
                  <a:lnTo>
                    <a:pt x="344938" y="233997"/>
                  </a:lnTo>
                  <a:cubicBezTo>
                    <a:pt x="343753" y="232812"/>
                    <a:pt x="343052" y="231167"/>
                    <a:pt x="343052" y="229475"/>
                  </a:cubicBezTo>
                  <a:lnTo>
                    <a:pt x="343052" y="206165"/>
                  </a:lnTo>
                  <a:lnTo>
                    <a:pt x="318436" y="181549"/>
                  </a:lnTo>
                  <a:cubicBezTo>
                    <a:pt x="317251" y="180364"/>
                    <a:pt x="316574" y="178744"/>
                    <a:pt x="316574" y="177051"/>
                  </a:cubicBezTo>
                  <a:lnTo>
                    <a:pt x="316574" y="113383"/>
                  </a:lnTo>
                  <a:cubicBezTo>
                    <a:pt x="316574" y="111715"/>
                    <a:pt x="317251" y="110071"/>
                    <a:pt x="318436" y="108886"/>
                  </a:cubicBezTo>
                  <a:lnTo>
                    <a:pt x="348637" y="78684"/>
                  </a:lnTo>
                  <a:lnTo>
                    <a:pt x="314639" y="44686"/>
                  </a:lnTo>
                  <a:cubicBezTo>
                    <a:pt x="313455" y="43501"/>
                    <a:pt x="312777" y="41881"/>
                    <a:pt x="312777" y="40164"/>
                  </a:cubicBezTo>
                  <a:lnTo>
                    <a:pt x="312777" y="0"/>
                  </a:lnTo>
                  <a:lnTo>
                    <a:pt x="265262" y="47539"/>
                  </a:lnTo>
                  <a:cubicBezTo>
                    <a:pt x="264078" y="48724"/>
                    <a:pt x="262457" y="49401"/>
                    <a:pt x="260741" y="49401"/>
                  </a:cubicBezTo>
                  <a:lnTo>
                    <a:pt x="223309" y="49401"/>
                  </a:lnTo>
                  <a:lnTo>
                    <a:pt x="186820" y="85866"/>
                  </a:lnTo>
                  <a:cubicBezTo>
                    <a:pt x="185635" y="87051"/>
                    <a:pt x="184015" y="87728"/>
                    <a:pt x="182323" y="87728"/>
                  </a:cubicBezTo>
                  <a:lnTo>
                    <a:pt x="136137" y="87728"/>
                  </a:lnTo>
                  <a:lnTo>
                    <a:pt x="136137" y="98875"/>
                  </a:lnTo>
                  <a:cubicBezTo>
                    <a:pt x="136137" y="100568"/>
                    <a:pt x="135485" y="102163"/>
                    <a:pt x="134275" y="103372"/>
                  </a:cubicBezTo>
                  <a:lnTo>
                    <a:pt x="120106" y="117567"/>
                  </a:lnTo>
                  <a:cubicBezTo>
                    <a:pt x="117712" y="119960"/>
                    <a:pt x="113504" y="119960"/>
                    <a:pt x="111110" y="117567"/>
                  </a:cubicBezTo>
                  <a:lnTo>
                    <a:pt x="87389" y="93845"/>
                  </a:lnTo>
                  <a:lnTo>
                    <a:pt x="41470" y="93845"/>
                  </a:lnTo>
                  <a:cubicBezTo>
                    <a:pt x="39777" y="93845"/>
                    <a:pt x="38157" y="93168"/>
                    <a:pt x="36948" y="91983"/>
                  </a:cubicBezTo>
                  <a:lnTo>
                    <a:pt x="22101" y="77136"/>
                  </a:lnTo>
                  <a:lnTo>
                    <a:pt x="0" y="77136"/>
                  </a:lnTo>
                  <a:lnTo>
                    <a:pt x="25728" y="102889"/>
                  </a:lnTo>
                  <a:cubicBezTo>
                    <a:pt x="26937" y="104074"/>
                    <a:pt x="27614" y="105694"/>
                    <a:pt x="27614" y="107386"/>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8" name="Forma Livre: Forma 37">
              <a:extLst>
                <a:ext uri="{FF2B5EF4-FFF2-40B4-BE49-F238E27FC236}">
                  <a16:creationId xmlns:a16="http://schemas.microsoft.com/office/drawing/2014/main" id="{CDA91869-9ABF-512E-3375-604199469E3D}"/>
                </a:ext>
              </a:extLst>
            </p:cNvPr>
            <p:cNvSpPr/>
            <p:nvPr>
              <p:custDataLst>
                <p:tags r:id="rId120"/>
              </p:custDataLst>
            </p:nvPr>
          </p:nvSpPr>
          <p:spPr>
            <a:xfrm>
              <a:off x="3068706" y="872158"/>
              <a:ext cx="1290910" cy="914852"/>
            </a:xfrm>
            <a:custGeom>
              <a:avLst/>
              <a:gdLst>
                <a:gd name="connsiteX0" fmla="*/ 547572 w 1290910"/>
                <a:gd name="connsiteY0" fmla="*/ 880927 h 914852"/>
                <a:gd name="connsiteX1" fmla="*/ 548805 w 1290910"/>
                <a:gd name="connsiteY1" fmla="*/ 880806 h 914852"/>
                <a:gd name="connsiteX2" fmla="*/ 634550 w 1290910"/>
                <a:gd name="connsiteY2" fmla="*/ 880806 h 914852"/>
                <a:gd name="connsiteX3" fmla="*/ 634550 w 1290910"/>
                <a:gd name="connsiteY3" fmla="*/ 862308 h 914852"/>
                <a:gd name="connsiteX4" fmla="*/ 640910 w 1290910"/>
                <a:gd name="connsiteY4" fmla="*/ 855948 h 914852"/>
                <a:gd name="connsiteX5" fmla="*/ 680082 w 1290910"/>
                <a:gd name="connsiteY5" fmla="*/ 855948 h 914852"/>
                <a:gd name="connsiteX6" fmla="*/ 754583 w 1290910"/>
                <a:gd name="connsiteY6" fmla="*/ 781472 h 914852"/>
                <a:gd name="connsiteX7" fmla="*/ 759081 w 1290910"/>
                <a:gd name="connsiteY7" fmla="*/ 779610 h 914852"/>
                <a:gd name="connsiteX8" fmla="*/ 805749 w 1290910"/>
                <a:gd name="connsiteY8" fmla="*/ 779610 h 914852"/>
                <a:gd name="connsiteX9" fmla="*/ 810247 w 1290910"/>
                <a:gd name="connsiteY9" fmla="*/ 781472 h 914852"/>
                <a:gd name="connsiteX10" fmla="*/ 868015 w 1290910"/>
                <a:gd name="connsiteY10" fmla="*/ 839240 h 914852"/>
                <a:gd name="connsiteX11" fmla="*/ 883708 w 1290910"/>
                <a:gd name="connsiteY11" fmla="*/ 823546 h 914852"/>
                <a:gd name="connsiteX12" fmla="*/ 888206 w 1290910"/>
                <a:gd name="connsiteY12" fmla="*/ 821684 h 914852"/>
                <a:gd name="connsiteX13" fmla="*/ 888206 w 1290910"/>
                <a:gd name="connsiteY13" fmla="*/ 821684 h 914852"/>
                <a:gd name="connsiteX14" fmla="*/ 892727 w 1290910"/>
                <a:gd name="connsiteY14" fmla="*/ 823546 h 914852"/>
                <a:gd name="connsiteX15" fmla="*/ 905253 w 1290910"/>
                <a:gd name="connsiteY15" fmla="*/ 836072 h 914852"/>
                <a:gd name="connsiteX16" fmla="*/ 1125999 w 1290910"/>
                <a:gd name="connsiteY16" fmla="*/ 836072 h 914852"/>
                <a:gd name="connsiteX17" fmla="*/ 1125999 w 1290910"/>
                <a:gd name="connsiteY17" fmla="*/ 770155 h 914852"/>
                <a:gd name="connsiteX18" fmla="*/ 1127861 w 1290910"/>
                <a:gd name="connsiteY18" fmla="*/ 765658 h 914852"/>
                <a:gd name="connsiteX19" fmla="*/ 1159513 w 1290910"/>
                <a:gd name="connsiteY19" fmla="*/ 734029 h 914852"/>
                <a:gd name="connsiteX20" fmla="*/ 1110064 w 1290910"/>
                <a:gd name="connsiteY20" fmla="*/ 684556 h 914852"/>
                <a:gd name="connsiteX21" fmla="*/ 1109242 w 1290910"/>
                <a:gd name="connsiteY21" fmla="*/ 683564 h 914852"/>
                <a:gd name="connsiteX22" fmla="*/ 1108177 w 1290910"/>
                <a:gd name="connsiteY22" fmla="*/ 680058 h 914852"/>
                <a:gd name="connsiteX23" fmla="*/ 1110064 w 1290910"/>
                <a:gd name="connsiteY23" fmla="*/ 675560 h 914852"/>
                <a:gd name="connsiteX24" fmla="*/ 1169282 w 1290910"/>
                <a:gd name="connsiteY24" fmla="*/ 616342 h 914852"/>
                <a:gd name="connsiteX25" fmla="*/ 1169282 w 1290910"/>
                <a:gd name="connsiteY25" fmla="*/ 567666 h 914852"/>
                <a:gd name="connsiteX26" fmla="*/ 1171144 w 1290910"/>
                <a:gd name="connsiteY26" fmla="*/ 563168 h 914852"/>
                <a:gd name="connsiteX27" fmla="*/ 1209495 w 1290910"/>
                <a:gd name="connsiteY27" fmla="*/ 524818 h 914852"/>
                <a:gd name="connsiteX28" fmla="*/ 1209495 w 1290910"/>
                <a:gd name="connsiteY28" fmla="*/ 475852 h 914852"/>
                <a:gd name="connsiteX29" fmla="*/ 1211357 w 1290910"/>
                <a:gd name="connsiteY29" fmla="*/ 471354 h 914852"/>
                <a:gd name="connsiteX30" fmla="*/ 1244363 w 1290910"/>
                <a:gd name="connsiteY30" fmla="*/ 438348 h 914852"/>
                <a:gd name="connsiteX31" fmla="*/ 1244363 w 1290910"/>
                <a:gd name="connsiteY31" fmla="*/ 387012 h 914852"/>
                <a:gd name="connsiteX32" fmla="*/ 1246225 w 1290910"/>
                <a:gd name="connsiteY32" fmla="*/ 382514 h 914852"/>
                <a:gd name="connsiteX33" fmla="*/ 1290911 w 1290910"/>
                <a:gd name="connsiteY33" fmla="*/ 337829 h 914852"/>
                <a:gd name="connsiteX34" fmla="*/ 1262281 w 1290910"/>
                <a:gd name="connsiteY34" fmla="*/ 337829 h 914852"/>
                <a:gd name="connsiteX35" fmla="*/ 1257784 w 1290910"/>
                <a:gd name="connsiteY35" fmla="*/ 335967 h 914852"/>
                <a:gd name="connsiteX36" fmla="*/ 1229081 w 1290910"/>
                <a:gd name="connsiteY36" fmla="*/ 307264 h 914852"/>
                <a:gd name="connsiteX37" fmla="*/ 1203788 w 1290910"/>
                <a:gd name="connsiteY37" fmla="*/ 307264 h 914852"/>
                <a:gd name="connsiteX38" fmla="*/ 1199290 w 1290910"/>
                <a:gd name="connsiteY38" fmla="*/ 305402 h 914852"/>
                <a:gd name="connsiteX39" fmla="*/ 1097538 w 1290910"/>
                <a:gd name="connsiteY39" fmla="*/ 203626 h 914852"/>
                <a:gd name="connsiteX40" fmla="*/ 1095676 w 1290910"/>
                <a:gd name="connsiteY40" fmla="*/ 199128 h 914852"/>
                <a:gd name="connsiteX41" fmla="*/ 1095676 w 1290910"/>
                <a:gd name="connsiteY41" fmla="*/ 162132 h 914852"/>
                <a:gd name="connsiteX42" fmla="*/ 1026495 w 1290910"/>
                <a:gd name="connsiteY42" fmla="*/ 162132 h 914852"/>
                <a:gd name="connsiteX43" fmla="*/ 1000646 w 1290910"/>
                <a:gd name="connsiteY43" fmla="*/ 188029 h 914852"/>
                <a:gd name="connsiteX44" fmla="*/ 1000646 w 1290910"/>
                <a:gd name="connsiteY44" fmla="*/ 212984 h 914852"/>
                <a:gd name="connsiteX45" fmla="*/ 998784 w 1290910"/>
                <a:gd name="connsiteY45" fmla="*/ 217481 h 914852"/>
                <a:gd name="connsiteX46" fmla="*/ 974918 w 1290910"/>
                <a:gd name="connsiteY46" fmla="*/ 241348 h 914852"/>
                <a:gd name="connsiteX47" fmla="*/ 965898 w 1290910"/>
                <a:gd name="connsiteY47" fmla="*/ 241348 h 914852"/>
                <a:gd name="connsiteX48" fmla="*/ 921478 w 1290910"/>
                <a:gd name="connsiteY48" fmla="*/ 196928 h 914852"/>
                <a:gd name="connsiteX49" fmla="*/ 888544 w 1290910"/>
                <a:gd name="connsiteY49" fmla="*/ 229862 h 914852"/>
                <a:gd name="connsiteX50" fmla="*/ 888544 w 1290910"/>
                <a:gd name="connsiteY50" fmla="*/ 294134 h 914852"/>
                <a:gd name="connsiteX51" fmla="*/ 884627 w 1290910"/>
                <a:gd name="connsiteY51" fmla="*/ 300010 h 914852"/>
                <a:gd name="connsiteX52" fmla="*/ 883539 w 1290910"/>
                <a:gd name="connsiteY52" fmla="*/ 300349 h 914852"/>
                <a:gd name="connsiteX53" fmla="*/ 883224 w 1290910"/>
                <a:gd name="connsiteY53" fmla="*/ 300397 h 914852"/>
                <a:gd name="connsiteX54" fmla="*/ 882402 w 1290910"/>
                <a:gd name="connsiteY54" fmla="*/ 300469 h 914852"/>
                <a:gd name="connsiteX55" fmla="*/ 882209 w 1290910"/>
                <a:gd name="connsiteY55" fmla="*/ 300494 h 914852"/>
                <a:gd name="connsiteX56" fmla="*/ 882088 w 1290910"/>
                <a:gd name="connsiteY56" fmla="*/ 300494 h 914852"/>
                <a:gd name="connsiteX57" fmla="*/ 880976 w 1290910"/>
                <a:gd name="connsiteY57" fmla="*/ 300397 h 914852"/>
                <a:gd name="connsiteX58" fmla="*/ 880976 w 1290910"/>
                <a:gd name="connsiteY58" fmla="*/ 300397 h 914852"/>
                <a:gd name="connsiteX59" fmla="*/ 879912 w 1290910"/>
                <a:gd name="connsiteY59" fmla="*/ 300058 h 914852"/>
                <a:gd name="connsiteX60" fmla="*/ 879621 w 1290910"/>
                <a:gd name="connsiteY60" fmla="*/ 299937 h 914852"/>
                <a:gd name="connsiteX61" fmla="*/ 878872 w 1290910"/>
                <a:gd name="connsiteY61" fmla="*/ 299526 h 914852"/>
                <a:gd name="connsiteX62" fmla="*/ 878582 w 1290910"/>
                <a:gd name="connsiteY62" fmla="*/ 299357 h 914852"/>
                <a:gd name="connsiteX63" fmla="*/ 877687 w 1290910"/>
                <a:gd name="connsiteY63" fmla="*/ 298632 h 914852"/>
                <a:gd name="connsiteX64" fmla="*/ 800140 w 1290910"/>
                <a:gd name="connsiteY64" fmla="*/ 221060 h 914852"/>
                <a:gd name="connsiteX65" fmla="*/ 800140 w 1290910"/>
                <a:gd name="connsiteY65" fmla="*/ 212065 h 914852"/>
                <a:gd name="connsiteX66" fmla="*/ 829446 w 1290910"/>
                <a:gd name="connsiteY66" fmla="*/ 182782 h 914852"/>
                <a:gd name="connsiteX67" fmla="*/ 829446 w 1290910"/>
                <a:gd name="connsiteY67" fmla="*/ 80594 h 914852"/>
                <a:gd name="connsiteX68" fmla="*/ 801179 w 1290910"/>
                <a:gd name="connsiteY68" fmla="*/ 52327 h 914852"/>
                <a:gd name="connsiteX69" fmla="*/ 799317 w 1290910"/>
                <a:gd name="connsiteY69" fmla="*/ 47829 h 914852"/>
                <a:gd name="connsiteX70" fmla="*/ 799317 w 1290910"/>
                <a:gd name="connsiteY70" fmla="*/ 24253 h 914852"/>
                <a:gd name="connsiteX71" fmla="*/ 784615 w 1290910"/>
                <a:gd name="connsiteY71" fmla="*/ 9551 h 914852"/>
                <a:gd name="connsiteX72" fmla="*/ 746603 w 1290910"/>
                <a:gd name="connsiteY72" fmla="*/ 9551 h 914852"/>
                <a:gd name="connsiteX73" fmla="*/ 689706 w 1290910"/>
                <a:gd name="connsiteY73" fmla="*/ 66449 h 914852"/>
                <a:gd name="connsiteX74" fmla="*/ 680711 w 1290910"/>
                <a:gd name="connsiteY74" fmla="*/ 66449 h 914852"/>
                <a:gd name="connsiteX75" fmla="*/ 671232 w 1290910"/>
                <a:gd name="connsiteY75" fmla="*/ 56994 h 914852"/>
                <a:gd name="connsiteX76" fmla="*/ 613634 w 1290910"/>
                <a:gd name="connsiteY76" fmla="*/ 114592 h 914852"/>
                <a:gd name="connsiteX77" fmla="*/ 604614 w 1290910"/>
                <a:gd name="connsiteY77" fmla="*/ 114592 h 914852"/>
                <a:gd name="connsiteX78" fmla="*/ 584278 w 1290910"/>
                <a:gd name="connsiteY78" fmla="*/ 94232 h 914852"/>
                <a:gd name="connsiteX79" fmla="*/ 566070 w 1290910"/>
                <a:gd name="connsiteY79" fmla="*/ 112464 h 914852"/>
                <a:gd name="connsiteX80" fmla="*/ 561573 w 1290910"/>
                <a:gd name="connsiteY80" fmla="*/ 114326 h 914852"/>
                <a:gd name="connsiteX81" fmla="*/ 533982 w 1290910"/>
                <a:gd name="connsiteY81" fmla="*/ 114326 h 914852"/>
                <a:gd name="connsiteX82" fmla="*/ 529485 w 1290910"/>
                <a:gd name="connsiteY82" fmla="*/ 112464 h 914852"/>
                <a:gd name="connsiteX83" fmla="*/ 504990 w 1290910"/>
                <a:gd name="connsiteY83" fmla="*/ 87969 h 914852"/>
                <a:gd name="connsiteX84" fmla="*/ 479286 w 1290910"/>
                <a:gd name="connsiteY84" fmla="*/ 87969 h 914852"/>
                <a:gd name="connsiteX85" fmla="*/ 472926 w 1290910"/>
                <a:gd name="connsiteY85" fmla="*/ 81610 h 914852"/>
                <a:gd name="connsiteX86" fmla="*/ 472926 w 1290910"/>
                <a:gd name="connsiteY86" fmla="*/ 26526 h 914852"/>
                <a:gd name="connsiteX87" fmla="*/ 446424 w 1290910"/>
                <a:gd name="connsiteY87" fmla="*/ 0 h 914852"/>
                <a:gd name="connsiteX88" fmla="*/ 403648 w 1290910"/>
                <a:gd name="connsiteY88" fmla="*/ 42776 h 914852"/>
                <a:gd name="connsiteX89" fmla="*/ 399127 w 1290910"/>
                <a:gd name="connsiteY89" fmla="*/ 44638 h 914852"/>
                <a:gd name="connsiteX90" fmla="*/ 288282 w 1290910"/>
                <a:gd name="connsiteY90" fmla="*/ 44638 h 914852"/>
                <a:gd name="connsiteX91" fmla="*/ 288282 w 1290910"/>
                <a:gd name="connsiteY91" fmla="*/ 75250 h 914852"/>
                <a:gd name="connsiteX92" fmla="*/ 319475 w 1290910"/>
                <a:gd name="connsiteY92" fmla="*/ 75250 h 914852"/>
                <a:gd name="connsiteX93" fmla="*/ 323973 w 1290910"/>
                <a:gd name="connsiteY93" fmla="*/ 77112 h 914852"/>
                <a:gd name="connsiteX94" fmla="*/ 338216 w 1290910"/>
                <a:gd name="connsiteY94" fmla="*/ 91355 h 914852"/>
                <a:gd name="connsiteX95" fmla="*/ 340077 w 1290910"/>
                <a:gd name="connsiteY95" fmla="*/ 95852 h 914852"/>
                <a:gd name="connsiteX96" fmla="*/ 340077 w 1290910"/>
                <a:gd name="connsiteY96" fmla="*/ 126151 h 914852"/>
                <a:gd name="connsiteX97" fmla="*/ 333718 w 1290910"/>
                <a:gd name="connsiteY97" fmla="*/ 132510 h 914852"/>
                <a:gd name="connsiteX98" fmla="*/ 272831 w 1290910"/>
                <a:gd name="connsiteY98" fmla="*/ 132510 h 914852"/>
                <a:gd name="connsiteX99" fmla="*/ 272831 w 1290910"/>
                <a:gd name="connsiteY99" fmla="*/ 173811 h 914852"/>
                <a:gd name="connsiteX100" fmla="*/ 321700 w 1290910"/>
                <a:gd name="connsiteY100" fmla="*/ 222680 h 914852"/>
                <a:gd name="connsiteX101" fmla="*/ 323562 w 1290910"/>
                <a:gd name="connsiteY101" fmla="*/ 227202 h 914852"/>
                <a:gd name="connsiteX102" fmla="*/ 323562 w 1290910"/>
                <a:gd name="connsiteY102" fmla="*/ 286203 h 914852"/>
                <a:gd name="connsiteX103" fmla="*/ 321700 w 1290910"/>
                <a:gd name="connsiteY103" fmla="*/ 290700 h 914852"/>
                <a:gd name="connsiteX104" fmla="*/ 302428 w 1290910"/>
                <a:gd name="connsiteY104" fmla="*/ 309972 h 914852"/>
                <a:gd name="connsiteX105" fmla="*/ 302428 w 1290910"/>
                <a:gd name="connsiteY105" fmla="*/ 380822 h 914852"/>
                <a:gd name="connsiteX106" fmla="*/ 300566 w 1290910"/>
                <a:gd name="connsiteY106" fmla="*/ 385344 h 914852"/>
                <a:gd name="connsiteX107" fmla="*/ 285792 w 1290910"/>
                <a:gd name="connsiteY107" fmla="*/ 400094 h 914852"/>
                <a:gd name="connsiteX108" fmla="*/ 285792 w 1290910"/>
                <a:gd name="connsiteY108" fmla="*/ 501725 h 914852"/>
                <a:gd name="connsiteX109" fmla="*/ 279432 w 1290910"/>
                <a:gd name="connsiteY109" fmla="*/ 508085 h 914852"/>
                <a:gd name="connsiteX110" fmla="*/ 244419 w 1290910"/>
                <a:gd name="connsiteY110" fmla="*/ 508085 h 914852"/>
                <a:gd name="connsiteX111" fmla="*/ 239921 w 1290910"/>
                <a:gd name="connsiteY111" fmla="*/ 506223 h 914852"/>
                <a:gd name="connsiteX112" fmla="*/ 223381 w 1290910"/>
                <a:gd name="connsiteY112" fmla="*/ 489708 h 914852"/>
                <a:gd name="connsiteX113" fmla="*/ 179469 w 1290910"/>
                <a:gd name="connsiteY113" fmla="*/ 533620 h 914852"/>
                <a:gd name="connsiteX114" fmla="*/ 174947 w 1290910"/>
                <a:gd name="connsiteY114" fmla="*/ 535482 h 914852"/>
                <a:gd name="connsiteX115" fmla="*/ 113577 w 1290910"/>
                <a:gd name="connsiteY115" fmla="*/ 535482 h 914852"/>
                <a:gd name="connsiteX116" fmla="*/ 59315 w 1290910"/>
                <a:gd name="connsiteY116" fmla="*/ 589743 h 914852"/>
                <a:gd name="connsiteX117" fmla="*/ 59315 w 1290910"/>
                <a:gd name="connsiteY117" fmla="*/ 606911 h 914852"/>
                <a:gd name="connsiteX118" fmla="*/ 57453 w 1290910"/>
                <a:gd name="connsiteY118" fmla="*/ 611433 h 914852"/>
                <a:gd name="connsiteX119" fmla="*/ 33466 w 1290910"/>
                <a:gd name="connsiteY119" fmla="*/ 635396 h 914852"/>
                <a:gd name="connsiteX120" fmla="*/ 41615 w 1290910"/>
                <a:gd name="connsiteY120" fmla="*/ 643545 h 914852"/>
                <a:gd name="connsiteX121" fmla="*/ 41615 w 1290910"/>
                <a:gd name="connsiteY121" fmla="*/ 652540 h 914852"/>
                <a:gd name="connsiteX122" fmla="*/ 0 w 1290910"/>
                <a:gd name="connsiteY122" fmla="*/ 694155 h 914852"/>
                <a:gd name="connsiteX123" fmla="*/ 0 w 1290910"/>
                <a:gd name="connsiteY123" fmla="*/ 716232 h 914852"/>
                <a:gd name="connsiteX124" fmla="*/ 24084 w 1290910"/>
                <a:gd name="connsiteY124" fmla="*/ 716232 h 914852"/>
                <a:gd name="connsiteX125" fmla="*/ 28582 w 1290910"/>
                <a:gd name="connsiteY125" fmla="*/ 718094 h 914852"/>
                <a:gd name="connsiteX126" fmla="*/ 54503 w 1290910"/>
                <a:gd name="connsiteY126" fmla="*/ 744040 h 914852"/>
                <a:gd name="connsiteX127" fmla="*/ 76798 w 1290910"/>
                <a:gd name="connsiteY127" fmla="*/ 744040 h 914852"/>
                <a:gd name="connsiteX128" fmla="*/ 79240 w 1290910"/>
                <a:gd name="connsiteY128" fmla="*/ 744524 h 914852"/>
                <a:gd name="connsiteX129" fmla="*/ 81296 w 1290910"/>
                <a:gd name="connsiteY129" fmla="*/ 745902 h 914852"/>
                <a:gd name="connsiteX130" fmla="*/ 105138 w 1290910"/>
                <a:gd name="connsiteY130" fmla="*/ 769744 h 914852"/>
                <a:gd name="connsiteX131" fmla="*/ 202223 w 1290910"/>
                <a:gd name="connsiteY131" fmla="*/ 769744 h 914852"/>
                <a:gd name="connsiteX132" fmla="*/ 206721 w 1290910"/>
                <a:gd name="connsiteY132" fmla="*/ 771606 h 914852"/>
                <a:gd name="connsiteX133" fmla="*/ 223164 w 1290910"/>
                <a:gd name="connsiteY133" fmla="*/ 788049 h 914852"/>
                <a:gd name="connsiteX134" fmla="*/ 240864 w 1290910"/>
                <a:gd name="connsiteY134" fmla="*/ 788049 h 914852"/>
                <a:gd name="connsiteX135" fmla="*/ 245362 w 1290910"/>
                <a:gd name="connsiteY135" fmla="*/ 789935 h 914852"/>
                <a:gd name="connsiteX136" fmla="*/ 279384 w 1290910"/>
                <a:gd name="connsiteY136" fmla="*/ 823957 h 914852"/>
                <a:gd name="connsiteX137" fmla="*/ 316139 w 1290910"/>
                <a:gd name="connsiteY137" fmla="*/ 823957 h 914852"/>
                <a:gd name="connsiteX138" fmla="*/ 320636 w 1290910"/>
                <a:gd name="connsiteY138" fmla="*/ 825819 h 914852"/>
                <a:gd name="connsiteX139" fmla="*/ 352385 w 1290910"/>
                <a:gd name="connsiteY139" fmla="*/ 857593 h 914852"/>
                <a:gd name="connsiteX140" fmla="*/ 391872 w 1290910"/>
                <a:gd name="connsiteY140" fmla="*/ 857593 h 914852"/>
                <a:gd name="connsiteX141" fmla="*/ 396370 w 1290910"/>
                <a:gd name="connsiteY141" fmla="*/ 859455 h 914852"/>
                <a:gd name="connsiteX142" fmla="*/ 438275 w 1290910"/>
                <a:gd name="connsiteY142" fmla="*/ 901384 h 914852"/>
                <a:gd name="connsiteX143" fmla="*/ 462142 w 1290910"/>
                <a:gd name="connsiteY143" fmla="*/ 901384 h 914852"/>
                <a:gd name="connsiteX144" fmla="*/ 463399 w 1290910"/>
                <a:gd name="connsiteY144" fmla="*/ 901505 h 914852"/>
                <a:gd name="connsiteX145" fmla="*/ 466639 w 1290910"/>
                <a:gd name="connsiteY145" fmla="*/ 903246 h 914852"/>
                <a:gd name="connsiteX146" fmla="*/ 478246 w 1290910"/>
                <a:gd name="connsiteY146" fmla="*/ 914853 h 914852"/>
                <a:gd name="connsiteX147" fmla="*/ 512220 w 1290910"/>
                <a:gd name="connsiteY147" fmla="*/ 914853 h 914852"/>
                <a:gd name="connsiteX148" fmla="*/ 544283 w 1290910"/>
                <a:gd name="connsiteY148" fmla="*/ 882789 h 914852"/>
                <a:gd name="connsiteX149" fmla="*/ 547572 w 1290910"/>
                <a:gd name="connsiteY149" fmla="*/ 880927 h 9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290910" h="914852">
                  <a:moveTo>
                    <a:pt x="547572" y="880927"/>
                  </a:moveTo>
                  <a:cubicBezTo>
                    <a:pt x="547983" y="880855"/>
                    <a:pt x="548394" y="880806"/>
                    <a:pt x="548805" y="880806"/>
                  </a:cubicBezTo>
                  <a:lnTo>
                    <a:pt x="634550" y="880806"/>
                  </a:lnTo>
                  <a:lnTo>
                    <a:pt x="634550" y="862308"/>
                  </a:lnTo>
                  <a:cubicBezTo>
                    <a:pt x="634550" y="858802"/>
                    <a:pt x="637403" y="855948"/>
                    <a:pt x="640910" y="855948"/>
                  </a:cubicBezTo>
                  <a:lnTo>
                    <a:pt x="680082" y="855948"/>
                  </a:lnTo>
                  <a:lnTo>
                    <a:pt x="754583" y="781472"/>
                  </a:lnTo>
                  <a:cubicBezTo>
                    <a:pt x="755768" y="780287"/>
                    <a:pt x="757388" y="779610"/>
                    <a:pt x="759081" y="779610"/>
                  </a:cubicBezTo>
                  <a:lnTo>
                    <a:pt x="805749" y="779610"/>
                  </a:lnTo>
                  <a:cubicBezTo>
                    <a:pt x="807442" y="779610"/>
                    <a:pt x="809062" y="780287"/>
                    <a:pt x="810247" y="781472"/>
                  </a:cubicBezTo>
                  <a:lnTo>
                    <a:pt x="868015" y="839240"/>
                  </a:lnTo>
                  <a:lnTo>
                    <a:pt x="883708" y="823546"/>
                  </a:lnTo>
                  <a:cubicBezTo>
                    <a:pt x="884893" y="822361"/>
                    <a:pt x="886513" y="821684"/>
                    <a:pt x="888206" y="821684"/>
                  </a:cubicBezTo>
                  <a:lnTo>
                    <a:pt x="888206" y="821684"/>
                  </a:lnTo>
                  <a:cubicBezTo>
                    <a:pt x="889898" y="821684"/>
                    <a:pt x="891518" y="822361"/>
                    <a:pt x="892727" y="823546"/>
                  </a:cubicBezTo>
                  <a:lnTo>
                    <a:pt x="905253" y="836072"/>
                  </a:lnTo>
                  <a:lnTo>
                    <a:pt x="1125999" y="836072"/>
                  </a:lnTo>
                  <a:lnTo>
                    <a:pt x="1125999" y="770155"/>
                  </a:lnTo>
                  <a:cubicBezTo>
                    <a:pt x="1125999" y="768463"/>
                    <a:pt x="1126652" y="766843"/>
                    <a:pt x="1127861" y="765658"/>
                  </a:cubicBezTo>
                  <a:lnTo>
                    <a:pt x="1159513" y="734029"/>
                  </a:lnTo>
                  <a:lnTo>
                    <a:pt x="1110064" y="684556"/>
                  </a:lnTo>
                  <a:cubicBezTo>
                    <a:pt x="1109749" y="684266"/>
                    <a:pt x="1109483" y="683927"/>
                    <a:pt x="1109242" y="683564"/>
                  </a:cubicBezTo>
                  <a:cubicBezTo>
                    <a:pt x="1108540" y="682524"/>
                    <a:pt x="1108177" y="681291"/>
                    <a:pt x="1108177" y="680058"/>
                  </a:cubicBezTo>
                  <a:cubicBezTo>
                    <a:pt x="1108177" y="678438"/>
                    <a:pt x="1108806" y="676794"/>
                    <a:pt x="1110064" y="675560"/>
                  </a:cubicBezTo>
                  <a:lnTo>
                    <a:pt x="1169282" y="616342"/>
                  </a:lnTo>
                  <a:lnTo>
                    <a:pt x="1169282" y="567666"/>
                  </a:lnTo>
                  <a:cubicBezTo>
                    <a:pt x="1169282" y="565998"/>
                    <a:pt x="1169935" y="564378"/>
                    <a:pt x="1171144" y="563168"/>
                  </a:cubicBezTo>
                  <a:lnTo>
                    <a:pt x="1209495" y="524818"/>
                  </a:lnTo>
                  <a:lnTo>
                    <a:pt x="1209495" y="475852"/>
                  </a:lnTo>
                  <a:cubicBezTo>
                    <a:pt x="1209495" y="474184"/>
                    <a:pt x="1210172" y="472539"/>
                    <a:pt x="1211357" y="471354"/>
                  </a:cubicBezTo>
                  <a:lnTo>
                    <a:pt x="1244363" y="438348"/>
                  </a:lnTo>
                  <a:lnTo>
                    <a:pt x="1244363" y="387012"/>
                  </a:lnTo>
                  <a:cubicBezTo>
                    <a:pt x="1244363" y="385344"/>
                    <a:pt x="1245040" y="383724"/>
                    <a:pt x="1246225" y="382514"/>
                  </a:cubicBezTo>
                  <a:lnTo>
                    <a:pt x="1290911" y="337829"/>
                  </a:lnTo>
                  <a:lnTo>
                    <a:pt x="1262281" y="337829"/>
                  </a:lnTo>
                  <a:cubicBezTo>
                    <a:pt x="1260613" y="337829"/>
                    <a:pt x="1258993" y="337176"/>
                    <a:pt x="1257784" y="335967"/>
                  </a:cubicBezTo>
                  <a:lnTo>
                    <a:pt x="1229081" y="307264"/>
                  </a:lnTo>
                  <a:lnTo>
                    <a:pt x="1203788" y="307264"/>
                  </a:lnTo>
                  <a:cubicBezTo>
                    <a:pt x="1202095" y="307264"/>
                    <a:pt x="1200475" y="306587"/>
                    <a:pt x="1199290" y="305402"/>
                  </a:cubicBezTo>
                  <a:lnTo>
                    <a:pt x="1097538" y="203626"/>
                  </a:lnTo>
                  <a:cubicBezTo>
                    <a:pt x="1096353" y="202441"/>
                    <a:pt x="1095676" y="200821"/>
                    <a:pt x="1095676" y="199128"/>
                  </a:cubicBezTo>
                  <a:lnTo>
                    <a:pt x="1095676" y="162132"/>
                  </a:lnTo>
                  <a:lnTo>
                    <a:pt x="1026495" y="162132"/>
                  </a:lnTo>
                  <a:lnTo>
                    <a:pt x="1000646" y="188029"/>
                  </a:lnTo>
                  <a:lnTo>
                    <a:pt x="1000646" y="212984"/>
                  </a:lnTo>
                  <a:cubicBezTo>
                    <a:pt x="1000646" y="214652"/>
                    <a:pt x="999993" y="216272"/>
                    <a:pt x="998784" y="217481"/>
                  </a:cubicBezTo>
                  <a:lnTo>
                    <a:pt x="974918" y="241348"/>
                  </a:lnTo>
                  <a:cubicBezTo>
                    <a:pt x="972524" y="243741"/>
                    <a:pt x="968316" y="243741"/>
                    <a:pt x="965898" y="241348"/>
                  </a:cubicBezTo>
                  <a:lnTo>
                    <a:pt x="921478" y="196928"/>
                  </a:lnTo>
                  <a:lnTo>
                    <a:pt x="888544" y="229862"/>
                  </a:lnTo>
                  <a:lnTo>
                    <a:pt x="888544" y="294134"/>
                  </a:lnTo>
                  <a:cubicBezTo>
                    <a:pt x="888544" y="296697"/>
                    <a:pt x="886997" y="299019"/>
                    <a:pt x="884627" y="300010"/>
                  </a:cubicBezTo>
                  <a:cubicBezTo>
                    <a:pt x="884264" y="300155"/>
                    <a:pt x="883901" y="300252"/>
                    <a:pt x="883539" y="300349"/>
                  </a:cubicBezTo>
                  <a:cubicBezTo>
                    <a:pt x="883442" y="300373"/>
                    <a:pt x="883345" y="300397"/>
                    <a:pt x="883224" y="300397"/>
                  </a:cubicBezTo>
                  <a:cubicBezTo>
                    <a:pt x="882958" y="300445"/>
                    <a:pt x="882668" y="300469"/>
                    <a:pt x="882402" y="300469"/>
                  </a:cubicBezTo>
                  <a:cubicBezTo>
                    <a:pt x="882330" y="300469"/>
                    <a:pt x="882281" y="300494"/>
                    <a:pt x="882209" y="300494"/>
                  </a:cubicBezTo>
                  <a:cubicBezTo>
                    <a:pt x="882160" y="300494"/>
                    <a:pt x="882136" y="300494"/>
                    <a:pt x="882088" y="300494"/>
                  </a:cubicBezTo>
                  <a:cubicBezTo>
                    <a:pt x="881701" y="300494"/>
                    <a:pt x="881338" y="300469"/>
                    <a:pt x="880976" y="300397"/>
                  </a:cubicBezTo>
                  <a:lnTo>
                    <a:pt x="880976" y="300397"/>
                  </a:lnTo>
                  <a:cubicBezTo>
                    <a:pt x="880589" y="300324"/>
                    <a:pt x="880250" y="300203"/>
                    <a:pt x="879912" y="300058"/>
                  </a:cubicBezTo>
                  <a:cubicBezTo>
                    <a:pt x="879815" y="300034"/>
                    <a:pt x="879718" y="299986"/>
                    <a:pt x="879621" y="299937"/>
                  </a:cubicBezTo>
                  <a:cubicBezTo>
                    <a:pt x="879355" y="299816"/>
                    <a:pt x="879114" y="299696"/>
                    <a:pt x="878872" y="299526"/>
                  </a:cubicBezTo>
                  <a:cubicBezTo>
                    <a:pt x="878775" y="299478"/>
                    <a:pt x="878678" y="299430"/>
                    <a:pt x="878582" y="299357"/>
                  </a:cubicBezTo>
                  <a:cubicBezTo>
                    <a:pt x="878267" y="299139"/>
                    <a:pt x="877977" y="298922"/>
                    <a:pt x="877687" y="298632"/>
                  </a:cubicBezTo>
                  <a:lnTo>
                    <a:pt x="800140" y="221060"/>
                  </a:lnTo>
                  <a:cubicBezTo>
                    <a:pt x="797649" y="218569"/>
                    <a:pt x="797649" y="214555"/>
                    <a:pt x="800140" y="212065"/>
                  </a:cubicBezTo>
                  <a:lnTo>
                    <a:pt x="829446" y="182782"/>
                  </a:lnTo>
                  <a:lnTo>
                    <a:pt x="829446" y="80594"/>
                  </a:lnTo>
                  <a:lnTo>
                    <a:pt x="801179" y="52327"/>
                  </a:lnTo>
                  <a:cubicBezTo>
                    <a:pt x="799994" y="51142"/>
                    <a:pt x="799317" y="49522"/>
                    <a:pt x="799317" y="47829"/>
                  </a:cubicBezTo>
                  <a:lnTo>
                    <a:pt x="799317" y="24253"/>
                  </a:lnTo>
                  <a:lnTo>
                    <a:pt x="784615" y="9551"/>
                  </a:lnTo>
                  <a:lnTo>
                    <a:pt x="746603" y="9551"/>
                  </a:lnTo>
                  <a:lnTo>
                    <a:pt x="689706" y="66449"/>
                  </a:lnTo>
                  <a:cubicBezTo>
                    <a:pt x="687216" y="68939"/>
                    <a:pt x="683177" y="68939"/>
                    <a:pt x="680711" y="66449"/>
                  </a:cubicBezTo>
                  <a:lnTo>
                    <a:pt x="671232" y="56994"/>
                  </a:lnTo>
                  <a:lnTo>
                    <a:pt x="613634" y="114592"/>
                  </a:lnTo>
                  <a:cubicBezTo>
                    <a:pt x="611143" y="117083"/>
                    <a:pt x="607105" y="117083"/>
                    <a:pt x="604614" y="114592"/>
                  </a:cubicBezTo>
                  <a:lnTo>
                    <a:pt x="584278" y="94232"/>
                  </a:lnTo>
                  <a:lnTo>
                    <a:pt x="566070" y="112464"/>
                  </a:lnTo>
                  <a:cubicBezTo>
                    <a:pt x="564885" y="113649"/>
                    <a:pt x="563265" y="114326"/>
                    <a:pt x="561573" y="114326"/>
                  </a:cubicBezTo>
                  <a:lnTo>
                    <a:pt x="533982" y="114326"/>
                  </a:lnTo>
                  <a:cubicBezTo>
                    <a:pt x="532314" y="114326"/>
                    <a:pt x="530670" y="113649"/>
                    <a:pt x="529485" y="112464"/>
                  </a:cubicBezTo>
                  <a:lnTo>
                    <a:pt x="504990" y="87969"/>
                  </a:lnTo>
                  <a:lnTo>
                    <a:pt x="479286" y="87969"/>
                  </a:lnTo>
                  <a:cubicBezTo>
                    <a:pt x="475780" y="87969"/>
                    <a:pt x="472926" y="85116"/>
                    <a:pt x="472926" y="81610"/>
                  </a:cubicBezTo>
                  <a:lnTo>
                    <a:pt x="472926" y="26526"/>
                  </a:lnTo>
                  <a:lnTo>
                    <a:pt x="446424" y="0"/>
                  </a:lnTo>
                  <a:lnTo>
                    <a:pt x="403648" y="42776"/>
                  </a:lnTo>
                  <a:cubicBezTo>
                    <a:pt x="402464" y="43961"/>
                    <a:pt x="400844" y="44638"/>
                    <a:pt x="399127" y="44638"/>
                  </a:cubicBezTo>
                  <a:lnTo>
                    <a:pt x="288282" y="44638"/>
                  </a:lnTo>
                  <a:lnTo>
                    <a:pt x="288282" y="75250"/>
                  </a:lnTo>
                  <a:lnTo>
                    <a:pt x="319475" y="75250"/>
                  </a:lnTo>
                  <a:cubicBezTo>
                    <a:pt x="321168" y="75250"/>
                    <a:pt x="322788" y="75927"/>
                    <a:pt x="323973" y="77112"/>
                  </a:cubicBezTo>
                  <a:lnTo>
                    <a:pt x="338216" y="91355"/>
                  </a:lnTo>
                  <a:cubicBezTo>
                    <a:pt x="339400" y="92540"/>
                    <a:pt x="340077" y="94160"/>
                    <a:pt x="340077" y="95852"/>
                  </a:cubicBezTo>
                  <a:lnTo>
                    <a:pt x="340077" y="126151"/>
                  </a:lnTo>
                  <a:cubicBezTo>
                    <a:pt x="340077" y="129681"/>
                    <a:pt x="337224" y="132510"/>
                    <a:pt x="333718" y="132510"/>
                  </a:cubicBezTo>
                  <a:lnTo>
                    <a:pt x="272831" y="132510"/>
                  </a:lnTo>
                  <a:lnTo>
                    <a:pt x="272831" y="173811"/>
                  </a:lnTo>
                  <a:lnTo>
                    <a:pt x="321700" y="222680"/>
                  </a:lnTo>
                  <a:cubicBezTo>
                    <a:pt x="322885" y="223865"/>
                    <a:pt x="323562" y="225485"/>
                    <a:pt x="323562" y="227202"/>
                  </a:cubicBezTo>
                  <a:lnTo>
                    <a:pt x="323562" y="286203"/>
                  </a:lnTo>
                  <a:cubicBezTo>
                    <a:pt x="323562" y="287871"/>
                    <a:pt x="322885" y="289491"/>
                    <a:pt x="321700" y="290700"/>
                  </a:cubicBezTo>
                  <a:lnTo>
                    <a:pt x="302428" y="309972"/>
                  </a:lnTo>
                  <a:lnTo>
                    <a:pt x="302428" y="380822"/>
                  </a:lnTo>
                  <a:cubicBezTo>
                    <a:pt x="302428" y="382514"/>
                    <a:pt x="301751" y="384135"/>
                    <a:pt x="300566" y="385344"/>
                  </a:cubicBezTo>
                  <a:lnTo>
                    <a:pt x="285792" y="400094"/>
                  </a:lnTo>
                  <a:lnTo>
                    <a:pt x="285792" y="501725"/>
                  </a:lnTo>
                  <a:cubicBezTo>
                    <a:pt x="285792" y="505232"/>
                    <a:pt x="282938" y="508085"/>
                    <a:pt x="279432" y="508085"/>
                  </a:cubicBezTo>
                  <a:lnTo>
                    <a:pt x="244419" y="508085"/>
                  </a:lnTo>
                  <a:cubicBezTo>
                    <a:pt x="242726" y="508085"/>
                    <a:pt x="241106" y="507432"/>
                    <a:pt x="239921" y="506223"/>
                  </a:cubicBezTo>
                  <a:lnTo>
                    <a:pt x="223381" y="489708"/>
                  </a:lnTo>
                  <a:lnTo>
                    <a:pt x="179469" y="533620"/>
                  </a:lnTo>
                  <a:cubicBezTo>
                    <a:pt x="178284" y="534805"/>
                    <a:pt x="176664" y="535482"/>
                    <a:pt x="174947" y="535482"/>
                  </a:cubicBezTo>
                  <a:lnTo>
                    <a:pt x="113577" y="535482"/>
                  </a:lnTo>
                  <a:lnTo>
                    <a:pt x="59315" y="589743"/>
                  </a:lnTo>
                  <a:lnTo>
                    <a:pt x="59315" y="606911"/>
                  </a:lnTo>
                  <a:cubicBezTo>
                    <a:pt x="59315" y="608604"/>
                    <a:pt x="58638" y="610224"/>
                    <a:pt x="57453" y="611433"/>
                  </a:cubicBezTo>
                  <a:lnTo>
                    <a:pt x="33466" y="635396"/>
                  </a:lnTo>
                  <a:lnTo>
                    <a:pt x="41615" y="643545"/>
                  </a:lnTo>
                  <a:cubicBezTo>
                    <a:pt x="44106" y="646036"/>
                    <a:pt x="44106" y="650074"/>
                    <a:pt x="41615" y="652540"/>
                  </a:cubicBezTo>
                  <a:lnTo>
                    <a:pt x="0" y="694155"/>
                  </a:lnTo>
                  <a:lnTo>
                    <a:pt x="0" y="716232"/>
                  </a:lnTo>
                  <a:lnTo>
                    <a:pt x="24084" y="716232"/>
                  </a:lnTo>
                  <a:cubicBezTo>
                    <a:pt x="25777" y="716232"/>
                    <a:pt x="27397" y="716885"/>
                    <a:pt x="28582" y="718094"/>
                  </a:cubicBezTo>
                  <a:lnTo>
                    <a:pt x="54503" y="744040"/>
                  </a:lnTo>
                  <a:lnTo>
                    <a:pt x="76798" y="744040"/>
                  </a:lnTo>
                  <a:cubicBezTo>
                    <a:pt x="77644" y="744040"/>
                    <a:pt x="78466" y="744209"/>
                    <a:pt x="79240" y="744524"/>
                  </a:cubicBezTo>
                  <a:cubicBezTo>
                    <a:pt x="80014" y="744838"/>
                    <a:pt x="80715" y="745322"/>
                    <a:pt x="81296" y="745902"/>
                  </a:cubicBezTo>
                  <a:lnTo>
                    <a:pt x="105138" y="769744"/>
                  </a:lnTo>
                  <a:lnTo>
                    <a:pt x="202223" y="769744"/>
                  </a:lnTo>
                  <a:cubicBezTo>
                    <a:pt x="203916" y="769744"/>
                    <a:pt x="205536" y="770421"/>
                    <a:pt x="206721" y="771606"/>
                  </a:cubicBezTo>
                  <a:lnTo>
                    <a:pt x="223164" y="788049"/>
                  </a:lnTo>
                  <a:lnTo>
                    <a:pt x="240864" y="788049"/>
                  </a:lnTo>
                  <a:cubicBezTo>
                    <a:pt x="242557" y="788049"/>
                    <a:pt x="244177" y="788726"/>
                    <a:pt x="245362" y="789935"/>
                  </a:cubicBezTo>
                  <a:lnTo>
                    <a:pt x="279384" y="823957"/>
                  </a:lnTo>
                  <a:lnTo>
                    <a:pt x="316139" y="823957"/>
                  </a:lnTo>
                  <a:cubicBezTo>
                    <a:pt x="317831" y="823957"/>
                    <a:pt x="319451" y="824634"/>
                    <a:pt x="320636" y="825819"/>
                  </a:cubicBezTo>
                  <a:lnTo>
                    <a:pt x="352385" y="857593"/>
                  </a:lnTo>
                  <a:lnTo>
                    <a:pt x="391872" y="857593"/>
                  </a:lnTo>
                  <a:cubicBezTo>
                    <a:pt x="393565" y="857593"/>
                    <a:pt x="395185" y="858270"/>
                    <a:pt x="396370" y="859455"/>
                  </a:cubicBezTo>
                  <a:lnTo>
                    <a:pt x="438275" y="901384"/>
                  </a:lnTo>
                  <a:lnTo>
                    <a:pt x="462142" y="901384"/>
                  </a:lnTo>
                  <a:cubicBezTo>
                    <a:pt x="462553" y="901384"/>
                    <a:pt x="462988" y="901408"/>
                    <a:pt x="463399" y="901505"/>
                  </a:cubicBezTo>
                  <a:cubicBezTo>
                    <a:pt x="464608" y="901747"/>
                    <a:pt x="465745" y="902351"/>
                    <a:pt x="466639" y="903246"/>
                  </a:cubicBezTo>
                  <a:lnTo>
                    <a:pt x="478246" y="914853"/>
                  </a:lnTo>
                  <a:lnTo>
                    <a:pt x="512220" y="914853"/>
                  </a:lnTo>
                  <a:lnTo>
                    <a:pt x="544283" y="882789"/>
                  </a:lnTo>
                  <a:cubicBezTo>
                    <a:pt x="545227" y="881773"/>
                    <a:pt x="546363" y="881169"/>
                    <a:pt x="547572" y="880927"/>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39" name="Forma Livre: Forma 38">
              <a:extLst>
                <a:ext uri="{FF2B5EF4-FFF2-40B4-BE49-F238E27FC236}">
                  <a16:creationId xmlns:a16="http://schemas.microsoft.com/office/drawing/2014/main" id="{5D3E882B-E1DF-2277-A246-5CF81F2FB890}"/>
                </a:ext>
              </a:extLst>
            </p:cNvPr>
            <p:cNvSpPr/>
            <p:nvPr>
              <p:custDataLst>
                <p:tags r:id="rId121"/>
              </p:custDataLst>
            </p:nvPr>
          </p:nvSpPr>
          <p:spPr>
            <a:xfrm>
              <a:off x="3048926" y="1601037"/>
              <a:ext cx="519328" cy="283010"/>
            </a:xfrm>
            <a:custGeom>
              <a:avLst/>
              <a:gdLst>
                <a:gd name="connsiteX0" fmla="*/ 490941 w 519328"/>
                <a:gd name="connsiteY0" fmla="*/ 196710 h 283010"/>
                <a:gd name="connsiteX1" fmla="*/ 479334 w 519328"/>
                <a:gd name="connsiteY1" fmla="*/ 185103 h 283010"/>
                <a:gd name="connsiteX2" fmla="*/ 455444 w 519328"/>
                <a:gd name="connsiteY2" fmla="*/ 185103 h 283010"/>
                <a:gd name="connsiteX3" fmla="*/ 450946 w 519328"/>
                <a:gd name="connsiteY3" fmla="*/ 183217 h 283010"/>
                <a:gd name="connsiteX4" fmla="*/ 409017 w 519328"/>
                <a:gd name="connsiteY4" fmla="*/ 141312 h 283010"/>
                <a:gd name="connsiteX5" fmla="*/ 369554 w 519328"/>
                <a:gd name="connsiteY5" fmla="*/ 141312 h 283010"/>
                <a:gd name="connsiteX6" fmla="*/ 365056 w 519328"/>
                <a:gd name="connsiteY6" fmla="*/ 139426 h 283010"/>
                <a:gd name="connsiteX7" fmla="*/ 333307 w 519328"/>
                <a:gd name="connsiteY7" fmla="*/ 107677 h 283010"/>
                <a:gd name="connsiteX8" fmla="*/ 296552 w 519328"/>
                <a:gd name="connsiteY8" fmla="*/ 107677 h 283010"/>
                <a:gd name="connsiteX9" fmla="*/ 292030 w 519328"/>
                <a:gd name="connsiteY9" fmla="*/ 105791 h 283010"/>
                <a:gd name="connsiteX10" fmla="*/ 258032 w 519328"/>
                <a:gd name="connsiteY10" fmla="*/ 71817 h 283010"/>
                <a:gd name="connsiteX11" fmla="*/ 240332 w 519328"/>
                <a:gd name="connsiteY11" fmla="*/ 71817 h 283010"/>
                <a:gd name="connsiteX12" fmla="*/ 239075 w 519328"/>
                <a:gd name="connsiteY12" fmla="*/ 71696 h 283010"/>
                <a:gd name="connsiteX13" fmla="*/ 235810 w 519328"/>
                <a:gd name="connsiteY13" fmla="*/ 69955 h 283010"/>
                <a:gd name="connsiteX14" fmla="*/ 219367 w 519328"/>
                <a:gd name="connsiteY14" fmla="*/ 53512 h 283010"/>
                <a:gd name="connsiteX15" fmla="*/ 122306 w 519328"/>
                <a:gd name="connsiteY15" fmla="*/ 53512 h 283010"/>
                <a:gd name="connsiteX16" fmla="*/ 117808 w 519328"/>
                <a:gd name="connsiteY16" fmla="*/ 51626 h 283010"/>
                <a:gd name="connsiteX17" fmla="*/ 93966 w 519328"/>
                <a:gd name="connsiteY17" fmla="*/ 27784 h 283010"/>
                <a:gd name="connsiteX18" fmla="*/ 71672 w 519328"/>
                <a:gd name="connsiteY18" fmla="*/ 27784 h 283010"/>
                <a:gd name="connsiteX19" fmla="*/ 67174 w 519328"/>
                <a:gd name="connsiteY19" fmla="*/ 25922 h 283010"/>
                <a:gd name="connsiteX20" fmla="*/ 41252 w 519328"/>
                <a:gd name="connsiteY20" fmla="*/ 0 h 283010"/>
                <a:gd name="connsiteX21" fmla="*/ 16056 w 519328"/>
                <a:gd name="connsiteY21" fmla="*/ 0 h 283010"/>
                <a:gd name="connsiteX22" fmla="*/ 0 w 519328"/>
                <a:gd name="connsiteY22" fmla="*/ 16032 h 283010"/>
                <a:gd name="connsiteX23" fmla="*/ 16564 w 519328"/>
                <a:gd name="connsiteY23" fmla="*/ 32596 h 283010"/>
                <a:gd name="connsiteX24" fmla="*/ 18450 w 519328"/>
                <a:gd name="connsiteY24" fmla="*/ 37093 h 283010"/>
                <a:gd name="connsiteX25" fmla="*/ 18450 w 519328"/>
                <a:gd name="connsiteY25" fmla="*/ 62048 h 283010"/>
                <a:gd name="connsiteX26" fmla="*/ 86253 w 519328"/>
                <a:gd name="connsiteY26" fmla="*/ 129850 h 283010"/>
                <a:gd name="connsiteX27" fmla="*/ 86253 w 519328"/>
                <a:gd name="connsiteY27" fmla="*/ 138846 h 283010"/>
                <a:gd name="connsiteX28" fmla="*/ 68939 w 519328"/>
                <a:gd name="connsiteY28" fmla="*/ 156159 h 283010"/>
                <a:gd name="connsiteX29" fmla="*/ 128109 w 519328"/>
                <a:gd name="connsiteY29" fmla="*/ 156159 h 283010"/>
                <a:gd name="connsiteX30" fmla="*/ 134469 w 519328"/>
                <a:gd name="connsiteY30" fmla="*/ 162519 h 283010"/>
                <a:gd name="connsiteX31" fmla="*/ 134469 w 519328"/>
                <a:gd name="connsiteY31" fmla="*/ 197242 h 283010"/>
                <a:gd name="connsiteX32" fmla="*/ 198064 w 519328"/>
                <a:gd name="connsiteY32" fmla="*/ 197242 h 283010"/>
                <a:gd name="connsiteX33" fmla="*/ 242968 w 519328"/>
                <a:gd name="connsiteY33" fmla="*/ 152338 h 283010"/>
                <a:gd name="connsiteX34" fmla="*/ 249908 w 519328"/>
                <a:gd name="connsiteY34" fmla="*/ 150960 h 283010"/>
                <a:gd name="connsiteX35" fmla="*/ 253825 w 519328"/>
                <a:gd name="connsiteY35" fmla="*/ 156836 h 283010"/>
                <a:gd name="connsiteX36" fmla="*/ 253825 w 519328"/>
                <a:gd name="connsiteY36" fmla="*/ 283011 h 283010"/>
                <a:gd name="connsiteX37" fmla="*/ 387592 w 519328"/>
                <a:gd name="connsiteY37" fmla="*/ 283011 h 283010"/>
                <a:gd name="connsiteX38" fmla="*/ 421711 w 519328"/>
                <a:gd name="connsiteY38" fmla="*/ 248892 h 283010"/>
                <a:gd name="connsiteX39" fmla="*/ 426209 w 519328"/>
                <a:gd name="connsiteY39" fmla="*/ 247030 h 283010"/>
                <a:gd name="connsiteX40" fmla="*/ 454621 w 519328"/>
                <a:gd name="connsiteY40" fmla="*/ 247030 h 283010"/>
                <a:gd name="connsiteX41" fmla="*/ 477472 w 519328"/>
                <a:gd name="connsiteY41" fmla="*/ 224179 h 283010"/>
                <a:gd name="connsiteX42" fmla="*/ 481970 w 519328"/>
                <a:gd name="connsiteY42" fmla="*/ 222317 h 283010"/>
                <a:gd name="connsiteX43" fmla="*/ 495584 w 519328"/>
                <a:gd name="connsiteY43" fmla="*/ 222317 h 283010"/>
                <a:gd name="connsiteX44" fmla="*/ 519329 w 519328"/>
                <a:gd name="connsiteY44" fmla="*/ 198572 h 283010"/>
                <a:gd name="connsiteX45" fmla="*/ 495463 w 519328"/>
                <a:gd name="connsiteY45" fmla="*/ 198572 h 283010"/>
                <a:gd name="connsiteX46" fmla="*/ 490941 w 519328"/>
                <a:gd name="connsiteY46" fmla="*/ 196710 h 28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19328" h="283010">
                  <a:moveTo>
                    <a:pt x="490941" y="196710"/>
                  </a:moveTo>
                  <a:lnTo>
                    <a:pt x="479334" y="185103"/>
                  </a:lnTo>
                  <a:lnTo>
                    <a:pt x="455444" y="185103"/>
                  </a:lnTo>
                  <a:cubicBezTo>
                    <a:pt x="453775" y="185103"/>
                    <a:pt x="452155" y="184426"/>
                    <a:pt x="450946" y="183217"/>
                  </a:cubicBezTo>
                  <a:lnTo>
                    <a:pt x="409017" y="141312"/>
                  </a:lnTo>
                  <a:lnTo>
                    <a:pt x="369554" y="141312"/>
                  </a:lnTo>
                  <a:cubicBezTo>
                    <a:pt x="367861" y="141312"/>
                    <a:pt x="366241" y="140635"/>
                    <a:pt x="365056" y="139426"/>
                  </a:cubicBezTo>
                  <a:lnTo>
                    <a:pt x="333307" y="107677"/>
                  </a:lnTo>
                  <a:lnTo>
                    <a:pt x="296552" y="107677"/>
                  </a:lnTo>
                  <a:cubicBezTo>
                    <a:pt x="294860" y="107677"/>
                    <a:pt x="293239" y="107000"/>
                    <a:pt x="292030" y="105791"/>
                  </a:cubicBezTo>
                  <a:lnTo>
                    <a:pt x="258032" y="71817"/>
                  </a:lnTo>
                  <a:lnTo>
                    <a:pt x="240332" y="71817"/>
                  </a:lnTo>
                  <a:cubicBezTo>
                    <a:pt x="239897" y="71817"/>
                    <a:pt x="239486" y="71793"/>
                    <a:pt x="239075" y="71696"/>
                  </a:cubicBezTo>
                  <a:cubicBezTo>
                    <a:pt x="237866" y="71454"/>
                    <a:pt x="236705" y="70849"/>
                    <a:pt x="235810" y="69955"/>
                  </a:cubicBezTo>
                  <a:lnTo>
                    <a:pt x="219367" y="53512"/>
                  </a:lnTo>
                  <a:lnTo>
                    <a:pt x="122306" y="53512"/>
                  </a:lnTo>
                  <a:cubicBezTo>
                    <a:pt x="120638" y="53512"/>
                    <a:pt x="119017" y="52835"/>
                    <a:pt x="117808" y="51626"/>
                  </a:cubicBezTo>
                  <a:lnTo>
                    <a:pt x="93966" y="27784"/>
                  </a:lnTo>
                  <a:lnTo>
                    <a:pt x="71672" y="27784"/>
                  </a:lnTo>
                  <a:cubicBezTo>
                    <a:pt x="70003" y="27784"/>
                    <a:pt x="68359" y="27107"/>
                    <a:pt x="67174" y="25922"/>
                  </a:cubicBezTo>
                  <a:lnTo>
                    <a:pt x="41252" y="0"/>
                  </a:lnTo>
                  <a:lnTo>
                    <a:pt x="16056" y="0"/>
                  </a:lnTo>
                  <a:lnTo>
                    <a:pt x="0" y="16032"/>
                  </a:lnTo>
                  <a:lnTo>
                    <a:pt x="16564" y="32596"/>
                  </a:lnTo>
                  <a:cubicBezTo>
                    <a:pt x="17773" y="33780"/>
                    <a:pt x="18450" y="35401"/>
                    <a:pt x="18450" y="37093"/>
                  </a:cubicBezTo>
                  <a:lnTo>
                    <a:pt x="18450" y="62048"/>
                  </a:lnTo>
                  <a:lnTo>
                    <a:pt x="86253" y="129850"/>
                  </a:lnTo>
                  <a:cubicBezTo>
                    <a:pt x="88743" y="132341"/>
                    <a:pt x="88743" y="136355"/>
                    <a:pt x="86253" y="138846"/>
                  </a:cubicBezTo>
                  <a:lnTo>
                    <a:pt x="68939" y="156159"/>
                  </a:lnTo>
                  <a:lnTo>
                    <a:pt x="128109" y="156159"/>
                  </a:lnTo>
                  <a:cubicBezTo>
                    <a:pt x="131616" y="156159"/>
                    <a:pt x="134469" y="159012"/>
                    <a:pt x="134469" y="162519"/>
                  </a:cubicBezTo>
                  <a:lnTo>
                    <a:pt x="134469" y="197242"/>
                  </a:lnTo>
                  <a:lnTo>
                    <a:pt x="198064" y="197242"/>
                  </a:lnTo>
                  <a:lnTo>
                    <a:pt x="242968" y="152338"/>
                  </a:lnTo>
                  <a:cubicBezTo>
                    <a:pt x="244805" y="150525"/>
                    <a:pt x="247514" y="149969"/>
                    <a:pt x="249908" y="150960"/>
                  </a:cubicBezTo>
                  <a:cubicBezTo>
                    <a:pt x="252277" y="151952"/>
                    <a:pt x="253825" y="154273"/>
                    <a:pt x="253825" y="156836"/>
                  </a:cubicBezTo>
                  <a:lnTo>
                    <a:pt x="253825" y="283011"/>
                  </a:lnTo>
                  <a:lnTo>
                    <a:pt x="387592" y="283011"/>
                  </a:lnTo>
                  <a:lnTo>
                    <a:pt x="421711" y="248892"/>
                  </a:lnTo>
                  <a:cubicBezTo>
                    <a:pt x="422896" y="247707"/>
                    <a:pt x="424516" y="247030"/>
                    <a:pt x="426209" y="247030"/>
                  </a:cubicBezTo>
                  <a:lnTo>
                    <a:pt x="454621" y="247030"/>
                  </a:lnTo>
                  <a:lnTo>
                    <a:pt x="477472" y="224179"/>
                  </a:lnTo>
                  <a:cubicBezTo>
                    <a:pt x="478657" y="222994"/>
                    <a:pt x="480277" y="222317"/>
                    <a:pt x="481970" y="222317"/>
                  </a:cubicBezTo>
                  <a:lnTo>
                    <a:pt x="495584" y="222317"/>
                  </a:lnTo>
                  <a:lnTo>
                    <a:pt x="519329" y="198572"/>
                  </a:lnTo>
                  <a:lnTo>
                    <a:pt x="495463" y="198572"/>
                  </a:lnTo>
                  <a:cubicBezTo>
                    <a:pt x="493746" y="198596"/>
                    <a:pt x="492150" y="197895"/>
                    <a:pt x="490941" y="196710"/>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0" name="Forma Livre: Forma 39">
              <a:extLst>
                <a:ext uri="{FF2B5EF4-FFF2-40B4-BE49-F238E27FC236}">
                  <a16:creationId xmlns:a16="http://schemas.microsoft.com/office/drawing/2014/main" id="{879F246C-8542-1C39-B064-43DB2CE7A331}"/>
                </a:ext>
              </a:extLst>
            </p:cNvPr>
            <p:cNvSpPr/>
            <p:nvPr>
              <p:custDataLst>
                <p:tags r:id="rId122"/>
              </p:custDataLst>
            </p:nvPr>
          </p:nvSpPr>
          <p:spPr>
            <a:xfrm>
              <a:off x="3592581" y="1664487"/>
              <a:ext cx="515145" cy="412353"/>
            </a:xfrm>
            <a:custGeom>
              <a:avLst/>
              <a:gdLst>
                <a:gd name="connsiteX0" fmla="*/ 465720 w 515145"/>
                <a:gd name="connsiteY0" fmla="*/ 266036 h 412353"/>
                <a:gd name="connsiteX1" fmla="*/ 465720 w 515145"/>
                <a:gd name="connsiteY1" fmla="*/ 257041 h 412353"/>
                <a:gd name="connsiteX2" fmla="*/ 500952 w 515145"/>
                <a:gd name="connsiteY2" fmla="*/ 221810 h 412353"/>
                <a:gd name="connsiteX3" fmla="*/ 378718 w 515145"/>
                <a:gd name="connsiteY3" fmla="*/ 221810 h 412353"/>
                <a:gd name="connsiteX4" fmla="*/ 372359 w 515145"/>
                <a:gd name="connsiteY4" fmla="*/ 215450 h 412353"/>
                <a:gd name="connsiteX5" fmla="*/ 372359 w 515145"/>
                <a:gd name="connsiteY5" fmla="*/ 52714 h 412353"/>
                <a:gd name="connsiteX6" fmla="*/ 364331 w 515145"/>
                <a:gd name="connsiteY6" fmla="*/ 44686 h 412353"/>
                <a:gd name="connsiteX7" fmla="*/ 348613 w 515145"/>
                <a:gd name="connsiteY7" fmla="*/ 60403 h 412353"/>
                <a:gd name="connsiteX8" fmla="*/ 339618 w 515145"/>
                <a:gd name="connsiteY8" fmla="*/ 60403 h 412353"/>
                <a:gd name="connsiteX9" fmla="*/ 279215 w 515145"/>
                <a:gd name="connsiteY9" fmla="*/ 0 h 412353"/>
                <a:gd name="connsiteX10" fmla="*/ 237817 w 515145"/>
                <a:gd name="connsiteY10" fmla="*/ 0 h 412353"/>
                <a:gd name="connsiteX11" fmla="*/ 163341 w 515145"/>
                <a:gd name="connsiteY11" fmla="*/ 74501 h 412353"/>
                <a:gd name="connsiteX12" fmla="*/ 158843 w 515145"/>
                <a:gd name="connsiteY12" fmla="*/ 76363 h 412353"/>
                <a:gd name="connsiteX13" fmla="*/ 123394 w 515145"/>
                <a:gd name="connsiteY13" fmla="*/ 76363 h 412353"/>
                <a:gd name="connsiteX14" fmla="*/ 123394 w 515145"/>
                <a:gd name="connsiteY14" fmla="*/ 94837 h 412353"/>
                <a:gd name="connsiteX15" fmla="*/ 117035 w 515145"/>
                <a:gd name="connsiteY15" fmla="*/ 101196 h 412353"/>
                <a:gd name="connsiteX16" fmla="*/ 27566 w 515145"/>
                <a:gd name="connsiteY16" fmla="*/ 101196 h 412353"/>
                <a:gd name="connsiteX17" fmla="*/ 0 w 515145"/>
                <a:gd name="connsiteY17" fmla="*/ 128786 h 412353"/>
                <a:gd name="connsiteX18" fmla="*/ 15379 w 515145"/>
                <a:gd name="connsiteY18" fmla="*/ 144190 h 412353"/>
                <a:gd name="connsiteX19" fmla="*/ 95562 w 515145"/>
                <a:gd name="connsiteY19" fmla="*/ 144190 h 412353"/>
                <a:gd name="connsiteX20" fmla="*/ 101922 w 515145"/>
                <a:gd name="connsiteY20" fmla="*/ 150549 h 412353"/>
                <a:gd name="connsiteX21" fmla="*/ 101922 w 515145"/>
                <a:gd name="connsiteY21" fmla="*/ 257307 h 412353"/>
                <a:gd name="connsiteX22" fmla="*/ 166919 w 515145"/>
                <a:gd name="connsiteY22" fmla="*/ 322305 h 412353"/>
                <a:gd name="connsiteX23" fmla="*/ 248578 w 515145"/>
                <a:gd name="connsiteY23" fmla="*/ 322305 h 412353"/>
                <a:gd name="connsiteX24" fmla="*/ 253075 w 515145"/>
                <a:gd name="connsiteY24" fmla="*/ 324167 h 412353"/>
                <a:gd name="connsiteX25" fmla="*/ 305064 w 515145"/>
                <a:gd name="connsiteY25" fmla="*/ 376155 h 412353"/>
                <a:gd name="connsiteX26" fmla="*/ 324384 w 515145"/>
                <a:gd name="connsiteY26" fmla="*/ 376155 h 412353"/>
                <a:gd name="connsiteX27" fmla="*/ 328906 w 515145"/>
                <a:gd name="connsiteY27" fmla="*/ 378017 h 412353"/>
                <a:gd name="connsiteX28" fmla="*/ 363243 w 515145"/>
                <a:gd name="connsiteY28" fmla="*/ 412354 h 412353"/>
                <a:gd name="connsiteX29" fmla="*/ 418326 w 515145"/>
                <a:gd name="connsiteY29" fmla="*/ 412354 h 412353"/>
                <a:gd name="connsiteX30" fmla="*/ 515146 w 515145"/>
                <a:gd name="connsiteY30" fmla="*/ 315534 h 412353"/>
                <a:gd name="connsiteX31" fmla="*/ 465720 w 515145"/>
                <a:gd name="connsiteY31" fmla="*/ 266036 h 41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5145" h="412352">
                  <a:moveTo>
                    <a:pt x="465720" y="266036"/>
                  </a:moveTo>
                  <a:cubicBezTo>
                    <a:pt x="463230" y="263546"/>
                    <a:pt x="463230" y="259507"/>
                    <a:pt x="465720" y="257041"/>
                  </a:cubicBezTo>
                  <a:lnTo>
                    <a:pt x="500952" y="221810"/>
                  </a:lnTo>
                  <a:lnTo>
                    <a:pt x="378718" y="221810"/>
                  </a:lnTo>
                  <a:cubicBezTo>
                    <a:pt x="375188" y="221810"/>
                    <a:pt x="372359" y="218956"/>
                    <a:pt x="372359" y="215450"/>
                  </a:cubicBezTo>
                  <a:lnTo>
                    <a:pt x="372359" y="52714"/>
                  </a:lnTo>
                  <a:lnTo>
                    <a:pt x="364331" y="44686"/>
                  </a:lnTo>
                  <a:lnTo>
                    <a:pt x="348613" y="60403"/>
                  </a:lnTo>
                  <a:cubicBezTo>
                    <a:pt x="346123" y="62894"/>
                    <a:pt x="342109" y="62894"/>
                    <a:pt x="339618" y="60403"/>
                  </a:cubicBezTo>
                  <a:lnTo>
                    <a:pt x="279215" y="0"/>
                  </a:lnTo>
                  <a:lnTo>
                    <a:pt x="237817" y="0"/>
                  </a:lnTo>
                  <a:lnTo>
                    <a:pt x="163341" y="74501"/>
                  </a:lnTo>
                  <a:cubicBezTo>
                    <a:pt x="162156" y="75686"/>
                    <a:pt x="160536" y="76363"/>
                    <a:pt x="158843" y="76363"/>
                  </a:cubicBezTo>
                  <a:lnTo>
                    <a:pt x="123394" y="76363"/>
                  </a:lnTo>
                  <a:lnTo>
                    <a:pt x="123394" y="94837"/>
                  </a:lnTo>
                  <a:cubicBezTo>
                    <a:pt x="123394" y="98367"/>
                    <a:pt x="120541" y="101196"/>
                    <a:pt x="117035" y="101196"/>
                  </a:cubicBezTo>
                  <a:lnTo>
                    <a:pt x="27566" y="101196"/>
                  </a:lnTo>
                  <a:lnTo>
                    <a:pt x="0" y="128786"/>
                  </a:lnTo>
                  <a:lnTo>
                    <a:pt x="15379" y="144190"/>
                  </a:lnTo>
                  <a:lnTo>
                    <a:pt x="95562" y="144190"/>
                  </a:lnTo>
                  <a:cubicBezTo>
                    <a:pt x="99068" y="144190"/>
                    <a:pt x="101922" y="147043"/>
                    <a:pt x="101922" y="150549"/>
                  </a:cubicBezTo>
                  <a:lnTo>
                    <a:pt x="101922" y="257307"/>
                  </a:lnTo>
                  <a:lnTo>
                    <a:pt x="166919" y="322305"/>
                  </a:lnTo>
                  <a:lnTo>
                    <a:pt x="248578" y="322305"/>
                  </a:lnTo>
                  <a:cubicBezTo>
                    <a:pt x="250270" y="322305"/>
                    <a:pt x="251890" y="322957"/>
                    <a:pt x="253075" y="324167"/>
                  </a:cubicBezTo>
                  <a:lnTo>
                    <a:pt x="305064" y="376155"/>
                  </a:lnTo>
                  <a:lnTo>
                    <a:pt x="324384" y="376155"/>
                  </a:lnTo>
                  <a:cubicBezTo>
                    <a:pt x="326077" y="376155"/>
                    <a:pt x="327697" y="376832"/>
                    <a:pt x="328906" y="378017"/>
                  </a:cubicBezTo>
                  <a:lnTo>
                    <a:pt x="363243" y="412354"/>
                  </a:lnTo>
                  <a:lnTo>
                    <a:pt x="418326" y="412354"/>
                  </a:lnTo>
                  <a:lnTo>
                    <a:pt x="515146" y="315534"/>
                  </a:lnTo>
                  <a:lnTo>
                    <a:pt x="465720" y="26603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1" name="Forma Livre: Forma 40">
              <a:extLst>
                <a:ext uri="{FF2B5EF4-FFF2-40B4-BE49-F238E27FC236}">
                  <a16:creationId xmlns:a16="http://schemas.microsoft.com/office/drawing/2014/main" id="{1389A266-86E7-7808-A11A-7B5EBA60DA0A}"/>
                </a:ext>
              </a:extLst>
            </p:cNvPr>
            <p:cNvSpPr/>
            <p:nvPr>
              <p:custDataLst>
                <p:tags r:id="rId123"/>
              </p:custDataLst>
            </p:nvPr>
          </p:nvSpPr>
          <p:spPr>
            <a:xfrm>
              <a:off x="3977635" y="1615183"/>
              <a:ext cx="830486" cy="801469"/>
            </a:xfrm>
            <a:custGeom>
              <a:avLst/>
              <a:gdLst>
                <a:gd name="connsiteX0" fmla="*/ 295827 w 830486"/>
                <a:gd name="connsiteY0" fmla="*/ 790926 h 801469"/>
                <a:gd name="connsiteX1" fmla="*/ 316356 w 830486"/>
                <a:gd name="connsiteY1" fmla="*/ 790926 h 801469"/>
                <a:gd name="connsiteX2" fmla="*/ 346630 w 830486"/>
                <a:gd name="connsiteY2" fmla="*/ 760652 h 801469"/>
                <a:gd name="connsiteX3" fmla="*/ 351128 w 830486"/>
                <a:gd name="connsiteY3" fmla="*/ 758790 h 801469"/>
                <a:gd name="connsiteX4" fmla="*/ 376445 w 830486"/>
                <a:gd name="connsiteY4" fmla="*/ 758790 h 801469"/>
                <a:gd name="connsiteX5" fmla="*/ 393783 w 830486"/>
                <a:gd name="connsiteY5" fmla="*/ 741429 h 801469"/>
                <a:gd name="connsiteX6" fmla="*/ 402778 w 830486"/>
                <a:gd name="connsiteY6" fmla="*/ 741429 h 801469"/>
                <a:gd name="connsiteX7" fmla="*/ 451647 w 830486"/>
                <a:gd name="connsiteY7" fmla="*/ 790298 h 801469"/>
                <a:gd name="connsiteX8" fmla="*/ 488208 w 830486"/>
                <a:gd name="connsiteY8" fmla="*/ 790298 h 801469"/>
                <a:gd name="connsiteX9" fmla="*/ 503853 w 830486"/>
                <a:gd name="connsiteY9" fmla="*/ 774653 h 801469"/>
                <a:gd name="connsiteX10" fmla="*/ 512849 w 830486"/>
                <a:gd name="connsiteY10" fmla="*/ 774653 h 801469"/>
                <a:gd name="connsiteX11" fmla="*/ 520562 w 830486"/>
                <a:gd name="connsiteY11" fmla="*/ 782367 h 801469"/>
                <a:gd name="connsiteX12" fmla="*/ 562080 w 830486"/>
                <a:gd name="connsiteY12" fmla="*/ 740824 h 801469"/>
                <a:gd name="connsiteX13" fmla="*/ 569020 w 830486"/>
                <a:gd name="connsiteY13" fmla="*/ 739446 h 801469"/>
                <a:gd name="connsiteX14" fmla="*/ 572938 w 830486"/>
                <a:gd name="connsiteY14" fmla="*/ 745322 h 801469"/>
                <a:gd name="connsiteX15" fmla="*/ 572938 w 830486"/>
                <a:gd name="connsiteY15" fmla="*/ 801469 h 801469"/>
                <a:gd name="connsiteX16" fmla="*/ 615520 w 830486"/>
                <a:gd name="connsiteY16" fmla="*/ 801469 h 801469"/>
                <a:gd name="connsiteX17" fmla="*/ 615520 w 830486"/>
                <a:gd name="connsiteY17" fmla="*/ 728226 h 801469"/>
                <a:gd name="connsiteX18" fmla="*/ 617406 w 830486"/>
                <a:gd name="connsiteY18" fmla="*/ 723728 h 801469"/>
                <a:gd name="connsiteX19" fmla="*/ 716789 w 830486"/>
                <a:gd name="connsiteY19" fmla="*/ 624321 h 801469"/>
                <a:gd name="connsiteX20" fmla="*/ 716789 w 830486"/>
                <a:gd name="connsiteY20" fmla="*/ 592500 h 801469"/>
                <a:gd name="connsiteX21" fmla="*/ 718650 w 830486"/>
                <a:gd name="connsiteY21" fmla="*/ 588002 h 801469"/>
                <a:gd name="connsiteX22" fmla="*/ 778570 w 830486"/>
                <a:gd name="connsiteY22" fmla="*/ 528082 h 801469"/>
                <a:gd name="connsiteX23" fmla="*/ 778570 w 830486"/>
                <a:gd name="connsiteY23" fmla="*/ 481607 h 801469"/>
                <a:gd name="connsiteX24" fmla="*/ 780432 w 830486"/>
                <a:gd name="connsiteY24" fmla="*/ 477109 h 801469"/>
                <a:gd name="connsiteX25" fmla="*/ 807104 w 830486"/>
                <a:gd name="connsiteY25" fmla="*/ 450414 h 801469"/>
                <a:gd name="connsiteX26" fmla="*/ 807104 w 830486"/>
                <a:gd name="connsiteY26" fmla="*/ 368296 h 801469"/>
                <a:gd name="connsiteX27" fmla="*/ 807104 w 830486"/>
                <a:gd name="connsiteY27" fmla="*/ 222632 h 801469"/>
                <a:gd name="connsiteX28" fmla="*/ 808965 w 830486"/>
                <a:gd name="connsiteY28" fmla="*/ 218110 h 801469"/>
                <a:gd name="connsiteX29" fmla="*/ 830486 w 830486"/>
                <a:gd name="connsiteY29" fmla="*/ 196613 h 801469"/>
                <a:gd name="connsiteX30" fmla="*/ 830486 w 830486"/>
                <a:gd name="connsiteY30" fmla="*/ 175431 h 801469"/>
                <a:gd name="connsiteX31" fmla="*/ 369094 w 830486"/>
                <a:gd name="connsiteY31" fmla="*/ 175431 h 801469"/>
                <a:gd name="connsiteX32" fmla="*/ 367837 w 830486"/>
                <a:gd name="connsiteY32" fmla="*/ 175310 h 801469"/>
                <a:gd name="connsiteX33" fmla="*/ 364597 w 830486"/>
                <a:gd name="connsiteY33" fmla="*/ 173569 h 801469"/>
                <a:gd name="connsiteX34" fmla="*/ 291136 w 830486"/>
                <a:gd name="connsiteY34" fmla="*/ 100108 h 801469"/>
                <a:gd name="connsiteX35" fmla="*/ 289395 w 830486"/>
                <a:gd name="connsiteY35" fmla="*/ 96868 h 801469"/>
                <a:gd name="connsiteX36" fmla="*/ 289274 w 830486"/>
                <a:gd name="connsiteY36" fmla="*/ 95610 h 801469"/>
                <a:gd name="connsiteX37" fmla="*/ 289274 w 830486"/>
                <a:gd name="connsiteY37" fmla="*/ 29766 h 801469"/>
                <a:gd name="connsiteX38" fmla="*/ 259507 w 830486"/>
                <a:gd name="connsiteY38" fmla="*/ 0 h 801469"/>
                <a:gd name="connsiteX39" fmla="*/ 229741 w 830486"/>
                <a:gd name="connsiteY39" fmla="*/ 29766 h 801469"/>
                <a:gd name="connsiteX40" fmla="*/ 229741 w 830486"/>
                <a:gd name="connsiteY40" fmla="*/ 99407 h 801469"/>
                <a:gd name="connsiteX41" fmla="*/ 223381 w 830486"/>
                <a:gd name="connsiteY41" fmla="*/ 105766 h 801469"/>
                <a:gd name="connsiteX42" fmla="*/ 0 w 830486"/>
                <a:gd name="connsiteY42" fmla="*/ 105766 h 801469"/>
                <a:gd name="connsiteX43" fmla="*/ 0 w 830486"/>
                <a:gd name="connsiteY43" fmla="*/ 258419 h 801469"/>
                <a:gd name="connsiteX44" fmla="*/ 131229 w 830486"/>
                <a:gd name="connsiteY44" fmla="*/ 258419 h 801469"/>
                <a:gd name="connsiteX45" fmla="*/ 137105 w 830486"/>
                <a:gd name="connsiteY45" fmla="*/ 262361 h 801469"/>
                <a:gd name="connsiteX46" fmla="*/ 136839 w 830486"/>
                <a:gd name="connsiteY46" fmla="*/ 267777 h 801469"/>
                <a:gd name="connsiteX47" fmla="*/ 135726 w 830486"/>
                <a:gd name="connsiteY47" fmla="*/ 269300 h 801469"/>
                <a:gd name="connsiteX48" fmla="*/ 94135 w 830486"/>
                <a:gd name="connsiteY48" fmla="*/ 310867 h 801469"/>
                <a:gd name="connsiteX49" fmla="*/ 143609 w 830486"/>
                <a:gd name="connsiteY49" fmla="*/ 360341 h 801469"/>
                <a:gd name="connsiteX50" fmla="*/ 145471 w 830486"/>
                <a:gd name="connsiteY50" fmla="*/ 364838 h 801469"/>
                <a:gd name="connsiteX51" fmla="*/ 143609 w 830486"/>
                <a:gd name="connsiteY51" fmla="*/ 369336 h 801469"/>
                <a:gd name="connsiteX52" fmla="*/ 44904 w 830486"/>
                <a:gd name="connsiteY52" fmla="*/ 468042 h 801469"/>
                <a:gd name="connsiteX53" fmla="*/ 90895 w 830486"/>
                <a:gd name="connsiteY53" fmla="*/ 514033 h 801469"/>
                <a:gd name="connsiteX54" fmla="*/ 92757 w 830486"/>
                <a:gd name="connsiteY54" fmla="*/ 518531 h 801469"/>
                <a:gd name="connsiteX55" fmla="*/ 92757 w 830486"/>
                <a:gd name="connsiteY55" fmla="*/ 589235 h 801469"/>
                <a:gd name="connsiteX56" fmla="*/ 86398 w 830486"/>
                <a:gd name="connsiteY56" fmla="*/ 595619 h 801469"/>
                <a:gd name="connsiteX57" fmla="*/ 81561 w 830486"/>
                <a:gd name="connsiteY57" fmla="*/ 595619 h 801469"/>
                <a:gd name="connsiteX58" fmla="*/ 99431 w 830486"/>
                <a:gd name="connsiteY58" fmla="*/ 613440 h 801469"/>
                <a:gd name="connsiteX59" fmla="*/ 101293 w 830486"/>
                <a:gd name="connsiteY59" fmla="*/ 617962 h 801469"/>
                <a:gd name="connsiteX60" fmla="*/ 101293 w 830486"/>
                <a:gd name="connsiteY60" fmla="*/ 671232 h 801469"/>
                <a:gd name="connsiteX61" fmla="*/ 203070 w 830486"/>
                <a:gd name="connsiteY61" fmla="*/ 671232 h 801469"/>
                <a:gd name="connsiteX62" fmla="*/ 223623 w 830486"/>
                <a:gd name="connsiteY62" fmla="*/ 650703 h 801469"/>
                <a:gd name="connsiteX63" fmla="*/ 230563 w 830486"/>
                <a:gd name="connsiteY63" fmla="*/ 649300 h 801469"/>
                <a:gd name="connsiteX64" fmla="*/ 234480 w 830486"/>
                <a:gd name="connsiteY64" fmla="*/ 655176 h 801469"/>
                <a:gd name="connsiteX65" fmla="*/ 234480 w 830486"/>
                <a:gd name="connsiteY65" fmla="*/ 729604 h 801469"/>
                <a:gd name="connsiteX66" fmla="*/ 295827 w 830486"/>
                <a:gd name="connsiteY66" fmla="*/ 790926 h 80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830486" h="801469">
                  <a:moveTo>
                    <a:pt x="295827" y="790926"/>
                  </a:moveTo>
                  <a:lnTo>
                    <a:pt x="316356" y="790926"/>
                  </a:lnTo>
                  <a:lnTo>
                    <a:pt x="346630" y="760652"/>
                  </a:lnTo>
                  <a:cubicBezTo>
                    <a:pt x="347815" y="759443"/>
                    <a:pt x="349435" y="758790"/>
                    <a:pt x="351128" y="758790"/>
                  </a:cubicBezTo>
                  <a:lnTo>
                    <a:pt x="376445" y="758790"/>
                  </a:lnTo>
                  <a:lnTo>
                    <a:pt x="393783" y="741429"/>
                  </a:lnTo>
                  <a:cubicBezTo>
                    <a:pt x="396177" y="739035"/>
                    <a:pt x="400384" y="739035"/>
                    <a:pt x="402778" y="741429"/>
                  </a:cubicBezTo>
                  <a:lnTo>
                    <a:pt x="451647" y="790298"/>
                  </a:lnTo>
                  <a:lnTo>
                    <a:pt x="488208" y="790298"/>
                  </a:lnTo>
                  <a:lnTo>
                    <a:pt x="503853" y="774653"/>
                  </a:lnTo>
                  <a:cubicBezTo>
                    <a:pt x="506344" y="772162"/>
                    <a:pt x="510358" y="772162"/>
                    <a:pt x="512849" y="774653"/>
                  </a:cubicBezTo>
                  <a:lnTo>
                    <a:pt x="520562" y="782367"/>
                  </a:lnTo>
                  <a:lnTo>
                    <a:pt x="562080" y="740824"/>
                  </a:lnTo>
                  <a:cubicBezTo>
                    <a:pt x="563894" y="739035"/>
                    <a:pt x="566626" y="738454"/>
                    <a:pt x="569020" y="739446"/>
                  </a:cubicBezTo>
                  <a:cubicBezTo>
                    <a:pt x="571414" y="740437"/>
                    <a:pt x="572938" y="742759"/>
                    <a:pt x="572938" y="745322"/>
                  </a:cubicBezTo>
                  <a:lnTo>
                    <a:pt x="572938" y="801469"/>
                  </a:lnTo>
                  <a:lnTo>
                    <a:pt x="615520" y="801469"/>
                  </a:lnTo>
                  <a:lnTo>
                    <a:pt x="615520" y="728226"/>
                  </a:lnTo>
                  <a:cubicBezTo>
                    <a:pt x="615520" y="726558"/>
                    <a:pt x="616197" y="724889"/>
                    <a:pt x="617406" y="723728"/>
                  </a:cubicBezTo>
                  <a:lnTo>
                    <a:pt x="716789" y="624321"/>
                  </a:lnTo>
                  <a:lnTo>
                    <a:pt x="716789" y="592500"/>
                  </a:lnTo>
                  <a:cubicBezTo>
                    <a:pt x="716789" y="590831"/>
                    <a:pt x="717442" y="589187"/>
                    <a:pt x="718650" y="588002"/>
                  </a:cubicBezTo>
                  <a:lnTo>
                    <a:pt x="778570" y="528082"/>
                  </a:lnTo>
                  <a:lnTo>
                    <a:pt x="778570" y="481607"/>
                  </a:lnTo>
                  <a:cubicBezTo>
                    <a:pt x="778570" y="479939"/>
                    <a:pt x="779223" y="478294"/>
                    <a:pt x="780432" y="477109"/>
                  </a:cubicBezTo>
                  <a:lnTo>
                    <a:pt x="807104" y="450414"/>
                  </a:lnTo>
                  <a:lnTo>
                    <a:pt x="807104" y="368296"/>
                  </a:lnTo>
                  <a:lnTo>
                    <a:pt x="807104" y="222632"/>
                  </a:lnTo>
                  <a:cubicBezTo>
                    <a:pt x="807104" y="220939"/>
                    <a:pt x="807781" y="219319"/>
                    <a:pt x="808965" y="218110"/>
                  </a:cubicBezTo>
                  <a:lnTo>
                    <a:pt x="830486" y="196613"/>
                  </a:lnTo>
                  <a:lnTo>
                    <a:pt x="830486" y="175431"/>
                  </a:lnTo>
                  <a:lnTo>
                    <a:pt x="369094" y="175431"/>
                  </a:lnTo>
                  <a:cubicBezTo>
                    <a:pt x="368659" y="175431"/>
                    <a:pt x="368248" y="175407"/>
                    <a:pt x="367837" y="175310"/>
                  </a:cubicBezTo>
                  <a:cubicBezTo>
                    <a:pt x="366628" y="175068"/>
                    <a:pt x="365491" y="174464"/>
                    <a:pt x="364597" y="173569"/>
                  </a:cubicBezTo>
                  <a:lnTo>
                    <a:pt x="291136" y="100108"/>
                  </a:lnTo>
                  <a:cubicBezTo>
                    <a:pt x="290241" y="99213"/>
                    <a:pt x="289636" y="98077"/>
                    <a:pt x="289395" y="96868"/>
                  </a:cubicBezTo>
                  <a:cubicBezTo>
                    <a:pt x="289298" y="96457"/>
                    <a:pt x="289274" y="96046"/>
                    <a:pt x="289274" y="95610"/>
                  </a:cubicBezTo>
                  <a:lnTo>
                    <a:pt x="289274" y="29766"/>
                  </a:lnTo>
                  <a:lnTo>
                    <a:pt x="259507" y="0"/>
                  </a:lnTo>
                  <a:lnTo>
                    <a:pt x="229741" y="29766"/>
                  </a:lnTo>
                  <a:lnTo>
                    <a:pt x="229741" y="99407"/>
                  </a:lnTo>
                  <a:cubicBezTo>
                    <a:pt x="229741" y="102937"/>
                    <a:pt x="226888" y="105766"/>
                    <a:pt x="223381" y="105766"/>
                  </a:cubicBezTo>
                  <a:lnTo>
                    <a:pt x="0" y="105766"/>
                  </a:lnTo>
                  <a:lnTo>
                    <a:pt x="0" y="258419"/>
                  </a:lnTo>
                  <a:lnTo>
                    <a:pt x="131229" y="258419"/>
                  </a:lnTo>
                  <a:cubicBezTo>
                    <a:pt x="133816" y="258419"/>
                    <a:pt x="136137" y="259967"/>
                    <a:pt x="137105" y="262361"/>
                  </a:cubicBezTo>
                  <a:cubicBezTo>
                    <a:pt x="137854" y="264150"/>
                    <a:pt x="137709" y="266133"/>
                    <a:pt x="136839" y="267777"/>
                  </a:cubicBezTo>
                  <a:cubicBezTo>
                    <a:pt x="136548" y="268333"/>
                    <a:pt x="136186" y="268841"/>
                    <a:pt x="135726" y="269300"/>
                  </a:cubicBezTo>
                  <a:lnTo>
                    <a:pt x="94135" y="310867"/>
                  </a:lnTo>
                  <a:lnTo>
                    <a:pt x="143609" y="360341"/>
                  </a:lnTo>
                  <a:cubicBezTo>
                    <a:pt x="144794" y="361526"/>
                    <a:pt x="145471" y="363146"/>
                    <a:pt x="145471" y="364838"/>
                  </a:cubicBezTo>
                  <a:cubicBezTo>
                    <a:pt x="145471" y="366531"/>
                    <a:pt x="144794" y="368151"/>
                    <a:pt x="143609" y="369336"/>
                  </a:cubicBezTo>
                  <a:lnTo>
                    <a:pt x="44904" y="468042"/>
                  </a:lnTo>
                  <a:lnTo>
                    <a:pt x="90895" y="514033"/>
                  </a:lnTo>
                  <a:cubicBezTo>
                    <a:pt x="92080" y="515218"/>
                    <a:pt x="92757" y="516838"/>
                    <a:pt x="92757" y="518531"/>
                  </a:cubicBezTo>
                  <a:lnTo>
                    <a:pt x="92757" y="589235"/>
                  </a:lnTo>
                  <a:cubicBezTo>
                    <a:pt x="92757" y="592766"/>
                    <a:pt x="89904" y="595619"/>
                    <a:pt x="86398" y="595619"/>
                  </a:cubicBezTo>
                  <a:lnTo>
                    <a:pt x="81561" y="595619"/>
                  </a:lnTo>
                  <a:lnTo>
                    <a:pt x="99431" y="613440"/>
                  </a:lnTo>
                  <a:cubicBezTo>
                    <a:pt x="100616" y="614649"/>
                    <a:pt x="101293" y="616245"/>
                    <a:pt x="101293" y="617962"/>
                  </a:cubicBezTo>
                  <a:lnTo>
                    <a:pt x="101293" y="671232"/>
                  </a:lnTo>
                  <a:lnTo>
                    <a:pt x="203070" y="671232"/>
                  </a:lnTo>
                  <a:lnTo>
                    <a:pt x="223623" y="650703"/>
                  </a:lnTo>
                  <a:cubicBezTo>
                    <a:pt x="225437" y="648865"/>
                    <a:pt x="228169" y="648333"/>
                    <a:pt x="230563" y="649300"/>
                  </a:cubicBezTo>
                  <a:cubicBezTo>
                    <a:pt x="232933" y="650292"/>
                    <a:pt x="234480" y="652613"/>
                    <a:pt x="234480" y="655176"/>
                  </a:cubicBezTo>
                  <a:lnTo>
                    <a:pt x="234480" y="729604"/>
                  </a:lnTo>
                  <a:lnTo>
                    <a:pt x="295827" y="79092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2" name="Forma Livre: Forma 41">
              <a:extLst>
                <a:ext uri="{FF2B5EF4-FFF2-40B4-BE49-F238E27FC236}">
                  <a16:creationId xmlns:a16="http://schemas.microsoft.com/office/drawing/2014/main" id="{CFE828D7-B4AE-42AF-3F9B-512316E603DE}"/>
                </a:ext>
              </a:extLst>
            </p:cNvPr>
            <p:cNvSpPr/>
            <p:nvPr>
              <p:custDataLst>
                <p:tags r:id="rId124"/>
              </p:custDataLst>
            </p:nvPr>
          </p:nvSpPr>
          <p:spPr>
            <a:xfrm>
              <a:off x="4219055" y="2370104"/>
              <a:ext cx="533595" cy="516185"/>
            </a:xfrm>
            <a:custGeom>
              <a:avLst/>
              <a:gdLst>
                <a:gd name="connsiteX0" fmla="*/ 120928 w 533595"/>
                <a:gd name="connsiteY0" fmla="*/ 360437 h 516185"/>
                <a:gd name="connsiteX1" fmla="*/ 129923 w 533595"/>
                <a:gd name="connsiteY1" fmla="*/ 360437 h 516185"/>
                <a:gd name="connsiteX2" fmla="*/ 152532 w 533595"/>
                <a:gd name="connsiteY2" fmla="*/ 383047 h 516185"/>
                <a:gd name="connsiteX3" fmla="*/ 177607 w 533595"/>
                <a:gd name="connsiteY3" fmla="*/ 383047 h 516185"/>
                <a:gd name="connsiteX4" fmla="*/ 182105 w 533595"/>
                <a:gd name="connsiteY4" fmla="*/ 384908 h 516185"/>
                <a:gd name="connsiteX5" fmla="*/ 216514 w 533595"/>
                <a:gd name="connsiteY5" fmla="*/ 419318 h 516185"/>
                <a:gd name="connsiteX6" fmla="*/ 218376 w 533595"/>
                <a:gd name="connsiteY6" fmla="*/ 423815 h 516185"/>
                <a:gd name="connsiteX7" fmla="*/ 218376 w 533595"/>
                <a:gd name="connsiteY7" fmla="*/ 507480 h 516185"/>
                <a:gd name="connsiteX8" fmla="*/ 249085 w 533595"/>
                <a:gd name="connsiteY8" fmla="*/ 507480 h 516185"/>
                <a:gd name="connsiteX9" fmla="*/ 264295 w 533595"/>
                <a:gd name="connsiteY9" fmla="*/ 492271 h 516185"/>
                <a:gd name="connsiteX10" fmla="*/ 268793 w 533595"/>
                <a:gd name="connsiteY10" fmla="*/ 490409 h 516185"/>
                <a:gd name="connsiteX11" fmla="*/ 273315 w 533595"/>
                <a:gd name="connsiteY11" fmla="*/ 492271 h 516185"/>
                <a:gd name="connsiteX12" fmla="*/ 297229 w 533595"/>
                <a:gd name="connsiteY12" fmla="*/ 516185 h 516185"/>
                <a:gd name="connsiteX13" fmla="*/ 303927 w 533595"/>
                <a:gd name="connsiteY13" fmla="*/ 509512 h 516185"/>
                <a:gd name="connsiteX14" fmla="*/ 303927 w 533595"/>
                <a:gd name="connsiteY14" fmla="*/ 469468 h 516185"/>
                <a:gd name="connsiteX15" fmla="*/ 310311 w 533595"/>
                <a:gd name="connsiteY15" fmla="*/ 463109 h 516185"/>
                <a:gd name="connsiteX16" fmla="*/ 337224 w 533595"/>
                <a:gd name="connsiteY16" fmla="*/ 463109 h 516185"/>
                <a:gd name="connsiteX17" fmla="*/ 337224 w 533595"/>
                <a:gd name="connsiteY17" fmla="*/ 443329 h 516185"/>
                <a:gd name="connsiteX18" fmla="*/ 339086 w 533595"/>
                <a:gd name="connsiteY18" fmla="*/ 438831 h 516185"/>
                <a:gd name="connsiteX19" fmla="*/ 376034 w 533595"/>
                <a:gd name="connsiteY19" fmla="*/ 401883 h 516185"/>
                <a:gd name="connsiteX20" fmla="*/ 376034 w 533595"/>
                <a:gd name="connsiteY20" fmla="*/ 401883 h 516185"/>
                <a:gd name="connsiteX21" fmla="*/ 412402 w 533595"/>
                <a:gd name="connsiteY21" fmla="*/ 365515 h 516185"/>
                <a:gd name="connsiteX22" fmla="*/ 416924 w 533595"/>
                <a:gd name="connsiteY22" fmla="*/ 363629 h 516185"/>
                <a:gd name="connsiteX23" fmla="*/ 433729 w 533595"/>
                <a:gd name="connsiteY23" fmla="*/ 363629 h 516185"/>
                <a:gd name="connsiteX24" fmla="*/ 484872 w 533595"/>
                <a:gd name="connsiteY24" fmla="*/ 312511 h 516185"/>
                <a:gd name="connsiteX25" fmla="*/ 484872 w 533595"/>
                <a:gd name="connsiteY25" fmla="*/ 262917 h 516185"/>
                <a:gd name="connsiteX26" fmla="*/ 486709 w 533595"/>
                <a:gd name="connsiteY26" fmla="*/ 258419 h 516185"/>
                <a:gd name="connsiteX27" fmla="*/ 513477 w 533595"/>
                <a:gd name="connsiteY27" fmla="*/ 231675 h 516185"/>
                <a:gd name="connsiteX28" fmla="*/ 517975 w 533595"/>
                <a:gd name="connsiteY28" fmla="*/ 229813 h 516185"/>
                <a:gd name="connsiteX29" fmla="*/ 528590 w 533595"/>
                <a:gd name="connsiteY29" fmla="*/ 229813 h 516185"/>
                <a:gd name="connsiteX30" fmla="*/ 528590 w 533595"/>
                <a:gd name="connsiteY30" fmla="*/ 218424 h 516185"/>
                <a:gd name="connsiteX31" fmla="*/ 528590 w 533595"/>
                <a:gd name="connsiteY31" fmla="*/ 168685 h 516185"/>
                <a:gd name="connsiteX32" fmla="*/ 530476 w 533595"/>
                <a:gd name="connsiteY32" fmla="*/ 164163 h 516185"/>
                <a:gd name="connsiteX33" fmla="*/ 533596 w 533595"/>
                <a:gd name="connsiteY33" fmla="*/ 161019 h 516185"/>
                <a:gd name="connsiteX34" fmla="*/ 478802 w 533595"/>
                <a:gd name="connsiteY34" fmla="*/ 161019 h 516185"/>
                <a:gd name="connsiteX35" fmla="*/ 474280 w 533595"/>
                <a:gd name="connsiteY35" fmla="*/ 159157 h 516185"/>
                <a:gd name="connsiteX36" fmla="*/ 423985 w 533595"/>
                <a:gd name="connsiteY36" fmla="*/ 108837 h 516185"/>
                <a:gd name="connsiteX37" fmla="*/ 400215 w 533595"/>
                <a:gd name="connsiteY37" fmla="*/ 108837 h 516185"/>
                <a:gd name="connsiteX38" fmla="*/ 395693 w 533595"/>
                <a:gd name="connsiteY38" fmla="*/ 106976 h 516185"/>
                <a:gd name="connsiteX39" fmla="*/ 376010 w 533595"/>
                <a:gd name="connsiteY39" fmla="*/ 87268 h 516185"/>
                <a:gd name="connsiteX40" fmla="*/ 374124 w 533595"/>
                <a:gd name="connsiteY40" fmla="*/ 82771 h 516185"/>
                <a:gd name="connsiteX41" fmla="*/ 374124 w 533595"/>
                <a:gd name="connsiteY41" fmla="*/ 59291 h 516185"/>
                <a:gd name="connsiteX42" fmla="*/ 325182 w 533595"/>
                <a:gd name="connsiteY42" fmla="*/ 59291 h 516185"/>
                <a:gd name="connsiteX43" fmla="*/ 318823 w 533595"/>
                <a:gd name="connsiteY43" fmla="*/ 52907 h 516185"/>
                <a:gd name="connsiteX44" fmla="*/ 318823 w 533595"/>
                <a:gd name="connsiteY44" fmla="*/ 5755 h 516185"/>
                <a:gd name="connsiteX45" fmla="*/ 283664 w 533595"/>
                <a:gd name="connsiteY45" fmla="*/ 40914 h 516185"/>
                <a:gd name="connsiteX46" fmla="*/ 274669 w 533595"/>
                <a:gd name="connsiteY46" fmla="*/ 40914 h 516185"/>
                <a:gd name="connsiteX47" fmla="*/ 266955 w 533595"/>
                <a:gd name="connsiteY47" fmla="*/ 33224 h 516185"/>
                <a:gd name="connsiteX48" fmla="*/ 253946 w 533595"/>
                <a:gd name="connsiteY48" fmla="*/ 46234 h 516185"/>
                <a:gd name="connsiteX49" fmla="*/ 249448 w 533595"/>
                <a:gd name="connsiteY49" fmla="*/ 48095 h 516185"/>
                <a:gd name="connsiteX50" fmla="*/ 207616 w 533595"/>
                <a:gd name="connsiteY50" fmla="*/ 48095 h 516185"/>
                <a:gd name="connsiteX51" fmla="*/ 203094 w 533595"/>
                <a:gd name="connsiteY51" fmla="*/ 46234 h 516185"/>
                <a:gd name="connsiteX52" fmla="*/ 156860 w 533595"/>
                <a:gd name="connsiteY52" fmla="*/ 0 h 516185"/>
                <a:gd name="connsiteX53" fmla="*/ 142134 w 533595"/>
                <a:gd name="connsiteY53" fmla="*/ 14678 h 516185"/>
                <a:gd name="connsiteX54" fmla="*/ 137637 w 533595"/>
                <a:gd name="connsiteY54" fmla="*/ 16564 h 516185"/>
                <a:gd name="connsiteX55" fmla="*/ 112319 w 533595"/>
                <a:gd name="connsiteY55" fmla="*/ 16564 h 516185"/>
                <a:gd name="connsiteX56" fmla="*/ 82045 w 533595"/>
                <a:gd name="connsiteY56" fmla="*/ 46838 h 516185"/>
                <a:gd name="connsiteX57" fmla="*/ 77548 w 533595"/>
                <a:gd name="connsiteY57" fmla="*/ 48700 h 516185"/>
                <a:gd name="connsiteX58" fmla="*/ 54382 w 533595"/>
                <a:gd name="connsiteY58" fmla="*/ 48700 h 516185"/>
                <a:gd name="connsiteX59" fmla="*/ 47080 w 533595"/>
                <a:gd name="connsiteY59" fmla="*/ 56027 h 516185"/>
                <a:gd name="connsiteX60" fmla="*/ 61709 w 533595"/>
                <a:gd name="connsiteY60" fmla="*/ 70656 h 516185"/>
                <a:gd name="connsiteX61" fmla="*/ 63595 w 533595"/>
                <a:gd name="connsiteY61" fmla="*/ 75154 h 516185"/>
                <a:gd name="connsiteX62" fmla="*/ 61709 w 533595"/>
                <a:gd name="connsiteY62" fmla="*/ 79675 h 516185"/>
                <a:gd name="connsiteX63" fmla="*/ 48386 w 533595"/>
                <a:gd name="connsiteY63" fmla="*/ 93023 h 516185"/>
                <a:gd name="connsiteX64" fmla="*/ 48386 w 533595"/>
                <a:gd name="connsiteY64" fmla="*/ 153282 h 516185"/>
                <a:gd name="connsiteX65" fmla="*/ 46524 w 533595"/>
                <a:gd name="connsiteY65" fmla="*/ 157779 h 516185"/>
                <a:gd name="connsiteX66" fmla="*/ 13952 w 533595"/>
                <a:gd name="connsiteY66" fmla="*/ 190351 h 516185"/>
                <a:gd name="connsiteX67" fmla="*/ 25922 w 533595"/>
                <a:gd name="connsiteY67" fmla="*/ 202320 h 516185"/>
                <a:gd name="connsiteX68" fmla="*/ 27784 w 533595"/>
                <a:gd name="connsiteY68" fmla="*/ 206842 h 516185"/>
                <a:gd name="connsiteX69" fmla="*/ 25922 w 533595"/>
                <a:gd name="connsiteY69" fmla="*/ 211339 h 516185"/>
                <a:gd name="connsiteX70" fmla="*/ 0 w 533595"/>
                <a:gd name="connsiteY70" fmla="*/ 237261 h 516185"/>
                <a:gd name="connsiteX71" fmla="*/ 29839 w 533595"/>
                <a:gd name="connsiteY71" fmla="*/ 267124 h 516185"/>
                <a:gd name="connsiteX72" fmla="*/ 31701 w 533595"/>
                <a:gd name="connsiteY72" fmla="*/ 271622 h 516185"/>
                <a:gd name="connsiteX73" fmla="*/ 31701 w 533595"/>
                <a:gd name="connsiteY73" fmla="*/ 355142 h 516185"/>
                <a:gd name="connsiteX74" fmla="*/ 49522 w 533595"/>
                <a:gd name="connsiteY74" fmla="*/ 372963 h 516185"/>
                <a:gd name="connsiteX75" fmla="*/ 108378 w 533595"/>
                <a:gd name="connsiteY75" fmla="*/ 372963 h 516185"/>
                <a:gd name="connsiteX76" fmla="*/ 120928 w 533595"/>
                <a:gd name="connsiteY76" fmla="*/ 360437 h 5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33595" h="516184">
                  <a:moveTo>
                    <a:pt x="120928" y="360437"/>
                  </a:moveTo>
                  <a:cubicBezTo>
                    <a:pt x="123418" y="357947"/>
                    <a:pt x="127456" y="357947"/>
                    <a:pt x="129923" y="360437"/>
                  </a:cubicBezTo>
                  <a:lnTo>
                    <a:pt x="152532" y="383047"/>
                  </a:lnTo>
                  <a:lnTo>
                    <a:pt x="177607" y="383047"/>
                  </a:lnTo>
                  <a:cubicBezTo>
                    <a:pt x="179300" y="383047"/>
                    <a:pt x="180920" y="383699"/>
                    <a:pt x="182105" y="384908"/>
                  </a:cubicBezTo>
                  <a:lnTo>
                    <a:pt x="216514" y="419318"/>
                  </a:lnTo>
                  <a:cubicBezTo>
                    <a:pt x="217699" y="420527"/>
                    <a:pt x="218376" y="422123"/>
                    <a:pt x="218376" y="423815"/>
                  </a:cubicBezTo>
                  <a:lnTo>
                    <a:pt x="218376" y="507480"/>
                  </a:lnTo>
                  <a:lnTo>
                    <a:pt x="249085" y="507480"/>
                  </a:lnTo>
                  <a:lnTo>
                    <a:pt x="264295" y="492271"/>
                  </a:lnTo>
                  <a:cubicBezTo>
                    <a:pt x="265528" y="491037"/>
                    <a:pt x="267173" y="490409"/>
                    <a:pt x="268793" y="490409"/>
                  </a:cubicBezTo>
                  <a:cubicBezTo>
                    <a:pt x="270413" y="490409"/>
                    <a:pt x="272057" y="491037"/>
                    <a:pt x="273315" y="492271"/>
                  </a:cubicBezTo>
                  <a:lnTo>
                    <a:pt x="297229" y="516185"/>
                  </a:lnTo>
                  <a:lnTo>
                    <a:pt x="303927" y="509512"/>
                  </a:lnTo>
                  <a:lnTo>
                    <a:pt x="303927" y="469468"/>
                  </a:lnTo>
                  <a:cubicBezTo>
                    <a:pt x="303927" y="465938"/>
                    <a:pt x="306757" y="463109"/>
                    <a:pt x="310311" y="463109"/>
                  </a:cubicBezTo>
                  <a:lnTo>
                    <a:pt x="337224" y="463109"/>
                  </a:lnTo>
                  <a:lnTo>
                    <a:pt x="337224" y="443329"/>
                  </a:lnTo>
                  <a:cubicBezTo>
                    <a:pt x="337224" y="441660"/>
                    <a:pt x="337901" y="440016"/>
                    <a:pt x="339086" y="438831"/>
                  </a:cubicBezTo>
                  <a:lnTo>
                    <a:pt x="376034" y="401883"/>
                  </a:lnTo>
                  <a:lnTo>
                    <a:pt x="376034" y="401883"/>
                  </a:lnTo>
                  <a:lnTo>
                    <a:pt x="412402" y="365515"/>
                  </a:lnTo>
                  <a:cubicBezTo>
                    <a:pt x="413611" y="364306"/>
                    <a:pt x="415207" y="363629"/>
                    <a:pt x="416924" y="363629"/>
                  </a:cubicBezTo>
                  <a:lnTo>
                    <a:pt x="433729" y="363629"/>
                  </a:lnTo>
                  <a:lnTo>
                    <a:pt x="484872" y="312511"/>
                  </a:lnTo>
                  <a:lnTo>
                    <a:pt x="484872" y="262917"/>
                  </a:lnTo>
                  <a:cubicBezTo>
                    <a:pt x="484872" y="261248"/>
                    <a:pt x="485524" y="259628"/>
                    <a:pt x="486709" y="258419"/>
                  </a:cubicBezTo>
                  <a:lnTo>
                    <a:pt x="513477" y="231675"/>
                  </a:lnTo>
                  <a:cubicBezTo>
                    <a:pt x="514686" y="230466"/>
                    <a:pt x="516282" y="229813"/>
                    <a:pt x="517975" y="229813"/>
                  </a:cubicBezTo>
                  <a:lnTo>
                    <a:pt x="528590" y="229813"/>
                  </a:lnTo>
                  <a:lnTo>
                    <a:pt x="528590" y="218424"/>
                  </a:lnTo>
                  <a:lnTo>
                    <a:pt x="528590" y="168685"/>
                  </a:lnTo>
                  <a:cubicBezTo>
                    <a:pt x="528590" y="166992"/>
                    <a:pt x="529267" y="165372"/>
                    <a:pt x="530476" y="164163"/>
                  </a:cubicBezTo>
                  <a:lnTo>
                    <a:pt x="533596" y="161019"/>
                  </a:lnTo>
                  <a:lnTo>
                    <a:pt x="478802" y="161019"/>
                  </a:lnTo>
                  <a:cubicBezTo>
                    <a:pt x="477134" y="161019"/>
                    <a:pt x="475489" y="160367"/>
                    <a:pt x="474280" y="159157"/>
                  </a:cubicBezTo>
                  <a:lnTo>
                    <a:pt x="423985" y="108837"/>
                  </a:lnTo>
                  <a:lnTo>
                    <a:pt x="400215" y="108837"/>
                  </a:lnTo>
                  <a:cubicBezTo>
                    <a:pt x="398522" y="108837"/>
                    <a:pt x="396902" y="108160"/>
                    <a:pt x="395693" y="106976"/>
                  </a:cubicBezTo>
                  <a:lnTo>
                    <a:pt x="376010" y="87268"/>
                  </a:lnTo>
                  <a:cubicBezTo>
                    <a:pt x="374801" y="86083"/>
                    <a:pt x="374124" y="84463"/>
                    <a:pt x="374124" y="82771"/>
                  </a:cubicBezTo>
                  <a:lnTo>
                    <a:pt x="374124" y="59291"/>
                  </a:lnTo>
                  <a:lnTo>
                    <a:pt x="325182" y="59291"/>
                  </a:lnTo>
                  <a:cubicBezTo>
                    <a:pt x="321676" y="59291"/>
                    <a:pt x="318823" y="56438"/>
                    <a:pt x="318823" y="52907"/>
                  </a:cubicBezTo>
                  <a:lnTo>
                    <a:pt x="318823" y="5755"/>
                  </a:lnTo>
                  <a:lnTo>
                    <a:pt x="283664" y="40914"/>
                  </a:lnTo>
                  <a:cubicBezTo>
                    <a:pt x="281173" y="43428"/>
                    <a:pt x="277159" y="43428"/>
                    <a:pt x="274669" y="40914"/>
                  </a:cubicBezTo>
                  <a:lnTo>
                    <a:pt x="266955" y="33224"/>
                  </a:lnTo>
                  <a:lnTo>
                    <a:pt x="253946" y="46234"/>
                  </a:lnTo>
                  <a:cubicBezTo>
                    <a:pt x="252761" y="47442"/>
                    <a:pt x="251141" y="48095"/>
                    <a:pt x="249448" y="48095"/>
                  </a:cubicBezTo>
                  <a:lnTo>
                    <a:pt x="207616" y="48095"/>
                  </a:lnTo>
                  <a:cubicBezTo>
                    <a:pt x="205923" y="48095"/>
                    <a:pt x="204303" y="47442"/>
                    <a:pt x="203094" y="46234"/>
                  </a:cubicBezTo>
                  <a:lnTo>
                    <a:pt x="156860" y="0"/>
                  </a:lnTo>
                  <a:lnTo>
                    <a:pt x="142134" y="14678"/>
                  </a:lnTo>
                  <a:cubicBezTo>
                    <a:pt x="140949" y="15887"/>
                    <a:pt x="139329" y="16564"/>
                    <a:pt x="137637" y="16564"/>
                  </a:cubicBezTo>
                  <a:lnTo>
                    <a:pt x="112319" y="16564"/>
                  </a:lnTo>
                  <a:lnTo>
                    <a:pt x="82045" y="46838"/>
                  </a:lnTo>
                  <a:cubicBezTo>
                    <a:pt x="80860" y="48047"/>
                    <a:pt x="79240" y="48700"/>
                    <a:pt x="77548" y="48700"/>
                  </a:cubicBezTo>
                  <a:lnTo>
                    <a:pt x="54382" y="48700"/>
                  </a:lnTo>
                  <a:lnTo>
                    <a:pt x="47080" y="56027"/>
                  </a:lnTo>
                  <a:lnTo>
                    <a:pt x="61709" y="70656"/>
                  </a:lnTo>
                  <a:cubicBezTo>
                    <a:pt x="62918" y="71841"/>
                    <a:pt x="63595" y="73461"/>
                    <a:pt x="63595" y="75154"/>
                  </a:cubicBezTo>
                  <a:cubicBezTo>
                    <a:pt x="63595" y="76846"/>
                    <a:pt x="62918" y="78466"/>
                    <a:pt x="61709" y="79675"/>
                  </a:cubicBezTo>
                  <a:lnTo>
                    <a:pt x="48386" y="93023"/>
                  </a:lnTo>
                  <a:lnTo>
                    <a:pt x="48386" y="153282"/>
                  </a:lnTo>
                  <a:cubicBezTo>
                    <a:pt x="48386" y="154950"/>
                    <a:pt x="47709" y="156594"/>
                    <a:pt x="46524" y="157779"/>
                  </a:cubicBezTo>
                  <a:lnTo>
                    <a:pt x="13952" y="190351"/>
                  </a:lnTo>
                  <a:lnTo>
                    <a:pt x="25922" y="202320"/>
                  </a:lnTo>
                  <a:cubicBezTo>
                    <a:pt x="27131" y="203505"/>
                    <a:pt x="27784" y="205125"/>
                    <a:pt x="27784" y="206842"/>
                  </a:cubicBezTo>
                  <a:cubicBezTo>
                    <a:pt x="27784" y="208510"/>
                    <a:pt x="27131" y="210130"/>
                    <a:pt x="25922" y="211339"/>
                  </a:cubicBezTo>
                  <a:lnTo>
                    <a:pt x="0" y="237261"/>
                  </a:lnTo>
                  <a:lnTo>
                    <a:pt x="29839" y="267124"/>
                  </a:lnTo>
                  <a:cubicBezTo>
                    <a:pt x="31048" y="268309"/>
                    <a:pt x="31701" y="269929"/>
                    <a:pt x="31701" y="271622"/>
                  </a:cubicBezTo>
                  <a:lnTo>
                    <a:pt x="31701" y="355142"/>
                  </a:lnTo>
                  <a:lnTo>
                    <a:pt x="49522" y="372963"/>
                  </a:lnTo>
                  <a:lnTo>
                    <a:pt x="108378" y="372963"/>
                  </a:lnTo>
                  <a:lnTo>
                    <a:pt x="120928" y="36043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3" name="Forma Livre: Forma 42">
              <a:extLst>
                <a:ext uri="{FF2B5EF4-FFF2-40B4-BE49-F238E27FC236}">
                  <a16:creationId xmlns:a16="http://schemas.microsoft.com/office/drawing/2014/main" id="{8E2F6F0A-480C-9BCE-04D8-006190059513}"/>
                </a:ext>
              </a:extLst>
            </p:cNvPr>
            <p:cNvSpPr/>
            <p:nvPr>
              <p:custDataLst>
                <p:tags r:id="rId125"/>
              </p:custDataLst>
            </p:nvPr>
          </p:nvSpPr>
          <p:spPr>
            <a:xfrm>
              <a:off x="4284101" y="3142919"/>
              <a:ext cx="543485" cy="493310"/>
            </a:xfrm>
            <a:custGeom>
              <a:avLst/>
              <a:gdLst>
                <a:gd name="connsiteX0" fmla="*/ 543485 w 543485"/>
                <a:gd name="connsiteY0" fmla="*/ 102429 h 493310"/>
                <a:gd name="connsiteX1" fmla="*/ 498219 w 543485"/>
                <a:gd name="connsiteY1" fmla="*/ 102429 h 493310"/>
                <a:gd name="connsiteX2" fmla="*/ 493722 w 543485"/>
                <a:gd name="connsiteY2" fmla="*/ 100568 h 493310"/>
                <a:gd name="connsiteX3" fmla="*/ 424976 w 543485"/>
                <a:gd name="connsiteY3" fmla="*/ 31822 h 493310"/>
                <a:gd name="connsiteX4" fmla="*/ 388342 w 543485"/>
                <a:gd name="connsiteY4" fmla="*/ 31822 h 493310"/>
                <a:gd name="connsiteX5" fmla="*/ 383845 w 543485"/>
                <a:gd name="connsiteY5" fmla="*/ 29960 h 493310"/>
                <a:gd name="connsiteX6" fmla="*/ 353885 w 543485"/>
                <a:gd name="connsiteY6" fmla="*/ 0 h 493310"/>
                <a:gd name="connsiteX7" fmla="*/ 273049 w 543485"/>
                <a:gd name="connsiteY7" fmla="*/ 0 h 493310"/>
                <a:gd name="connsiteX8" fmla="*/ 247828 w 543485"/>
                <a:gd name="connsiteY8" fmla="*/ 0 h 493310"/>
                <a:gd name="connsiteX9" fmla="*/ 217264 w 543485"/>
                <a:gd name="connsiteY9" fmla="*/ 30564 h 493310"/>
                <a:gd name="connsiteX10" fmla="*/ 212742 w 543485"/>
                <a:gd name="connsiteY10" fmla="*/ 32402 h 493310"/>
                <a:gd name="connsiteX11" fmla="*/ 185708 w 543485"/>
                <a:gd name="connsiteY11" fmla="*/ 32402 h 493310"/>
                <a:gd name="connsiteX12" fmla="*/ 0 w 543485"/>
                <a:gd name="connsiteY12" fmla="*/ 218110 h 493310"/>
                <a:gd name="connsiteX13" fmla="*/ 58179 w 543485"/>
                <a:gd name="connsiteY13" fmla="*/ 218110 h 493310"/>
                <a:gd name="connsiteX14" fmla="*/ 62701 w 543485"/>
                <a:gd name="connsiteY14" fmla="*/ 219972 h 493310"/>
                <a:gd name="connsiteX15" fmla="*/ 108547 w 543485"/>
                <a:gd name="connsiteY15" fmla="*/ 265819 h 493310"/>
                <a:gd name="connsiteX16" fmla="*/ 110409 w 543485"/>
                <a:gd name="connsiteY16" fmla="*/ 270316 h 493310"/>
                <a:gd name="connsiteX17" fmla="*/ 110409 w 543485"/>
                <a:gd name="connsiteY17" fmla="*/ 282697 h 493310"/>
                <a:gd name="connsiteX18" fmla="*/ 127287 w 543485"/>
                <a:gd name="connsiteY18" fmla="*/ 265843 h 493310"/>
                <a:gd name="connsiteX19" fmla="*/ 136282 w 543485"/>
                <a:gd name="connsiteY19" fmla="*/ 265843 h 493310"/>
                <a:gd name="connsiteX20" fmla="*/ 159955 w 543485"/>
                <a:gd name="connsiteY20" fmla="*/ 289516 h 493310"/>
                <a:gd name="connsiteX21" fmla="*/ 182806 w 543485"/>
                <a:gd name="connsiteY21" fmla="*/ 289516 h 493310"/>
                <a:gd name="connsiteX22" fmla="*/ 187304 w 543485"/>
                <a:gd name="connsiteY22" fmla="*/ 291378 h 493310"/>
                <a:gd name="connsiteX23" fmla="*/ 215426 w 543485"/>
                <a:gd name="connsiteY23" fmla="*/ 319500 h 493310"/>
                <a:gd name="connsiteX24" fmla="*/ 241904 w 543485"/>
                <a:gd name="connsiteY24" fmla="*/ 319500 h 493310"/>
                <a:gd name="connsiteX25" fmla="*/ 246401 w 543485"/>
                <a:gd name="connsiteY25" fmla="*/ 321362 h 493310"/>
                <a:gd name="connsiteX26" fmla="*/ 286420 w 543485"/>
                <a:gd name="connsiteY26" fmla="*/ 361381 h 493310"/>
                <a:gd name="connsiteX27" fmla="*/ 288282 w 543485"/>
                <a:gd name="connsiteY27" fmla="*/ 365878 h 493310"/>
                <a:gd name="connsiteX28" fmla="*/ 288282 w 543485"/>
                <a:gd name="connsiteY28" fmla="*/ 387858 h 493310"/>
                <a:gd name="connsiteX29" fmla="*/ 331276 w 543485"/>
                <a:gd name="connsiteY29" fmla="*/ 430828 h 493310"/>
                <a:gd name="connsiteX30" fmla="*/ 331276 w 543485"/>
                <a:gd name="connsiteY30" fmla="*/ 439799 h 493310"/>
                <a:gd name="connsiteX31" fmla="*/ 304145 w 543485"/>
                <a:gd name="connsiteY31" fmla="*/ 466929 h 493310"/>
                <a:gd name="connsiteX32" fmla="*/ 304145 w 543485"/>
                <a:gd name="connsiteY32" fmla="*/ 493310 h 493310"/>
                <a:gd name="connsiteX33" fmla="*/ 367063 w 543485"/>
                <a:gd name="connsiteY33" fmla="*/ 430417 h 493310"/>
                <a:gd name="connsiteX34" fmla="*/ 367063 w 543485"/>
                <a:gd name="connsiteY34" fmla="*/ 392622 h 493310"/>
                <a:gd name="connsiteX35" fmla="*/ 368901 w 543485"/>
                <a:gd name="connsiteY35" fmla="*/ 388100 h 493310"/>
                <a:gd name="connsiteX36" fmla="*/ 507819 w 543485"/>
                <a:gd name="connsiteY36" fmla="*/ 249182 h 493310"/>
                <a:gd name="connsiteX37" fmla="*/ 507819 w 543485"/>
                <a:gd name="connsiteY37" fmla="*/ 218884 h 493310"/>
                <a:gd name="connsiteX38" fmla="*/ 509681 w 543485"/>
                <a:gd name="connsiteY38" fmla="*/ 214362 h 493310"/>
                <a:gd name="connsiteX39" fmla="*/ 535022 w 543485"/>
                <a:gd name="connsiteY39" fmla="*/ 189021 h 493310"/>
                <a:gd name="connsiteX40" fmla="*/ 535022 w 543485"/>
                <a:gd name="connsiteY40" fmla="*/ 167451 h 493310"/>
                <a:gd name="connsiteX41" fmla="*/ 523609 w 543485"/>
                <a:gd name="connsiteY41" fmla="*/ 156014 h 493310"/>
                <a:gd name="connsiteX42" fmla="*/ 522811 w 543485"/>
                <a:gd name="connsiteY42" fmla="*/ 155047 h 493310"/>
                <a:gd name="connsiteX43" fmla="*/ 522424 w 543485"/>
                <a:gd name="connsiteY43" fmla="*/ 154321 h 493310"/>
                <a:gd name="connsiteX44" fmla="*/ 522206 w 543485"/>
                <a:gd name="connsiteY44" fmla="*/ 153934 h 493310"/>
                <a:gd name="connsiteX45" fmla="*/ 521940 w 543485"/>
                <a:gd name="connsiteY45" fmla="*/ 153112 h 493310"/>
                <a:gd name="connsiteX46" fmla="*/ 521868 w 543485"/>
                <a:gd name="connsiteY46" fmla="*/ 152774 h 493310"/>
                <a:gd name="connsiteX47" fmla="*/ 521868 w 543485"/>
                <a:gd name="connsiteY47" fmla="*/ 150283 h 493310"/>
                <a:gd name="connsiteX48" fmla="*/ 521940 w 543485"/>
                <a:gd name="connsiteY48" fmla="*/ 149920 h 493310"/>
                <a:gd name="connsiteX49" fmla="*/ 522206 w 543485"/>
                <a:gd name="connsiteY49" fmla="*/ 149074 h 493310"/>
                <a:gd name="connsiteX50" fmla="*/ 522424 w 543485"/>
                <a:gd name="connsiteY50" fmla="*/ 148687 h 493310"/>
                <a:gd name="connsiteX51" fmla="*/ 522811 w 543485"/>
                <a:gd name="connsiteY51" fmla="*/ 147986 h 493310"/>
                <a:gd name="connsiteX52" fmla="*/ 523609 w 543485"/>
                <a:gd name="connsiteY52" fmla="*/ 147019 h 493310"/>
                <a:gd name="connsiteX53" fmla="*/ 535530 w 543485"/>
                <a:gd name="connsiteY53" fmla="*/ 135073 h 493310"/>
                <a:gd name="connsiteX54" fmla="*/ 535530 w 543485"/>
                <a:gd name="connsiteY54" fmla="*/ 112972 h 493310"/>
                <a:gd name="connsiteX55" fmla="*/ 537416 w 543485"/>
                <a:gd name="connsiteY55" fmla="*/ 108475 h 493310"/>
                <a:gd name="connsiteX56" fmla="*/ 543485 w 543485"/>
                <a:gd name="connsiteY56" fmla="*/ 102429 h 49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3485" h="493310">
                  <a:moveTo>
                    <a:pt x="543485" y="102429"/>
                  </a:moveTo>
                  <a:lnTo>
                    <a:pt x="498219" y="102429"/>
                  </a:lnTo>
                  <a:cubicBezTo>
                    <a:pt x="496551" y="102429"/>
                    <a:pt x="494931" y="101752"/>
                    <a:pt x="493722" y="100568"/>
                  </a:cubicBezTo>
                  <a:lnTo>
                    <a:pt x="424976" y="31822"/>
                  </a:lnTo>
                  <a:lnTo>
                    <a:pt x="388342" y="31822"/>
                  </a:lnTo>
                  <a:cubicBezTo>
                    <a:pt x="386674" y="31822"/>
                    <a:pt x="385029" y="31169"/>
                    <a:pt x="383845" y="29960"/>
                  </a:cubicBezTo>
                  <a:lnTo>
                    <a:pt x="353885" y="0"/>
                  </a:lnTo>
                  <a:lnTo>
                    <a:pt x="273049" y="0"/>
                  </a:lnTo>
                  <a:lnTo>
                    <a:pt x="247828" y="0"/>
                  </a:lnTo>
                  <a:lnTo>
                    <a:pt x="217264" y="30564"/>
                  </a:lnTo>
                  <a:cubicBezTo>
                    <a:pt x="216079" y="31749"/>
                    <a:pt x="214459" y="32402"/>
                    <a:pt x="212742" y="32402"/>
                  </a:cubicBezTo>
                  <a:lnTo>
                    <a:pt x="185708" y="32402"/>
                  </a:lnTo>
                  <a:lnTo>
                    <a:pt x="0" y="218110"/>
                  </a:lnTo>
                  <a:lnTo>
                    <a:pt x="58179" y="218110"/>
                  </a:lnTo>
                  <a:cubicBezTo>
                    <a:pt x="59871" y="218110"/>
                    <a:pt x="61492" y="218787"/>
                    <a:pt x="62701" y="219972"/>
                  </a:cubicBezTo>
                  <a:lnTo>
                    <a:pt x="108547" y="265819"/>
                  </a:lnTo>
                  <a:cubicBezTo>
                    <a:pt x="109732" y="267003"/>
                    <a:pt x="110409" y="268623"/>
                    <a:pt x="110409" y="270316"/>
                  </a:cubicBezTo>
                  <a:lnTo>
                    <a:pt x="110409" y="282697"/>
                  </a:lnTo>
                  <a:lnTo>
                    <a:pt x="127287" y="265843"/>
                  </a:lnTo>
                  <a:cubicBezTo>
                    <a:pt x="129681" y="263425"/>
                    <a:pt x="133889" y="263425"/>
                    <a:pt x="136282" y="265843"/>
                  </a:cubicBezTo>
                  <a:lnTo>
                    <a:pt x="159955" y="289516"/>
                  </a:lnTo>
                  <a:lnTo>
                    <a:pt x="182806" y="289516"/>
                  </a:lnTo>
                  <a:cubicBezTo>
                    <a:pt x="184499" y="289516"/>
                    <a:pt x="186119" y="290193"/>
                    <a:pt x="187304" y="291378"/>
                  </a:cubicBezTo>
                  <a:lnTo>
                    <a:pt x="215426" y="319500"/>
                  </a:lnTo>
                  <a:lnTo>
                    <a:pt x="241904" y="319500"/>
                  </a:lnTo>
                  <a:cubicBezTo>
                    <a:pt x="243572" y="319500"/>
                    <a:pt x="245216" y="320153"/>
                    <a:pt x="246401" y="321362"/>
                  </a:cubicBezTo>
                  <a:lnTo>
                    <a:pt x="286420" y="361381"/>
                  </a:lnTo>
                  <a:cubicBezTo>
                    <a:pt x="287629" y="362566"/>
                    <a:pt x="288282" y="364186"/>
                    <a:pt x="288282" y="365878"/>
                  </a:cubicBezTo>
                  <a:lnTo>
                    <a:pt x="288282" y="387858"/>
                  </a:lnTo>
                  <a:lnTo>
                    <a:pt x="331276" y="430828"/>
                  </a:lnTo>
                  <a:cubicBezTo>
                    <a:pt x="333766" y="433318"/>
                    <a:pt x="333766" y="437332"/>
                    <a:pt x="331276" y="439799"/>
                  </a:cubicBezTo>
                  <a:lnTo>
                    <a:pt x="304145" y="466929"/>
                  </a:lnTo>
                  <a:lnTo>
                    <a:pt x="304145" y="493310"/>
                  </a:lnTo>
                  <a:lnTo>
                    <a:pt x="367063" y="430417"/>
                  </a:lnTo>
                  <a:lnTo>
                    <a:pt x="367063" y="392622"/>
                  </a:lnTo>
                  <a:cubicBezTo>
                    <a:pt x="367063" y="390929"/>
                    <a:pt x="367716" y="389309"/>
                    <a:pt x="368901" y="388100"/>
                  </a:cubicBezTo>
                  <a:lnTo>
                    <a:pt x="507819" y="249182"/>
                  </a:lnTo>
                  <a:lnTo>
                    <a:pt x="507819" y="218884"/>
                  </a:lnTo>
                  <a:cubicBezTo>
                    <a:pt x="507819" y="217191"/>
                    <a:pt x="508496" y="215547"/>
                    <a:pt x="509681" y="214362"/>
                  </a:cubicBezTo>
                  <a:lnTo>
                    <a:pt x="535022" y="189021"/>
                  </a:lnTo>
                  <a:lnTo>
                    <a:pt x="535022" y="167451"/>
                  </a:lnTo>
                  <a:lnTo>
                    <a:pt x="523609" y="156014"/>
                  </a:lnTo>
                  <a:cubicBezTo>
                    <a:pt x="523295" y="155700"/>
                    <a:pt x="523053" y="155409"/>
                    <a:pt x="522811" y="155047"/>
                  </a:cubicBezTo>
                  <a:cubicBezTo>
                    <a:pt x="522642" y="154829"/>
                    <a:pt x="522545" y="154563"/>
                    <a:pt x="522424" y="154321"/>
                  </a:cubicBezTo>
                  <a:cubicBezTo>
                    <a:pt x="522352" y="154200"/>
                    <a:pt x="522255" y="154079"/>
                    <a:pt x="522206" y="153934"/>
                  </a:cubicBezTo>
                  <a:cubicBezTo>
                    <a:pt x="522110" y="153668"/>
                    <a:pt x="522037" y="153402"/>
                    <a:pt x="521940" y="153112"/>
                  </a:cubicBezTo>
                  <a:cubicBezTo>
                    <a:pt x="521916" y="152991"/>
                    <a:pt x="521868" y="152870"/>
                    <a:pt x="521868" y="152774"/>
                  </a:cubicBezTo>
                  <a:cubicBezTo>
                    <a:pt x="521699" y="151952"/>
                    <a:pt x="521699" y="151105"/>
                    <a:pt x="521868" y="150283"/>
                  </a:cubicBezTo>
                  <a:cubicBezTo>
                    <a:pt x="521868" y="150162"/>
                    <a:pt x="521916" y="150041"/>
                    <a:pt x="521940" y="149920"/>
                  </a:cubicBezTo>
                  <a:cubicBezTo>
                    <a:pt x="522037" y="149630"/>
                    <a:pt x="522110" y="149364"/>
                    <a:pt x="522206" y="149074"/>
                  </a:cubicBezTo>
                  <a:cubicBezTo>
                    <a:pt x="522255" y="148953"/>
                    <a:pt x="522352" y="148832"/>
                    <a:pt x="522424" y="148687"/>
                  </a:cubicBezTo>
                  <a:cubicBezTo>
                    <a:pt x="522545" y="148445"/>
                    <a:pt x="522642" y="148179"/>
                    <a:pt x="522811" y="147986"/>
                  </a:cubicBezTo>
                  <a:cubicBezTo>
                    <a:pt x="523053" y="147623"/>
                    <a:pt x="523319" y="147309"/>
                    <a:pt x="523609" y="147019"/>
                  </a:cubicBezTo>
                  <a:lnTo>
                    <a:pt x="535530" y="135073"/>
                  </a:lnTo>
                  <a:lnTo>
                    <a:pt x="535530" y="112972"/>
                  </a:lnTo>
                  <a:cubicBezTo>
                    <a:pt x="535530" y="111280"/>
                    <a:pt x="536207" y="109635"/>
                    <a:pt x="537416" y="108475"/>
                  </a:cubicBezTo>
                  <a:lnTo>
                    <a:pt x="543485" y="102429"/>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4" name="Forma Livre: Forma 43">
              <a:extLst>
                <a:ext uri="{FF2B5EF4-FFF2-40B4-BE49-F238E27FC236}">
                  <a16:creationId xmlns:a16="http://schemas.microsoft.com/office/drawing/2014/main" id="{1073F5A7-501B-1C83-F36C-A45B979B4C02}"/>
                </a:ext>
              </a:extLst>
            </p:cNvPr>
            <p:cNvSpPr/>
            <p:nvPr>
              <p:custDataLst>
                <p:tags r:id="rId126"/>
              </p:custDataLst>
            </p:nvPr>
          </p:nvSpPr>
          <p:spPr>
            <a:xfrm>
              <a:off x="4563485" y="3049437"/>
              <a:ext cx="363532" cy="249327"/>
            </a:xfrm>
            <a:custGeom>
              <a:avLst/>
              <a:gdLst>
                <a:gd name="connsiteX0" fmla="*/ 302452 w 363532"/>
                <a:gd name="connsiteY0" fmla="*/ 16757 h 249327"/>
                <a:gd name="connsiteX1" fmla="*/ 297955 w 363532"/>
                <a:gd name="connsiteY1" fmla="*/ 18619 h 249327"/>
                <a:gd name="connsiteX2" fmla="*/ 294448 w 363532"/>
                <a:gd name="connsiteY2" fmla="*/ 17579 h 249327"/>
                <a:gd name="connsiteX3" fmla="*/ 293457 w 363532"/>
                <a:gd name="connsiteY3" fmla="*/ 16757 h 249327"/>
                <a:gd name="connsiteX4" fmla="*/ 276821 w 363532"/>
                <a:gd name="connsiteY4" fmla="*/ 121 h 249327"/>
                <a:gd name="connsiteX5" fmla="*/ 225243 w 363532"/>
                <a:gd name="connsiteY5" fmla="*/ 121 h 249327"/>
                <a:gd name="connsiteX6" fmla="*/ 218594 w 363532"/>
                <a:gd name="connsiteY6" fmla="*/ 6795 h 249327"/>
                <a:gd name="connsiteX7" fmla="*/ 214096 w 363532"/>
                <a:gd name="connsiteY7" fmla="*/ 8657 h 249327"/>
                <a:gd name="connsiteX8" fmla="*/ 187666 w 363532"/>
                <a:gd name="connsiteY8" fmla="*/ 8657 h 249327"/>
                <a:gd name="connsiteX9" fmla="*/ 175238 w 363532"/>
                <a:gd name="connsiteY9" fmla="*/ 21061 h 249327"/>
                <a:gd name="connsiteX10" fmla="*/ 175238 w 363532"/>
                <a:gd name="connsiteY10" fmla="*/ 37794 h 249327"/>
                <a:gd name="connsiteX11" fmla="*/ 173400 w 363532"/>
                <a:gd name="connsiteY11" fmla="*/ 42292 h 249327"/>
                <a:gd name="connsiteX12" fmla="*/ 162905 w 363532"/>
                <a:gd name="connsiteY12" fmla="*/ 52786 h 249327"/>
                <a:gd name="connsiteX13" fmla="*/ 158408 w 363532"/>
                <a:gd name="connsiteY13" fmla="*/ 54648 h 249327"/>
                <a:gd name="connsiteX14" fmla="*/ 153910 w 363532"/>
                <a:gd name="connsiteY14" fmla="*/ 52786 h 249327"/>
                <a:gd name="connsiteX15" fmla="*/ 125909 w 363532"/>
                <a:gd name="connsiteY15" fmla="*/ 24834 h 249327"/>
                <a:gd name="connsiteX16" fmla="*/ 0 w 363532"/>
                <a:gd name="connsiteY16" fmla="*/ 24834 h 249327"/>
                <a:gd name="connsiteX17" fmla="*/ 0 w 363532"/>
                <a:gd name="connsiteY17" fmla="*/ 80763 h 249327"/>
                <a:gd name="connsiteX18" fmla="*/ 77088 w 363532"/>
                <a:gd name="connsiteY18" fmla="*/ 80763 h 249327"/>
                <a:gd name="connsiteX19" fmla="*/ 81610 w 363532"/>
                <a:gd name="connsiteY19" fmla="*/ 82625 h 249327"/>
                <a:gd name="connsiteX20" fmla="*/ 111570 w 363532"/>
                <a:gd name="connsiteY20" fmla="*/ 112585 h 249327"/>
                <a:gd name="connsiteX21" fmla="*/ 148203 w 363532"/>
                <a:gd name="connsiteY21" fmla="*/ 112585 h 249327"/>
                <a:gd name="connsiteX22" fmla="*/ 152701 w 363532"/>
                <a:gd name="connsiteY22" fmla="*/ 114447 h 249327"/>
                <a:gd name="connsiteX23" fmla="*/ 221447 w 363532"/>
                <a:gd name="connsiteY23" fmla="*/ 183193 h 249327"/>
                <a:gd name="connsiteX24" fmla="*/ 279432 w 363532"/>
                <a:gd name="connsiteY24" fmla="*/ 183193 h 249327"/>
                <a:gd name="connsiteX25" fmla="*/ 280375 w 363532"/>
                <a:gd name="connsiteY25" fmla="*/ 183241 h 249327"/>
                <a:gd name="connsiteX26" fmla="*/ 285308 w 363532"/>
                <a:gd name="connsiteY26" fmla="*/ 187110 h 249327"/>
                <a:gd name="connsiteX27" fmla="*/ 285042 w 363532"/>
                <a:gd name="connsiteY27" fmla="*/ 192527 h 249327"/>
                <a:gd name="connsiteX28" fmla="*/ 283906 w 363532"/>
                <a:gd name="connsiteY28" fmla="*/ 194050 h 249327"/>
                <a:gd name="connsiteX29" fmla="*/ 268841 w 363532"/>
                <a:gd name="connsiteY29" fmla="*/ 209115 h 249327"/>
                <a:gd name="connsiteX30" fmla="*/ 268841 w 363532"/>
                <a:gd name="connsiteY30" fmla="*/ 231240 h 249327"/>
                <a:gd name="connsiteX31" fmla="*/ 266979 w 363532"/>
                <a:gd name="connsiteY31" fmla="*/ 235738 h 249327"/>
                <a:gd name="connsiteX32" fmla="*/ 257670 w 363532"/>
                <a:gd name="connsiteY32" fmla="*/ 245047 h 249327"/>
                <a:gd name="connsiteX33" fmla="*/ 261974 w 363532"/>
                <a:gd name="connsiteY33" fmla="*/ 249327 h 249327"/>
                <a:gd name="connsiteX34" fmla="*/ 363533 w 363532"/>
                <a:gd name="connsiteY34" fmla="*/ 147792 h 249327"/>
                <a:gd name="connsiteX35" fmla="*/ 363533 w 363532"/>
                <a:gd name="connsiteY35" fmla="*/ 0 h 249327"/>
                <a:gd name="connsiteX36" fmla="*/ 319209 w 363532"/>
                <a:gd name="connsiteY36" fmla="*/ 0 h 249327"/>
                <a:gd name="connsiteX37" fmla="*/ 302452 w 363532"/>
                <a:gd name="connsiteY37" fmla="*/ 16757 h 24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3532" h="249326">
                  <a:moveTo>
                    <a:pt x="302452" y="16757"/>
                  </a:moveTo>
                  <a:cubicBezTo>
                    <a:pt x="301219" y="18015"/>
                    <a:pt x="299599" y="18619"/>
                    <a:pt x="297955" y="18619"/>
                  </a:cubicBezTo>
                  <a:cubicBezTo>
                    <a:pt x="296721" y="18619"/>
                    <a:pt x="295512" y="18281"/>
                    <a:pt x="294448" y="17579"/>
                  </a:cubicBezTo>
                  <a:cubicBezTo>
                    <a:pt x="294086" y="17362"/>
                    <a:pt x="293771" y="17072"/>
                    <a:pt x="293457" y="16757"/>
                  </a:cubicBezTo>
                  <a:lnTo>
                    <a:pt x="276821" y="121"/>
                  </a:lnTo>
                  <a:lnTo>
                    <a:pt x="225243" y="121"/>
                  </a:lnTo>
                  <a:lnTo>
                    <a:pt x="218594" y="6795"/>
                  </a:lnTo>
                  <a:cubicBezTo>
                    <a:pt x="217384" y="7980"/>
                    <a:pt x="215789" y="8657"/>
                    <a:pt x="214096" y="8657"/>
                  </a:cubicBezTo>
                  <a:lnTo>
                    <a:pt x="187666" y="8657"/>
                  </a:lnTo>
                  <a:lnTo>
                    <a:pt x="175238" y="21061"/>
                  </a:lnTo>
                  <a:lnTo>
                    <a:pt x="175238" y="37794"/>
                  </a:lnTo>
                  <a:cubicBezTo>
                    <a:pt x="175238" y="39463"/>
                    <a:pt x="174585" y="41107"/>
                    <a:pt x="173400" y="42292"/>
                  </a:cubicBezTo>
                  <a:lnTo>
                    <a:pt x="162905" y="52786"/>
                  </a:lnTo>
                  <a:cubicBezTo>
                    <a:pt x="161720" y="53971"/>
                    <a:pt x="160100" y="54648"/>
                    <a:pt x="158408" y="54648"/>
                  </a:cubicBezTo>
                  <a:cubicBezTo>
                    <a:pt x="156715" y="54648"/>
                    <a:pt x="155071" y="53971"/>
                    <a:pt x="153910" y="52786"/>
                  </a:cubicBezTo>
                  <a:lnTo>
                    <a:pt x="125909" y="24834"/>
                  </a:lnTo>
                  <a:lnTo>
                    <a:pt x="0" y="24834"/>
                  </a:lnTo>
                  <a:lnTo>
                    <a:pt x="0" y="80763"/>
                  </a:lnTo>
                  <a:lnTo>
                    <a:pt x="77088" y="80763"/>
                  </a:lnTo>
                  <a:cubicBezTo>
                    <a:pt x="78781" y="80763"/>
                    <a:pt x="80401" y="81416"/>
                    <a:pt x="81610" y="82625"/>
                  </a:cubicBezTo>
                  <a:lnTo>
                    <a:pt x="111570" y="112585"/>
                  </a:lnTo>
                  <a:lnTo>
                    <a:pt x="148203" y="112585"/>
                  </a:lnTo>
                  <a:cubicBezTo>
                    <a:pt x="149872" y="112585"/>
                    <a:pt x="151492" y="113238"/>
                    <a:pt x="152701" y="114447"/>
                  </a:cubicBezTo>
                  <a:lnTo>
                    <a:pt x="221447" y="183193"/>
                  </a:lnTo>
                  <a:lnTo>
                    <a:pt x="279432" y="183193"/>
                  </a:lnTo>
                  <a:cubicBezTo>
                    <a:pt x="279771" y="183193"/>
                    <a:pt x="280061" y="183217"/>
                    <a:pt x="280375" y="183241"/>
                  </a:cubicBezTo>
                  <a:cubicBezTo>
                    <a:pt x="282576" y="183604"/>
                    <a:pt x="284462" y="185031"/>
                    <a:pt x="285308" y="187110"/>
                  </a:cubicBezTo>
                  <a:cubicBezTo>
                    <a:pt x="286033" y="188900"/>
                    <a:pt x="285913" y="190882"/>
                    <a:pt x="285042" y="192527"/>
                  </a:cubicBezTo>
                  <a:cubicBezTo>
                    <a:pt x="284752" y="193083"/>
                    <a:pt x="284389" y="193591"/>
                    <a:pt x="283906" y="194050"/>
                  </a:cubicBezTo>
                  <a:lnTo>
                    <a:pt x="268841" y="209115"/>
                  </a:lnTo>
                  <a:lnTo>
                    <a:pt x="268841" y="231240"/>
                  </a:lnTo>
                  <a:cubicBezTo>
                    <a:pt x="268841" y="232908"/>
                    <a:pt x="268188" y="234553"/>
                    <a:pt x="266979" y="235738"/>
                  </a:cubicBezTo>
                  <a:lnTo>
                    <a:pt x="257670" y="245047"/>
                  </a:lnTo>
                  <a:lnTo>
                    <a:pt x="261974" y="249327"/>
                  </a:lnTo>
                  <a:lnTo>
                    <a:pt x="363533" y="147792"/>
                  </a:lnTo>
                  <a:lnTo>
                    <a:pt x="363533" y="0"/>
                  </a:lnTo>
                  <a:lnTo>
                    <a:pt x="319209" y="0"/>
                  </a:lnTo>
                  <a:lnTo>
                    <a:pt x="302452" y="1675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5" name="Forma Livre: Forma 44">
              <a:extLst>
                <a:ext uri="{FF2B5EF4-FFF2-40B4-BE49-F238E27FC236}">
                  <a16:creationId xmlns:a16="http://schemas.microsoft.com/office/drawing/2014/main" id="{AEC9D8B0-6ED9-8497-4B21-348027625754}"/>
                </a:ext>
              </a:extLst>
            </p:cNvPr>
            <p:cNvSpPr/>
            <p:nvPr>
              <p:custDataLst>
                <p:tags r:id="rId127"/>
              </p:custDataLst>
            </p:nvPr>
          </p:nvSpPr>
          <p:spPr>
            <a:xfrm>
              <a:off x="4506829" y="2782844"/>
              <a:ext cx="465744" cy="305910"/>
            </a:xfrm>
            <a:custGeom>
              <a:avLst/>
              <a:gdLst>
                <a:gd name="connsiteX0" fmla="*/ 422800 w 465744"/>
                <a:gd name="connsiteY0" fmla="*/ 169217 h 305910"/>
                <a:gd name="connsiteX1" fmla="*/ 377195 w 465744"/>
                <a:gd name="connsiteY1" fmla="*/ 169217 h 305910"/>
                <a:gd name="connsiteX2" fmla="*/ 370835 w 465744"/>
                <a:gd name="connsiteY2" fmla="*/ 162833 h 305910"/>
                <a:gd name="connsiteX3" fmla="*/ 370835 w 465744"/>
                <a:gd name="connsiteY3" fmla="*/ 135557 h 305910"/>
                <a:gd name="connsiteX4" fmla="*/ 346993 w 465744"/>
                <a:gd name="connsiteY4" fmla="*/ 111715 h 305910"/>
                <a:gd name="connsiteX5" fmla="*/ 345155 w 465744"/>
                <a:gd name="connsiteY5" fmla="*/ 107217 h 305910"/>
                <a:gd name="connsiteX6" fmla="*/ 345155 w 465744"/>
                <a:gd name="connsiteY6" fmla="*/ 56148 h 305910"/>
                <a:gd name="connsiteX7" fmla="*/ 323852 w 465744"/>
                <a:gd name="connsiteY7" fmla="*/ 34844 h 305910"/>
                <a:gd name="connsiteX8" fmla="*/ 270751 w 465744"/>
                <a:gd name="connsiteY8" fmla="*/ 34844 h 305910"/>
                <a:gd name="connsiteX9" fmla="*/ 266230 w 465744"/>
                <a:gd name="connsiteY9" fmla="*/ 32958 h 305910"/>
                <a:gd name="connsiteX10" fmla="*/ 233271 w 465744"/>
                <a:gd name="connsiteY10" fmla="*/ 0 h 305910"/>
                <a:gd name="connsiteX11" fmla="*/ 95369 w 465744"/>
                <a:gd name="connsiteY11" fmla="*/ 0 h 305910"/>
                <a:gd name="connsiteX12" fmla="*/ 62144 w 465744"/>
                <a:gd name="connsiteY12" fmla="*/ 33248 h 305910"/>
                <a:gd name="connsiteX13" fmla="*/ 62144 w 465744"/>
                <a:gd name="connsiteY13" fmla="*/ 56728 h 305910"/>
                <a:gd name="connsiteX14" fmla="*/ 55785 w 465744"/>
                <a:gd name="connsiteY14" fmla="*/ 63112 h 305910"/>
                <a:gd name="connsiteX15" fmla="*/ 28848 w 465744"/>
                <a:gd name="connsiteY15" fmla="*/ 63112 h 305910"/>
                <a:gd name="connsiteX16" fmla="*/ 28848 w 465744"/>
                <a:gd name="connsiteY16" fmla="*/ 99407 h 305910"/>
                <a:gd name="connsiteX17" fmla="*/ 26986 w 465744"/>
                <a:gd name="connsiteY17" fmla="*/ 103904 h 305910"/>
                <a:gd name="connsiteX18" fmla="*/ 18426 w 465744"/>
                <a:gd name="connsiteY18" fmla="*/ 112464 h 305910"/>
                <a:gd name="connsiteX19" fmla="*/ 21255 w 465744"/>
                <a:gd name="connsiteY19" fmla="*/ 115294 h 305910"/>
                <a:gd name="connsiteX20" fmla="*/ 23117 w 465744"/>
                <a:gd name="connsiteY20" fmla="*/ 119791 h 305910"/>
                <a:gd name="connsiteX21" fmla="*/ 23117 w 465744"/>
                <a:gd name="connsiteY21" fmla="*/ 193905 h 305910"/>
                <a:gd name="connsiteX22" fmla="*/ 21255 w 465744"/>
                <a:gd name="connsiteY22" fmla="*/ 198427 h 305910"/>
                <a:gd name="connsiteX23" fmla="*/ 0 w 465744"/>
                <a:gd name="connsiteY23" fmla="*/ 219657 h 305910"/>
                <a:gd name="connsiteX24" fmla="*/ 35328 w 465744"/>
                <a:gd name="connsiteY24" fmla="*/ 219657 h 305910"/>
                <a:gd name="connsiteX25" fmla="*/ 39874 w 465744"/>
                <a:gd name="connsiteY25" fmla="*/ 221519 h 305910"/>
                <a:gd name="connsiteX26" fmla="*/ 54818 w 465744"/>
                <a:gd name="connsiteY26" fmla="*/ 236511 h 305910"/>
                <a:gd name="connsiteX27" fmla="*/ 56680 w 465744"/>
                <a:gd name="connsiteY27" fmla="*/ 241009 h 305910"/>
                <a:gd name="connsiteX28" fmla="*/ 56680 w 465744"/>
                <a:gd name="connsiteY28" fmla="*/ 278731 h 305910"/>
                <a:gd name="connsiteX29" fmla="*/ 185224 w 465744"/>
                <a:gd name="connsiteY29" fmla="*/ 278731 h 305910"/>
                <a:gd name="connsiteX30" fmla="*/ 189746 w 465744"/>
                <a:gd name="connsiteY30" fmla="*/ 280569 h 305910"/>
                <a:gd name="connsiteX31" fmla="*/ 215087 w 465744"/>
                <a:gd name="connsiteY31" fmla="*/ 305910 h 305910"/>
                <a:gd name="connsiteX32" fmla="*/ 219174 w 465744"/>
                <a:gd name="connsiteY32" fmla="*/ 301799 h 305910"/>
                <a:gd name="connsiteX33" fmla="*/ 219174 w 465744"/>
                <a:gd name="connsiteY33" fmla="*/ 285090 h 305910"/>
                <a:gd name="connsiteX34" fmla="*/ 221036 w 465744"/>
                <a:gd name="connsiteY34" fmla="*/ 280569 h 305910"/>
                <a:gd name="connsiteX35" fmla="*/ 237164 w 465744"/>
                <a:gd name="connsiteY35" fmla="*/ 264440 h 305910"/>
                <a:gd name="connsiteX36" fmla="*/ 241686 w 465744"/>
                <a:gd name="connsiteY36" fmla="*/ 262578 h 305910"/>
                <a:gd name="connsiteX37" fmla="*/ 268116 w 465744"/>
                <a:gd name="connsiteY37" fmla="*/ 262578 h 305910"/>
                <a:gd name="connsiteX38" fmla="*/ 274765 w 465744"/>
                <a:gd name="connsiteY38" fmla="*/ 255929 h 305910"/>
                <a:gd name="connsiteX39" fmla="*/ 279287 w 465744"/>
                <a:gd name="connsiteY39" fmla="*/ 254043 h 305910"/>
                <a:gd name="connsiteX40" fmla="*/ 336136 w 465744"/>
                <a:gd name="connsiteY40" fmla="*/ 254043 h 305910"/>
                <a:gd name="connsiteX41" fmla="*/ 340634 w 465744"/>
                <a:gd name="connsiteY41" fmla="*/ 255929 h 305910"/>
                <a:gd name="connsiteX42" fmla="*/ 354634 w 465744"/>
                <a:gd name="connsiteY42" fmla="*/ 269929 h 305910"/>
                <a:gd name="connsiteX43" fmla="*/ 368804 w 465744"/>
                <a:gd name="connsiteY43" fmla="*/ 255759 h 305910"/>
                <a:gd name="connsiteX44" fmla="*/ 373302 w 465744"/>
                <a:gd name="connsiteY44" fmla="*/ 253897 h 305910"/>
                <a:gd name="connsiteX45" fmla="*/ 423984 w 465744"/>
                <a:gd name="connsiteY45" fmla="*/ 253897 h 305910"/>
                <a:gd name="connsiteX46" fmla="*/ 465745 w 465744"/>
                <a:gd name="connsiteY46" fmla="*/ 212137 h 305910"/>
                <a:gd name="connsiteX47" fmla="*/ 444320 w 465744"/>
                <a:gd name="connsiteY47" fmla="*/ 190665 h 305910"/>
                <a:gd name="connsiteX48" fmla="*/ 422800 w 465744"/>
                <a:gd name="connsiteY48" fmla="*/ 169217 h 30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65744" h="305910">
                  <a:moveTo>
                    <a:pt x="422800" y="169217"/>
                  </a:moveTo>
                  <a:lnTo>
                    <a:pt x="377195" y="169217"/>
                  </a:lnTo>
                  <a:cubicBezTo>
                    <a:pt x="373664" y="169217"/>
                    <a:pt x="370835" y="166363"/>
                    <a:pt x="370835" y="162833"/>
                  </a:cubicBezTo>
                  <a:lnTo>
                    <a:pt x="370835" y="135557"/>
                  </a:lnTo>
                  <a:lnTo>
                    <a:pt x="346993" y="111715"/>
                  </a:lnTo>
                  <a:cubicBezTo>
                    <a:pt x="345808" y="110506"/>
                    <a:pt x="345155" y="108910"/>
                    <a:pt x="345155" y="107217"/>
                  </a:cubicBezTo>
                  <a:lnTo>
                    <a:pt x="345155" y="56148"/>
                  </a:lnTo>
                  <a:lnTo>
                    <a:pt x="323852" y="34844"/>
                  </a:lnTo>
                  <a:lnTo>
                    <a:pt x="270751" y="34844"/>
                  </a:lnTo>
                  <a:cubicBezTo>
                    <a:pt x="269035" y="34844"/>
                    <a:pt x="267414" y="34167"/>
                    <a:pt x="266230" y="32958"/>
                  </a:cubicBezTo>
                  <a:lnTo>
                    <a:pt x="233271" y="0"/>
                  </a:lnTo>
                  <a:lnTo>
                    <a:pt x="95369" y="0"/>
                  </a:lnTo>
                  <a:lnTo>
                    <a:pt x="62144" y="33248"/>
                  </a:lnTo>
                  <a:lnTo>
                    <a:pt x="62144" y="56728"/>
                  </a:lnTo>
                  <a:cubicBezTo>
                    <a:pt x="62144" y="60258"/>
                    <a:pt x="59291" y="63112"/>
                    <a:pt x="55785" y="63112"/>
                  </a:cubicBezTo>
                  <a:lnTo>
                    <a:pt x="28848" y="63112"/>
                  </a:lnTo>
                  <a:lnTo>
                    <a:pt x="28848" y="99407"/>
                  </a:lnTo>
                  <a:cubicBezTo>
                    <a:pt x="28848" y="101075"/>
                    <a:pt x="28171" y="102720"/>
                    <a:pt x="26986" y="103904"/>
                  </a:cubicBezTo>
                  <a:lnTo>
                    <a:pt x="18426" y="112464"/>
                  </a:lnTo>
                  <a:lnTo>
                    <a:pt x="21255" y="115294"/>
                  </a:lnTo>
                  <a:cubicBezTo>
                    <a:pt x="22464" y="116503"/>
                    <a:pt x="23117" y="118099"/>
                    <a:pt x="23117" y="119791"/>
                  </a:cubicBezTo>
                  <a:lnTo>
                    <a:pt x="23117" y="193905"/>
                  </a:lnTo>
                  <a:cubicBezTo>
                    <a:pt x="23117" y="195598"/>
                    <a:pt x="22464" y="197242"/>
                    <a:pt x="21255" y="198427"/>
                  </a:cubicBezTo>
                  <a:lnTo>
                    <a:pt x="0" y="219657"/>
                  </a:lnTo>
                  <a:lnTo>
                    <a:pt x="35328" y="219657"/>
                  </a:lnTo>
                  <a:cubicBezTo>
                    <a:pt x="37021" y="219657"/>
                    <a:pt x="38665" y="220310"/>
                    <a:pt x="39874" y="221519"/>
                  </a:cubicBezTo>
                  <a:lnTo>
                    <a:pt x="54818" y="236511"/>
                  </a:lnTo>
                  <a:cubicBezTo>
                    <a:pt x="56027" y="237696"/>
                    <a:pt x="56680" y="239316"/>
                    <a:pt x="56680" y="241009"/>
                  </a:cubicBezTo>
                  <a:lnTo>
                    <a:pt x="56680" y="278731"/>
                  </a:lnTo>
                  <a:lnTo>
                    <a:pt x="185224" y="278731"/>
                  </a:lnTo>
                  <a:cubicBezTo>
                    <a:pt x="186917" y="278731"/>
                    <a:pt x="188561" y="279384"/>
                    <a:pt x="189746" y="280569"/>
                  </a:cubicBezTo>
                  <a:lnTo>
                    <a:pt x="215087" y="305910"/>
                  </a:lnTo>
                  <a:lnTo>
                    <a:pt x="219174" y="301799"/>
                  </a:lnTo>
                  <a:lnTo>
                    <a:pt x="219174" y="285090"/>
                  </a:lnTo>
                  <a:cubicBezTo>
                    <a:pt x="219174" y="283398"/>
                    <a:pt x="219827" y="281778"/>
                    <a:pt x="221036" y="280569"/>
                  </a:cubicBezTo>
                  <a:lnTo>
                    <a:pt x="237164" y="264440"/>
                  </a:lnTo>
                  <a:cubicBezTo>
                    <a:pt x="238373" y="263231"/>
                    <a:pt x="239969" y="262578"/>
                    <a:pt x="241686" y="262578"/>
                  </a:cubicBezTo>
                  <a:lnTo>
                    <a:pt x="268116" y="262578"/>
                  </a:lnTo>
                  <a:lnTo>
                    <a:pt x="274765" y="255929"/>
                  </a:lnTo>
                  <a:cubicBezTo>
                    <a:pt x="275974" y="254720"/>
                    <a:pt x="277570" y="254043"/>
                    <a:pt x="279287" y="254043"/>
                  </a:cubicBezTo>
                  <a:lnTo>
                    <a:pt x="336136" y="254043"/>
                  </a:lnTo>
                  <a:cubicBezTo>
                    <a:pt x="337804" y="254043"/>
                    <a:pt x="339449" y="254720"/>
                    <a:pt x="340634" y="255929"/>
                  </a:cubicBezTo>
                  <a:lnTo>
                    <a:pt x="354634" y="269929"/>
                  </a:lnTo>
                  <a:lnTo>
                    <a:pt x="368804" y="255759"/>
                  </a:lnTo>
                  <a:cubicBezTo>
                    <a:pt x="370013" y="254550"/>
                    <a:pt x="371609" y="253897"/>
                    <a:pt x="373302" y="253897"/>
                  </a:cubicBezTo>
                  <a:lnTo>
                    <a:pt x="423984" y="253897"/>
                  </a:lnTo>
                  <a:lnTo>
                    <a:pt x="465745" y="212137"/>
                  </a:lnTo>
                  <a:lnTo>
                    <a:pt x="444320" y="190665"/>
                  </a:lnTo>
                  <a:lnTo>
                    <a:pt x="422800" y="16921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6" name="Forma Livre: Forma 45">
              <a:extLst>
                <a:ext uri="{FF2B5EF4-FFF2-40B4-BE49-F238E27FC236}">
                  <a16:creationId xmlns:a16="http://schemas.microsoft.com/office/drawing/2014/main" id="{42AC1ECE-FEEC-4965-8338-C8B3C26F720D}"/>
                </a:ext>
              </a:extLst>
            </p:cNvPr>
            <p:cNvSpPr/>
            <p:nvPr>
              <p:custDataLst>
                <p:tags r:id="rId128"/>
              </p:custDataLst>
            </p:nvPr>
          </p:nvSpPr>
          <p:spPr>
            <a:xfrm>
              <a:off x="4614917" y="2576970"/>
              <a:ext cx="647196" cy="408944"/>
            </a:xfrm>
            <a:custGeom>
              <a:avLst/>
              <a:gdLst>
                <a:gd name="connsiteX0" fmla="*/ 633293 w 647196"/>
                <a:gd name="connsiteY0" fmla="*/ 214991 h 408944"/>
                <a:gd name="connsiteX1" fmla="*/ 624297 w 647196"/>
                <a:gd name="connsiteY1" fmla="*/ 214991 h 408944"/>
                <a:gd name="connsiteX2" fmla="*/ 603744 w 647196"/>
                <a:gd name="connsiteY2" fmla="*/ 194461 h 408944"/>
                <a:gd name="connsiteX3" fmla="*/ 589284 w 647196"/>
                <a:gd name="connsiteY3" fmla="*/ 208921 h 408944"/>
                <a:gd name="connsiteX4" fmla="*/ 584762 w 647196"/>
                <a:gd name="connsiteY4" fmla="*/ 210783 h 408944"/>
                <a:gd name="connsiteX5" fmla="*/ 542252 w 647196"/>
                <a:gd name="connsiteY5" fmla="*/ 210783 h 408944"/>
                <a:gd name="connsiteX6" fmla="*/ 524020 w 647196"/>
                <a:gd name="connsiteY6" fmla="*/ 228967 h 408944"/>
                <a:gd name="connsiteX7" fmla="*/ 519522 w 647196"/>
                <a:gd name="connsiteY7" fmla="*/ 230829 h 408944"/>
                <a:gd name="connsiteX8" fmla="*/ 480519 w 647196"/>
                <a:gd name="connsiteY8" fmla="*/ 230829 h 408944"/>
                <a:gd name="connsiteX9" fmla="*/ 474304 w 647196"/>
                <a:gd name="connsiteY9" fmla="*/ 225751 h 408944"/>
                <a:gd name="connsiteX10" fmla="*/ 474159 w 647196"/>
                <a:gd name="connsiteY10" fmla="*/ 224469 h 408944"/>
                <a:gd name="connsiteX11" fmla="*/ 474159 w 647196"/>
                <a:gd name="connsiteY11" fmla="*/ 203384 h 408944"/>
                <a:gd name="connsiteX12" fmla="*/ 448262 w 647196"/>
                <a:gd name="connsiteY12" fmla="*/ 177511 h 408944"/>
                <a:gd name="connsiteX13" fmla="*/ 446400 w 647196"/>
                <a:gd name="connsiteY13" fmla="*/ 172965 h 408944"/>
                <a:gd name="connsiteX14" fmla="*/ 446400 w 647196"/>
                <a:gd name="connsiteY14" fmla="*/ 135025 h 408944"/>
                <a:gd name="connsiteX15" fmla="*/ 448262 w 647196"/>
                <a:gd name="connsiteY15" fmla="*/ 130527 h 408944"/>
                <a:gd name="connsiteX16" fmla="*/ 458805 w 647196"/>
                <a:gd name="connsiteY16" fmla="*/ 119985 h 408944"/>
                <a:gd name="connsiteX17" fmla="*/ 417480 w 647196"/>
                <a:gd name="connsiteY17" fmla="*/ 119985 h 408944"/>
                <a:gd name="connsiteX18" fmla="*/ 411120 w 647196"/>
                <a:gd name="connsiteY18" fmla="*/ 113625 h 408944"/>
                <a:gd name="connsiteX19" fmla="*/ 411120 w 647196"/>
                <a:gd name="connsiteY19" fmla="*/ 64708 h 408944"/>
                <a:gd name="connsiteX20" fmla="*/ 412982 w 647196"/>
                <a:gd name="connsiteY20" fmla="*/ 60210 h 408944"/>
                <a:gd name="connsiteX21" fmla="*/ 420865 w 647196"/>
                <a:gd name="connsiteY21" fmla="*/ 52351 h 408944"/>
                <a:gd name="connsiteX22" fmla="*/ 415642 w 647196"/>
                <a:gd name="connsiteY22" fmla="*/ 47128 h 408944"/>
                <a:gd name="connsiteX23" fmla="*/ 413804 w 647196"/>
                <a:gd name="connsiteY23" fmla="*/ 42631 h 408944"/>
                <a:gd name="connsiteX24" fmla="*/ 413804 w 647196"/>
                <a:gd name="connsiteY24" fmla="*/ 21424 h 408944"/>
                <a:gd name="connsiteX25" fmla="*/ 397482 w 647196"/>
                <a:gd name="connsiteY25" fmla="*/ 5102 h 408944"/>
                <a:gd name="connsiteX26" fmla="*/ 374341 w 647196"/>
                <a:gd name="connsiteY26" fmla="*/ 5102 h 408944"/>
                <a:gd name="connsiteX27" fmla="*/ 366048 w 647196"/>
                <a:gd name="connsiteY27" fmla="*/ 13396 h 408944"/>
                <a:gd name="connsiteX28" fmla="*/ 361550 w 647196"/>
                <a:gd name="connsiteY28" fmla="*/ 15234 h 408944"/>
                <a:gd name="connsiteX29" fmla="*/ 300494 w 647196"/>
                <a:gd name="connsiteY29" fmla="*/ 15234 h 408944"/>
                <a:gd name="connsiteX30" fmla="*/ 285840 w 647196"/>
                <a:gd name="connsiteY30" fmla="*/ 29912 h 408944"/>
                <a:gd name="connsiteX31" fmla="*/ 281318 w 647196"/>
                <a:gd name="connsiteY31" fmla="*/ 31798 h 408944"/>
                <a:gd name="connsiteX32" fmla="*/ 277788 w 647196"/>
                <a:gd name="connsiteY32" fmla="*/ 30734 h 408944"/>
                <a:gd name="connsiteX33" fmla="*/ 276796 w 647196"/>
                <a:gd name="connsiteY33" fmla="*/ 29912 h 408944"/>
                <a:gd name="connsiteX34" fmla="*/ 246885 w 647196"/>
                <a:gd name="connsiteY34" fmla="*/ 0 h 408944"/>
                <a:gd name="connsiteX35" fmla="*/ 159568 w 647196"/>
                <a:gd name="connsiteY35" fmla="*/ 0 h 408944"/>
                <a:gd name="connsiteX36" fmla="*/ 145399 w 647196"/>
                <a:gd name="connsiteY36" fmla="*/ 14146 h 408944"/>
                <a:gd name="connsiteX37" fmla="*/ 145399 w 647196"/>
                <a:gd name="connsiteY37" fmla="*/ 29234 h 408944"/>
                <a:gd name="connsiteX38" fmla="*/ 139039 w 647196"/>
                <a:gd name="connsiteY38" fmla="*/ 35594 h 408944"/>
                <a:gd name="connsiteX39" fmla="*/ 124676 w 647196"/>
                <a:gd name="connsiteY39" fmla="*/ 35594 h 408944"/>
                <a:gd name="connsiteX40" fmla="*/ 101631 w 647196"/>
                <a:gd name="connsiteY40" fmla="*/ 58662 h 408944"/>
                <a:gd name="connsiteX41" fmla="*/ 101631 w 647196"/>
                <a:gd name="connsiteY41" fmla="*/ 108257 h 408944"/>
                <a:gd name="connsiteX42" fmla="*/ 99770 w 647196"/>
                <a:gd name="connsiteY42" fmla="*/ 112755 h 408944"/>
                <a:gd name="connsiteX43" fmla="*/ 44928 w 647196"/>
                <a:gd name="connsiteY43" fmla="*/ 167596 h 408944"/>
                <a:gd name="connsiteX44" fmla="*/ 40430 w 647196"/>
                <a:gd name="connsiteY44" fmla="*/ 169458 h 408944"/>
                <a:gd name="connsiteX45" fmla="*/ 23649 w 647196"/>
                <a:gd name="connsiteY45" fmla="*/ 169458 h 408944"/>
                <a:gd name="connsiteX46" fmla="*/ 0 w 647196"/>
                <a:gd name="connsiteY46" fmla="*/ 193131 h 408944"/>
                <a:gd name="connsiteX47" fmla="*/ 127795 w 647196"/>
                <a:gd name="connsiteY47" fmla="*/ 193131 h 408944"/>
                <a:gd name="connsiteX48" fmla="*/ 132293 w 647196"/>
                <a:gd name="connsiteY48" fmla="*/ 194993 h 408944"/>
                <a:gd name="connsiteX49" fmla="*/ 165275 w 647196"/>
                <a:gd name="connsiteY49" fmla="*/ 227976 h 408944"/>
                <a:gd name="connsiteX50" fmla="*/ 218376 w 647196"/>
                <a:gd name="connsiteY50" fmla="*/ 227976 h 408944"/>
                <a:gd name="connsiteX51" fmla="*/ 222898 w 647196"/>
                <a:gd name="connsiteY51" fmla="*/ 229837 h 408944"/>
                <a:gd name="connsiteX52" fmla="*/ 247901 w 647196"/>
                <a:gd name="connsiteY52" fmla="*/ 254840 h 408944"/>
                <a:gd name="connsiteX53" fmla="*/ 249787 w 647196"/>
                <a:gd name="connsiteY53" fmla="*/ 259338 h 408944"/>
                <a:gd name="connsiteX54" fmla="*/ 249787 w 647196"/>
                <a:gd name="connsiteY54" fmla="*/ 310432 h 408944"/>
                <a:gd name="connsiteX55" fmla="*/ 273580 w 647196"/>
                <a:gd name="connsiteY55" fmla="*/ 334250 h 408944"/>
                <a:gd name="connsiteX56" fmla="*/ 275442 w 647196"/>
                <a:gd name="connsiteY56" fmla="*/ 338748 h 408944"/>
                <a:gd name="connsiteX57" fmla="*/ 275442 w 647196"/>
                <a:gd name="connsiteY57" fmla="*/ 362348 h 408944"/>
                <a:gd name="connsiteX58" fmla="*/ 317323 w 647196"/>
                <a:gd name="connsiteY58" fmla="*/ 362348 h 408944"/>
                <a:gd name="connsiteX59" fmla="*/ 321845 w 647196"/>
                <a:gd name="connsiteY59" fmla="*/ 364185 h 408944"/>
                <a:gd name="connsiteX60" fmla="*/ 366604 w 647196"/>
                <a:gd name="connsiteY60" fmla="*/ 408944 h 408944"/>
                <a:gd name="connsiteX61" fmla="*/ 493045 w 647196"/>
                <a:gd name="connsiteY61" fmla="*/ 282503 h 408944"/>
                <a:gd name="connsiteX62" fmla="*/ 497542 w 647196"/>
                <a:gd name="connsiteY62" fmla="*/ 280641 h 408944"/>
                <a:gd name="connsiteX63" fmla="*/ 538867 w 647196"/>
                <a:gd name="connsiteY63" fmla="*/ 280641 h 408944"/>
                <a:gd name="connsiteX64" fmla="*/ 543365 w 647196"/>
                <a:gd name="connsiteY64" fmla="*/ 282503 h 408944"/>
                <a:gd name="connsiteX65" fmla="*/ 550039 w 647196"/>
                <a:gd name="connsiteY65" fmla="*/ 289177 h 408944"/>
                <a:gd name="connsiteX66" fmla="*/ 550039 w 647196"/>
                <a:gd name="connsiteY66" fmla="*/ 281391 h 408944"/>
                <a:gd name="connsiteX67" fmla="*/ 551900 w 647196"/>
                <a:gd name="connsiteY67" fmla="*/ 276893 h 408944"/>
                <a:gd name="connsiteX68" fmla="*/ 597723 w 647196"/>
                <a:gd name="connsiteY68" fmla="*/ 231071 h 408944"/>
                <a:gd name="connsiteX69" fmla="*/ 602220 w 647196"/>
                <a:gd name="connsiteY69" fmla="*/ 229209 h 408944"/>
                <a:gd name="connsiteX70" fmla="*/ 630778 w 647196"/>
                <a:gd name="connsiteY70" fmla="*/ 229209 h 408944"/>
                <a:gd name="connsiteX71" fmla="*/ 647197 w 647196"/>
                <a:gd name="connsiteY71" fmla="*/ 212814 h 408944"/>
                <a:gd name="connsiteX72" fmla="*/ 641321 w 647196"/>
                <a:gd name="connsiteY72" fmla="*/ 206938 h 408944"/>
                <a:gd name="connsiteX73" fmla="*/ 633293 w 647196"/>
                <a:gd name="connsiteY73" fmla="*/ 214991 h 40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47196" h="408944">
                  <a:moveTo>
                    <a:pt x="633293" y="214991"/>
                  </a:moveTo>
                  <a:cubicBezTo>
                    <a:pt x="630802" y="217481"/>
                    <a:pt x="626764" y="217481"/>
                    <a:pt x="624297" y="214991"/>
                  </a:cubicBezTo>
                  <a:lnTo>
                    <a:pt x="603744" y="194461"/>
                  </a:lnTo>
                  <a:lnTo>
                    <a:pt x="589284" y="208921"/>
                  </a:lnTo>
                  <a:cubicBezTo>
                    <a:pt x="588099" y="210106"/>
                    <a:pt x="586479" y="210783"/>
                    <a:pt x="584762" y="210783"/>
                  </a:cubicBezTo>
                  <a:lnTo>
                    <a:pt x="542252" y="210783"/>
                  </a:lnTo>
                  <a:lnTo>
                    <a:pt x="524020" y="228967"/>
                  </a:lnTo>
                  <a:cubicBezTo>
                    <a:pt x="522835" y="230176"/>
                    <a:pt x="521215" y="230829"/>
                    <a:pt x="519522" y="230829"/>
                  </a:cubicBezTo>
                  <a:lnTo>
                    <a:pt x="480519" y="230829"/>
                  </a:lnTo>
                  <a:cubicBezTo>
                    <a:pt x="477448" y="230829"/>
                    <a:pt x="474885" y="228653"/>
                    <a:pt x="474304" y="225751"/>
                  </a:cubicBezTo>
                  <a:cubicBezTo>
                    <a:pt x="474208" y="225340"/>
                    <a:pt x="474159" y="224929"/>
                    <a:pt x="474159" y="224469"/>
                  </a:cubicBezTo>
                  <a:lnTo>
                    <a:pt x="474159" y="203384"/>
                  </a:lnTo>
                  <a:lnTo>
                    <a:pt x="448262" y="177511"/>
                  </a:lnTo>
                  <a:cubicBezTo>
                    <a:pt x="447077" y="176302"/>
                    <a:pt x="446400" y="174681"/>
                    <a:pt x="446400" y="172965"/>
                  </a:cubicBezTo>
                  <a:lnTo>
                    <a:pt x="446400" y="135025"/>
                  </a:lnTo>
                  <a:cubicBezTo>
                    <a:pt x="446400" y="133357"/>
                    <a:pt x="447077" y="131712"/>
                    <a:pt x="448262" y="130527"/>
                  </a:cubicBezTo>
                  <a:lnTo>
                    <a:pt x="458805" y="119985"/>
                  </a:lnTo>
                  <a:lnTo>
                    <a:pt x="417480" y="119985"/>
                  </a:lnTo>
                  <a:cubicBezTo>
                    <a:pt x="413974" y="119985"/>
                    <a:pt x="411120" y="117156"/>
                    <a:pt x="411120" y="113625"/>
                  </a:cubicBezTo>
                  <a:lnTo>
                    <a:pt x="411120" y="64708"/>
                  </a:lnTo>
                  <a:cubicBezTo>
                    <a:pt x="411120" y="63039"/>
                    <a:pt x="411773" y="61395"/>
                    <a:pt x="412982" y="60210"/>
                  </a:cubicBezTo>
                  <a:lnTo>
                    <a:pt x="420865" y="52351"/>
                  </a:lnTo>
                  <a:lnTo>
                    <a:pt x="415642" y="47128"/>
                  </a:lnTo>
                  <a:cubicBezTo>
                    <a:pt x="414457" y="45943"/>
                    <a:pt x="413804" y="44323"/>
                    <a:pt x="413804" y="42631"/>
                  </a:cubicBezTo>
                  <a:lnTo>
                    <a:pt x="413804" y="21424"/>
                  </a:lnTo>
                  <a:lnTo>
                    <a:pt x="397482" y="5102"/>
                  </a:lnTo>
                  <a:lnTo>
                    <a:pt x="374341" y="5102"/>
                  </a:lnTo>
                  <a:lnTo>
                    <a:pt x="366048" y="13396"/>
                  </a:lnTo>
                  <a:cubicBezTo>
                    <a:pt x="364863" y="14581"/>
                    <a:pt x="363242" y="15234"/>
                    <a:pt x="361550" y="15234"/>
                  </a:cubicBezTo>
                  <a:lnTo>
                    <a:pt x="300494" y="15234"/>
                  </a:lnTo>
                  <a:lnTo>
                    <a:pt x="285840" y="29912"/>
                  </a:lnTo>
                  <a:cubicBezTo>
                    <a:pt x="284583" y="31169"/>
                    <a:pt x="282963" y="31798"/>
                    <a:pt x="281318" y="31798"/>
                  </a:cubicBezTo>
                  <a:cubicBezTo>
                    <a:pt x="280085" y="31798"/>
                    <a:pt x="278852" y="31435"/>
                    <a:pt x="277788" y="30734"/>
                  </a:cubicBezTo>
                  <a:cubicBezTo>
                    <a:pt x="277425" y="30492"/>
                    <a:pt x="277111" y="30226"/>
                    <a:pt x="276796" y="29912"/>
                  </a:cubicBezTo>
                  <a:lnTo>
                    <a:pt x="246885" y="0"/>
                  </a:lnTo>
                  <a:lnTo>
                    <a:pt x="159568" y="0"/>
                  </a:lnTo>
                  <a:lnTo>
                    <a:pt x="145399" y="14146"/>
                  </a:lnTo>
                  <a:lnTo>
                    <a:pt x="145399" y="29234"/>
                  </a:lnTo>
                  <a:cubicBezTo>
                    <a:pt x="145399" y="32765"/>
                    <a:pt x="142545" y="35594"/>
                    <a:pt x="139039" y="35594"/>
                  </a:cubicBezTo>
                  <a:lnTo>
                    <a:pt x="124676" y="35594"/>
                  </a:lnTo>
                  <a:lnTo>
                    <a:pt x="101631" y="58662"/>
                  </a:lnTo>
                  <a:lnTo>
                    <a:pt x="101631" y="108257"/>
                  </a:lnTo>
                  <a:cubicBezTo>
                    <a:pt x="101631" y="109925"/>
                    <a:pt x="100979" y="111570"/>
                    <a:pt x="99770" y="112755"/>
                  </a:cubicBezTo>
                  <a:lnTo>
                    <a:pt x="44928" y="167596"/>
                  </a:lnTo>
                  <a:cubicBezTo>
                    <a:pt x="43719" y="168806"/>
                    <a:pt x="42123" y="169458"/>
                    <a:pt x="40430" y="169458"/>
                  </a:cubicBezTo>
                  <a:lnTo>
                    <a:pt x="23649" y="169458"/>
                  </a:lnTo>
                  <a:lnTo>
                    <a:pt x="0" y="193131"/>
                  </a:lnTo>
                  <a:lnTo>
                    <a:pt x="127795" y="193131"/>
                  </a:lnTo>
                  <a:cubicBezTo>
                    <a:pt x="129463" y="193131"/>
                    <a:pt x="131108" y="193784"/>
                    <a:pt x="132293" y="194993"/>
                  </a:cubicBezTo>
                  <a:lnTo>
                    <a:pt x="165275" y="227976"/>
                  </a:lnTo>
                  <a:lnTo>
                    <a:pt x="218376" y="227976"/>
                  </a:lnTo>
                  <a:cubicBezTo>
                    <a:pt x="220069" y="227976"/>
                    <a:pt x="221689" y="228629"/>
                    <a:pt x="222898" y="229837"/>
                  </a:cubicBezTo>
                  <a:lnTo>
                    <a:pt x="247901" y="254840"/>
                  </a:lnTo>
                  <a:cubicBezTo>
                    <a:pt x="249110" y="256049"/>
                    <a:pt x="249787" y="257645"/>
                    <a:pt x="249787" y="259338"/>
                  </a:cubicBezTo>
                  <a:lnTo>
                    <a:pt x="249787" y="310432"/>
                  </a:lnTo>
                  <a:lnTo>
                    <a:pt x="273580" y="334250"/>
                  </a:lnTo>
                  <a:cubicBezTo>
                    <a:pt x="274789" y="335459"/>
                    <a:pt x="275442" y="337055"/>
                    <a:pt x="275442" y="338748"/>
                  </a:cubicBezTo>
                  <a:lnTo>
                    <a:pt x="275442" y="362348"/>
                  </a:lnTo>
                  <a:lnTo>
                    <a:pt x="317323" y="362348"/>
                  </a:lnTo>
                  <a:cubicBezTo>
                    <a:pt x="319016" y="362348"/>
                    <a:pt x="320660" y="363001"/>
                    <a:pt x="321845" y="364185"/>
                  </a:cubicBezTo>
                  <a:lnTo>
                    <a:pt x="366604" y="408944"/>
                  </a:lnTo>
                  <a:lnTo>
                    <a:pt x="493045" y="282503"/>
                  </a:lnTo>
                  <a:cubicBezTo>
                    <a:pt x="494254" y="281294"/>
                    <a:pt x="495849" y="280641"/>
                    <a:pt x="497542" y="280641"/>
                  </a:cubicBezTo>
                  <a:lnTo>
                    <a:pt x="538867" y="280641"/>
                  </a:lnTo>
                  <a:cubicBezTo>
                    <a:pt x="540535" y="280641"/>
                    <a:pt x="542156" y="281294"/>
                    <a:pt x="543365" y="282503"/>
                  </a:cubicBezTo>
                  <a:lnTo>
                    <a:pt x="550039" y="289177"/>
                  </a:lnTo>
                  <a:lnTo>
                    <a:pt x="550039" y="281391"/>
                  </a:lnTo>
                  <a:cubicBezTo>
                    <a:pt x="550039" y="279722"/>
                    <a:pt x="550691" y="278078"/>
                    <a:pt x="551900" y="276893"/>
                  </a:cubicBezTo>
                  <a:lnTo>
                    <a:pt x="597723" y="231071"/>
                  </a:lnTo>
                  <a:cubicBezTo>
                    <a:pt x="598908" y="229886"/>
                    <a:pt x="600528" y="229209"/>
                    <a:pt x="602220" y="229209"/>
                  </a:cubicBezTo>
                  <a:lnTo>
                    <a:pt x="630778" y="229209"/>
                  </a:lnTo>
                  <a:lnTo>
                    <a:pt x="647197" y="212814"/>
                  </a:lnTo>
                  <a:lnTo>
                    <a:pt x="641321" y="206938"/>
                  </a:lnTo>
                  <a:lnTo>
                    <a:pt x="633293" y="21499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7" name="Forma Livre: Forma 46">
              <a:extLst>
                <a:ext uri="{FF2B5EF4-FFF2-40B4-BE49-F238E27FC236}">
                  <a16:creationId xmlns:a16="http://schemas.microsoft.com/office/drawing/2014/main" id="{B10CD87A-94D6-86E1-BCA9-D22C9F2A118D}"/>
                </a:ext>
              </a:extLst>
            </p:cNvPr>
            <p:cNvSpPr/>
            <p:nvPr>
              <p:custDataLst>
                <p:tags r:id="rId129"/>
              </p:custDataLst>
            </p:nvPr>
          </p:nvSpPr>
          <p:spPr>
            <a:xfrm>
              <a:off x="5235636" y="2657661"/>
              <a:ext cx="258757" cy="144794"/>
            </a:xfrm>
            <a:custGeom>
              <a:avLst/>
              <a:gdLst>
                <a:gd name="connsiteX0" fmla="*/ 200337 w 258757"/>
                <a:gd name="connsiteY0" fmla="*/ 18837 h 144794"/>
                <a:gd name="connsiteX1" fmla="*/ 200337 w 258757"/>
                <a:gd name="connsiteY1" fmla="*/ 0 h 144794"/>
                <a:gd name="connsiteX2" fmla="*/ 180557 w 258757"/>
                <a:gd name="connsiteY2" fmla="*/ 19780 h 144794"/>
                <a:gd name="connsiteX3" fmla="*/ 180557 w 258757"/>
                <a:gd name="connsiteY3" fmla="*/ 32257 h 144794"/>
                <a:gd name="connsiteX4" fmla="*/ 178695 w 258757"/>
                <a:gd name="connsiteY4" fmla="*/ 36755 h 144794"/>
                <a:gd name="connsiteX5" fmla="*/ 128593 w 258757"/>
                <a:gd name="connsiteY5" fmla="*/ 86881 h 144794"/>
                <a:gd name="connsiteX6" fmla="*/ 124047 w 258757"/>
                <a:gd name="connsiteY6" fmla="*/ 88743 h 144794"/>
                <a:gd name="connsiteX7" fmla="*/ 77185 w 258757"/>
                <a:gd name="connsiteY7" fmla="*/ 88743 h 144794"/>
                <a:gd name="connsiteX8" fmla="*/ 67658 w 258757"/>
                <a:gd name="connsiteY8" fmla="*/ 98270 h 144794"/>
                <a:gd name="connsiteX9" fmla="*/ 63136 w 258757"/>
                <a:gd name="connsiteY9" fmla="*/ 100132 h 144794"/>
                <a:gd name="connsiteX10" fmla="*/ 12598 w 258757"/>
                <a:gd name="connsiteY10" fmla="*/ 100132 h 144794"/>
                <a:gd name="connsiteX11" fmla="*/ 0 w 258757"/>
                <a:gd name="connsiteY11" fmla="*/ 112755 h 144794"/>
                <a:gd name="connsiteX12" fmla="*/ 8101 w 258757"/>
                <a:gd name="connsiteY12" fmla="*/ 120831 h 144794"/>
                <a:gd name="connsiteX13" fmla="*/ 16080 w 258757"/>
                <a:gd name="connsiteY13" fmla="*/ 112803 h 144794"/>
                <a:gd name="connsiteX14" fmla="*/ 25075 w 258757"/>
                <a:gd name="connsiteY14" fmla="*/ 112803 h 144794"/>
                <a:gd name="connsiteX15" fmla="*/ 39947 w 258757"/>
                <a:gd name="connsiteY15" fmla="*/ 127674 h 144794"/>
                <a:gd name="connsiteX16" fmla="*/ 41784 w 258757"/>
                <a:gd name="connsiteY16" fmla="*/ 132196 h 144794"/>
                <a:gd name="connsiteX17" fmla="*/ 39947 w 258757"/>
                <a:gd name="connsiteY17" fmla="*/ 136694 h 144794"/>
                <a:gd name="connsiteX18" fmla="*/ 39414 w 258757"/>
                <a:gd name="connsiteY18" fmla="*/ 137226 h 144794"/>
                <a:gd name="connsiteX19" fmla="*/ 67754 w 258757"/>
                <a:gd name="connsiteY19" fmla="*/ 137226 h 144794"/>
                <a:gd name="connsiteX20" fmla="*/ 72276 w 258757"/>
                <a:gd name="connsiteY20" fmla="*/ 139063 h 144794"/>
                <a:gd name="connsiteX21" fmla="*/ 77983 w 258757"/>
                <a:gd name="connsiteY21" fmla="*/ 144794 h 144794"/>
                <a:gd name="connsiteX22" fmla="*/ 101656 w 258757"/>
                <a:gd name="connsiteY22" fmla="*/ 121145 h 144794"/>
                <a:gd name="connsiteX23" fmla="*/ 106177 w 258757"/>
                <a:gd name="connsiteY23" fmla="*/ 119284 h 144794"/>
                <a:gd name="connsiteX24" fmla="*/ 118268 w 258757"/>
                <a:gd name="connsiteY24" fmla="*/ 119284 h 144794"/>
                <a:gd name="connsiteX25" fmla="*/ 124627 w 258757"/>
                <a:gd name="connsiteY25" fmla="*/ 125643 h 144794"/>
                <a:gd name="connsiteX26" fmla="*/ 124627 w 258757"/>
                <a:gd name="connsiteY26" fmla="*/ 139716 h 144794"/>
                <a:gd name="connsiteX27" fmla="*/ 186603 w 258757"/>
                <a:gd name="connsiteY27" fmla="*/ 139716 h 144794"/>
                <a:gd name="connsiteX28" fmla="*/ 186603 w 258757"/>
                <a:gd name="connsiteY28" fmla="*/ 119356 h 144794"/>
                <a:gd name="connsiteX29" fmla="*/ 188464 w 258757"/>
                <a:gd name="connsiteY29" fmla="*/ 114858 h 144794"/>
                <a:gd name="connsiteX30" fmla="*/ 216393 w 258757"/>
                <a:gd name="connsiteY30" fmla="*/ 86905 h 144794"/>
                <a:gd name="connsiteX31" fmla="*/ 220891 w 258757"/>
                <a:gd name="connsiteY31" fmla="*/ 85068 h 144794"/>
                <a:gd name="connsiteX32" fmla="*/ 244128 w 258757"/>
                <a:gd name="connsiteY32" fmla="*/ 85068 h 144794"/>
                <a:gd name="connsiteX33" fmla="*/ 258758 w 258757"/>
                <a:gd name="connsiteY33" fmla="*/ 70438 h 144794"/>
                <a:gd name="connsiteX34" fmla="*/ 258758 w 258757"/>
                <a:gd name="connsiteY34" fmla="*/ 25196 h 144794"/>
                <a:gd name="connsiteX35" fmla="*/ 206745 w 258757"/>
                <a:gd name="connsiteY35" fmla="*/ 25196 h 144794"/>
                <a:gd name="connsiteX36" fmla="*/ 200337 w 258757"/>
                <a:gd name="connsiteY36" fmla="*/ 18837 h 14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8757" h="144794">
                  <a:moveTo>
                    <a:pt x="200337" y="18837"/>
                  </a:moveTo>
                  <a:lnTo>
                    <a:pt x="200337" y="0"/>
                  </a:lnTo>
                  <a:lnTo>
                    <a:pt x="180557" y="19780"/>
                  </a:lnTo>
                  <a:lnTo>
                    <a:pt x="180557" y="32257"/>
                  </a:lnTo>
                  <a:cubicBezTo>
                    <a:pt x="180557" y="33926"/>
                    <a:pt x="179904" y="35570"/>
                    <a:pt x="178695" y="36755"/>
                  </a:cubicBezTo>
                  <a:lnTo>
                    <a:pt x="128593" y="86881"/>
                  </a:lnTo>
                  <a:cubicBezTo>
                    <a:pt x="127384" y="88066"/>
                    <a:pt x="125788" y="88743"/>
                    <a:pt x="124047" y="88743"/>
                  </a:cubicBezTo>
                  <a:lnTo>
                    <a:pt x="77185" y="88743"/>
                  </a:lnTo>
                  <a:lnTo>
                    <a:pt x="67658" y="98270"/>
                  </a:lnTo>
                  <a:cubicBezTo>
                    <a:pt x="66449" y="99480"/>
                    <a:pt x="64853" y="100132"/>
                    <a:pt x="63136" y="100132"/>
                  </a:cubicBezTo>
                  <a:lnTo>
                    <a:pt x="12598" y="100132"/>
                  </a:lnTo>
                  <a:lnTo>
                    <a:pt x="0" y="112755"/>
                  </a:lnTo>
                  <a:lnTo>
                    <a:pt x="8101" y="120831"/>
                  </a:lnTo>
                  <a:lnTo>
                    <a:pt x="16080" y="112803"/>
                  </a:lnTo>
                  <a:cubicBezTo>
                    <a:pt x="18571" y="110312"/>
                    <a:pt x="22609" y="110312"/>
                    <a:pt x="25075" y="112803"/>
                  </a:cubicBezTo>
                  <a:lnTo>
                    <a:pt x="39947" y="127674"/>
                  </a:lnTo>
                  <a:cubicBezTo>
                    <a:pt x="41131" y="128883"/>
                    <a:pt x="41784" y="130503"/>
                    <a:pt x="41784" y="132196"/>
                  </a:cubicBezTo>
                  <a:cubicBezTo>
                    <a:pt x="41784" y="133889"/>
                    <a:pt x="41131" y="135485"/>
                    <a:pt x="39947" y="136694"/>
                  </a:cubicBezTo>
                  <a:lnTo>
                    <a:pt x="39414" y="137226"/>
                  </a:lnTo>
                  <a:lnTo>
                    <a:pt x="67754" y="137226"/>
                  </a:lnTo>
                  <a:cubicBezTo>
                    <a:pt x="69423" y="137226"/>
                    <a:pt x="71067" y="137878"/>
                    <a:pt x="72276" y="139063"/>
                  </a:cubicBezTo>
                  <a:lnTo>
                    <a:pt x="77983" y="144794"/>
                  </a:lnTo>
                  <a:lnTo>
                    <a:pt x="101656" y="121145"/>
                  </a:lnTo>
                  <a:cubicBezTo>
                    <a:pt x="102840" y="119936"/>
                    <a:pt x="104461" y="119284"/>
                    <a:pt x="106177" y="119284"/>
                  </a:cubicBezTo>
                  <a:lnTo>
                    <a:pt x="118268" y="119284"/>
                  </a:lnTo>
                  <a:cubicBezTo>
                    <a:pt x="121774" y="119284"/>
                    <a:pt x="124627" y="122113"/>
                    <a:pt x="124627" y="125643"/>
                  </a:cubicBezTo>
                  <a:lnTo>
                    <a:pt x="124627" y="139716"/>
                  </a:lnTo>
                  <a:lnTo>
                    <a:pt x="186603" y="139716"/>
                  </a:lnTo>
                  <a:lnTo>
                    <a:pt x="186603" y="119356"/>
                  </a:lnTo>
                  <a:cubicBezTo>
                    <a:pt x="186603" y="117688"/>
                    <a:pt x="187255" y="116043"/>
                    <a:pt x="188464" y="114858"/>
                  </a:cubicBezTo>
                  <a:lnTo>
                    <a:pt x="216393" y="86905"/>
                  </a:lnTo>
                  <a:cubicBezTo>
                    <a:pt x="217578" y="85721"/>
                    <a:pt x="219198" y="85068"/>
                    <a:pt x="220891" y="85068"/>
                  </a:cubicBezTo>
                  <a:lnTo>
                    <a:pt x="244128" y="85068"/>
                  </a:lnTo>
                  <a:lnTo>
                    <a:pt x="258758" y="70438"/>
                  </a:lnTo>
                  <a:lnTo>
                    <a:pt x="258758" y="25196"/>
                  </a:lnTo>
                  <a:lnTo>
                    <a:pt x="206745" y="25196"/>
                  </a:lnTo>
                  <a:cubicBezTo>
                    <a:pt x="203190" y="25196"/>
                    <a:pt x="200337" y="22343"/>
                    <a:pt x="200337" y="18837"/>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8" name="Forma Livre: Forma 47">
              <a:extLst>
                <a:ext uri="{FF2B5EF4-FFF2-40B4-BE49-F238E27FC236}">
                  <a16:creationId xmlns:a16="http://schemas.microsoft.com/office/drawing/2014/main" id="{61952E51-C9B1-EC35-8A93-10FA78C7D7DA}"/>
                </a:ext>
              </a:extLst>
            </p:cNvPr>
            <p:cNvSpPr/>
            <p:nvPr>
              <p:custDataLst>
                <p:tags r:id="rId130"/>
              </p:custDataLst>
            </p:nvPr>
          </p:nvSpPr>
          <p:spPr>
            <a:xfrm>
              <a:off x="5448716" y="2422528"/>
              <a:ext cx="142617" cy="247634"/>
            </a:xfrm>
            <a:custGeom>
              <a:avLst/>
              <a:gdLst>
                <a:gd name="connsiteX0" fmla="*/ 75250 w 142617"/>
                <a:gd name="connsiteY0" fmla="*/ 0 h 247634"/>
                <a:gd name="connsiteX1" fmla="*/ 45484 w 142617"/>
                <a:gd name="connsiteY1" fmla="*/ 29767 h 247634"/>
                <a:gd name="connsiteX2" fmla="*/ 62120 w 142617"/>
                <a:gd name="connsiteY2" fmla="*/ 46403 h 247634"/>
                <a:gd name="connsiteX3" fmla="*/ 63958 w 142617"/>
                <a:gd name="connsiteY3" fmla="*/ 50900 h 247634"/>
                <a:gd name="connsiteX4" fmla="*/ 62120 w 142617"/>
                <a:gd name="connsiteY4" fmla="*/ 55398 h 247634"/>
                <a:gd name="connsiteX5" fmla="*/ 52351 w 142617"/>
                <a:gd name="connsiteY5" fmla="*/ 65167 h 247634"/>
                <a:gd name="connsiteX6" fmla="*/ 69761 w 142617"/>
                <a:gd name="connsiteY6" fmla="*/ 82577 h 247634"/>
                <a:gd name="connsiteX7" fmla="*/ 71647 w 142617"/>
                <a:gd name="connsiteY7" fmla="*/ 87075 h 247634"/>
                <a:gd name="connsiteX8" fmla="*/ 71647 w 142617"/>
                <a:gd name="connsiteY8" fmla="*/ 110530 h 247634"/>
                <a:gd name="connsiteX9" fmla="*/ 69761 w 142617"/>
                <a:gd name="connsiteY9" fmla="*/ 115028 h 247634"/>
                <a:gd name="connsiteX10" fmla="*/ 51964 w 142617"/>
                <a:gd name="connsiteY10" fmla="*/ 132849 h 247634"/>
                <a:gd name="connsiteX11" fmla="*/ 51964 w 142617"/>
                <a:gd name="connsiteY11" fmla="*/ 152991 h 247634"/>
                <a:gd name="connsiteX12" fmla="*/ 50102 w 142617"/>
                <a:gd name="connsiteY12" fmla="*/ 157489 h 247634"/>
                <a:gd name="connsiteX13" fmla="*/ 25245 w 142617"/>
                <a:gd name="connsiteY13" fmla="*/ 182371 h 247634"/>
                <a:gd name="connsiteX14" fmla="*/ 20723 w 142617"/>
                <a:gd name="connsiteY14" fmla="*/ 184233 h 247634"/>
                <a:gd name="connsiteX15" fmla="*/ 0 w 142617"/>
                <a:gd name="connsiteY15" fmla="*/ 184233 h 247634"/>
                <a:gd name="connsiteX16" fmla="*/ 0 w 142617"/>
                <a:gd name="connsiteY16" fmla="*/ 219827 h 247634"/>
                <a:gd name="connsiteX17" fmla="*/ 0 w 142617"/>
                <a:gd name="connsiteY17" fmla="*/ 247635 h 247634"/>
                <a:gd name="connsiteX18" fmla="*/ 52013 w 142617"/>
                <a:gd name="connsiteY18" fmla="*/ 247635 h 247634"/>
                <a:gd name="connsiteX19" fmla="*/ 60984 w 142617"/>
                <a:gd name="connsiteY19" fmla="*/ 247635 h 247634"/>
                <a:gd name="connsiteX20" fmla="*/ 60984 w 142617"/>
                <a:gd name="connsiteY20" fmla="*/ 227710 h 247634"/>
                <a:gd name="connsiteX21" fmla="*/ 62846 w 142617"/>
                <a:gd name="connsiteY21" fmla="*/ 223212 h 247634"/>
                <a:gd name="connsiteX22" fmla="*/ 105379 w 142617"/>
                <a:gd name="connsiteY22" fmla="*/ 180678 h 247634"/>
                <a:gd name="connsiteX23" fmla="*/ 105379 w 142617"/>
                <a:gd name="connsiteY23" fmla="*/ 155748 h 247634"/>
                <a:gd name="connsiteX24" fmla="*/ 107217 w 142617"/>
                <a:gd name="connsiteY24" fmla="*/ 151226 h 247634"/>
                <a:gd name="connsiteX25" fmla="*/ 142618 w 142617"/>
                <a:gd name="connsiteY25" fmla="*/ 115826 h 247634"/>
                <a:gd name="connsiteX26" fmla="*/ 142618 w 142617"/>
                <a:gd name="connsiteY26" fmla="*/ 32426 h 247634"/>
                <a:gd name="connsiteX27" fmla="*/ 110216 w 142617"/>
                <a:gd name="connsiteY27" fmla="*/ 24 h 247634"/>
                <a:gd name="connsiteX28" fmla="*/ 75250 w 142617"/>
                <a:gd name="connsiteY28" fmla="*/ 24 h 24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2617" h="247634">
                  <a:moveTo>
                    <a:pt x="75250" y="0"/>
                  </a:moveTo>
                  <a:lnTo>
                    <a:pt x="45484" y="29767"/>
                  </a:lnTo>
                  <a:lnTo>
                    <a:pt x="62120" y="46403"/>
                  </a:lnTo>
                  <a:cubicBezTo>
                    <a:pt x="63305" y="47588"/>
                    <a:pt x="63958" y="49208"/>
                    <a:pt x="63958" y="50900"/>
                  </a:cubicBezTo>
                  <a:cubicBezTo>
                    <a:pt x="63958" y="52593"/>
                    <a:pt x="63305" y="54213"/>
                    <a:pt x="62120" y="55398"/>
                  </a:cubicBezTo>
                  <a:lnTo>
                    <a:pt x="52351" y="65167"/>
                  </a:lnTo>
                  <a:lnTo>
                    <a:pt x="69761" y="82577"/>
                  </a:lnTo>
                  <a:cubicBezTo>
                    <a:pt x="70970" y="83762"/>
                    <a:pt x="71647" y="85382"/>
                    <a:pt x="71647" y="87075"/>
                  </a:cubicBezTo>
                  <a:lnTo>
                    <a:pt x="71647" y="110530"/>
                  </a:lnTo>
                  <a:cubicBezTo>
                    <a:pt x="71647" y="112198"/>
                    <a:pt x="70970" y="113819"/>
                    <a:pt x="69761" y="115028"/>
                  </a:cubicBezTo>
                  <a:lnTo>
                    <a:pt x="51964" y="132849"/>
                  </a:lnTo>
                  <a:lnTo>
                    <a:pt x="51964" y="152991"/>
                  </a:lnTo>
                  <a:cubicBezTo>
                    <a:pt x="51964" y="154660"/>
                    <a:pt x="51287" y="156304"/>
                    <a:pt x="50102" y="157489"/>
                  </a:cubicBezTo>
                  <a:lnTo>
                    <a:pt x="25245" y="182371"/>
                  </a:lnTo>
                  <a:cubicBezTo>
                    <a:pt x="24036" y="183580"/>
                    <a:pt x="22440" y="184233"/>
                    <a:pt x="20723" y="184233"/>
                  </a:cubicBezTo>
                  <a:lnTo>
                    <a:pt x="0" y="184233"/>
                  </a:lnTo>
                  <a:lnTo>
                    <a:pt x="0" y="219827"/>
                  </a:lnTo>
                  <a:lnTo>
                    <a:pt x="0" y="247635"/>
                  </a:lnTo>
                  <a:lnTo>
                    <a:pt x="52013" y="247635"/>
                  </a:lnTo>
                  <a:lnTo>
                    <a:pt x="60984" y="247635"/>
                  </a:lnTo>
                  <a:lnTo>
                    <a:pt x="60984" y="227710"/>
                  </a:lnTo>
                  <a:cubicBezTo>
                    <a:pt x="60984" y="226041"/>
                    <a:pt x="61637" y="224397"/>
                    <a:pt x="62846" y="223212"/>
                  </a:cubicBezTo>
                  <a:lnTo>
                    <a:pt x="105379" y="180678"/>
                  </a:lnTo>
                  <a:lnTo>
                    <a:pt x="105379" y="155748"/>
                  </a:lnTo>
                  <a:cubicBezTo>
                    <a:pt x="105379" y="154055"/>
                    <a:pt x="106032" y="152435"/>
                    <a:pt x="107217" y="151226"/>
                  </a:cubicBezTo>
                  <a:lnTo>
                    <a:pt x="142618" y="115826"/>
                  </a:lnTo>
                  <a:lnTo>
                    <a:pt x="142618" y="32426"/>
                  </a:lnTo>
                  <a:lnTo>
                    <a:pt x="110216" y="24"/>
                  </a:lnTo>
                  <a:lnTo>
                    <a:pt x="75250" y="24"/>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49" name="Forma Livre: Forma 48">
              <a:extLst>
                <a:ext uri="{FF2B5EF4-FFF2-40B4-BE49-F238E27FC236}">
                  <a16:creationId xmlns:a16="http://schemas.microsoft.com/office/drawing/2014/main" id="{0A5B633D-C5D5-A497-05B2-1377B64A97F3}"/>
                </a:ext>
              </a:extLst>
            </p:cNvPr>
            <p:cNvSpPr/>
            <p:nvPr>
              <p:custDataLst>
                <p:tags r:id="rId131"/>
              </p:custDataLst>
            </p:nvPr>
          </p:nvSpPr>
          <p:spPr>
            <a:xfrm>
              <a:off x="5079138" y="1688668"/>
              <a:ext cx="676068" cy="754631"/>
            </a:xfrm>
            <a:custGeom>
              <a:avLst/>
              <a:gdLst>
                <a:gd name="connsiteX0" fmla="*/ 652565 w 676068"/>
                <a:gd name="connsiteY0" fmla="*/ 247973 h 754631"/>
                <a:gd name="connsiteX1" fmla="*/ 604759 w 676068"/>
                <a:gd name="connsiteY1" fmla="*/ 200168 h 754631"/>
                <a:gd name="connsiteX2" fmla="*/ 602897 w 676068"/>
                <a:gd name="connsiteY2" fmla="*/ 195670 h 754631"/>
                <a:gd name="connsiteX3" fmla="*/ 604759 w 676068"/>
                <a:gd name="connsiteY3" fmla="*/ 191173 h 754631"/>
                <a:gd name="connsiteX4" fmla="*/ 629883 w 676068"/>
                <a:gd name="connsiteY4" fmla="*/ 166049 h 754631"/>
                <a:gd name="connsiteX5" fmla="*/ 634381 w 676068"/>
                <a:gd name="connsiteY5" fmla="*/ 164187 h 754631"/>
                <a:gd name="connsiteX6" fmla="*/ 650703 w 676068"/>
                <a:gd name="connsiteY6" fmla="*/ 164187 h 754631"/>
                <a:gd name="connsiteX7" fmla="*/ 650703 w 676068"/>
                <a:gd name="connsiteY7" fmla="*/ 124942 h 754631"/>
                <a:gd name="connsiteX8" fmla="*/ 645722 w 676068"/>
                <a:gd name="connsiteY8" fmla="*/ 124942 h 754631"/>
                <a:gd name="connsiteX9" fmla="*/ 639483 w 676068"/>
                <a:gd name="connsiteY9" fmla="*/ 119864 h 754631"/>
                <a:gd name="connsiteX10" fmla="*/ 639338 w 676068"/>
                <a:gd name="connsiteY10" fmla="*/ 118582 h 754631"/>
                <a:gd name="connsiteX11" fmla="*/ 639338 w 676068"/>
                <a:gd name="connsiteY11" fmla="*/ 82142 h 754631"/>
                <a:gd name="connsiteX12" fmla="*/ 629206 w 676068"/>
                <a:gd name="connsiteY12" fmla="*/ 72010 h 754631"/>
                <a:gd name="connsiteX13" fmla="*/ 557172 w 676068"/>
                <a:gd name="connsiteY13" fmla="*/ 0 h 754631"/>
                <a:gd name="connsiteX14" fmla="*/ 462794 w 676068"/>
                <a:gd name="connsiteY14" fmla="*/ 94401 h 754631"/>
                <a:gd name="connsiteX15" fmla="*/ 458273 w 676068"/>
                <a:gd name="connsiteY15" fmla="*/ 96263 h 754631"/>
                <a:gd name="connsiteX16" fmla="*/ 453775 w 676068"/>
                <a:gd name="connsiteY16" fmla="*/ 94401 h 754631"/>
                <a:gd name="connsiteX17" fmla="*/ 443377 w 676068"/>
                <a:gd name="connsiteY17" fmla="*/ 84028 h 754631"/>
                <a:gd name="connsiteX18" fmla="*/ 441540 w 676068"/>
                <a:gd name="connsiteY18" fmla="*/ 79530 h 754631"/>
                <a:gd name="connsiteX19" fmla="*/ 441540 w 676068"/>
                <a:gd name="connsiteY19" fmla="*/ 58517 h 754631"/>
                <a:gd name="connsiteX20" fmla="*/ 405003 w 676068"/>
                <a:gd name="connsiteY20" fmla="*/ 22004 h 754631"/>
                <a:gd name="connsiteX21" fmla="*/ 361211 w 676068"/>
                <a:gd name="connsiteY21" fmla="*/ 65772 h 754631"/>
                <a:gd name="connsiteX22" fmla="*/ 357971 w 676068"/>
                <a:gd name="connsiteY22" fmla="*/ 67513 h 754631"/>
                <a:gd name="connsiteX23" fmla="*/ 356714 w 676068"/>
                <a:gd name="connsiteY23" fmla="*/ 67633 h 754631"/>
                <a:gd name="connsiteX24" fmla="*/ 339956 w 676068"/>
                <a:gd name="connsiteY24" fmla="*/ 67633 h 754631"/>
                <a:gd name="connsiteX25" fmla="*/ 306224 w 676068"/>
                <a:gd name="connsiteY25" fmla="*/ 101390 h 754631"/>
                <a:gd name="connsiteX26" fmla="*/ 304121 w 676068"/>
                <a:gd name="connsiteY26" fmla="*/ 102792 h 754631"/>
                <a:gd name="connsiteX27" fmla="*/ 298221 w 676068"/>
                <a:gd name="connsiteY27" fmla="*/ 102212 h 754631"/>
                <a:gd name="connsiteX28" fmla="*/ 297229 w 676068"/>
                <a:gd name="connsiteY28" fmla="*/ 101414 h 754631"/>
                <a:gd name="connsiteX29" fmla="*/ 254961 w 676068"/>
                <a:gd name="connsiteY29" fmla="*/ 59146 h 754631"/>
                <a:gd name="connsiteX30" fmla="*/ 223672 w 676068"/>
                <a:gd name="connsiteY30" fmla="*/ 90436 h 754631"/>
                <a:gd name="connsiteX31" fmla="*/ 245918 w 676068"/>
                <a:gd name="connsiteY31" fmla="*/ 112682 h 754631"/>
                <a:gd name="connsiteX32" fmla="*/ 247780 w 676068"/>
                <a:gd name="connsiteY32" fmla="*/ 117204 h 754631"/>
                <a:gd name="connsiteX33" fmla="*/ 245918 w 676068"/>
                <a:gd name="connsiteY33" fmla="*/ 121701 h 754631"/>
                <a:gd name="connsiteX34" fmla="*/ 192575 w 676068"/>
                <a:gd name="connsiteY34" fmla="*/ 175020 h 754631"/>
                <a:gd name="connsiteX35" fmla="*/ 188078 w 676068"/>
                <a:gd name="connsiteY35" fmla="*/ 176906 h 754631"/>
                <a:gd name="connsiteX36" fmla="*/ 155724 w 676068"/>
                <a:gd name="connsiteY36" fmla="*/ 176906 h 754631"/>
                <a:gd name="connsiteX37" fmla="*/ 131374 w 676068"/>
                <a:gd name="connsiteY37" fmla="*/ 201256 h 754631"/>
                <a:gd name="connsiteX38" fmla="*/ 130382 w 676068"/>
                <a:gd name="connsiteY38" fmla="*/ 202054 h 754631"/>
                <a:gd name="connsiteX39" fmla="*/ 126876 w 676068"/>
                <a:gd name="connsiteY39" fmla="*/ 203118 h 754631"/>
                <a:gd name="connsiteX40" fmla="*/ 123370 w 676068"/>
                <a:gd name="connsiteY40" fmla="*/ 202054 h 754631"/>
                <a:gd name="connsiteX41" fmla="*/ 122354 w 676068"/>
                <a:gd name="connsiteY41" fmla="*/ 201256 h 754631"/>
                <a:gd name="connsiteX42" fmla="*/ 65602 w 676068"/>
                <a:gd name="connsiteY42" fmla="*/ 144504 h 754631"/>
                <a:gd name="connsiteX43" fmla="*/ 0 w 676068"/>
                <a:gd name="connsiteY43" fmla="*/ 210082 h 754631"/>
                <a:gd name="connsiteX44" fmla="*/ 33369 w 676068"/>
                <a:gd name="connsiteY44" fmla="*/ 243427 h 754631"/>
                <a:gd name="connsiteX45" fmla="*/ 35086 w 676068"/>
                <a:gd name="connsiteY45" fmla="*/ 246667 h 754631"/>
                <a:gd name="connsiteX46" fmla="*/ 35231 w 676068"/>
                <a:gd name="connsiteY46" fmla="*/ 247901 h 754631"/>
                <a:gd name="connsiteX47" fmla="*/ 35231 w 676068"/>
                <a:gd name="connsiteY47" fmla="*/ 345155 h 754631"/>
                <a:gd name="connsiteX48" fmla="*/ 35231 w 676068"/>
                <a:gd name="connsiteY48" fmla="*/ 428555 h 754631"/>
                <a:gd name="connsiteX49" fmla="*/ 54262 w 676068"/>
                <a:gd name="connsiteY49" fmla="*/ 447609 h 754631"/>
                <a:gd name="connsiteX50" fmla="*/ 56123 w 676068"/>
                <a:gd name="connsiteY50" fmla="*/ 452107 h 754631"/>
                <a:gd name="connsiteX51" fmla="*/ 56123 w 676068"/>
                <a:gd name="connsiteY51" fmla="*/ 482719 h 754631"/>
                <a:gd name="connsiteX52" fmla="*/ 56123 w 676068"/>
                <a:gd name="connsiteY52" fmla="*/ 512679 h 754631"/>
                <a:gd name="connsiteX53" fmla="*/ 76677 w 676068"/>
                <a:gd name="connsiteY53" fmla="*/ 512679 h 754631"/>
                <a:gd name="connsiteX54" fmla="*/ 154708 w 676068"/>
                <a:gd name="connsiteY54" fmla="*/ 434624 h 754631"/>
                <a:gd name="connsiteX55" fmla="*/ 159230 w 676068"/>
                <a:gd name="connsiteY55" fmla="*/ 432762 h 754631"/>
                <a:gd name="connsiteX56" fmla="*/ 219537 w 676068"/>
                <a:gd name="connsiteY56" fmla="*/ 432762 h 754631"/>
                <a:gd name="connsiteX57" fmla="*/ 225775 w 676068"/>
                <a:gd name="connsiteY57" fmla="*/ 437840 h 754631"/>
                <a:gd name="connsiteX58" fmla="*/ 225896 w 676068"/>
                <a:gd name="connsiteY58" fmla="*/ 439122 h 754631"/>
                <a:gd name="connsiteX59" fmla="*/ 225896 w 676068"/>
                <a:gd name="connsiteY59" fmla="*/ 474740 h 754631"/>
                <a:gd name="connsiteX60" fmla="*/ 241807 w 676068"/>
                <a:gd name="connsiteY60" fmla="*/ 490626 h 754631"/>
                <a:gd name="connsiteX61" fmla="*/ 259435 w 676068"/>
                <a:gd name="connsiteY61" fmla="*/ 473023 h 754631"/>
                <a:gd name="connsiteX62" fmla="*/ 268430 w 676068"/>
                <a:gd name="connsiteY62" fmla="*/ 473023 h 754631"/>
                <a:gd name="connsiteX63" fmla="*/ 321458 w 676068"/>
                <a:gd name="connsiteY63" fmla="*/ 526051 h 754631"/>
                <a:gd name="connsiteX64" fmla="*/ 344817 w 676068"/>
                <a:gd name="connsiteY64" fmla="*/ 502717 h 754631"/>
                <a:gd name="connsiteX65" fmla="*/ 353812 w 676068"/>
                <a:gd name="connsiteY65" fmla="*/ 502717 h 754631"/>
                <a:gd name="connsiteX66" fmla="*/ 391461 w 676068"/>
                <a:gd name="connsiteY66" fmla="*/ 540366 h 754631"/>
                <a:gd name="connsiteX67" fmla="*/ 393323 w 676068"/>
                <a:gd name="connsiteY67" fmla="*/ 544864 h 754631"/>
                <a:gd name="connsiteX68" fmla="*/ 393323 w 676068"/>
                <a:gd name="connsiteY68" fmla="*/ 555068 h 754631"/>
                <a:gd name="connsiteX69" fmla="*/ 480906 w 676068"/>
                <a:gd name="connsiteY69" fmla="*/ 555068 h 754631"/>
                <a:gd name="connsiteX70" fmla="*/ 485428 w 676068"/>
                <a:gd name="connsiteY70" fmla="*/ 556930 h 754631"/>
                <a:gd name="connsiteX71" fmla="*/ 515267 w 676068"/>
                <a:gd name="connsiteY71" fmla="*/ 586793 h 754631"/>
                <a:gd name="connsiteX72" fmla="*/ 516065 w 676068"/>
                <a:gd name="connsiteY72" fmla="*/ 587760 h 754631"/>
                <a:gd name="connsiteX73" fmla="*/ 516427 w 676068"/>
                <a:gd name="connsiteY73" fmla="*/ 588437 h 754631"/>
                <a:gd name="connsiteX74" fmla="*/ 516669 w 676068"/>
                <a:gd name="connsiteY74" fmla="*/ 588873 h 754631"/>
                <a:gd name="connsiteX75" fmla="*/ 516935 w 676068"/>
                <a:gd name="connsiteY75" fmla="*/ 589695 h 754631"/>
                <a:gd name="connsiteX76" fmla="*/ 517032 w 676068"/>
                <a:gd name="connsiteY76" fmla="*/ 590057 h 754631"/>
                <a:gd name="connsiteX77" fmla="*/ 517032 w 676068"/>
                <a:gd name="connsiteY77" fmla="*/ 592548 h 754631"/>
                <a:gd name="connsiteX78" fmla="*/ 516935 w 676068"/>
                <a:gd name="connsiteY78" fmla="*/ 592911 h 754631"/>
                <a:gd name="connsiteX79" fmla="*/ 516669 w 676068"/>
                <a:gd name="connsiteY79" fmla="*/ 593709 h 754631"/>
                <a:gd name="connsiteX80" fmla="*/ 516427 w 676068"/>
                <a:gd name="connsiteY80" fmla="*/ 594144 h 754631"/>
                <a:gd name="connsiteX81" fmla="*/ 516065 w 676068"/>
                <a:gd name="connsiteY81" fmla="*/ 594821 h 754631"/>
                <a:gd name="connsiteX82" fmla="*/ 515267 w 676068"/>
                <a:gd name="connsiteY82" fmla="*/ 595812 h 754631"/>
                <a:gd name="connsiteX83" fmla="*/ 487072 w 676068"/>
                <a:gd name="connsiteY83" fmla="*/ 624007 h 754631"/>
                <a:gd name="connsiteX84" fmla="*/ 487072 w 676068"/>
                <a:gd name="connsiteY84" fmla="*/ 650896 h 754631"/>
                <a:gd name="connsiteX85" fmla="*/ 486927 w 676068"/>
                <a:gd name="connsiteY85" fmla="*/ 652178 h 754631"/>
                <a:gd name="connsiteX86" fmla="*/ 480712 w 676068"/>
                <a:gd name="connsiteY86" fmla="*/ 657256 h 754631"/>
                <a:gd name="connsiteX87" fmla="*/ 464511 w 676068"/>
                <a:gd name="connsiteY87" fmla="*/ 657256 h 754631"/>
                <a:gd name="connsiteX88" fmla="*/ 464511 w 676068"/>
                <a:gd name="connsiteY88" fmla="*/ 685958 h 754631"/>
                <a:gd name="connsiteX89" fmla="*/ 485403 w 676068"/>
                <a:gd name="connsiteY89" fmla="*/ 706850 h 754631"/>
                <a:gd name="connsiteX90" fmla="*/ 487241 w 676068"/>
                <a:gd name="connsiteY90" fmla="*/ 711348 h 754631"/>
                <a:gd name="connsiteX91" fmla="*/ 487241 w 676068"/>
                <a:gd name="connsiteY91" fmla="*/ 723438 h 754631"/>
                <a:gd name="connsiteX92" fmla="*/ 518459 w 676068"/>
                <a:gd name="connsiteY92" fmla="*/ 754631 h 754631"/>
                <a:gd name="connsiteX93" fmla="*/ 520877 w 676068"/>
                <a:gd name="connsiteY93" fmla="*/ 752237 h 754631"/>
                <a:gd name="connsiteX94" fmla="*/ 520877 w 676068"/>
                <a:gd name="connsiteY94" fmla="*/ 740220 h 754631"/>
                <a:gd name="connsiteX95" fmla="*/ 522714 w 676068"/>
                <a:gd name="connsiteY95" fmla="*/ 735698 h 754631"/>
                <a:gd name="connsiteX96" fmla="*/ 548056 w 676068"/>
                <a:gd name="connsiteY96" fmla="*/ 710356 h 754631"/>
                <a:gd name="connsiteX97" fmla="*/ 548056 w 676068"/>
                <a:gd name="connsiteY97" fmla="*/ 659263 h 754631"/>
                <a:gd name="connsiteX98" fmla="*/ 549942 w 676068"/>
                <a:gd name="connsiteY98" fmla="*/ 654765 h 754631"/>
                <a:gd name="connsiteX99" fmla="*/ 571438 w 676068"/>
                <a:gd name="connsiteY99" fmla="*/ 633268 h 754631"/>
                <a:gd name="connsiteX100" fmla="*/ 571438 w 676068"/>
                <a:gd name="connsiteY100" fmla="*/ 365540 h 754631"/>
                <a:gd name="connsiteX101" fmla="*/ 573300 w 676068"/>
                <a:gd name="connsiteY101" fmla="*/ 361042 h 754631"/>
                <a:gd name="connsiteX102" fmla="*/ 600310 w 676068"/>
                <a:gd name="connsiteY102" fmla="*/ 334008 h 754631"/>
                <a:gd name="connsiteX103" fmla="*/ 609330 w 676068"/>
                <a:gd name="connsiteY103" fmla="*/ 334008 h 754631"/>
                <a:gd name="connsiteX104" fmla="*/ 616511 w 676068"/>
                <a:gd name="connsiteY104" fmla="*/ 341190 h 754631"/>
                <a:gd name="connsiteX105" fmla="*/ 676068 w 676068"/>
                <a:gd name="connsiteY105" fmla="*/ 281633 h 754631"/>
                <a:gd name="connsiteX106" fmla="*/ 676068 w 676068"/>
                <a:gd name="connsiteY106" fmla="*/ 249811 h 754631"/>
                <a:gd name="connsiteX107" fmla="*/ 656966 w 676068"/>
                <a:gd name="connsiteY107" fmla="*/ 249811 h 754631"/>
                <a:gd name="connsiteX108" fmla="*/ 652565 w 676068"/>
                <a:gd name="connsiteY108" fmla="*/ 247973 h 754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76068" h="754631">
                  <a:moveTo>
                    <a:pt x="652565" y="247973"/>
                  </a:moveTo>
                  <a:lnTo>
                    <a:pt x="604759" y="200168"/>
                  </a:lnTo>
                  <a:cubicBezTo>
                    <a:pt x="603550" y="198983"/>
                    <a:pt x="602897" y="197363"/>
                    <a:pt x="602897" y="195670"/>
                  </a:cubicBezTo>
                  <a:cubicBezTo>
                    <a:pt x="602897" y="193978"/>
                    <a:pt x="603550" y="192358"/>
                    <a:pt x="604759" y="191173"/>
                  </a:cubicBezTo>
                  <a:lnTo>
                    <a:pt x="629883" y="166049"/>
                  </a:lnTo>
                  <a:cubicBezTo>
                    <a:pt x="631068" y="164864"/>
                    <a:pt x="632664" y="164187"/>
                    <a:pt x="634381" y="164187"/>
                  </a:cubicBezTo>
                  <a:lnTo>
                    <a:pt x="650703" y="164187"/>
                  </a:lnTo>
                  <a:lnTo>
                    <a:pt x="650703" y="124942"/>
                  </a:lnTo>
                  <a:lnTo>
                    <a:pt x="645722" y="124942"/>
                  </a:lnTo>
                  <a:cubicBezTo>
                    <a:pt x="642651" y="124942"/>
                    <a:pt x="640087" y="122765"/>
                    <a:pt x="639483" y="119864"/>
                  </a:cubicBezTo>
                  <a:cubicBezTo>
                    <a:pt x="639410" y="119453"/>
                    <a:pt x="639338" y="119017"/>
                    <a:pt x="639338" y="118582"/>
                  </a:cubicBezTo>
                  <a:lnTo>
                    <a:pt x="639338" y="82142"/>
                  </a:lnTo>
                  <a:lnTo>
                    <a:pt x="629206" y="72010"/>
                  </a:lnTo>
                  <a:lnTo>
                    <a:pt x="557172" y="0"/>
                  </a:lnTo>
                  <a:lnTo>
                    <a:pt x="462794" y="94401"/>
                  </a:lnTo>
                  <a:cubicBezTo>
                    <a:pt x="461586" y="95586"/>
                    <a:pt x="459990" y="96263"/>
                    <a:pt x="458273" y="96263"/>
                  </a:cubicBezTo>
                  <a:cubicBezTo>
                    <a:pt x="456604" y="96263"/>
                    <a:pt x="454984" y="95586"/>
                    <a:pt x="453775" y="94401"/>
                  </a:cubicBezTo>
                  <a:lnTo>
                    <a:pt x="443377" y="84028"/>
                  </a:lnTo>
                  <a:cubicBezTo>
                    <a:pt x="442193" y="82843"/>
                    <a:pt x="441540" y="81223"/>
                    <a:pt x="441540" y="79530"/>
                  </a:cubicBezTo>
                  <a:lnTo>
                    <a:pt x="441540" y="58517"/>
                  </a:lnTo>
                  <a:lnTo>
                    <a:pt x="405003" y="22004"/>
                  </a:lnTo>
                  <a:lnTo>
                    <a:pt x="361211" y="65772"/>
                  </a:lnTo>
                  <a:cubicBezTo>
                    <a:pt x="360317" y="66666"/>
                    <a:pt x="359180" y="67271"/>
                    <a:pt x="357971" y="67513"/>
                  </a:cubicBezTo>
                  <a:cubicBezTo>
                    <a:pt x="357560" y="67585"/>
                    <a:pt x="357149" y="67633"/>
                    <a:pt x="356714" y="67633"/>
                  </a:cubicBezTo>
                  <a:lnTo>
                    <a:pt x="339956" y="67633"/>
                  </a:lnTo>
                  <a:lnTo>
                    <a:pt x="306224" y="101390"/>
                  </a:lnTo>
                  <a:cubicBezTo>
                    <a:pt x="305596" y="101994"/>
                    <a:pt x="304846" y="102478"/>
                    <a:pt x="304121" y="102792"/>
                  </a:cubicBezTo>
                  <a:cubicBezTo>
                    <a:pt x="302186" y="103566"/>
                    <a:pt x="299962" y="103373"/>
                    <a:pt x="298221" y="102212"/>
                  </a:cubicBezTo>
                  <a:cubicBezTo>
                    <a:pt x="297858" y="101994"/>
                    <a:pt x="297544" y="101704"/>
                    <a:pt x="297229" y="101414"/>
                  </a:cubicBezTo>
                  <a:lnTo>
                    <a:pt x="254961" y="59146"/>
                  </a:lnTo>
                  <a:lnTo>
                    <a:pt x="223672" y="90436"/>
                  </a:lnTo>
                  <a:lnTo>
                    <a:pt x="245918" y="112682"/>
                  </a:lnTo>
                  <a:cubicBezTo>
                    <a:pt x="247103" y="113867"/>
                    <a:pt x="247780" y="115487"/>
                    <a:pt x="247780" y="117204"/>
                  </a:cubicBezTo>
                  <a:cubicBezTo>
                    <a:pt x="247780" y="118872"/>
                    <a:pt x="247103" y="120492"/>
                    <a:pt x="245918" y="121701"/>
                  </a:cubicBezTo>
                  <a:lnTo>
                    <a:pt x="192575" y="175020"/>
                  </a:lnTo>
                  <a:cubicBezTo>
                    <a:pt x="191414" y="176205"/>
                    <a:pt x="189794" y="176906"/>
                    <a:pt x="188078" y="176906"/>
                  </a:cubicBezTo>
                  <a:lnTo>
                    <a:pt x="155724" y="176906"/>
                  </a:lnTo>
                  <a:lnTo>
                    <a:pt x="131374" y="201256"/>
                  </a:lnTo>
                  <a:cubicBezTo>
                    <a:pt x="131059" y="201546"/>
                    <a:pt x="130745" y="201836"/>
                    <a:pt x="130382" y="202054"/>
                  </a:cubicBezTo>
                  <a:cubicBezTo>
                    <a:pt x="129318" y="202755"/>
                    <a:pt x="128085" y="203118"/>
                    <a:pt x="126876" y="203118"/>
                  </a:cubicBezTo>
                  <a:cubicBezTo>
                    <a:pt x="125643" y="203118"/>
                    <a:pt x="124410" y="202755"/>
                    <a:pt x="123370" y="202054"/>
                  </a:cubicBezTo>
                  <a:cubicBezTo>
                    <a:pt x="123007" y="201836"/>
                    <a:pt x="122669" y="201546"/>
                    <a:pt x="122354" y="201256"/>
                  </a:cubicBezTo>
                  <a:lnTo>
                    <a:pt x="65602" y="144504"/>
                  </a:lnTo>
                  <a:lnTo>
                    <a:pt x="0" y="210082"/>
                  </a:lnTo>
                  <a:lnTo>
                    <a:pt x="33369" y="243427"/>
                  </a:lnTo>
                  <a:cubicBezTo>
                    <a:pt x="34240" y="244322"/>
                    <a:pt x="34869" y="245434"/>
                    <a:pt x="35086" y="246667"/>
                  </a:cubicBezTo>
                  <a:cubicBezTo>
                    <a:pt x="35183" y="247078"/>
                    <a:pt x="35231" y="247489"/>
                    <a:pt x="35231" y="247901"/>
                  </a:cubicBezTo>
                  <a:lnTo>
                    <a:pt x="35231" y="345155"/>
                  </a:lnTo>
                  <a:lnTo>
                    <a:pt x="35231" y="428555"/>
                  </a:lnTo>
                  <a:lnTo>
                    <a:pt x="54262" y="447609"/>
                  </a:lnTo>
                  <a:cubicBezTo>
                    <a:pt x="55446" y="448794"/>
                    <a:pt x="56123" y="450414"/>
                    <a:pt x="56123" y="452107"/>
                  </a:cubicBezTo>
                  <a:lnTo>
                    <a:pt x="56123" y="482719"/>
                  </a:lnTo>
                  <a:lnTo>
                    <a:pt x="56123" y="512679"/>
                  </a:lnTo>
                  <a:lnTo>
                    <a:pt x="76677" y="512679"/>
                  </a:lnTo>
                  <a:lnTo>
                    <a:pt x="154708" y="434624"/>
                  </a:lnTo>
                  <a:cubicBezTo>
                    <a:pt x="155917" y="433439"/>
                    <a:pt x="157537" y="432762"/>
                    <a:pt x="159230" y="432762"/>
                  </a:cubicBezTo>
                  <a:lnTo>
                    <a:pt x="219537" y="432762"/>
                  </a:lnTo>
                  <a:cubicBezTo>
                    <a:pt x="222632" y="432762"/>
                    <a:pt x="225171" y="434938"/>
                    <a:pt x="225775" y="437840"/>
                  </a:cubicBezTo>
                  <a:cubicBezTo>
                    <a:pt x="225848" y="438251"/>
                    <a:pt x="225896" y="438686"/>
                    <a:pt x="225896" y="439122"/>
                  </a:cubicBezTo>
                  <a:lnTo>
                    <a:pt x="225896" y="474740"/>
                  </a:lnTo>
                  <a:lnTo>
                    <a:pt x="241807" y="490626"/>
                  </a:lnTo>
                  <a:lnTo>
                    <a:pt x="259435" y="473023"/>
                  </a:lnTo>
                  <a:cubicBezTo>
                    <a:pt x="261950" y="470508"/>
                    <a:pt x="265964" y="470508"/>
                    <a:pt x="268430" y="473023"/>
                  </a:cubicBezTo>
                  <a:lnTo>
                    <a:pt x="321458" y="526051"/>
                  </a:lnTo>
                  <a:lnTo>
                    <a:pt x="344817" y="502717"/>
                  </a:lnTo>
                  <a:cubicBezTo>
                    <a:pt x="347332" y="500226"/>
                    <a:pt x="351346" y="500226"/>
                    <a:pt x="353812" y="502717"/>
                  </a:cubicBezTo>
                  <a:lnTo>
                    <a:pt x="391461" y="540366"/>
                  </a:lnTo>
                  <a:cubicBezTo>
                    <a:pt x="392670" y="541575"/>
                    <a:pt x="393323" y="543171"/>
                    <a:pt x="393323" y="544864"/>
                  </a:cubicBezTo>
                  <a:lnTo>
                    <a:pt x="393323" y="555068"/>
                  </a:lnTo>
                  <a:lnTo>
                    <a:pt x="480906" y="555068"/>
                  </a:lnTo>
                  <a:cubicBezTo>
                    <a:pt x="482598" y="555068"/>
                    <a:pt x="484219" y="555745"/>
                    <a:pt x="485428" y="556930"/>
                  </a:cubicBezTo>
                  <a:lnTo>
                    <a:pt x="515267" y="586793"/>
                  </a:lnTo>
                  <a:cubicBezTo>
                    <a:pt x="515581" y="587083"/>
                    <a:pt x="515847" y="587398"/>
                    <a:pt x="516065" y="587760"/>
                  </a:cubicBezTo>
                  <a:cubicBezTo>
                    <a:pt x="516234" y="588002"/>
                    <a:pt x="516306" y="588220"/>
                    <a:pt x="516427" y="588437"/>
                  </a:cubicBezTo>
                  <a:cubicBezTo>
                    <a:pt x="516524" y="588583"/>
                    <a:pt x="516621" y="588703"/>
                    <a:pt x="516669" y="588873"/>
                  </a:cubicBezTo>
                  <a:cubicBezTo>
                    <a:pt x="516766" y="589139"/>
                    <a:pt x="516838" y="589405"/>
                    <a:pt x="516935" y="589695"/>
                  </a:cubicBezTo>
                  <a:cubicBezTo>
                    <a:pt x="516959" y="589791"/>
                    <a:pt x="517008" y="589937"/>
                    <a:pt x="517032" y="590057"/>
                  </a:cubicBezTo>
                  <a:cubicBezTo>
                    <a:pt x="517201" y="590855"/>
                    <a:pt x="517201" y="591702"/>
                    <a:pt x="517032" y="592548"/>
                  </a:cubicBezTo>
                  <a:cubicBezTo>
                    <a:pt x="517008" y="592645"/>
                    <a:pt x="516959" y="592790"/>
                    <a:pt x="516935" y="592911"/>
                  </a:cubicBezTo>
                  <a:cubicBezTo>
                    <a:pt x="516838" y="593201"/>
                    <a:pt x="516766" y="593443"/>
                    <a:pt x="516669" y="593709"/>
                  </a:cubicBezTo>
                  <a:cubicBezTo>
                    <a:pt x="516621" y="593878"/>
                    <a:pt x="516524" y="594023"/>
                    <a:pt x="516427" y="594144"/>
                  </a:cubicBezTo>
                  <a:cubicBezTo>
                    <a:pt x="516306" y="594410"/>
                    <a:pt x="516234" y="594628"/>
                    <a:pt x="516065" y="594821"/>
                  </a:cubicBezTo>
                  <a:cubicBezTo>
                    <a:pt x="515847" y="595184"/>
                    <a:pt x="515557" y="595498"/>
                    <a:pt x="515267" y="595812"/>
                  </a:cubicBezTo>
                  <a:lnTo>
                    <a:pt x="487072" y="624007"/>
                  </a:lnTo>
                  <a:lnTo>
                    <a:pt x="487072" y="650896"/>
                  </a:lnTo>
                  <a:cubicBezTo>
                    <a:pt x="487072" y="651356"/>
                    <a:pt x="487024" y="651767"/>
                    <a:pt x="486927" y="652178"/>
                  </a:cubicBezTo>
                  <a:cubicBezTo>
                    <a:pt x="486346" y="655079"/>
                    <a:pt x="483759" y="657256"/>
                    <a:pt x="480712" y="657256"/>
                  </a:cubicBezTo>
                  <a:lnTo>
                    <a:pt x="464511" y="657256"/>
                  </a:lnTo>
                  <a:lnTo>
                    <a:pt x="464511" y="685958"/>
                  </a:lnTo>
                  <a:lnTo>
                    <a:pt x="485403" y="706850"/>
                  </a:lnTo>
                  <a:cubicBezTo>
                    <a:pt x="486588" y="708059"/>
                    <a:pt x="487241" y="709655"/>
                    <a:pt x="487241" y="711348"/>
                  </a:cubicBezTo>
                  <a:lnTo>
                    <a:pt x="487241" y="723438"/>
                  </a:lnTo>
                  <a:lnTo>
                    <a:pt x="518459" y="754631"/>
                  </a:lnTo>
                  <a:lnTo>
                    <a:pt x="520877" y="752237"/>
                  </a:lnTo>
                  <a:lnTo>
                    <a:pt x="520877" y="740220"/>
                  </a:lnTo>
                  <a:cubicBezTo>
                    <a:pt x="520877" y="738551"/>
                    <a:pt x="521529" y="736907"/>
                    <a:pt x="522714" y="735698"/>
                  </a:cubicBezTo>
                  <a:lnTo>
                    <a:pt x="548056" y="710356"/>
                  </a:lnTo>
                  <a:lnTo>
                    <a:pt x="548056" y="659263"/>
                  </a:lnTo>
                  <a:cubicBezTo>
                    <a:pt x="548056" y="657594"/>
                    <a:pt x="548733" y="655974"/>
                    <a:pt x="549942" y="654765"/>
                  </a:cubicBezTo>
                  <a:lnTo>
                    <a:pt x="571438" y="633268"/>
                  </a:lnTo>
                  <a:lnTo>
                    <a:pt x="571438" y="365540"/>
                  </a:lnTo>
                  <a:cubicBezTo>
                    <a:pt x="571438" y="363871"/>
                    <a:pt x="572091" y="362251"/>
                    <a:pt x="573300" y="361042"/>
                  </a:cubicBezTo>
                  <a:lnTo>
                    <a:pt x="600310" y="334008"/>
                  </a:lnTo>
                  <a:cubicBezTo>
                    <a:pt x="602704" y="331614"/>
                    <a:pt x="606936" y="331614"/>
                    <a:pt x="609330" y="334008"/>
                  </a:cubicBezTo>
                  <a:lnTo>
                    <a:pt x="616511" y="341190"/>
                  </a:lnTo>
                  <a:lnTo>
                    <a:pt x="676068" y="281633"/>
                  </a:lnTo>
                  <a:lnTo>
                    <a:pt x="676068" y="249811"/>
                  </a:lnTo>
                  <a:lnTo>
                    <a:pt x="656966" y="249811"/>
                  </a:lnTo>
                  <a:cubicBezTo>
                    <a:pt x="655370" y="249811"/>
                    <a:pt x="653774" y="249158"/>
                    <a:pt x="652565" y="247973"/>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52" name="Forma Livre: Forma 51">
              <a:extLst>
                <a:ext uri="{FF2B5EF4-FFF2-40B4-BE49-F238E27FC236}">
                  <a16:creationId xmlns:a16="http://schemas.microsoft.com/office/drawing/2014/main" id="{035801BA-CFA7-D071-CF07-4E230DB20440}"/>
                </a:ext>
              </a:extLst>
            </p:cNvPr>
            <p:cNvSpPr/>
            <p:nvPr>
              <p:custDataLst>
                <p:tags r:id="rId132"/>
              </p:custDataLst>
            </p:nvPr>
          </p:nvSpPr>
          <p:spPr>
            <a:xfrm>
              <a:off x="5697439" y="1774509"/>
              <a:ext cx="137225" cy="151226"/>
            </a:xfrm>
            <a:custGeom>
              <a:avLst/>
              <a:gdLst>
                <a:gd name="connsiteX0" fmla="*/ 33781 w 137225"/>
                <a:gd name="connsiteY0" fmla="*/ 24 h 151226"/>
                <a:gd name="connsiteX1" fmla="*/ 33781 w 137225"/>
                <a:gd name="connsiteY1" fmla="*/ 26381 h 151226"/>
                <a:gd name="connsiteX2" fmla="*/ 38762 w 137225"/>
                <a:gd name="connsiteY2" fmla="*/ 26381 h 151226"/>
                <a:gd name="connsiteX3" fmla="*/ 45121 w 137225"/>
                <a:gd name="connsiteY3" fmla="*/ 32741 h 151226"/>
                <a:gd name="connsiteX4" fmla="*/ 45121 w 137225"/>
                <a:gd name="connsiteY4" fmla="*/ 84705 h 151226"/>
                <a:gd name="connsiteX5" fmla="*/ 38762 w 137225"/>
                <a:gd name="connsiteY5" fmla="*/ 91065 h 151226"/>
                <a:gd name="connsiteX6" fmla="*/ 18740 w 137225"/>
                <a:gd name="connsiteY6" fmla="*/ 91065 h 151226"/>
                <a:gd name="connsiteX7" fmla="*/ 0 w 137225"/>
                <a:gd name="connsiteY7" fmla="*/ 109805 h 151226"/>
                <a:gd name="connsiteX8" fmla="*/ 41421 w 137225"/>
                <a:gd name="connsiteY8" fmla="*/ 151226 h 151226"/>
                <a:gd name="connsiteX9" fmla="*/ 61613 w 137225"/>
                <a:gd name="connsiteY9" fmla="*/ 151226 h 151226"/>
                <a:gd name="connsiteX10" fmla="*/ 137226 w 137225"/>
                <a:gd name="connsiteY10" fmla="*/ 75613 h 151226"/>
                <a:gd name="connsiteX11" fmla="*/ 61613 w 137225"/>
                <a:gd name="connsiteY11" fmla="*/ 0 h 151226"/>
                <a:gd name="connsiteX12" fmla="*/ 33781 w 137225"/>
                <a:gd name="connsiteY12" fmla="*/ 0 h 15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225" h="151226">
                  <a:moveTo>
                    <a:pt x="33781" y="24"/>
                  </a:moveTo>
                  <a:lnTo>
                    <a:pt x="33781" y="26381"/>
                  </a:lnTo>
                  <a:lnTo>
                    <a:pt x="38762" y="26381"/>
                  </a:lnTo>
                  <a:cubicBezTo>
                    <a:pt x="42292" y="26381"/>
                    <a:pt x="45121" y="29234"/>
                    <a:pt x="45121" y="32741"/>
                  </a:cubicBezTo>
                  <a:lnTo>
                    <a:pt x="45121" y="84705"/>
                  </a:lnTo>
                  <a:cubicBezTo>
                    <a:pt x="45121" y="88211"/>
                    <a:pt x="42292" y="91065"/>
                    <a:pt x="38762" y="91065"/>
                  </a:cubicBezTo>
                  <a:lnTo>
                    <a:pt x="18740" y="91065"/>
                  </a:lnTo>
                  <a:lnTo>
                    <a:pt x="0" y="109805"/>
                  </a:lnTo>
                  <a:lnTo>
                    <a:pt x="41421" y="151226"/>
                  </a:lnTo>
                  <a:lnTo>
                    <a:pt x="61613" y="151226"/>
                  </a:lnTo>
                  <a:lnTo>
                    <a:pt x="137226" y="75613"/>
                  </a:lnTo>
                  <a:lnTo>
                    <a:pt x="61613" y="0"/>
                  </a:lnTo>
                  <a:lnTo>
                    <a:pt x="33781" y="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53" name="Forma Livre: Forma 52">
              <a:extLst>
                <a:ext uri="{FF2B5EF4-FFF2-40B4-BE49-F238E27FC236}">
                  <a16:creationId xmlns:a16="http://schemas.microsoft.com/office/drawing/2014/main" id="{3422ACD9-087B-D97B-18C5-51F6C1CCF042}"/>
                </a:ext>
              </a:extLst>
            </p:cNvPr>
            <p:cNvSpPr/>
            <p:nvPr>
              <p:custDataLst>
                <p:tags r:id="rId133"/>
              </p:custDataLst>
            </p:nvPr>
          </p:nvSpPr>
          <p:spPr>
            <a:xfrm>
              <a:off x="5721837" y="1723150"/>
              <a:ext cx="207325" cy="118025"/>
            </a:xfrm>
            <a:custGeom>
              <a:avLst/>
              <a:gdLst>
                <a:gd name="connsiteX0" fmla="*/ 125498 w 207325"/>
                <a:gd name="connsiteY0" fmla="*/ 31290 h 118025"/>
                <a:gd name="connsiteX1" fmla="*/ 120952 w 207325"/>
                <a:gd name="connsiteY1" fmla="*/ 33152 h 118025"/>
                <a:gd name="connsiteX2" fmla="*/ 68842 w 207325"/>
                <a:gd name="connsiteY2" fmla="*/ 33152 h 118025"/>
                <a:gd name="connsiteX3" fmla="*/ 64345 w 207325"/>
                <a:gd name="connsiteY3" fmla="*/ 31290 h 118025"/>
                <a:gd name="connsiteX4" fmla="*/ 33031 w 207325"/>
                <a:gd name="connsiteY4" fmla="*/ 0 h 118025"/>
                <a:gd name="connsiteX5" fmla="*/ 0 w 207325"/>
                <a:gd name="connsiteY5" fmla="*/ 33055 h 118025"/>
                <a:gd name="connsiteX6" fmla="*/ 5634 w 207325"/>
                <a:gd name="connsiteY6" fmla="*/ 38689 h 118025"/>
                <a:gd name="connsiteX7" fmla="*/ 39777 w 207325"/>
                <a:gd name="connsiteY7" fmla="*/ 38689 h 118025"/>
                <a:gd name="connsiteX8" fmla="*/ 44299 w 207325"/>
                <a:gd name="connsiteY8" fmla="*/ 40551 h 118025"/>
                <a:gd name="connsiteX9" fmla="*/ 121774 w 207325"/>
                <a:gd name="connsiteY9" fmla="*/ 118026 h 118025"/>
                <a:gd name="connsiteX10" fmla="*/ 207325 w 207325"/>
                <a:gd name="connsiteY10" fmla="*/ 32450 h 118025"/>
                <a:gd name="connsiteX11" fmla="*/ 207325 w 207325"/>
                <a:gd name="connsiteY11" fmla="*/ 2853 h 118025"/>
                <a:gd name="connsiteX12" fmla="*/ 153886 w 207325"/>
                <a:gd name="connsiteY12" fmla="*/ 2853 h 118025"/>
                <a:gd name="connsiteX13" fmla="*/ 125498 w 207325"/>
                <a:gd name="connsiteY13" fmla="*/ 31290 h 11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325" h="118025">
                  <a:moveTo>
                    <a:pt x="125498" y="31290"/>
                  </a:moveTo>
                  <a:cubicBezTo>
                    <a:pt x="124289" y="32475"/>
                    <a:pt x="122693" y="33152"/>
                    <a:pt x="120952" y="33152"/>
                  </a:cubicBezTo>
                  <a:lnTo>
                    <a:pt x="68842" y="33152"/>
                  </a:lnTo>
                  <a:cubicBezTo>
                    <a:pt x="67174" y="33152"/>
                    <a:pt x="65554" y="32475"/>
                    <a:pt x="64345" y="31290"/>
                  </a:cubicBezTo>
                  <a:lnTo>
                    <a:pt x="33031" y="0"/>
                  </a:lnTo>
                  <a:lnTo>
                    <a:pt x="0" y="33055"/>
                  </a:lnTo>
                  <a:lnTo>
                    <a:pt x="5634" y="38689"/>
                  </a:lnTo>
                  <a:lnTo>
                    <a:pt x="39777" y="38689"/>
                  </a:lnTo>
                  <a:cubicBezTo>
                    <a:pt x="41470" y="38689"/>
                    <a:pt x="43090" y="39366"/>
                    <a:pt x="44299" y="40551"/>
                  </a:cubicBezTo>
                  <a:lnTo>
                    <a:pt x="121774" y="118026"/>
                  </a:lnTo>
                  <a:lnTo>
                    <a:pt x="207325" y="32450"/>
                  </a:lnTo>
                  <a:lnTo>
                    <a:pt x="207325" y="2853"/>
                  </a:lnTo>
                  <a:lnTo>
                    <a:pt x="153886" y="2853"/>
                  </a:lnTo>
                  <a:lnTo>
                    <a:pt x="125498" y="3129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sp>
          <p:nvSpPr>
            <p:cNvPr id="54" name="Forma Livre: Forma 53">
              <a:extLst>
                <a:ext uri="{FF2B5EF4-FFF2-40B4-BE49-F238E27FC236}">
                  <a16:creationId xmlns:a16="http://schemas.microsoft.com/office/drawing/2014/main" id="{B13F727C-E107-8152-BDBD-C20522A8CFA4}"/>
                </a:ext>
              </a:extLst>
            </p:cNvPr>
            <p:cNvSpPr/>
            <p:nvPr>
              <p:custDataLst>
                <p:tags r:id="rId134"/>
              </p:custDataLst>
            </p:nvPr>
          </p:nvSpPr>
          <p:spPr>
            <a:xfrm>
              <a:off x="5493112" y="1607034"/>
              <a:ext cx="457498" cy="162566"/>
            </a:xfrm>
            <a:custGeom>
              <a:avLst/>
              <a:gdLst>
                <a:gd name="connsiteX0" fmla="*/ 394484 w 457498"/>
                <a:gd name="connsiteY0" fmla="*/ 34651 h 162566"/>
                <a:gd name="connsiteX1" fmla="*/ 389986 w 457498"/>
                <a:gd name="connsiteY1" fmla="*/ 36513 h 162566"/>
                <a:gd name="connsiteX2" fmla="*/ 352337 w 457498"/>
                <a:gd name="connsiteY2" fmla="*/ 36513 h 162566"/>
                <a:gd name="connsiteX3" fmla="*/ 315413 w 457498"/>
                <a:gd name="connsiteY3" fmla="*/ 73437 h 162566"/>
                <a:gd name="connsiteX4" fmla="*/ 314422 w 457498"/>
                <a:gd name="connsiteY4" fmla="*/ 74259 h 162566"/>
                <a:gd name="connsiteX5" fmla="*/ 310916 w 457498"/>
                <a:gd name="connsiteY5" fmla="*/ 75299 h 162566"/>
                <a:gd name="connsiteX6" fmla="*/ 307409 w 457498"/>
                <a:gd name="connsiteY6" fmla="*/ 74259 h 162566"/>
                <a:gd name="connsiteX7" fmla="*/ 306394 w 457498"/>
                <a:gd name="connsiteY7" fmla="*/ 73437 h 162566"/>
                <a:gd name="connsiteX8" fmla="*/ 296359 w 457498"/>
                <a:gd name="connsiteY8" fmla="*/ 63402 h 162566"/>
                <a:gd name="connsiteX9" fmla="*/ 294497 w 457498"/>
                <a:gd name="connsiteY9" fmla="*/ 58880 h 162566"/>
                <a:gd name="connsiteX10" fmla="*/ 294497 w 457498"/>
                <a:gd name="connsiteY10" fmla="*/ 10591 h 162566"/>
                <a:gd name="connsiteX11" fmla="*/ 283906 w 457498"/>
                <a:gd name="connsiteY11" fmla="*/ 0 h 162566"/>
                <a:gd name="connsiteX12" fmla="*/ 239340 w 457498"/>
                <a:gd name="connsiteY12" fmla="*/ 44565 h 162566"/>
                <a:gd name="connsiteX13" fmla="*/ 234843 w 457498"/>
                <a:gd name="connsiteY13" fmla="*/ 46427 h 162566"/>
                <a:gd name="connsiteX14" fmla="*/ 214725 w 457498"/>
                <a:gd name="connsiteY14" fmla="*/ 46427 h 162566"/>
                <a:gd name="connsiteX15" fmla="*/ 210227 w 457498"/>
                <a:gd name="connsiteY15" fmla="*/ 44565 h 162566"/>
                <a:gd name="connsiteX16" fmla="*/ 182105 w 457498"/>
                <a:gd name="connsiteY16" fmla="*/ 16443 h 162566"/>
                <a:gd name="connsiteX17" fmla="*/ 160681 w 457498"/>
                <a:gd name="connsiteY17" fmla="*/ 37867 h 162566"/>
                <a:gd name="connsiteX18" fmla="*/ 156183 w 457498"/>
                <a:gd name="connsiteY18" fmla="*/ 39753 h 162566"/>
                <a:gd name="connsiteX19" fmla="*/ 151661 w 457498"/>
                <a:gd name="connsiteY19" fmla="*/ 37867 h 162566"/>
                <a:gd name="connsiteX20" fmla="*/ 117905 w 457498"/>
                <a:gd name="connsiteY20" fmla="*/ 4111 h 162566"/>
                <a:gd name="connsiteX21" fmla="*/ 54213 w 457498"/>
                <a:gd name="connsiteY21" fmla="*/ 4111 h 162566"/>
                <a:gd name="connsiteX22" fmla="*/ 43017 w 457498"/>
                <a:gd name="connsiteY22" fmla="*/ 4111 h 162566"/>
                <a:gd name="connsiteX23" fmla="*/ 43017 w 457498"/>
                <a:gd name="connsiteY23" fmla="*/ 24737 h 162566"/>
                <a:gd name="connsiteX24" fmla="*/ 51940 w 457498"/>
                <a:gd name="connsiteY24" fmla="*/ 33659 h 162566"/>
                <a:gd name="connsiteX25" fmla="*/ 52714 w 457498"/>
                <a:gd name="connsiteY25" fmla="*/ 34651 h 162566"/>
                <a:gd name="connsiteX26" fmla="*/ 53101 w 457498"/>
                <a:gd name="connsiteY26" fmla="*/ 35352 h 162566"/>
                <a:gd name="connsiteX27" fmla="*/ 53318 w 457498"/>
                <a:gd name="connsiteY27" fmla="*/ 35763 h 162566"/>
                <a:gd name="connsiteX28" fmla="*/ 53584 w 457498"/>
                <a:gd name="connsiteY28" fmla="*/ 36634 h 162566"/>
                <a:gd name="connsiteX29" fmla="*/ 53681 w 457498"/>
                <a:gd name="connsiteY29" fmla="*/ 36948 h 162566"/>
                <a:gd name="connsiteX30" fmla="*/ 53681 w 457498"/>
                <a:gd name="connsiteY30" fmla="*/ 39415 h 162566"/>
                <a:gd name="connsiteX31" fmla="*/ 53584 w 457498"/>
                <a:gd name="connsiteY31" fmla="*/ 39753 h 162566"/>
                <a:gd name="connsiteX32" fmla="*/ 53318 w 457498"/>
                <a:gd name="connsiteY32" fmla="*/ 40624 h 162566"/>
                <a:gd name="connsiteX33" fmla="*/ 53101 w 457498"/>
                <a:gd name="connsiteY33" fmla="*/ 40986 h 162566"/>
                <a:gd name="connsiteX34" fmla="*/ 52714 w 457498"/>
                <a:gd name="connsiteY34" fmla="*/ 41712 h 162566"/>
                <a:gd name="connsiteX35" fmla="*/ 51940 w 457498"/>
                <a:gd name="connsiteY35" fmla="*/ 42703 h 162566"/>
                <a:gd name="connsiteX36" fmla="*/ 0 w 457498"/>
                <a:gd name="connsiteY36" fmla="*/ 94643 h 162566"/>
                <a:gd name="connsiteX37" fmla="*/ 38375 w 457498"/>
                <a:gd name="connsiteY37" fmla="*/ 133018 h 162566"/>
                <a:gd name="connsiteX38" fmla="*/ 40237 w 457498"/>
                <a:gd name="connsiteY38" fmla="*/ 137540 h 162566"/>
                <a:gd name="connsiteX39" fmla="*/ 40237 w 457498"/>
                <a:gd name="connsiteY39" fmla="*/ 158553 h 162566"/>
                <a:gd name="connsiteX40" fmla="*/ 44251 w 457498"/>
                <a:gd name="connsiteY40" fmla="*/ 162567 h 162566"/>
                <a:gd name="connsiteX41" fmla="*/ 138652 w 457498"/>
                <a:gd name="connsiteY41" fmla="*/ 68165 h 162566"/>
                <a:gd name="connsiteX42" fmla="*/ 147647 w 457498"/>
                <a:gd name="connsiteY42" fmla="*/ 68165 h 162566"/>
                <a:gd name="connsiteX43" fmla="*/ 219658 w 457498"/>
                <a:gd name="connsiteY43" fmla="*/ 140200 h 162566"/>
                <a:gd name="connsiteX44" fmla="*/ 257210 w 457498"/>
                <a:gd name="connsiteY44" fmla="*/ 102647 h 162566"/>
                <a:gd name="connsiteX45" fmla="*/ 266229 w 457498"/>
                <a:gd name="connsiteY45" fmla="*/ 102647 h 162566"/>
                <a:gd name="connsiteX46" fmla="*/ 300155 w 457498"/>
                <a:gd name="connsiteY46" fmla="*/ 136597 h 162566"/>
                <a:gd name="connsiteX47" fmla="*/ 347017 w 457498"/>
                <a:gd name="connsiteY47" fmla="*/ 136597 h 162566"/>
                <a:gd name="connsiteX48" fmla="*/ 375454 w 457498"/>
                <a:gd name="connsiteY48" fmla="*/ 108184 h 162566"/>
                <a:gd name="connsiteX49" fmla="*/ 379976 w 457498"/>
                <a:gd name="connsiteY49" fmla="*/ 106298 h 162566"/>
                <a:gd name="connsiteX50" fmla="*/ 439799 w 457498"/>
                <a:gd name="connsiteY50" fmla="*/ 106298 h 162566"/>
                <a:gd name="connsiteX51" fmla="*/ 457499 w 457498"/>
                <a:gd name="connsiteY51" fmla="*/ 88550 h 162566"/>
                <a:gd name="connsiteX52" fmla="*/ 457499 w 457498"/>
                <a:gd name="connsiteY52" fmla="*/ 12550 h 162566"/>
                <a:gd name="connsiteX53" fmla="*/ 416609 w 457498"/>
                <a:gd name="connsiteY53" fmla="*/ 12550 h 162566"/>
                <a:gd name="connsiteX54" fmla="*/ 394484 w 457498"/>
                <a:gd name="connsiteY54" fmla="*/ 34651 h 16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7498" h="162566">
                  <a:moveTo>
                    <a:pt x="394484" y="34651"/>
                  </a:moveTo>
                  <a:cubicBezTo>
                    <a:pt x="393275" y="35860"/>
                    <a:pt x="391679" y="36513"/>
                    <a:pt x="389986" y="36513"/>
                  </a:cubicBezTo>
                  <a:lnTo>
                    <a:pt x="352337" y="36513"/>
                  </a:lnTo>
                  <a:lnTo>
                    <a:pt x="315413" y="73437"/>
                  </a:lnTo>
                  <a:cubicBezTo>
                    <a:pt x="315099" y="73751"/>
                    <a:pt x="314784" y="74017"/>
                    <a:pt x="314422" y="74259"/>
                  </a:cubicBezTo>
                  <a:cubicBezTo>
                    <a:pt x="313358" y="74960"/>
                    <a:pt x="312124" y="75299"/>
                    <a:pt x="310916" y="75299"/>
                  </a:cubicBezTo>
                  <a:cubicBezTo>
                    <a:pt x="309682" y="75299"/>
                    <a:pt x="308473" y="74936"/>
                    <a:pt x="307409" y="74259"/>
                  </a:cubicBezTo>
                  <a:cubicBezTo>
                    <a:pt x="307047" y="74017"/>
                    <a:pt x="306732" y="73751"/>
                    <a:pt x="306394" y="73437"/>
                  </a:cubicBezTo>
                  <a:lnTo>
                    <a:pt x="296359" y="63402"/>
                  </a:lnTo>
                  <a:cubicBezTo>
                    <a:pt x="295150" y="62217"/>
                    <a:pt x="294497" y="60573"/>
                    <a:pt x="294497" y="58880"/>
                  </a:cubicBezTo>
                  <a:lnTo>
                    <a:pt x="294497" y="10591"/>
                  </a:lnTo>
                  <a:lnTo>
                    <a:pt x="283906" y="0"/>
                  </a:lnTo>
                  <a:lnTo>
                    <a:pt x="239340" y="44565"/>
                  </a:lnTo>
                  <a:cubicBezTo>
                    <a:pt x="238156" y="45774"/>
                    <a:pt x="236536" y="46427"/>
                    <a:pt x="234843" y="46427"/>
                  </a:cubicBezTo>
                  <a:lnTo>
                    <a:pt x="214725" y="46427"/>
                  </a:lnTo>
                  <a:cubicBezTo>
                    <a:pt x="213056" y="46427"/>
                    <a:pt x="211436" y="45774"/>
                    <a:pt x="210227" y="44565"/>
                  </a:cubicBezTo>
                  <a:lnTo>
                    <a:pt x="182105" y="16443"/>
                  </a:lnTo>
                  <a:lnTo>
                    <a:pt x="160681" y="37867"/>
                  </a:lnTo>
                  <a:cubicBezTo>
                    <a:pt x="159472" y="39052"/>
                    <a:pt x="157876" y="39753"/>
                    <a:pt x="156183" y="39753"/>
                  </a:cubicBezTo>
                  <a:cubicBezTo>
                    <a:pt x="154491" y="39753"/>
                    <a:pt x="152846" y="39076"/>
                    <a:pt x="151661" y="37867"/>
                  </a:cubicBezTo>
                  <a:lnTo>
                    <a:pt x="117905" y="4111"/>
                  </a:lnTo>
                  <a:lnTo>
                    <a:pt x="54213" y="4111"/>
                  </a:lnTo>
                  <a:lnTo>
                    <a:pt x="43017" y="4111"/>
                  </a:lnTo>
                  <a:lnTo>
                    <a:pt x="43017" y="24737"/>
                  </a:lnTo>
                  <a:lnTo>
                    <a:pt x="51940" y="33659"/>
                  </a:lnTo>
                  <a:cubicBezTo>
                    <a:pt x="52230" y="33950"/>
                    <a:pt x="52472" y="34288"/>
                    <a:pt x="52714" y="34651"/>
                  </a:cubicBezTo>
                  <a:cubicBezTo>
                    <a:pt x="52883" y="34869"/>
                    <a:pt x="52980" y="35110"/>
                    <a:pt x="53101" y="35352"/>
                  </a:cubicBezTo>
                  <a:cubicBezTo>
                    <a:pt x="53173" y="35497"/>
                    <a:pt x="53270" y="35618"/>
                    <a:pt x="53318" y="35763"/>
                  </a:cubicBezTo>
                  <a:cubicBezTo>
                    <a:pt x="53439" y="36029"/>
                    <a:pt x="53512" y="36319"/>
                    <a:pt x="53584" y="36634"/>
                  </a:cubicBezTo>
                  <a:cubicBezTo>
                    <a:pt x="53609" y="36731"/>
                    <a:pt x="53657" y="36851"/>
                    <a:pt x="53681" y="36948"/>
                  </a:cubicBezTo>
                  <a:cubicBezTo>
                    <a:pt x="53850" y="37770"/>
                    <a:pt x="53850" y="38592"/>
                    <a:pt x="53681" y="39415"/>
                  </a:cubicBezTo>
                  <a:cubicBezTo>
                    <a:pt x="53657" y="39535"/>
                    <a:pt x="53609" y="39632"/>
                    <a:pt x="53584" y="39753"/>
                  </a:cubicBezTo>
                  <a:cubicBezTo>
                    <a:pt x="53512" y="40043"/>
                    <a:pt x="53439" y="40333"/>
                    <a:pt x="53318" y="40624"/>
                  </a:cubicBezTo>
                  <a:cubicBezTo>
                    <a:pt x="53270" y="40745"/>
                    <a:pt x="53173" y="40865"/>
                    <a:pt x="53101" y="40986"/>
                  </a:cubicBezTo>
                  <a:cubicBezTo>
                    <a:pt x="53004" y="41228"/>
                    <a:pt x="52883" y="41494"/>
                    <a:pt x="52714" y="41712"/>
                  </a:cubicBezTo>
                  <a:cubicBezTo>
                    <a:pt x="52472" y="42074"/>
                    <a:pt x="52206" y="42389"/>
                    <a:pt x="51940" y="42703"/>
                  </a:cubicBezTo>
                  <a:lnTo>
                    <a:pt x="0" y="94643"/>
                  </a:lnTo>
                  <a:lnTo>
                    <a:pt x="38375" y="133018"/>
                  </a:lnTo>
                  <a:cubicBezTo>
                    <a:pt x="39584" y="134203"/>
                    <a:pt x="40237" y="135823"/>
                    <a:pt x="40237" y="137540"/>
                  </a:cubicBezTo>
                  <a:lnTo>
                    <a:pt x="40237" y="158553"/>
                  </a:lnTo>
                  <a:lnTo>
                    <a:pt x="44251" y="162567"/>
                  </a:lnTo>
                  <a:lnTo>
                    <a:pt x="138652" y="68165"/>
                  </a:lnTo>
                  <a:cubicBezTo>
                    <a:pt x="141143" y="65675"/>
                    <a:pt x="145181" y="65675"/>
                    <a:pt x="147647" y="68165"/>
                  </a:cubicBezTo>
                  <a:lnTo>
                    <a:pt x="219658" y="140200"/>
                  </a:lnTo>
                  <a:lnTo>
                    <a:pt x="257210" y="102647"/>
                  </a:lnTo>
                  <a:cubicBezTo>
                    <a:pt x="259604" y="100253"/>
                    <a:pt x="263836" y="100253"/>
                    <a:pt x="266229" y="102647"/>
                  </a:cubicBezTo>
                  <a:lnTo>
                    <a:pt x="300155" y="136597"/>
                  </a:lnTo>
                  <a:lnTo>
                    <a:pt x="347017" y="136597"/>
                  </a:lnTo>
                  <a:lnTo>
                    <a:pt x="375454" y="108184"/>
                  </a:lnTo>
                  <a:cubicBezTo>
                    <a:pt x="376639" y="106975"/>
                    <a:pt x="378283" y="106298"/>
                    <a:pt x="379976" y="106298"/>
                  </a:cubicBezTo>
                  <a:lnTo>
                    <a:pt x="439799" y="106298"/>
                  </a:lnTo>
                  <a:lnTo>
                    <a:pt x="457499" y="88550"/>
                  </a:lnTo>
                  <a:lnTo>
                    <a:pt x="457499" y="12550"/>
                  </a:lnTo>
                  <a:lnTo>
                    <a:pt x="416609" y="12550"/>
                  </a:lnTo>
                  <a:lnTo>
                    <a:pt x="394484" y="3465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grpSp>
      <p:sp>
        <p:nvSpPr>
          <p:cNvPr id="55" name="CaixaDeTexto 54">
            <a:extLst>
              <a:ext uri="{FF2B5EF4-FFF2-40B4-BE49-F238E27FC236}">
                <a16:creationId xmlns:a16="http://schemas.microsoft.com/office/drawing/2014/main" id="{0553A3B0-79AE-8A96-95FC-B02E010BB988}"/>
              </a:ext>
            </a:extLst>
          </p:cNvPr>
          <p:cNvSpPr txBox="1"/>
          <p:nvPr>
            <p:custDataLst>
              <p:tags r:id="rId5"/>
            </p:custDataLst>
          </p:nvPr>
        </p:nvSpPr>
        <p:spPr>
          <a:xfrm>
            <a:off x="2835311" y="211922"/>
            <a:ext cx="2999464" cy="301621"/>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1600" b="0" i="0" u="none" strike="noStrike" cap="none" baseline="0" dirty="0">
                <a:solidFill>
                  <a:srgbClr val="002581"/>
                </a:solidFill>
                <a:effectLst/>
                <a:uFillTx/>
                <a:latin typeface="Segoe UI Light"/>
              </a:rPr>
              <a:t>A </a:t>
            </a:r>
            <a:r>
              <a:rPr lang="en-US" sz="1600" b="0" i="0" u="none" strike="noStrike" cap="none" spc="600" baseline="0" dirty="0">
                <a:solidFill>
                  <a:srgbClr val="002581"/>
                </a:solidFill>
                <a:effectLst/>
                <a:uFillTx/>
                <a:latin typeface="Segoe UI Light"/>
              </a:rPr>
              <a:t>UCTION 01/2023 </a:t>
            </a:r>
          </a:p>
        </p:txBody>
      </p:sp>
      <p:sp>
        <p:nvSpPr>
          <p:cNvPr id="56" name="CaixaDeTexto 55">
            <a:extLst>
              <a:ext uri="{FF2B5EF4-FFF2-40B4-BE49-F238E27FC236}">
                <a16:creationId xmlns:a16="http://schemas.microsoft.com/office/drawing/2014/main" id="{6564026B-8745-A5CF-280D-8EEDCAA43D32}"/>
              </a:ext>
            </a:extLst>
          </p:cNvPr>
          <p:cNvSpPr txBox="1"/>
          <p:nvPr>
            <p:custDataLst>
              <p:tags r:id="rId6"/>
            </p:custDataLst>
          </p:nvPr>
        </p:nvSpPr>
        <p:spPr>
          <a:xfrm>
            <a:off x="2286627" y="435442"/>
            <a:ext cx="4426283" cy="402738"/>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2400" b="1" i="0" u="none" strike="noStrike" cap="none" baseline="0" dirty="0">
                <a:solidFill>
                  <a:srgbClr val="002581"/>
                </a:solidFill>
                <a:effectLst/>
                <a:uFillTx/>
                <a:latin typeface="Segoe UI Black"/>
              </a:rPr>
              <a:t>LOTS WON </a:t>
            </a:r>
          </a:p>
        </p:txBody>
      </p:sp>
      <p:grpSp>
        <p:nvGrpSpPr>
          <p:cNvPr id="90" name="Agrupar 89">
            <a:extLst>
              <a:ext uri="{FF2B5EF4-FFF2-40B4-BE49-F238E27FC236}">
                <a16:creationId xmlns:a16="http://schemas.microsoft.com/office/drawing/2014/main" id="{038DEC94-DF95-123E-D038-CCE91C60E8EF}"/>
              </a:ext>
            </a:extLst>
          </p:cNvPr>
          <p:cNvGrpSpPr/>
          <p:nvPr>
            <p:custDataLst>
              <p:tags r:id="rId7"/>
            </p:custDataLst>
          </p:nvPr>
        </p:nvGrpSpPr>
        <p:grpSpPr>
          <a:xfrm>
            <a:off x="4609739" y="4646959"/>
            <a:ext cx="3125978" cy="261610"/>
            <a:chOff x="357470" y="4644950"/>
            <a:chExt cx="3125978" cy="261610"/>
          </a:xfrm>
        </p:grpSpPr>
        <p:sp>
          <p:nvSpPr>
            <p:cNvPr id="75" name="Elipse 74">
              <a:extLst>
                <a:ext uri="{FF2B5EF4-FFF2-40B4-BE49-F238E27FC236}">
                  <a16:creationId xmlns:a16="http://schemas.microsoft.com/office/drawing/2014/main" id="{9DF49819-4214-CD34-9486-264CBD529FF3}"/>
                </a:ext>
              </a:extLst>
            </p:cNvPr>
            <p:cNvSpPr/>
            <p:nvPr>
              <p:custDataLst>
                <p:tags r:id="rId104"/>
              </p:custDataLst>
            </p:nvPr>
          </p:nvSpPr>
          <p:spPr>
            <a:xfrm>
              <a:off x="357470" y="4732499"/>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76" name="CaixaDeTexto 75">
              <a:extLst>
                <a:ext uri="{FF2B5EF4-FFF2-40B4-BE49-F238E27FC236}">
                  <a16:creationId xmlns:a16="http://schemas.microsoft.com/office/drawing/2014/main" id="{40150F9E-BA01-53B6-C41A-151DAAD47590}"/>
                </a:ext>
              </a:extLst>
            </p:cNvPr>
            <p:cNvSpPr txBox="1"/>
            <p:nvPr>
              <p:custDataLst>
                <p:tags r:id="rId105"/>
              </p:custDataLst>
            </p:nvPr>
          </p:nvSpPr>
          <p:spPr>
            <a:xfrm>
              <a:off x="423836" y="4644949"/>
              <a:ext cx="1399177" cy="251711"/>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1050" b="0" i="0" u="none" strike="noStrike" cap="none" baseline="0" dirty="0">
                  <a:solidFill>
                    <a:srgbClr val="011F57"/>
                  </a:solidFill>
                  <a:effectLst/>
                  <a:uFillTx/>
                  <a:latin typeface="Segoe UI"/>
                </a:rPr>
                <a:t>Bidded substation</a:t>
              </a:r>
            </a:p>
          </p:txBody>
        </p:sp>
        <p:sp>
          <p:nvSpPr>
            <p:cNvPr id="88" name="Elipse 87">
              <a:extLst>
                <a:ext uri="{FF2B5EF4-FFF2-40B4-BE49-F238E27FC236}">
                  <a16:creationId xmlns:a16="http://schemas.microsoft.com/office/drawing/2014/main" id="{B292D687-228A-11F4-1A0E-4602387D02E0}"/>
                </a:ext>
              </a:extLst>
            </p:cNvPr>
            <p:cNvSpPr/>
            <p:nvPr>
              <p:custDataLst>
                <p:tags r:id="rId106"/>
              </p:custDataLst>
            </p:nvPr>
          </p:nvSpPr>
          <p:spPr>
            <a:xfrm>
              <a:off x="1821615" y="4732499"/>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89" name="CaixaDeTexto 88">
              <a:extLst>
                <a:ext uri="{FF2B5EF4-FFF2-40B4-BE49-F238E27FC236}">
                  <a16:creationId xmlns:a16="http://schemas.microsoft.com/office/drawing/2014/main" id="{48914281-0D97-B435-261D-F6E7E636F002}"/>
                </a:ext>
              </a:extLst>
            </p:cNvPr>
            <p:cNvSpPr txBox="1"/>
            <p:nvPr>
              <p:custDataLst>
                <p:tags r:id="rId107"/>
              </p:custDataLst>
            </p:nvPr>
          </p:nvSpPr>
          <p:spPr>
            <a:xfrm>
              <a:off x="1865765" y="4644949"/>
              <a:ext cx="1619301" cy="251712"/>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1050" b="0" i="0" u="none" strike="noStrike" cap="none" baseline="0" dirty="0">
                  <a:solidFill>
                    <a:srgbClr val="011F57"/>
                  </a:solidFill>
                  <a:effectLst/>
                  <a:uFillTx/>
                  <a:latin typeface="Segoe UI"/>
                </a:rPr>
                <a:t>Existing Substation </a:t>
              </a:r>
            </a:p>
          </p:txBody>
        </p:sp>
      </p:grpSp>
      <p:grpSp>
        <p:nvGrpSpPr>
          <p:cNvPr id="133" name="Agrupar 132">
            <a:extLst>
              <a:ext uri="{FF2B5EF4-FFF2-40B4-BE49-F238E27FC236}">
                <a16:creationId xmlns:a16="http://schemas.microsoft.com/office/drawing/2014/main" id="{5C79E679-B4A4-0629-958E-3BDA678B9821}"/>
              </a:ext>
            </a:extLst>
          </p:cNvPr>
          <p:cNvGrpSpPr/>
          <p:nvPr>
            <p:custDataLst>
              <p:tags r:id="rId8"/>
            </p:custDataLst>
          </p:nvPr>
        </p:nvGrpSpPr>
        <p:grpSpPr>
          <a:xfrm>
            <a:off x="5437621" y="2942734"/>
            <a:ext cx="1692863" cy="673648"/>
            <a:chOff x="5045070" y="2757569"/>
            <a:chExt cx="1692863" cy="673648"/>
          </a:xfrm>
        </p:grpSpPr>
        <p:grpSp>
          <p:nvGrpSpPr>
            <p:cNvPr id="110" name="Agrupar 109">
              <a:extLst>
                <a:ext uri="{FF2B5EF4-FFF2-40B4-BE49-F238E27FC236}">
                  <a16:creationId xmlns:a16="http://schemas.microsoft.com/office/drawing/2014/main" id="{85D88294-9B82-0113-0EE5-D29DC442CF17}"/>
                </a:ext>
              </a:extLst>
            </p:cNvPr>
            <p:cNvGrpSpPr/>
            <p:nvPr>
              <p:custDataLst>
                <p:tags r:id="rId92"/>
              </p:custDataLst>
            </p:nvPr>
          </p:nvGrpSpPr>
          <p:grpSpPr>
            <a:xfrm>
              <a:off x="5045070" y="2966636"/>
              <a:ext cx="1692863" cy="464581"/>
              <a:chOff x="5339651" y="2966636"/>
              <a:chExt cx="1692863" cy="464581"/>
            </a:xfrm>
          </p:grpSpPr>
          <p:grpSp>
            <p:nvGrpSpPr>
              <p:cNvPr id="84" name="Agrupar 83">
                <a:extLst>
                  <a:ext uri="{FF2B5EF4-FFF2-40B4-BE49-F238E27FC236}">
                    <a16:creationId xmlns:a16="http://schemas.microsoft.com/office/drawing/2014/main" id="{AD044A7F-1432-884C-02B2-397E82BAE484}"/>
                  </a:ext>
                </a:extLst>
              </p:cNvPr>
              <p:cNvGrpSpPr/>
              <p:nvPr>
                <p:custDataLst>
                  <p:tags r:id="rId94"/>
                </p:custDataLst>
              </p:nvPr>
            </p:nvGrpSpPr>
            <p:grpSpPr>
              <a:xfrm>
                <a:off x="5339651" y="2966636"/>
                <a:ext cx="244405" cy="399567"/>
                <a:chOff x="5339651" y="2966636"/>
                <a:chExt cx="244405" cy="399567"/>
              </a:xfrm>
            </p:grpSpPr>
            <p:cxnSp>
              <p:nvCxnSpPr>
                <p:cNvPr id="82" name="Conector reto 81">
                  <a:extLst>
                    <a:ext uri="{FF2B5EF4-FFF2-40B4-BE49-F238E27FC236}">
                      <a16:creationId xmlns:a16="http://schemas.microsoft.com/office/drawing/2014/main" id="{DAF81313-5B68-357E-8896-E0DF39CF2913}"/>
                    </a:ext>
                  </a:extLst>
                </p:cNvPr>
                <p:cNvCxnSpPr/>
                <p:nvPr>
                  <p:custDataLst>
                    <p:tags r:id="rId100"/>
                  </p:custDataLst>
                </p:nvPr>
              </p:nvCxnSpPr>
              <p:spPr>
                <a:xfrm flipV="1">
                  <a:off x="5397698" y="3027256"/>
                  <a:ext cx="131010" cy="265206"/>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79" name="Elipse 78">
                  <a:extLst>
                    <a:ext uri="{FF2B5EF4-FFF2-40B4-BE49-F238E27FC236}">
                      <a16:creationId xmlns:a16="http://schemas.microsoft.com/office/drawing/2014/main" id="{7D3B05A6-A5D0-4E48-E479-29344BF36AF1}"/>
                    </a:ext>
                  </a:extLst>
                </p:cNvPr>
                <p:cNvSpPr/>
                <p:nvPr>
                  <p:custDataLst>
                    <p:tags r:id="rId101"/>
                  </p:custDataLst>
                </p:nvPr>
              </p:nvSpPr>
              <p:spPr>
                <a:xfrm>
                  <a:off x="5413205" y="3121651"/>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80" name="Elipse 79">
                  <a:extLst>
                    <a:ext uri="{FF2B5EF4-FFF2-40B4-BE49-F238E27FC236}">
                      <a16:creationId xmlns:a16="http://schemas.microsoft.com/office/drawing/2014/main" id="{15859DAC-ACBA-8047-A507-373A434A267D}"/>
                    </a:ext>
                  </a:extLst>
                </p:cNvPr>
                <p:cNvSpPr/>
                <p:nvPr>
                  <p:custDataLst>
                    <p:tags r:id="rId102"/>
                  </p:custDataLst>
                </p:nvPr>
              </p:nvSpPr>
              <p:spPr>
                <a:xfrm>
                  <a:off x="5495755" y="2966636"/>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78" name="Elipse 77">
                  <a:extLst>
                    <a:ext uri="{FF2B5EF4-FFF2-40B4-BE49-F238E27FC236}">
                      <a16:creationId xmlns:a16="http://schemas.microsoft.com/office/drawing/2014/main" id="{51E219BD-99CB-8B75-3820-4D7A034BE203}"/>
                    </a:ext>
                  </a:extLst>
                </p:cNvPr>
                <p:cNvSpPr/>
                <p:nvPr>
                  <p:custDataLst>
                    <p:tags r:id="rId103"/>
                  </p:custDataLst>
                </p:nvPr>
              </p:nvSpPr>
              <p:spPr>
                <a:xfrm>
                  <a:off x="5339651" y="3277903"/>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grpSp>
          <p:cxnSp>
            <p:nvCxnSpPr>
              <p:cNvPr id="86" name="Conector reto 85">
                <a:extLst>
                  <a:ext uri="{FF2B5EF4-FFF2-40B4-BE49-F238E27FC236}">
                    <a16:creationId xmlns:a16="http://schemas.microsoft.com/office/drawing/2014/main" id="{4A048A9D-A172-708A-134C-BB1848601B00}"/>
                  </a:ext>
                </a:extLst>
              </p:cNvPr>
              <p:cNvCxnSpPr/>
              <p:nvPr>
                <p:custDataLst>
                  <p:tags r:id="rId95"/>
                </p:custDataLst>
              </p:nvPr>
            </p:nvCxnSpPr>
            <p:spPr>
              <a:xfrm flipH="1">
                <a:off x="5485816" y="3156405"/>
                <a:ext cx="371061" cy="0"/>
              </a:xfrm>
              <a:prstGeom prst="line">
                <a:avLst/>
              </a:prstGeom>
              <a:noFill/>
              <a:ln w="19050">
                <a:gradFill>
                  <a:gsLst>
                    <a:gs pos="0">
                      <a:srgbClr val="FE5000">
                        <a:alpha val="0"/>
                      </a:srgbClr>
                    </a:gs>
                    <a:gs pos="50000">
                      <a:srgbClr val="FE5000"/>
                    </a:gs>
                    <a:gs pos="100000">
                      <a:srgbClr val="FE5000">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104" name="CaixaDeTexto 103">
                <a:extLst>
                  <a:ext uri="{FF2B5EF4-FFF2-40B4-BE49-F238E27FC236}">
                    <a16:creationId xmlns:a16="http://schemas.microsoft.com/office/drawing/2014/main" id="{145F96BD-57D1-7A6A-C9B9-A5F1A605EC2A}"/>
                  </a:ext>
                </a:extLst>
              </p:cNvPr>
              <p:cNvSpPr txBox="1"/>
              <p:nvPr>
                <p:custDataLst>
                  <p:tags r:id="rId96"/>
                </p:custDataLst>
              </p:nvPr>
            </p:nvSpPr>
            <p:spPr>
              <a:xfrm>
                <a:off x="5808270" y="3037697"/>
                <a:ext cx="1225469" cy="213573"/>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011F57"/>
                    </a:solidFill>
                    <a:effectLst/>
                    <a:uFillTx/>
                    <a:latin typeface="Segoe UI"/>
                  </a:rPr>
                  <a:t>SS Leopoldina 2</a:t>
                </a:r>
              </a:p>
            </p:txBody>
          </p:sp>
          <p:sp>
            <p:nvSpPr>
              <p:cNvPr id="107" name="CaixaDeTexto 106">
                <a:extLst>
                  <a:ext uri="{FF2B5EF4-FFF2-40B4-BE49-F238E27FC236}">
                    <a16:creationId xmlns:a16="http://schemas.microsoft.com/office/drawing/2014/main" id="{343B067A-F6EC-EF30-C1DD-E8C0294B1322}"/>
                  </a:ext>
                </a:extLst>
              </p:cNvPr>
              <p:cNvSpPr txBox="1"/>
              <p:nvPr>
                <p:custDataLst>
                  <p:tags r:id="rId97"/>
                </p:custDataLst>
              </p:nvPr>
            </p:nvSpPr>
            <p:spPr>
              <a:xfrm>
                <a:off x="5737442" y="3215773"/>
                <a:ext cx="1186772" cy="213573"/>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4894F1"/>
                    </a:solidFill>
                    <a:effectLst/>
                    <a:uFillTx/>
                    <a:latin typeface="Segoe UI"/>
                  </a:rPr>
                  <a:t>SS Terminal Rio</a:t>
                </a:r>
              </a:p>
            </p:txBody>
          </p:sp>
          <p:cxnSp>
            <p:nvCxnSpPr>
              <p:cNvPr id="108" name="Conector reto 107">
                <a:extLst>
                  <a:ext uri="{FF2B5EF4-FFF2-40B4-BE49-F238E27FC236}">
                    <a16:creationId xmlns:a16="http://schemas.microsoft.com/office/drawing/2014/main" id="{A6B8C5BA-0F45-B542-F5B1-FFA429F0012B}"/>
                  </a:ext>
                </a:extLst>
              </p:cNvPr>
              <p:cNvCxnSpPr/>
              <p:nvPr>
                <p:custDataLst>
                  <p:tags r:id="rId98"/>
                </p:custDataLst>
              </p:nvPr>
            </p:nvCxnSpPr>
            <p:spPr>
              <a:xfrm flipH="1">
                <a:off x="5543457" y="3016186"/>
                <a:ext cx="377814" cy="0"/>
              </a:xfrm>
              <a:prstGeom prst="line">
                <a:avLst/>
              </a:prstGeom>
              <a:no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132" name="Conector reto 131">
                <a:extLst>
                  <a:ext uri="{FF2B5EF4-FFF2-40B4-BE49-F238E27FC236}">
                    <a16:creationId xmlns:a16="http://schemas.microsoft.com/office/drawing/2014/main" id="{185BA4FB-0958-8BCB-97DB-33D3E42D7AFE}"/>
                  </a:ext>
                </a:extLst>
              </p:cNvPr>
              <p:cNvCxnSpPr/>
              <p:nvPr>
                <p:custDataLst>
                  <p:tags r:id="rId99"/>
                </p:custDataLst>
              </p:nvPr>
            </p:nvCxnSpPr>
            <p:spPr>
              <a:xfrm flipH="1">
                <a:off x="5421309" y="3331068"/>
                <a:ext cx="377814" cy="0"/>
              </a:xfrm>
              <a:prstGeom prst="line">
                <a:avLst/>
              </a:prstGeom>
              <a:no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grpSp>
        <p:sp>
          <p:nvSpPr>
            <p:cNvPr id="109" name="CaixaDeTexto 108">
              <a:extLst>
                <a:ext uri="{FF2B5EF4-FFF2-40B4-BE49-F238E27FC236}">
                  <a16:creationId xmlns:a16="http://schemas.microsoft.com/office/drawing/2014/main" id="{C3ACEC74-C3B2-C41B-27BF-6F9571A768ED}"/>
                </a:ext>
              </a:extLst>
            </p:cNvPr>
            <p:cNvSpPr txBox="1"/>
            <p:nvPr>
              <p:custDataLst>
                <p:tags r:id="rId93"/>
              </p:custDataLst>
            </p:nvPr>
          </p:nvSpPr>
          <p:spPr>
            <a:xfrm>
              <a:off x="5565687" y="2757569"/>
              <a:ext cx="915778" cy="335615"/>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4894F1"/>
                  </a:solidFill>
                  <a:effectLst/>
                  <a:uFillTx/>
                  <a:latin typeface="Segoe UI"/>
                </a:rPr>
                <a:t>SS Governador Valadares 6</a:t>
              </a:r>
            </a:p>
          </p:txBody>
        </p:sp>
      </p:grpSp>
      <p:grpSp>
        <p:nvGrpSpPr>
          <p:cNvPr id="134" name="Agrupar 133">
            <a:extLst>
              <a:ext uri="{FF2B5EF4-FFF2-40B4-BE49-F238E27FC236}">
                <a16:creationId xmlns:a16="http://schemas.microsoft.com/office/drawing/2014/main" id="{43AFF780-4225-5785-E4D0-830720F1BFB4}"/>
              </a:ext>
            </a:extLst>
          </p:cNvPr>
          <p:cNvGrpSpPr/>
          <p:nvPr>
            <p:custDataLst>
              <p:tags r:id="rId9"/>
            </p:custDataLst>
          </p:nvPr>
        </p:nvGrpSpPr>
        <p:grpSpPr>
          <a:xfrm>
            <a:off x="2414527" y="3134738"/>
            <a:ext cx="2408757" cy="215444"/>
            <a:chOff x="2158805" y="2949573"/>
            <a:chExt cx="2408757" cy="215444"/>
          </a:xfrm>
        </p:grpSpPr>
        <p:grpSp>
          <p:nvGrpSpPr>
            <p:cNvPr id="111" name="Agrupar 110">
              <a:extLst>
                <a:ext uri="{FF2B5EF4-FFF2-40B4-BE49-F238E27FC236}">
                  <a16:creationId xmlns:a16="http://schemas.microsoft.com/office/drawing/2014/main" id="{A2DC233F-CE6E-D992-2553-52110458FD34}"/>
                </a:ext>
              </a:extLst>
            </p:cNvPr>
            <p:cNvGrpSpPr/>
            <p:nvPr>
              <p:custDataLst>
                <p:tags r:id="rId88"/>
              </p:custDataLst>
            </p:nvPr>
          </p:nvGrpSpPr>
          <p:grpSpPr>
            <a:xfrm>
              <a:off x="2158805" y="2949573"/>
              <a:ext cx="2408757" cy="215444"/>
              <a:chOff x="2453386" y="2949573"/>
              <a:chExt cx="2408757" cy="215444"/>
            </a:xfrm>
          </p:grpSpPr>
          <p:sp>
            <p:nvSpPr>
              <p:cNvPr id="71" name="Elipse 70">
                <a:extLst>
                  <a:ext uri="{FF2B5EF4-FFF2-40B4-BE49-F238E27FC236}">
                    <a16:creationId xmlns:a16="http://schemas.microsoft.com/office/drawing/2014/main" id="{69DE5741-976E-DFF5-ABAB-FA99E3359E45}"/>
                  </a:ext>
                </a:extLst>
              </p:cNvPr>
              <p:cNvSpPr/>
              <p:nvPr>
                <p:custDataLst>
                  <p:tags r:id="rId90"/>
                </p:custDataLst>
              </p:nvPr>
            </p:nvSpPr>
            <p:spPr>
              <a:xfrm>
                <a:off x="4773842" y="3042454"/>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0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74" name="CaixaDeTexto 73">
                <a:extLst>
                  <a:ext uri="{FF2B5EF4-FFF2-40B4-BE49-F238E27FC236}">
                    <a16:creationId xmlns:a16="http://schemas.microsoft.com/office/drawing/2014/main" id="{D356FBF2-3AA7-228A-E280-FA136862F5F0}"/>
                  </a:ext>
                </a:extLst>
              </p:cNvPr>
              <p:cNvSpPr txBox="1"/>
              <p:nvPr>
                <p:custDataLst>
                  <p:tags r:id="rId91"/>
                </p:custDataLst>
              </p:nvPr>
            </p:nvSpPr>
            <p:spPr>
              <a:xfrm>
                <a:off x="2451694" y="2949573"/>
                <a:ext cx="1694123" cy="213573"/>
              </a:xfrm>
              <a:prstGeom prst="rect">
                <a:avLst/>
              </a:prstGeom>
              <a:noFill/>
            </p:spPr>
            <p:txBody>
              <a:bodyPr wrap="square"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F8681E"/>
                    </a:solidFill>
                    <a:effectLst/>
                    <a:uFillTx/>
                    <a:latin typeface="Segoe UI"/>
                  </a:rPr>
                  <a:t>SS Água Vermelha</a:t>
                </a:r>
              </a:p>
            </p:txBody>
          </p:sp>
        </p:grpSp>
        <p:cxnSp>
          <p:nvCxnSpPr>
            <p:cNvPr id="123" name="Conector reto 122">
              <a:extLst>
                <a:ext uri="{FF2B5EF4-FFF2-40B4-BE49-F238E27FC236}">
                  <a16:creationId xmlns:a16="http://schemas.microsoft.com/office/drawing/2014/main" id="{15165622-22F4-0DB0-6D24-C5855B1C752C}"/>
                </a:ext>
              </a:extLst>
            </p:cNvPr>
            <p:cNvCxnSpPr/>
            <p:nvPr>
              <p:custDataLst>
                <p:tags r:id="rId89"/>
              </p:custDataLst>
            </p:nvPr>
          </p:nvCxnSpPr>
          <p:spPr>
            <a:xfrm flipH="1">
              <a:off x="3790223" y="3082321"/>
              <a:ext cx="766412" cy="0"/>
            </a:xfrm>
            <a:prstGeom prst="line">
              <a:avLst/>
            </a:prstGeom>
            <a:noFill/>
            <a:ln w="19050">
              <a:gradFill>
                <a:gsLst>
                  <a:gs pos="0">
                    <a:srgbClr val="FE5000">
                      <a:alpha val="0"/>
                    </a:srgbClr>
                  </a:gs>
                  <a:gs pos="50000">
                    <a:srgbClr val="FE5000"/>
                  </a:gs>
                  <a:gs pos="100000">
                    <a:srgbClr val="FE5000">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grpSp>
      <p:sp>
        <p:nvSpPr>
          <p:cNvPr id="87" name="Retângulo: Cantos Arredondados 86">
            <a:extLst>
              <a:ext uri="{FF2B5EF4-FFF2-40B4-BE49-F238E27FC236}">
                <a16:creationId xmlns:a16="http://schemas.microsoft.com/office/drawing/2014/main" id="{0EAAC05A-C9B6-4C5C-6B1C-88B91C81BBD5}"/>
              </a:ext>
            </a:extLst>
          </p:cNvPr>
          <p:cNvSpPr/>
          <p:nvPr>
            <p:custDataLst>
              <p:tags r:id="rId10"/>
            </p:custDataLst>
          </p:nvPr>
        </p:nvSpPr>
        <p:spPr>
          <a:xfrm rot="5400000">
            <a:off x="7149358" y="2898669"/>
            <a:ext cx="784734" cy="2461986"/>
          </a:xfrm>
          <a:prstGeom prst="roundRect">
            <a:avLst>
              <a:gd name="adj" fmla="val 10871"/>
            </a:avLst>
          </a:prstGeom>
          <a:gradFill>
            <a:gsLst>
              <a:gs pos="0">
                <a:schemeClr val="bg1">
                  <a:alpha val="0"/>
                </a:schemeClr>
              </a:gs>
              <a:gs pos="53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9" name="CaixaDeTexto 28">
            <a:extLst>
              <a:ext uri="{FF2B5EF4-FFF2-40B4-BE49-F238E27FC236}">
                <a16:creationId xmlns:a16="http://schemas.microsoft.com/office/drawing/2014/main" id="{6A5865F1-809C-3202-E6CC-EBD57B437BC4}"/>
              </a:ext>
            </a:extLst>
          </p:cNvPr>
          <p:cNvSpPr txBox="1"/>
          <p:nvPr>
            <p:custDataLst>
              <p:tags r:id="rId11"/>
            </p:custDataLst>
          </p:nvPr>
        </p:nvSpPr>
        <p:spPr>
          <a:xfrm>
            <a:off x="6361514" y="3790034"/>
            <a:ext cx="2374707" cy="694036"/>
          </a:xfrm>
          <a:prstGeom prst="rect">
            <a:avLst/>
          </a:prstGeom>
          <a:noFill/>
        </p:spPr>
        <p:txBody>
          <a:bodyPr wrap="square">
            <a:spAutoFit/>
          </a:bodyPr>
          <a:lstStyle/>
          <a:p>
            <a:pPr marL="0" marR="0" lvl="0" indent="0" algn="ctr" defTabSz="449931" rtl="0" eaLnBrk="1" fontAlgn="auto" latinLnBrk="0" hangingPunct="1">
              <a:lnSpc>
                <a:spcPct val="85000"/>
              </a:lnSpc>
              <a:spcBef>
                <a:spcPts val="200"/>
              </a:spcBef>
              <a:spcAft>
                <a:spcPts val="200"/>
              </a:spcAft>
              <a:buClrTx/>
              <a:buSzTx/>
              <a:buFontTx/>
              <a:buNone/>
              <a:defRPr/>
            </a:pPr>
            <a:r>
              <a:rPr lang="en-US" sz="1200" b="1" i="0" u="none" strike="noStrike" cap="none" baseline="0" dirty="0">
                <a:solidFill>
                  <a:srgbClr val="005FD7"/>
                </a:solidFill>
                <a:effectLst/>
                <a:uFillTx/>
                <a:latin typeface="Segoe UI"/>
              </a:rPr>
              <a:t>Possibility of</a:t>
            </a:r>
            <a:br>
              <a:rPr sz="1200" dirty="0"/>
            </a:br>
            <a:r>
              <a:rPr lang="en-US" sz="1200" b="1" i="0" u="none" strike="noStrike" cap="none" baseline="0" dirty="0">
                <a:solidFill>
                  <a:srgbClr val="005FD7"/>
                </a:solidFill>
                <a:effectLst/>
                <a:uFillTx/>
                <a:latin typeface="Segoe UI"/>
              </a:rPr>
              <a:t>average advancement </a:t>
            </a:r>
            <a:br>
              <a:rPr sz="1600" dirty="0"/>
            </a:br>
            <a:r>
              <a:rPr lang="en-US" sz="1100" b="0" i="0" u="none" strike="noStrike" cap="none" baseline="0" dirty="0">
                <a:solidFill>
                  <a:srgbClr val="011F57"/>
                </a:solidFill>
                <a:effectLst/>
                <a:uFillTx/>
                <a:latin typeface="Segoe UI"/>
              </a:rPr>
              <a:t>of between 12 and 24 months</a:t>
            </a:r>
            <a:br>
              <a:rPr sz="1100" dirty="0"/>
            </a:br>
            <a:r>
              <a:rPr lang="en-US" sz="1100" b="0" i="0" u="none" strike="noStrike" cap="none" baseline="0" dirty="0">
                <a:solidFill>
                  <a:srgbClr val="011F57"/>
                </a:solidFill>
                <a:effectLst/>
                <a:uFillTx/>
                <a:latin typeface="Segoe UI"/>
              </a:rPr>
              <a:t>(vs. ANEEL term) </a:t>
            </a:r>
          </a:p>
        </p:txBody>
      </p:sp>
      <p:grpSp>
        <p:nvGrpSpPr>
          <p:cNvPr id="1038" name="Agrupar 1037">
            <a:extLst>
              <a:ext uri="{FF2B5EF4-FFF2-40B4-BE49-F238E27FC236}">
                <a16:creationId xmlns:a16="http://schemas.microsoft.com/office/drawing/2014/main" id="{6F016176-AE14-8268-FE7A-CC7F1296DD25}"/>
              </a:ext>
            </a:extLst>
          </p:cNvPr>
          <p:cNvGrpSpPr/>
          <p:nvPr>
            <p:custDataLst>
              <p:tags r:id="rId12"/>
            </p:custDataLst>
          </p:nvPr>
        </p:nvGrpSpPr>
        <p:grpSpPr>
          <a:xfrm>
            <a:off x="7587164" y="4622706"/>
            <a:ext cx="1503784" cy="251711"/>
            <a:chOff x="6332148" y="4641476"/>
            <a:chExt cx="1503784" cy="251711"/>
          </a:xfrm>
        </p:grpSpPr>
        <p:grpSp>
          <p:nvGrpSpPr>
            <p:cNvPr id="828" name="Gráfico 93">
              <a:extLst>
                <a:ext uri="{FF2B5EF4-FFF2-40B4-BE49-F238E27FC236}">
                  <a16:creationId xmlns:a16="http://schemas.microsoft.com/office/drawing/2014/main" id="{E99BE41D-A1A0-5E56-9A33-AFEF2DFD1AE1}"/>
                </a:ext>
              </a:extLst>
            </p:cNvPr>
            <p:cNvGrpSpPr/>
            <p:nvPr>
              <p:custDataLst>
                <p:tags r:id="rId68"/>
              </p:custDataLst>
            </p:nvPr>
          </p:nvGrpSpPr>
          <p:grpSpPr>
            <a:xfrm>
              <a:off x="6985018" y="4720834"/>
              <a:ext cx="76369" cy="66450"/>
              <a:chOff x="-1314401" y="4003518"/>
              <a:chExt cx="572680" cy="498297"/>
            </a:xfrm>
            <a:solidFill>
              <a:schemeClr val="bg1"/>
            </a:solidFill>
          </p:grpSpPr>
          <p:sp>
            <p:nvSpPr>
              <p:cNvPr id="829" name="Forma Livre: Forma 828">
                <a:extLst>
                  <a:ext uri="{FF2B5EF4-FFF2-40B4-BE49-F238E27FC236}">
                    <a16:creationId xmlns:a16="http://schemas.microsoft.com/office/drawing/2014/main" id="{70F333BD-0D47-D615-A1AB-636F3E1B1369}"/>
                  </a:ext>
                </a:extLst>
              </p:cNvPr>
              <p:cNvSpPr/>
              <p:nvPr>
                <p:custDataLst>
                  <p:tags r:id="rId80"/>
                </p:custDataLst>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dirty="0"/>
              </a:p>
            </p:txBody>
          </p:sp>
          <p:sp>
            <p:nvSpPr>
              <p:cNvPr id="830" name="Forma Livre: Forma 829">
                <a:extLst>
                  <a:ext uri="{FF2B5EF4-FFF2-40B4-BE49-F238E27FC236}">
                    <a16:creationId xmlns:a16="http://schemas.microsoft.com/office/drawing/2014/main" id="{1C9DD503-4C32-DEA5-3736-ED36F040F73B}"/>
                  </a:ext>
                </a:extLst>
              </p:cNvPr>
              <p:cNvSpPr/>
              <p:nvPr>
                <p:custDataLst>
                  <p:tags r:id="rId81"/>
                </p:custDataLst>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dirty="0"/>
              </a:p>
            </p:txBody>
          </p:sp>
          <p:sp>
            <p:nvSpPr>
              <p:cNvPr id="831" name="Forma Livre: Forma 830">
                <a:extLst>
                  <a:ext uri="{FF2B5EF4-FFF2-40B4-BE49-F238E27FC236}">
                    <a16:creationId xmlns:a16="http://schemas.microsoft.com/office/drawing/2014/main" id="{C9617916-65E0-DB1F-201E-3D16BD0D9A52}"/>
                  </a:ext>
                </a:extLst>
              </p:cNvPr>
              <p:cNvSpPr/>
              <p:nvPr>
                <p:custDataLst>
                  <p:tags r:id="rId82"/>
                </p:custDataLst>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dirty="0"/>
              </a:p>
            </p:txBody>
          </p:sp>
          <p:sp>
            <p:nvSpPr>
              <p:cNvPr id="832" name="Forma Livre: Forma 831">
                <a:extLst>
                  <a:ext uri="{FF2B5EF4-FFF2-40B4-BE49-F238E27FC236}">
                    <a16:creationId xmlns:a16="http://schemas.microsoft.com/office/drawing/2014/main" id="{BC483752-2BF4-CA20-97DA-BC064BD41ED0}"/>
                  </a:ext>
                </a:extLst>
              </p:cNvPr>
              <p:cNvSpPr/>
              <p:nvPr>
                <p:custDataLst>
                  <p:tags r:id="rId83"/>
                </p:custDataLst>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dirty="0"/>
              </a:p>
            </p:txBody>
          </p:sp>
          <p:sp>
            <p:nvSpPr>
              <p:cNvPr id="833" name="Forma Livre: Forma 832">
                <a:extLst>
                  <a:ext uri="{FF2B5EF4-FFF2-40B4-BE49-F238E27FC236}">
                    <a16:creationId xmlns:a16="http://schemas.microsoft.com/office/drawing/2014/main" id="{DFE1EA46-75B1-ACED-AAB7-26A32E00E72C}"/>
                  </a:ext>
                </a:extLst>
              </p:cNvPr>
              <p:cNvSpPr/>
              <p:nvPr>
                <p:custDataLst>
                  <p:tags r:id="rId84"/>
                </p:custDataLst>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dirty="0"/>
              </a:p>
            </p:txBody>
          </p:sp>
          <p:sp>
            <p:nvSpPr>
              <p:cNvPr id="834" name="Forma Livre: Forma 833">
                <a:extLst>
                  <a:ext uri="{FF2B5EF4-FFF2-40B4-BE49-F238E27FC236}">
                    <a16:creationId xmlns:a16="http://schemas.microsoft.com/office/drawing/2014/main" id="{B185E357-9DEF-1231-CA26-888C80473CC3}"/>
                  </a:ext>
                </a:extLst>
              </p:cNvPr>
              <p:cNvSpPr/>
              <p:nvPr>
                <p:custDataLst>
                  <p:tags r:id="rId85"/>
                </p:custDataLst>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dirty="0"/>
              </a:p>
            </p:txBody>
          </p:sp>
          <p:sp>
            <p:nvSpPr>
              <p:cNvPr id="835" name="Forma Livre: Forma 834">
                <a:extLst>
                  <a:ext uri="{FF2B5EF4-FFF2-40B4-BE49-F238E27FC236}">
                    <a16:creationId xmlns:a16="http://schemas.microsoft.com/office/drawing/2014/main" id="{04F65B28-6234-4C8A-DCDF-17E268C3A530}"/>
                  </a:ext>
                </a:extLst>
              </p:cNvPr>
              <p:cNvSpPr/>
              <p:nvPr>
                <p:custDataLst>
                  <p:tags r:id="rId86"/>
                </p:custDataLst>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dirty="0"/>
              </a:p>
            </p:txBody>
          </p:sp>
          <p:sp>
            <p:nvSpPr>
              <p:cNvPr id="836" name="Forma Livre: Forma 835">
                <a:extLst>
                  <a:ext uri="{FF2B5EF4-FFF2-40B4-BE49-F238E27FC236}">
                    <a16:creationId xmlns:a16="http://schemas.microsoft.com/office/drawing/2014/main" id="{A91A59EC-FA6B-DE79-DE76-066FA7781479}"/>
                  </a:ext>
                </a:extLst>
              </p:cNvPr>
              <p:cNvSpPr/>
              <p:nvPr>
                <p:custDataLst>
                  <p:tags r:id="rId87"/>
                </p:custDataLst>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3" h="120013">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dirty="0"/>
              </a:p>
            </p:txBody>
          </p:sp>
        </p:grpSp>
        <p:grpSp>
          <p:nvGrpSpPr>
            <p:cNvPr id="696" name="Gráfico 490">
              <a:extLst>
                <a:ext uri="{FF2B5EF4-FFF2-40B4-BE49-F238E27FC236}">
                  <a16:creationId xmlns:a16="http://schemas.microsoft.com/office/drawing/2014/main" id="{82D9DFC6-E23A-642C-E9E8-5DF5476236B2}"/>
                </a:ext>
              </a:extLst>
            </p:cNvPr>
            <p:cNvGrpSpPr/>
            <p:nvPr>
              <p:custDataLst>
                <p:tags r:id="rId69"/>
              </p:custDataLst>
            </p:nvPr>
          </p:nvGrpSpPr>
          <p:grpSpPr>
            <a:xfrm>
              <a:off x="6332148" y="4717413"/>
              <a:ext cx="121723" cy="121339"/>
              <a:chOff x="7139340" y="2443618"/>
              <a:chExt cx="905827" cy="902970"/>
            </a:xfrm>
            <a:solidFill>
              <a:schemeClr val="bg1"/>
            </a:solidFill>
          </p:grpSpPr>
          <p:sp>
            <p:nvSpPr>
              <p:cNvPr id="698" name="Forma Livre: Forma 697">
                <a:extLst>
                  <a:ext uri="{FF2B5EF4-FFF2-40B4-BE49-F238E27FC236}">
                    <a16:creationId xmlns:a16="http://schemas.microsoft.com/office/drawing/2014/main" id="{01C02C32-98D9-5423-843A-3A6388ADC903}"/>
                  </a:ext>
                </a:extLst>
              </p:cNvPr>
              <p:cNvSpPr/>
              <p:nvPr>
                <p:custDataLst>
                  <p:tags r:id="rId72"/>
                </p:custDataLst>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dirty="0"/>
              </a:p>
            </p:txBody>
          </p:sp>
          <p:sp>
            <p:nvSpPr>
              <p:cNvPr id="699" name="Forma Livre: Forma 698">
                <a:extLst>
                  <a:ext uri="{FF2B5EF4-FFF2-40B4-BE49-F238E27FC236}">
                    <a16:creationId xmlns:a16="http://schemas.microsoft.com/office/drawing/2014/main" id="{7616474A-DC48-DE6F-4827-646D777C805E}"/>
                  </a:ext>
                </a:extLst>
              </p:cNvPr>
              <p:cNvSpPr/>
              <p:nvPr>
                <p:custDataLst>
                  <p:tags r:id="rId73"/>
                </p:custDataLst>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dirty="0"/>
              </a:p>
            </p:txBody>
          </p:sp>
          <p:sp>
            <p:nvSpPr>
              <p:cNvPr id="700" name="Forma Livre: Forma 699">
                <a:extLst>
                  <a:ext uri="{FF2B5EF4-FFF2-40B4-BE49-F238E27FC236}">
                    <a16:creationId xmlns:a16="http://schemas.microsoft.com/office/drawing/2014/main" id="{E19AE87F-F1ED-182F-863A-E21E319D21C1}"/>
                  </a:ext>
                </a:extLst>
              </p:cNvPr>
              <p:cNvSpPr/>
              <p:nvPr>
                <p:custDataLst>
                  <p:tags r:id="rId74"/>
                </p:custDataLst>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dirty="0"/>
              </a:p>
            </p:txBody>
          </p:sp>
          <p:sp>
            <p:nvSpPr>
              <p:cNvPr id="701" name="Forma Livre: Forma 700">
                <a:extLst>
                  <a:ext uri="{FF2B5EF4-FFF2-40B4-BE49-F238E27FC236}">
                    <a16:creationId xmlns:a16="http://schemas.microsoft.com/office/drawing/2014/main" id="{7F9729E3-EC36-954C-9673-5889AB8FA11A}"/>
                  </a:ext>
                </a:extLst>
              </p:cNvPr>
              <p:cNvSpPr/>
              <p:nvPr>
                <p:custDataLst>
                  <p:tags r:id="rId75"/>
                </p:custDataLst>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dirty="0"/>
              </a:p>
            </p:txBody>
          </p:sp>
          <p:sp>
            <p:nvSpPr>
              <p:cNvPr id="702" name="Forma Livre: Forma 701">
                <a:extLst>
                  <a:ext uri="{FF2B5EF4-FFF2-40B4-BE49-F238E27FC236}">
                    <a16:creationId xmlns:a16="http://schemas.microsoft.com/office/drawing/2014/main" id="{C0ABBB02-48FB-82F6-053C-A29741966F2B}"/>
                  </a:ext>
                </a:extLst>
              </p:cNvPr>
              <p:cNvSpPr/>
              <p:nvPr>
                <p:custDataLst>
                  <p:tags r:id="rId76"/>
                </p:custDataLst>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dirty="0"/>
              </a:p>
            </p:txBody>
          </p:sp>
          <p:sp>
            <p:nvSpPr>
              <p:cNvPr id="703" name="Forma Livre: Forma 702">
                <a:extLst>
                  <a:ext uri="{FF2B5EF4-FFF2-40B4-BE49-F238E27FC236}">
                    <a16:creationId xmlns:a16="http://schemas.microsoft.com/office/drawing/2014/main" id="{309C5AF5-73DB-6067-EED5-DB038592B864}"/>
                  </a:ext>
                </a:extLst>
              </p:cNvPr>
              <p:cNvSpPr/>
              <p:nvPr>
                <p:custDataLst>
                  <p:tags r:id="rId77"/>
                </p:custDataLst>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dirty="0"/>
              </a:p>
            </p:txBody>
          </p:sp>
          <p:sp>
            <p:nvSpPr>
              <p:cNvPr id="704" name="Forma Livre: Forma 703">
                <a:extLst>
                  <a:ext uri="{FF2B5EF4-FFF2-40B4-BE49-F238E27FC236}">
                    <a16:creationId xmlns:a16="http://schemas.microsoft.com/office/drawing/2014/main" id="{F689CFD8-E79C-5292-05FB-77C6066A2CC3}"/>
                  </a:ext>
                </a:extLst>
              </p:cNvPr>
              <p:cNvSpPr/>
              <p:nvPr>
                <p:custDataLst>
                  <p:tags r:id="rId78"/>
                </p:custDataLst>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dirty="0"/>
              </a:p>
            </p:txBody>
          </p:sp>
          <p:sp>
            <p:nvSpPr>
              <p:cNvPr id="705" name="Forma Livre: Forma 704">
                <a:extLst>
                  <a:ext uri="{FF2B5EF4-FFF2-40B4-BE49-F238E27FC236}">
                    <a16:creationId xmlns:a16="http://schemas.microsoft.com/office/drawing/2014/main" id="{AF3D06E1-D261-7157-75E3-CCF036FE240E}"/>
                  </a:ext>
                </a:extLst>
              </p:cNvPr>
              <p:cNvSpPr/>
              <p:nvPr>
                <p:custDataLst>
                  <p:tags r:id="rId79"/>
                </p:custDataLst>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dirty="0"/>
              </a:p>
            </p:txBody>
          </p:sp>
        </p:grpSp>
        <p:sp>
          <p:nvSpPr>
            <p:cNvPr id="1036" name="CaixaDeTexto 1035">
              <a:extLst>
                <a:ext uri="{FF2B5EF4-FFF2-40B4-BE49-F238E27FC236}">
                  <a16:creationId xmlns:a16="http://schemas.microsoft.com/office/drawing/2014/main" id="{A19CEBF5-50EE-B3DE-46B9-079F081830F9}"/>
                </a:ext>
              </a:extLst>
            </p:cNvPr>
            <p:cNvSpPr txBox="1"/>
            <p:nvPr>
              <p:custDataLst>
                <p:tags r:id="rId70"/>
              </p:custDataLst>
            </p:nvPr>
          </p:nvSpPr>
          <p:spPr>
            <a:xfrm>
              <a:off x="6456449" y="4641476"/>
              <a:ext cx="511302" cy="251711"/>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1050" b="0" i="0" u="none" strike="noStrike" cap="none" baseline="0" dirty="0">
                  <a:solidFill>
                    <a:srgbClr val="011F57"/>
                  </a:solidFill>
                  <a:effectLst/>
                  <a:uFillTx/>
                  <a:latin typeface="Segoe UI"/>
                </a:rPr>
                <a:t>Solar</a:t>
              </a:r>
            </a:p>
          </p:txBody>
        </p:sp>
        <p:sp>
          <p:nvSpPr>
            <p:cNvPr id="1037" name="CaixaDeTexto 1036">
              <a:extLst>
                <a:ext uri="{FF2B5EF4-FFF2-40B4-BE49-F238E27FC236}">
                  <a16:creationId xmlns:a16="http://schemas.microsoft.com/office/drawing/2014/main" id="{4D4CA36E-55DE-1A34-6461-BF3D31EF8986}"/>
                </a:ext>
              </a:extLst>
            </p:cNvPr>
            <p:cNvSpPr txBox="1"/>
            <p:nvPr>
              <p:custDataLst>
                <p:tags r:id="rId71"/>
              </p:custDataLst>
            </p:nvPr>
          </p:nvSpPr>
          <p:spPr>
            <a:xfrm>
              <a:off x="7085197" y="4641476"/>
              <a:ext cx="750735" cy="251711"/>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1050" b="0" i="0" u="none" strike="noStrike" cap="none" baseline="0" dirty="0">
                  <a:solidFill>
                    <a:srgbClr val="011F57"/>
                  </a:solidFill>
                  <a:effectLst/>
                  <a:uFillTx/>
                  <a:latin typeface="Segoe UI"/>
                </a:rPr>
                <a:t>Wind</a:t>
              </a:r>
            </a:p>
          </p:txBody>
        </p:sp>
      </p:grpSp>
      <p:sp>
        <p:nvSpPr>
          <p:cNvPr id="1039" name="Forma Livre: Forma 1038">
            <a:extLst>
              <a:ext uri="{FF2B5EF4-FFF2-40B4-BE49-F238E27FC236}">
                <a16:creationId xmlns:a16="http://schemas.microsoft.com/office/drawing/2014/main" id="{4D13D610-759F-B02B-DD45-89FD708BE1EF}"/>
              </a:ext>
            </a:extLst>
          </p:cNvPr>
          <p:cNvSpPr/>
          <p:nvPr>
            <p:custDataLst>
              <p:tags r:id="rId13"/>
            </p:custDataLst>
          </p:nvPr>
        </p:nvSpPr>
        <p:spPr>
          <a:xfrm>
            <a:off x="2951430" y="1439841"/>
            <a:ext cx="2446978" cy="950273"/>
          </a:xfrm>
          <a:custGeom>
            <a:avLst/>
            <a:gdLst>
              <a:gd name="connsiteX0" fmla="*/ 2435382 w 2435382"/>
              <a:gd name="connsiteY0" fmla="*/ 959667 h 959667"/>
              <a:gd name="connsiteX1" fmla="*/ 2435382 w 2435382"/>
              <a:gd name="connsiteY1" fmla="*/ 0 h 959667"/>
              <a:gd name="connsiteX2" fmla="*/ 0 w 2435382"/>
              <a:gd name="connsiteY2" fmla="*/ 0 h 959667"/>
            </a:gdLst>
            <a:ahLst/>
            <a:cxnLst>
              <a:cxn ang="0">
                <a:pos x="connsiteX0" y="connsiteY0"/>
              </a:cxn>
              <a:cxn ang="0">
                <a:pos x="connsiteX1" y="connsiteY1"/>
              </a:cxn>
              <a:cxn ang="0">
                <a:pos x="connsiteX2" y="connsiteY2"/>
              </a:cxn>
            </a:cxnLst>
            <a:rect l="l" t="t" r="r" b="b"/>
            <a:pathLst>
              <a:path w="2435382" h="959667">
                <a:moveTo>
                  <a:pt x="2435382" y="959667"/>
                </a:moveTo>
                <a:lnTo>
                  <a:pt x="2435382" y="0"/>
                </a:lnTo>
                <a:lnTo>
                  <a:pt x="0" y="0"/>
                </a:lnTo>
              </a:path>
            </a:pathLst>
          </a:custGeom>
          <a:noFill/>
          <a:ln>
            <a:solidFill>
              <a:srgbClr val="005FD7"/>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cxnSp>
        <p:nvCxnSpPr>
          <p:cNvPr id="1041" name="Conector reto 1040">
            <a:extLst>
              <a:ext uri="{FF2B5EF4-FFF2-40B4-BE49-F238E27FC236}">
                <a16:creationId xmlns:a16="http://schemas.microsoft.com/office/drawing/2014/main" id="{DD9A455D-D156-637B-CE4C-F440ECF74F99}"/>
              </a:ext>
            </a:extLst>
          </p:cNvPr>
          <p:cNvCxnSpPr/>
          <p:nvPr>
            <p:custDataLst>
              <p:tags r:id="rId14"/>
            </p:custDataLst>
          </p:nvPr>
        </p:nvCxnSpPr>
        <p:spPr>
          <a:xfrm flipH="1" flipV="1">
            <a:off x="2961795" y="3488018"/>
            <a:ext cx="2478844" cy="22218"/>
          </a:xfrm>
          <a:prstGeom prst="line">
            <a:avLst/>
          </a:prstGeom>
          <a:noFill/>
          <a:ln>
            <a:solidFill>
              <a:srgbClr val="005FD7"/>
            </a:solidFill>
            <a:prstDash val="dash"/>
          </a:ln>
        </p:spPr>
        <p:style>
          <a:lnRef idx="2">
            <a:schemeClr val="accent1">
              <a:shade val="15000"/>
            </a:schemeClr>
          </a:lnRef>
          <a:fillRef idx="1">
            <a:schemeClr val="accent1"/>
          </a:fillRef>
          <a:effectRef idx="0">
            <a:schemeClr val="accent1"/>
          </a:effectRef>
          <a:fontRef idx="minor">
            <a:schemeClr val="lt1"/>
          </a:fontRef>
        </p:style>
      </p:cxnSp>
      <p:grpSp>
        <p:nvGrpSpPr>
          <p:cNvPr id="147" name="Agrupar 146">
            <a:extLst>
              <a:ext uri="{FF2B5EF4-FFF2-40B4-BE49-F238E27FC236}">
                <a16:creationId xmlns:a16="http://schemas.microsoft.com/office/drawing/2014/main" id="{266F8C58-58B8-5333-49A8-F5C7CE1C0D8F}"/>
              </a:ext>
            </a:extLst>
          </p:cNvPr>
          <p:cNvGrpSpPr/>
          <p:nvPr>
            <p:custDataLst>
              <p:tags r:id="rId15"/>
            </p:custDataLst>
          </p:nvPr>
        </p:nvGrpSpPr>
        <p:grpSpPr>
          <a:xfrm>
            <a:off x="4182774" y="2171931"/>
            <a:ext cx="3087066" cy="803588"/>
            <a:chOff x="3871139" y="2123442"/>
            <a:chExt cx="3087066" cy="803588"/>
          </a:xfrm>
        </p:grpSpPr>
        <p:grpSp>
          <p:nvGrpSpPr>
            <p:cNvPr id="139" name="Agrupar 138">
              <a:extLst>
                <a:ext uri="{FF2B5EF4-FFF2-40B4-BE49-F238E27FC236}">
                  <a16:creationId xmlns:a16="http://schemas.microsoft.com/office/drawing/2014/main" id="{BD85539D-B602-4C68-8CB4-DCBE192DAFBF}"/>
                </a:ext>
              </a:extLst>
            </p:cNvPr>
            <p:cNvGrpSpPr/>
            <p:nvPr>
              <p:custDataLst>
                <p:tags r:id="rId37"/>
              </p:custDataLst>
            </p:nvPr>
          </p:nvGrpSpPr>
          <p:grpSpPr>
            <a:xfrm>
              <a:off x="5029200" y="2294573"/>
              <a:ext cx="411480" cy="514350"/>
              <a:chOff x="5029200" y="2294573"/>
              <a:chExt cx="411480" cy="514350"/>
            </a:xfrm>
          </p:grpSpPr>
          <p:cxnSp>
            <p:nvCxnSpPr>
              <p:cNvPr id="135" name="Conector reto 134">
                <a:extLst>
                  <a:ext uri="{FF2B5EF4-FFF2-40B4-BE49-F238E27FC236}">
                    <a16:creationId xmlns:a16="http://schemas.microsoft.com/office/drawing/2014/main" id="{8A2E5058-91C1-308D-D72A-29DCE30686DF}"/>
                  </a:ext>
                </a:extLst>
              </p:cNvPr>
              <p:cNvCxnSpPr/>
              <p:nvPr>
                <p:custDataLst>
                  <p:tags r:id="rId66"/>
                </p:custDataLst>
              </p:nvPr>
            </p:nvCxnSpPr>
            <p:spPr>
              <a:xfrm flipH="1" flipV="1">
                <a:off x="5076923" y="2362496"/>
                <a:ext cx="77577" cy="151361"/>
              </a:xfrm>
              <a:prstGeom prst="line">
                <a:avLst/>
              </a:pr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37" name="Forma Livre: Forma 136">
                <a:extLst>
                  <a:ext uri="{FF2B5EF4-FFF2-40B4-BE49-F238E27FC236}">
                    <a16:creationId xmlns:a16="http://schemas.microsoft.com/office/drawing/2014/main" id="{F171D4B4-2DD6-737C-EF40-E2714B3C22F2}"/>
                  </a:ext>
                </a:extLst>
              </p:cNvPr>
              <p:cNvSpPr/>
              <p:nvPr>
                <p:custDataLst>
                  <p:tags r:id="rId67"/>
                </p:custDataLst>
              </p:nvPr>
            </p:nvSpPr>
            <p:spPr>
              <a:xfrm>
                <a:off x="5029200" y="2294573"/>
                <a:ext cx="411480" cy="514350"/>
              </a:xfrm>
              <a:custGeom>
                <a:avLst/>
                <a:gdLst>
                  <a:gd name="connsiteX0" fmla="*/ 0 w 411480"/>
                  <a:gd name="connsiteY0" fmla="*/ 514350 h 514350"/>
                  <a:gd name="connsiteX1" fmla="*/ 65723 w 411480"/>
                  <a:gd name="connsiteY1" fmla="*/ 391477 h 514350"/>
                  <a:gd name="connsiteX2" fmla="*/ 114300 w 411480"/>
                  <a:gd name="connsiteY2" fmla="*/ 208597 h 514350"/>
                  <a:gd name="connsiteX3" fmla="*/ 328613 w 411480"/>
                  <a:gd name="connsiteY3" fmla="*/ 97155 h 514350"/>
                  <a:gd name="connsiteX4" fmla="*/ 411480 w 41148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480" h="514350">
                    <a:moveTo>
                      <a:pt x="0" y="514350"/>
                    </a:moveTo>
                    <a:lnTo>
                      <a:pt x="65723" y="391477"/>
                    </a:lnTo>
                    <a:lnTo>
                      <a:pt x="114300" y="208597"/>
                    </a:lnTo>
                    <a:lnTo>
                      <a:pt x="328613" y="97155"/>
                    </a:lnTo>
                    <a:lnTo>
                      <a:pt x="411480" y="0"/>
                    </a:lnTo>
                  </a:path>
                </a:pathLst>
              </a:custGeom>
              <a:ln w="12700">
                <a:solidFill>
                  <a:schemeClr val="bg1">
                    <a:lumMod val="65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Calibri" panose="020F0502020204030204"/>
                  <a:ea typeface="+mn-ea"/>
                  <a:cs typeface="+mn-cs"/>
                </a:endParaRPr>
              </a:p>
            </p:txBody>
          </p:sp>
        </p:grpSp>
        <p:grpSp>
          <p:nvGrpSpPr>
            <p:cNvPr id="146" name="Agrupar 145">
              <a:extLst>
                <a:ext uri="{FF2B5EF4-FFF2-40B4-BE49-F238E27FC236}">
                  <a16:creationId xmlns:a16="http://schemas.microsoft.com/office/drawing/2014/main" id="{559C1AF1-C909-A3F9-AAC4-820CE58DCDD3}"/>
                </a:ext>
              </a:extLst>
            </p:cNvPr>
            <p:cNvGrpSpPr/>
            <p:nvPr>
              <p:custDataLst>
                <p:tags r:id="rId38"/>
              </p:custDataLst>
            </p:nvPr>
          </p:nvGrpSpPr>
          <p:grpSpPr>
            <a:xfrm>
              <a:off x="3871139" y="2123442"/>
              <a:ext cx="3087066" cy="803588"/>
              <a:chOff x="3871139" y="2123442"/>
              <a:chExt cx="3087066" cy="803588"/>
            </a:xfrm>
          </p:grpSpPr>
          <p:grpSp>
            <p:nvGrpSpPr>
              <p:cNvPr id="145" name="Agrupar 144">
                <a:extLst>
                  <a:ext uri="{FF2B5EF4-FFF2-40B4-BE49-F238E27FC236}">
                    <a16:creationId xmlns:a16="http://schemas.microsoft.com/office/drawing/2014/main" id="{66891668-F38F-F5FF-F3D8-27F832CEFBF8}"/>
                  </a:ext>
                </a:extLst>
              </p:cNvPr>
              <p:cNvGrpSpPr/>
              <p:nvPr>
                <p:custDataLst>
                  <p:tags r:id="rId39"/>
                </p:custDataLst>
              </p:nvPr>
            </p:nvGrpSpPr>
            <p:grpSpPr>
              <a:xfrm>
                <a:off x="3871139" y="2711586"/>
                <a:ext cx="1206860" cy="215444"/>
                <a:chOff x="3871139" y="2711586"/>
                <a:chExt cx="1206860" cy="215444"/>
              </a:xfrm>
            </p:grpSpPr>
            <p:grpSp>
              <p:nvGrpSpPr>
                <p:cNvPr id="102" name="Agrupar 101">
                  <a:extLst>
                    <a:ext uri="{FF2B5EF4-FFF2-40B4-BE49-F238E27FC236}">
                      <a16:creationId xmlns:a16="http://schemas.microsoft.com/office/drawing/2014/main" id="{CCCE4D3D-ECAF-A827-8C71-9B20A0A9FD28}"/>
                    </a:ext>
                  </a:extLst>
                </p:cNvPr>
                <p:cNvGrpSpPr/>
                <p:nvPr>
                  <p:custDataLst>
                    <p:tags r:id="rId62"/>
                  </p:custDataLst>
                </p:nvPr>
              </p:nvGrpSpPr>
              <p:grpSpPr>
                <a:xfrm>
                  <a:off x="4611884" y="2763779"/>
                  <a:ext cx="466115" cy="88300"/>
                  <a:chOff x="4900572" y="3566979"/>
                  <a:chExt cx="466115" cy="88300"/>
                </a:xfrm>
              </p:grpSpPr>
              <p:sp>
                <p:nvSpPr>
                  <p:cNvPr id="100" name="Elipse 99">
                    <a:extLst>
                      <a:ext uri="{FF2B5EF4-FFF2-40B4-BE49-F238E27FC236}">
                        <a16:creationId xmlns:a16="http://schemas.microsoft.com/office/drawing/2014/main" id="{3D2ABDF8-A44B-8ADB-88B2-9857DFD5EEB7}"/>
                      </a:ext>
                    </a:extLst>
                  </p:cNvPr>
                  <p:cNvSpPr/>
                  <p:nvPr>
                    <p:custDataLst>
                      <p:tags r:id="rId64"/>
                    </p:custDataLst>
                  </p:nvPr>
                </p:nvSpPr>
                <p:spPr>
                  <a:xfrm>
                    <a:off x="5278386" y="3566979"/>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01" name="Conector reto 100">
                    <a:extLst>
                      <a:ext uri="{FF2B5EF4-FFF2-40B4-BE49-F238E27FC236}">
                        <a16:creationId xmlns:a16="http://schemas.microsoft.com/office/drawing/2014/main" id="{A58A2BE1-1F25-FBF4-79F6-D27F2F5C68AB}"/>
                      </a:ext>
                    </a:extLst>
                  </p:cNvPr>
                  <p:cNvCxnSpPr/>
                  <p:nvPr>
                    <p:custDataLst>
                      <p:tags r:id="rId65"/>
                    </p:custDataLst>
                  </p:nvPr>
                </p:nvCxnSpPr>
                <p:spPr>
                  <a:xfrm flipH="1">
                    <a:off x="4900572" y="3620144"/>
                    <a:ext cx="377814" cy="0"/>
                  </a:xfrm>
                  <a:prstGeom prst="line">
                    <a:avLst/>
                  </a:prstGeom>
                  <a:no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grpSp>
            <p:sp>
              <p:nvSpPr>
                <p:cNvPr id="103" name="CaixaDeTexto 102">
                  <a:extLst>
                    <a:ext uri="{FF2B5EF4-FFF2-40B4-BE49-F238E27FC236}">
                      <a16:creationId xmlns:a16="http://schemas.microsoft.com/office/drawing/2014/main" id="{7977B20F-6990-F828-1516-A4139CEA8B1A}"/>
                    </a:ext>
                  </a:extLst>
                </p:cNvPr>
                <p:cNvSpPr txBox="1"/>
                <p:nvPr>
                  <p:custDataLst>
                    <p:tags r:id="rId63"/>
                  </p:custDataLst>
                </p:nvPr>
              </p:nvSpPr>
              <p:spPr>
                <a:xfrm>
                  <a:off x="3870358" y="2711586"/>
                  <a:ext cx="781170" cy="213573"/>
                </a:xfrm>
                <a:prstGeom prst="rect">
                  <a:avLst/>
                </a:prstGeom>
                <a:noFill/>
              </p:spPr>
              <p:txBody>
                <a:bodyPr wrap="square"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4894F1"/>
                      </a:solidFill>
                      <a:effectLst/>
                      <a:uFillTx/>
                      <a:latin typeface="Segoe UI"/>
                    </a:rPr>
                    <a:t>SS Arinos 2</a:t>
                  </a:r>
                </a:p>
              </p:txBody>
            </p:sp>
          </p:grpSp>
          <p:grpSp>
            <p:nvGrpSpPr>
              <p:cNvPr id="144" name="Agrupar 143">
                <a:extLst>
                  <a:ext uri="{FF2B5EF4-FFF2-40B4-BE49-F238E27FC236}">
                    <a16:creationId xmlns:a16="http://schemas.microsoft.com/office/drawing/2014/main" id="{9202940B-6F4E-0F24-6BE8-36F6E81A670E}"/>
                  </a:ext>
                </a:extLst>
              </p:cNvPr>
              <p:cNvGrpSpPr/>
              <p:nvPr>
                <p:custDataLst>
                  <p:tags r:id="rId40"/>
                </p:custDataLst>
              </p:nvPr>
            </p:nvGrpSpPr>
            <p:grpSpPr>
              <a:xfrm>
                <a:off x="5051155" y="2561756"/>
                <a:ext cx="1858646" cy="215444"/>
                <a:chOff x="5051155" y="2561756"/>
                <a:chExt cx="1858646" cy="215444"/>
              </a:xfrm>
            </p:grpSpPr>
            <p:sp>
              <p:nvSpPr>
                <p:cNvPr id="113" name="Elipse 112">
                  <a:extLst>
                    <a:ext uri="{FF2B5EF4-FFF2-40B4-BE49-F238E27FC236}">
                      <a16:creationId xmlns:a16="http://schemas.microsoft.com/office/drawing/2014/main" id="{FAF48F72-C4CF-7275-4DEE-9431D09622B4}"/>
                    </a:ext>
                  </a:extLst>
                </p:cNvPr>
                <p:cNvSpPr/>
                <p:nvPr>
                  <p:custDataLst>
                    <p:tags r:id="rId59"/>
                  </p:custDataLst>
                </p:nvPr>
              </p:nvSpPr>
              <p:spPr>
                <a:xfrm>
                  <a:off x="5051155" y="2645710"/>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14" name="Conector reto 113">
                  <a:extLst>
                    <a:ext uri="{FF2B5EF4-FFF2-40B4-BE49-F238E27FC236}">
                      <a16:creationId xmlns:a16="http://schemas.microsoft.com/office/drawing/2014/main" id="{75AB073D-7757-5F5E-3AEA-5C7BEDF53C84}"/>
                    </a:ext>
                  </a:extLst>
                </p:cNvPr>
                <p:cNvCxnSpPr/>
                <p:nvPr>
                  <p:custDataLst>
                    <p:tags r:id="rId60"/>
                  </p:custDataLst>
                </p:nvPr>
              </p:nvCxnSpPr>
              <p:spPr>
                <a:xfrm flipH="1">
                  <a:off x="5123766" y="2680464"/>
                  <a:ext cx="623435" cy="0"/>
                </a:xfrm>
                <a:prstGeom prst="line">
                  <a:avLst/>
                </a:prstGeom>
                <a:noFill/>
                <a:ln w="19050">
                  <a:gradFill>
                    <a:gsLst>
                      <a:gs pos="0">
                        <a:srgbClr val="FE5000">
                          <a:alpha val="0"/>
                        </a:srgbClr>
                      </a:gs>
                      <a:gs pos="50000">
                        <a:srgbClr val="FE5000"/>
                      </a:gs>
                      <a:gs pos="100000">
                        <a:srgbClr val="FE5000">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115" name="CaixaDeTexto 114">
                  <a:extLst>
                    <a:ext uri="{FF2B5EF4-FFF2-40B4-BE49-F238E27FC236}">
                      <a16:creationId xmlns:a16="http://schemas.microsoft.com/office/drawing/2014/main" id="{3D2B0D32-2C04-ED94-BBD9-948185D529C1}"/>
                    </a:ext>
                  </a:extLst>
                </p:cNvPr>
                <p:cNvSpPr txBox="1"/>
                <p:nvPr>
                  <p:custDataLst>
                    <p:tags r:id="rId61"/>
                  </p:custDataLst>
                </p:nvPr>
              </p:nvSpPr>
              <p:spPr>
                <a:xfrm>
                  <a:off x="5685557" y="2561756"/>
                  <a:ext cx="1225469" cy="213573"/>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F8681E"/>
                      </a:solidFill>
                      <a:effectLst/>
                      <a:uFillTx/>
                      <a:latin typeface="Segoe UI"/>
                    </a:rPr>
                    <a:t>SS Correntina</a:t>
                  </a:r>
                </a:p>
              </p:txBody>
            </p:sp>
          </p:grpSp>
          <p:grpSp>
            <p:nvGrpSpPr>
              <p:cNvPr id="142" name="Agrupar 141">
                <a:extLst>
                  <a:ext uri="{FF2B5EF4-FFF2-40B4-BE49-F238E27FC236}">
                    <a16:creationId xmlns:a16="http://schemas.microsoft.com/office/drawing/2014/main" id="{DC0A9B69-7782-333F-D62F-4FF7A2CBFE3E}"/>
                  </a:ext>
                </a:extLst>
              </p:cNvPr>
              <p:cNvGrpSpPr/>
              <p:nvPr>
                <p:custDataLst>
                  <p:tags r:id="rId41"/>
                </p:custDataLst>
              </p:nvPr>
            </p:nvGrpSpPr>
            <p:grpSpPr>
              <a:xfrm>
                <a:off x="5099559" y="2393778"/>
                <a:ext cx="1858646" cy="215444"/>
                <a:chOff x="5099559" y="2393778"/>
                <a:chExt cx="1858646" cy="215444"/>
              </a:xfrm>
            </p:grpSpPr>
            <p:sp>
              <p:nvSpPr>
                <p:cNvPr id="117" name="Elipse 116">
                  <a:extLst>
                    <a:ext uri="{FF2B5EF4-FFF2-40B4-BE49-F238E27FC236}">
                      <a16:creationId xmlns:a16="http://schemas.microsoft.com/office/drawing/2014/main" id="{E989981B-2289-ED2C-06B1-B293DBBBF862}"/>
                    </a:ext>
                  </a:extLst>
                </p:cNvPr>
                <p:cNvSpPr/>
                <p:nvPr>
                  <p:custDataLst>
                    <p:tags r:id="rId56"/>
                  </p:custDataLst>
                </p:nvPr>
              </p:nvSpPr>
              <p:spPr>
                <a:xfrm>
                  <a:off x="5099559" y="2467793"/>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18" name="Conector reto 117">
                  <a:extLst>
                    <a:ext uri="{FF2B5EF4-FFF2-40B4-BE49-F238E27FC236}">
                      <a16:creationId xmlns:a16="http://schemas.microsoft.com/office/drawing/2014/main" id="{548384C5-556B-3571-8B8B-797D05438FA0}"/>
                    </a:ext>
                  </a:extLst>
                </p:cNvPr>
                <p:cNvCxnSpPr/>
                <p:nvPr>
                  <p:custDataLst>
                    <p:tags r:id="rId57"/>
                  </p:custDataLst>
                </p:nvPr>
              </p:nvCxnSpPr>
              <p:spPr>
                <a:xfrm flipH="1">
                  <a:off x="5172170" y="2502547"/>
                  <a:ext cx="623435" cy="0"/>
                </a:xfrm>
                <a:prstGeom prst="line">
                  <a:avLst/>
                </a:prstGeom>
                <a:noFill/>
                <a:ln w="19050">
                  <a:gradFill>
                    <a:gsLst>
                      <a:gs pos="0">
                        <a:srgbClr val="FE5000">
                          <a:alpha val="0"/>
                        </a:srgbClr>
                      </a:gs>
                      <a:gs pos="50000">
                        <a:srgbClr val="FE5000"/>
                      </a:gs>
                      <a:gs pos="100000">
                        <a:srgbClr val="FE5000">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119" name="CaixaDeTexto 118">
                  <a:extLst>
                    <a:ext uri="{FF2B5EF4-FFF2-40B4-BE49-F238E27FC236}">
                      <a16:creationId xmlns:a16="http://schemas.microsoft.com/office/drawing/2014/main" id="{E319A56A-8D04-A1A0-50D3-908AA015F021}"/>
                    </a:ext>
                  </a:extLst>
                </p:cNvPr>
                <p:cNvSpPr txBox="1"/>
                <p:nvPr>
                  <p:custDataLst>
                    <p:tags r:id="rId58"/>
                  </p:custDataLst>
                </p:nvPr>
              </p:nvSpPr>
              <p:spPr>
                <a:xfrm>
                  <a:off x="5733961" y="2393778"/>
                  <a:ext cx="1225469" cy="213573"/>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F8681E"/>
                      </a:solidFill>
                      <a:effectLst/>
                      <a:uFillTx/>
                      <a:latin typeface="Segoe UI"/>
                    </a:rPr>
                    <a:t>SS Barra 2</a:t>
                  </a:r>
                </a:p>
              </p:txBody>
            </p:sp>
          </p:grpSp>
          <p:grpSp>
            <p:nvGrpSpPr>
              <p:cNvPr id="140" name="Agrupar 139">
                <a:extLst>
                  <a:ext uri="{FF2B5EF4-FFF2-40B4-BE49-F238E27FC236}">
                    <a16:creationId xmlns:a16="http://schemas.microsoft.com/office/drawing/2014/main" id="{04C3C50C-E98D-C42E-E016-39BF21C0F909}"/>
                  </a:ext>
                </a:extLst>
              </p:cNvPr>
              <p:cNvGrpSpPr/>
              <p:nvPr>
                <p:custDataLst>
                  <p:tags r:id="rId42"/>
                </p:custDataLst>
              </p:nvPr>
            </p:nvGrpSpPr>
            <p:grpSpPr>
              <a:xfrm>
                <a:off x="3929006" y="2283301"/>
                <a:ext cx="1207640" cy="338554"/>
                <a:chOff x="3929006" y="2283301"/>
                <a:chExt cx="1207640" cy="338554"/>
              </a:xfrm>
            </p:grpSpPr>
            <p:grpSp>
              <p:nvGrpSpPr>
                <p:cNvPr id="120" name="Agrupar 119">
                  <a:extLst>
                    <a:ext uri="{FF2B5EF4-FFF2-40B4-BE49-F238E27FC236}">
                      <a16:creationId xmlns:a16="http://schemas.microsoft.com/office/drawing/2014/main" id="{18D27AB1-173A-A356-9927-AAD156B582F1}"/>
                    </a:ext>
                  </a:extLst>
                </p:cNvPr>
                <p:cNvGrpSpPr/>
                <p:nvPr>
                  <p:custDataLst>
                    <p:tags r:id="rId52"/>
                  </p:custDataLst>
                </p:nvPr>
              </p:nvGrpSpPr>
              <p:grpSpPr>
                <a:xfrm>
                  <a:off x="4670531" y="2335494"/>
                  <a:ext cx="466115" cy="88300"/>
                  <a:chOff x="4900572" y="3566979"/>
                  <a:chExt cx="466115" cy="88300"/>
                </a:xfrm>
              </p:grpSpPr>
              <p:sp>
                <p:nvSpPr>
                  <p:cNvPr id="121" name="Elipse 120">
                    <a:extLst>
                      <a:ext uri="{FF2B5EF4-FFF2-40B4-BE49-F238E27FC236}">
                        <a16:creationId xmlns:a16="http://schemas.microsoft.com/office/drawing/2014/main" id="{7968A270-EDD3-C450-91CE-DC8AF919BE89}"/>
                      </a:ext>
                    </a:extLst>
                  </p:cNvPr>
                  <p:cNvSpPr/>
                  <p:nvPr>
                    <p:custDataLst>
                      <p:tags r:id="rId54"/>
                    </p:custDataLst>
                  </p:nvPr>
                </p:nvSpPr>
                <p:spPr>
                  <a:xfrm>
                    <a:off x="5278386" y="3566979"/>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22" name="Conector reto 121">
                    <a:extLst>
                      <a:ext uri="{FF2B5EF4-FFF2-40B4-BE49-F238E27FC236}">
                        <a16:creationId xmlns:a16="http://schemas.microsoft.com/office/drawing/2014/main" id="{E297B11B-40C9-4D72-F75F-7830A86A9689}"/>
                      </a:ext>
                    </a:extLst>
                  </p:cNvPr>
                  <p:cNvCxnSpPr/>
                  <p:nvPr>
                    <p:custDataLst>
                      <p:tags r:id="rId55"/>
                    </p:custDataLst>
                  </p:nvPr>
                </p:nvCxnSpPr>
                <p:spPr>
                  <a:xfrm flipH="1">
                    <a:off x="4900572" y="3620144"/>
                    <a:ext cx="377814" cy="0"/>
                  </a:xfrm>
                  <a:prstGeom prst="line">
                    <a:avLst/>
                  </a:prstGeom>
                  <a:no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grpSp>
            <p:sp>
              <p:nvSpPr>
                <p:cNvPr id="124" name="CaixaDeTexto 123">
                  <a:extLst>
                    <a:ext uri="{FF2B5EF4-FFF2-40B4-BE49-F238E27FC236}">
                      <a16:creationId xmlns:a16="http://schemas.microsoft.com/office/drawing/2014/main" id="{0E634A05-805C-61DD-9726-C9BCED0B752C}"/>
                    </a:ext>
                  </a:extLst>
                </p:cNvPr>
                <p:cNvSpPr txBox="1"/>
                <p:nvPr>
                  <p:custDataLst>
                    <p:tags r:id="rId53"/>
                  </p:custDataLst>
                </p:nvPr>
              </p:nvSpPr>
              <p:spPr>
                <a:xfrm>
                  <a:off x="3929006" y="2283301"/>
                  <a:ext cx="781170" cy="338554"/>
                </a:xfrm>
                <a:prstGeom prst="rect">
                  <a:avLst/>
                </a:prstGeom>
                <a:noFill/>
              </p:spPr>
              <p:txBody>
                <a:bodyPr wrap="square"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4894F1"/>
                      </a:solidFill>
                      <a:effectLst/>
                      <a:uFillTx/>
                      <a:latin typeface="Segoe UI"/>
                    </a:rPr>
                    <a:t>SS Buritirama</a:t>
                  </a:r>
                </a:p>
              </p:txBody>
            </p:sp>
          </p:grpSp>
          <p:grpSp>
            <p:nvGrpSpPr>
              <p:cNvPr id="143" name="Agrupar 142">
                <a:extLst>
                  <a:ext uri="{FF2B5EF4-FFF2-40B4-BE49-F238E27FC236}">
                    <a16:creationId xmlns:a16="http://schemas.microsoft.com/office/drawing/2014/main" id="{52B0C2FD-77F2-B958-F590-A62A0741EF97}"/>
                  </a:ext>
                </a:extLst>
              </p:cNvPr>
              <p:cNvGrpSpPr/>
              <p:nvPr>
                <p:custDataLst>
                  <p:tags r:id="rId43"/>
                </p:custDataLst>
              </p:nvPr>
            </p:nvGrpSpPr>
            <p:grpSpPr>
              <a:xfrm>
                <a:off x="5303779" y="2123442"/>
                <a:ext cx="1536506" cy="338554"/>
                <a:chOff x="5303779" y="2123442"/>
                <a:chExt cx="1536506" cy="338554"/>
              </a:xfrm>
            </p:grpSpPr>
            <p:sp>
              <p:nvSpPr>
                <p:cNvPr id="125" name="Elipse 124">
                  <a:extLst>
                    <a:ext uri="{FF2B5EF4-FFF2-40B4-BE49-F238E27FC236}">
                      <a16:creationId xmlns:a16="http://schemas.microsoft.com/office/drawing/2014/main" id="{58D310EE-0E3F-EB4D-E6CF-7FB0D19832E2}"/>
                    </a:ext>
                  </a:extLst>
                </p:cNvPr>
                <p:cNvSpPr/>
                <p:nvPr>
                  <p:custDataLst>
                    <p:tags r:id="rId49"/>
                  </p:custDataLst>
                </p:nvPr>
              </p:nvSpPr>
              <p:spPr>
                <a:xfrm>
                  <a:off x="5303779" y="2346590"/>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26" name="Conector reto 125">
                  <a:extLst>
                    <a:ext uri="{FF2B5EF4-FFF2-40B4-BE49-F238E27FC236}">
                      <a16:creationId xmlns:a16="http://schemas.microsoft.com/office/drawing/2014/main" id="{1319F883-E06E-CBBD-58DA-81FF319D2BE6}"/>
                    </a:ext>
                  </a:extLst>
                </p:cNvPr>
                <p:cNvCxnSpPr/>
                <p:nvPr>
                  <p:custDataLst>
                    <p:tags r:id="rId50"/>
                  </p:custDataLst>
                </p:nvPr>
              </p:nvCxnSpPr>
              <p:spPr>
                <a:xfrm flipH="1">
                  <a:off x="5376390" y="2381344"/>
                  <a:ext cx="623435" cy="0"/>
                </a:xfrm>
                <a:prstGeom prst="line">
                  <a:avLst/>
                </a:prstGeom>
                <a:noFill/>
                <a:ln w="19050">
                  <a:gradFill>
                    <a:gsLst>
                      <a:gs pos="0">
                        <a:srgbClr val="FE5000">
                          <a:alpha val="0"/>
                        </a:srgbClr>
                      </a:gs>
                      <a:gs pos="50000">
                        <a:srgbClr val="FE5000"/>
                      </a:gs>
                      <a:gs pos="100000">
                        <a:srgbClr val="FE5000">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127" name="CaixaDeTexto 126">
                  <a:extLst>
                    <a:ext uri="{FF2B5EF4-FFF2-40B4-BE49-F238E27FC236}">
                      <a16:creationId xmlns:a16="http://schemas.microsoft.com/office/drawing/2014/main" id="{9504B2B3-9DAF-05CD-65CD-C4E41CD0E3D8}"/>
                    </a:ext>
                  </a:extLst>
                </p:cNvPr>
                <p:cNvSpPr txBox="1"/>
                <p:nvPr>
                  <p:custDataLst>
                    <p:tags r:id="rId51"/>
                  </p:custDataLst>
                </p:nvPr>
              </p:nvSpPr>
              <p:spPr>
                <a:xfrm>
                  <a:off x="5938181" y="2123442"/>
                  <a:ext cx="903006" cy="335615"/>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F8681E"/>
                      </a:solidFill>
                      <a:effectLst/>
                      <a:uFillTx/>
                      <a:latin typeface="Segoe UI"/>
                    </a:rPr>
                    <a:t>SS Campo Formoso 3</a:t>
                  </a:r>
                </a:p>
              </p:txBody>
            </p:sp>
          </p:grpSp>
          <p:grpSp>
            <p:nvGrpSpPr>
              <p:cNvPr id="141" name="Agrupar 140">
                <a:extLst>
                  <a:ext uri="{FF2B5EF4-FFF2-40B4-BE49-F238E27FC236}">
                    <a16:creationId xmlns:a16="http://schemas.microsoft.com/office/drawing/2014/main" id="{83E286E8-23EF-5FED-98DA-65BAE965875B}"/>
                  </a:ext>
                </a:extLst>
              </p:cNvPr>
              <p:cNvGrpSpPr/>
              <p:nvPr>
                <p:custDataLst>
                  <p:tags r:id="rId44"/>
                </p:custDataLst>
              </p:nvPr>
            </p:nvGrpSpPr>
            <p:grpSpPr>
              <a:xfrm>
                <a:off x="4285486" y="2146401"/>
                <a:ext cx="1196921" cy="215444"/>
                <a:chOff x="4285486" y="2146401"/>
                <a:chExt cx="1196921" cy="215444"/>
              </a:xfrm>
            </p:grpSpPr>
            <p:grpSp>
              <p:nvGrpSpPr>
                <p:cNvPr id="128" name="Agrupar 127">
                  <a:extLst>
                    <a:ext uri="{FF2B5EF4-FFF2-40B4-BE49-F238E27FC236}">
                      <a16:creationId xmlns:a16="http://schemas.microsoft.com/office/drawing/2014/main" id="{829D9D26-9455-EF88-D7B2-462658CD62E0}"/>
                    </a:ext>
                  </a:extLst>
                </p:cNvPr>
                <p:cNvGrpSpPr/>
                <p:nvPr>
                  <p:custDataLst>
                    <p:tags r:id="rId45"/>
                  </p:custDataLst>
                </p:nvPr>
              </p:nvGrpSpPr>
              <p:grpSpPr>
                <a:xfrm>
                  <a:off x="5016292" y="2248289"/>
                  <a:ext cx="466115" cy="88300"/>
                  <a:chOff x="4900572" y="3566979"/>
                  <a:chExt cx="466115" cy="88300"/>
                </a:xfrm>
              </p:grpSpPr>
              <p:sp>
                <p:nvSpPr>
                  <p:cNvPr id="129" name="Elipse 128">
                    <a:extLst>
                      <a:ext uri="{FF2B5EF4-FFF2-40B4-BE49-F238E27FC236}">
                        <a16:creationId xmlns:a16="http://schemas.microsoft.com/office/drawing/2014/main" id="{AECE1CB6-A067-CFE5-4701-C9CA8EA3017A}"/>
                      </a:ext>
                    </a:extLst>
                  </p:cNvPr>
                  <p:cNvSpPr/>
                  <p:nvPr>
                    <p:custDataLst>
                      <p:tags r:id="rId47"/>
                    </p:custDataLst>
                  </p:nvPr>
                </p:nvSpPr>
                <p:spPr>
                  <a:xfrm>
                    <a:off x="5278386" y="3566979"/>
                    <a:ext cx="88301" cy="88300"/>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cxnSp>
                <p:nvCxnSpPr>
                  <p:cNvPr id="130" name="Conector reto 129">
                    <a:extLst>
                      <a:ext uri="{FF2B5EF4-FFF2-40B4-BE49-F238E27FC236}">
                        <a16:creationId xmlns:a16="http://schemas.microsoft.com/office/drawing/2014/main" id="{2798528B-6B7D-E67F-EE5F-CE05ABD1B635}"/>
                      </a:ext>
                    </a:extLst>
                  </p:cNvPr>
                  <p:cNvCxnSpPr/>
                  <p:nvPr>
                    <p:custDataLst>
                      <p:tags r:id="rId48"/>
                    </p:custDataLst>
                  </p:nvPr>
                </p:nvCxnSpPr>
                <p:spPr>
                  <a:xfrm flipH="1">
                    <a:off x="4900572" y="3620144"/>
                    <a:ext cx="377814" cy="0"/>
                  </a:xfrm>
                  <a:prstGeom prst="line">
                    <a:avLst/>
                  </a:prstGeom>
                  <a:noFill/>
                  <a:ln w="19050">
                    <a:gradFill>
                      <a:gsLst>
                        <a:gs pos="0">
                          <a:srgbClr val="00FFFF">
                            <a:alpha val="0"/>
                          </a:srgbClr>
                        </a:gs>
                        <a:gs pos="50000">
                          <a:srgbClr val="00FFFF"/>
                        </a:gs>
                        <a:gs pos="100000">
                          <a:srgbClr val="00FFFF">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grpSp>
            <p:sp>
              <p:nvSpPr>
                <p:cNvPr id="131" name="CaixaDeTexto 130">
                  <a:extLst>
                    <a:ext uri="{FF2B5EF4-FFF2-40B4-BE49-F238E27FC236}">
                      <a16:creationId xmlns:a16="http://schemas.microsoft.com/office/drawing/2014/main" id="{CBFE98F9-32AD-3053-2A9F-2AFD4D1D4C04}"/>
                    </a:ext>
                  </a:extLst>
                </p:cNvPr>
                <p:cNvSpPr txBox="1"/>
                <p:nvPr>
                  <p:custDataLst>
                    <p:tags r:id="rId46"/>
                  </p:custDataLst>
                </p:nvPr>
              </p:nvSpPr>
              <p:spPr>
                <a:xfrm>
                  <a:off x="4284706" y="2146401"/>
                  <a:ext cx="781170" cy="213573"/>
                </a:xfrm>
                <a:prstGeom prst="rect">
                  <a:avLst/>
                </a:prstGeom>
                <a:noFill/>
              </p:spPr>
              <p:txBody>
                <a:bodyPr wrap="square" rtlCol="0">
                  <a:spAutoFit/>
                </a:bodyPr>
                <a:lstStyle/>
                <a:p>
                  <a:pPr marL="0" marR="0" lvl="0" indent="0" algn="r" defTabSz="457200" rtl="0" eaLnBrk="1" fontAlgn="auto" latinLnBrk="0" hangingPunct="1">
                    <a:lnSpc>
                      <a:spcPct val="100000"/>
                    </a:lnSpc>
                    <a:spcBef>
                      <a:spcPct val="0"/>
                    </a:spcBef>
                    <a:spcAft>
                      <a:spcPct val="0"/>
                    </a:spcAft>
                    <a:buClrTx/>
                    <a:buSzTx/>
                    <a:buFontTx/>
                    <a:buNone/>
                    <a:defRPr/>
                  </a:pPr>
                  <a:r>
                    <a:rPr lang="en-US" sz="800" b="0" i="0" u="none" strike="noStrike" cap="none" baseline="0" dirty="0">
                      <a:solidFill>
                        <a:srgbClr val="4894F1"/>
                      </a:solidFill>
                      <a:effectLst/>
                      <a:uFillTx/>
                      <a:latin typeface="Segoe UI"/>
                    </a:rPr>
                    <a:t>SS Juazeiro 3</a:t>
                  </a:r>
                </a:p>
              </p:txBody>
            </p:sp>
          </p:grpSp>
        </p:grpSp>
      </p:grpSp>
      <p:grpSp>
        <p:nvGrpSpPr>
          <p:cNvPr id="16" name="Agrupar 15">
            <a:extLst>
              <a:ext uri="{FF2B5EF4-FFF2-40B4-BE49-F238E27FC236}">
                <a16:creationId xmlns:a16="http://schemas.microsoft.com/office/drawing/2014/main" id="{4AD6610E-EFDB-FBA4-1552-84FAF7F43EF9}"/>
              </a:ext>
            </a:extLst>
          </p:cNvPr>
          <p:cNvGrpSpPr/>
          <p:nvPr>
            <p:custDataLst>
              <p:tags r:id="rId16"/>
            </p:custDataLst>
          </p:nvPr>
        </p:nvGrpSpPr>
        <p:grpSpPr>
          <a:xfrm>
            <a:off x="153857" y="3353036"/>
            <a:ext cx="2826046" cy="265680"/>
            <a:chOff x="360649" y="1212713"/>
            <a:chExt cx="3163715" cy="265680"/>
          </a:xfrm>
        </p:grpSpPr>
        <p:sp>
          <p:nvSpPr>
            <p:cNvPr id="17" name="Retângulo: Cantos Arredondados 16">
              <a:extLst>
                <a:ext uri="{FF2B5EF4-FFF2-40B4-BE49-F238E27FC236}">
                  <a16:creationId xmlns:a16="http://schemas.microsoft.com/office/drawing/2014/main" id="{54284DD4-D957-1123-B698-A7E0E6F81EB2}"/>
                </a:ext>
              </a:extLst>
            </p:cNvPr>
            <p:cNvSpPr/>
            <p:nvPr>
              <p:custDataLst>
                <p:tags r:id="rId35"/>
              </p:custDataLst>
            </p:nvPr>
          </p:nvSpPr>
          <p:spPr>
            <a:xfrm>
              <a:off x="360649" y="1212713"/>
              <a:ext cx="3163715" cy="26392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9" name="CaixaDeTexto 18">
              <a:extLst>
                <a:ext uri="{FF2B5EF4-FFF2-40B4-BE49-F238E27FC236}">
                  <a16:creationId xmlns:a16="http://schemas.microsoft.com/office/drawing/2014/main" id="{01A7929D-8507-33A9-D554-9FEC34C90D47}"/>
                </a:ext>
              </a:extLst>
            </p:cNvPr>
            <p:cNvSpPr txBox="1"/>
            <p:nvPr>
              <p:custDataLst>
                <p:tags r:id="rId36"/>
              </p:custDataLst>
            </p:nvPr>
          </p:nvSpPr>
          <p:spPr>
            <a:xfrm>
              <a:off x="404568" y="1238327"/>
              <a:ext cx="1724813"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defRPr/>
              </a:pPr>
              <a:r>
                <a:rPr lang="en-US" sz="1200" b="1" i="0" u="none" strike="noStrike" cap="none" spc="0" baseline="0" dirty="0">
                  <a:solidFill>
                    <a:srgbClr val="FFFFFF"/>
                  </a:solidFill>
                  <a:effectLst/>
                  <a:uFillTx/>
                  <a:latin typeface="Segoe UI"/>
                </a:rPr>
                <a:t>ITATIAIA PROJECT</a:t>
              </a:r>
            </a:p>
          </p:txBody>
        </p:sp>
      </p:grpSp>
      <p:sp>
        <p:nvSpPr>
          <p:cNvPr id="20" name="CaixaDeTexto 19">
            <a:extLst>
              <a:ext uri="{FF2B5EF4-FFF2-40B4-BE49-F238E27FC236}">
                <a16:creationId xmlns:a16="http://schemas.microsoft.com/office/drawing/2014/main" id="{69A6B262-C39D-68C9-D3BB-0989BC0D568B}"/>
              </a:ext>
            </a:extLst>
          </p:cNvPr>
          <p:cNvSpPr txBox="1"/>
          <p:nvPr>
            <p:custDataLst>
              <p:tags r:id="rId17"/>
            </p:custDataLst>
          </p:nvPr>
        </p:nvSpPr>
        <p:spPr>
          <a:xfrm>
            <a:off x="176470" y="3130516"/>
            <a:ext cx="798363" cy="237982"/>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E5000"/>
                </a:solidFill>
                <a:effectLst/>
                <a:uFillTx/>
                <a:latin typeface="Segoe UI"/>
              </a:rPr>
              <a:t>LOT 7</a:t>
            </a:r>
          </a:p>
        </p:txBody>
      </p:sp>
      <p:grpSp>
        <p:nvGrpSpPr>
          <p:cNvPr id="1047" name="Agrupar 1046">
            <a:extLst>
              <a:ext uri="{FF2B5EF4-FFF2-40B4-BE49-F238E27FC236}">
                <a16:creationId xmlns:a16="http://schemas.microsoft.com/office/drawing/2014/main" id="{1C573CBC-9DFC-7657-6CAC-2254D4DCBD9C}"/>
              </a:ext>
            </a:extLst>
          </p:cNvPr>
          <p:cNvGrpSpPr/>
          <p:nvPr>
            <p:custDataLst>
              <p:tags r:id="rId18"/>
            </p:custDataLst>
          </p:nvPr>
        </p:nvGrpSpPr>
        <p:grpSpPr>
          <a:xfrm>
            <a:off x="80207" y="3667688"/>
            <a:ext cx="3140856" cy="1110560"/>
            <a:chOff x="80207" y="3667688"/>
            <a:chExt cx="3140856" cy="1110560"/>
          </a:xfrm>
        </p:grpSpPr>
        <p:sp>
          <p:nvSpPr>
            <p:cNvPr id="22" name="CaixaDeTexto 21">
              <a:extLst>
                <a:ext uri="{FF2B5EF4-FFF2-40B4-BE49-F238E27FC236}">
                  <a16:creationId xmlns:a16="http://schemas.microsoft.com/office/drawing/2014/main" id="{A3454F9F-1DA1-CF24-1589-F840152B7E83}"/>
                </a:ext>
              </a:extLst>
            </p:cNvPr>
            <p:cNvSpPr txBox="1"/>
            <p:nvPr>
              <p:custDataLst>
                <p:tags r:id="rId33"/>
              </p:custDataLst>
            </p:nvPr>
          </p:nvSpPr>
          <p:spPr>
            <a:xfrm>
              <a:off x="80207" y="3607673"/>
              <a:ext cx="1952665" cy="1230589"/>
            </a:xfrm>
            <a:prstGeom prst="rect">
              <a:avLst/>
            </a:prstGeom>
            <a:noFill/>
          </p:spPr>
          <p:txBody>
            <a:bodyPr wrap="square" rtlCol="0" anchor="ctr">
              <a:spAutoFit/>
            </a:bodyPr>
            <a:lstStyle/>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State</a:t>
              </a:r>
              <a:br>
                <a:rPr sz="1000" dirty="0"/>
              </a:br>
              <a:r>
                <a:rPr lang="en-US" sz="1000" b="0" i="0" u="none" strike="noStrike" cap="none" baseline="0" dirty="0">
                  <a:solidFill>
                    <a:srgbClr val="011F57"/>
                  </a:solidFill>
                  <a:effectLst/>
                  <a:uFillTx/>
                  <a:latin typeface="Segoe UI"/>
                </a:rPr>
                <a:t>Rio de Janeiro and Minas Gerais</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Transmission Lines</a:t>
              </a:r>
              <a:br>
                <a:rPr sz="1000" dirty="0"/>
              </a:br>
              <a:r>
                <a:rPr lang="en-US" sz="1000" b="0" i="0" u="none" strike="noStrike" cap="none" baseline="0" dirty="0">
                  <a:solidFill>
                    <a:srgbClr val="011F57"/>
                  </a:solidFill>
                  <a:effectLst/>
                  <a:uFillTx/>
                  <a:latin typeface="Segoe UI"/>
                </a:rPr>
                <a:t>522 km in double circuit,</a:t>
              </a:r>
              <a:br>
                <a:rPr sz="1000" dirty="0"/>
              </a:br>
              <a:r>
                <a:rPr lang="en-US" sz="1000" b="0" i="0" u="none" strike="noStrike" cap="none" baseline="0" dirty="0">
                  <a:solidFill>
                    <a:srgbClr val="011F57"/>
                  </a:solidFill>
                  <a:effectLst/>
                  <a:uFillTx/>
                  <a:latin typeface="Segoe UI"/>
                </a:rPr>
                <a:t>totaling </a:t>
              </a:r>
              <a:r>
                <a:rPr lang="en-US" sz="1000" b="0" i="0" u="none" strike="noStrike" cap="none" baseline="0">
                  <a:solidFill>
                    <a:srgbClr val="011F57"/>
                  </a:solidFill>
                  <a:effectLst/>
                  <a:uFillTx/>
                  <a:latin typeface="Segoe UI"/>
                </a:rPr>
                <a:t>1,044 km</a:t>
              </a:r>
              <a:endParaRPr lang="en-US" sz="1000" b="0" i="0" u="none" strike="noStrike" cap="none" baseline="0" dirty="0">
                <a:solidFill>
                  <a:srgbClr val="011F57"/>
                </a:solidFill>
                <a:effectLst/>
                <a:uFillTx/>
                <a:latin typeface="Segoe UI"/>
              </a:endParaRPr>
            </a:p>
            <a:p>
              <a:pPr defTabSz="449931">
                <a:lnSpc>
                  <a:spcPct val="85000"/>
                </a:lnSpc>
                <a:spcBef>
                  <a:spcPts val="200"/>
                </a:spcBef>
                <a:spcAft>
                  <a:spcPts val="200"/>
                </a:spcAft>
                <a:defRPr/>
              </a:pPr>
              <a:r>
                <a:rPr lang="en-US" sz="1000" b="1" i="0" u="none" strike="noStrike" cap="none" baseline="0" dirty="0">
                  <a:solidFill>
                    <a:srgbClr val="005FD7"/>
                  </a:solidFill>
                  <a:effectLst/>
                  <a:uFillTx/>
                  <a:latin typeface="Segoe UI"/>
                </a:rPr>
                <a:t>ANEEL term</a:t>
              </a:r>
              <a:br>
                <a:rPr sz="1000" dirty="0"/>
              </a:br>
              <a:r>
                <a:rPr lang="en-US" sz="1000" b="0" i="0" u="none" strike="noStrike" cap="none" baseline="0" dirty="0">
                  <a:solidFill>
                    <a:srgbClr val="011F57"/>
                  </a:solidFill>
                  <a:effectLst/>
                  <a:uFillTx/>
                  <a:latin typeface="Segoe UI"/>
                </a:rPr>
                <a:t>66 months</a:t>
              </a:r>
            </a:p>
          </p:txBody>
        </p:sp>
        <p:sp>
          <p:nvSpPr>
            <p:cNvPr id="23" name="CaixaDeTexto 22">
              <a:extLst>
                <a:ext uri="{FF2B5EF4-FFF2-40B4-BE49-F238E27FC236}">
                  <a16:creationId xmlns:a16="http://schemas.microsoft.com/office/drawing/2014/main" id="{74D03379-4DB9-49EC-7720-F84C28217F99}"/>
                </a:ext>
              </a:extLst>
            </p:cNvPr>
            <p:cNvSpPr txBox="1"/>
            <p:nvPr>
              <p:custDataLst>
                <p:tags r:id="rId34"/>
              </p:custDataLst>
            </p:nvPr>
          </p:nvSpPr>
          <p:spPr>
            <a:xfrm>
              <a:off x="1907463" y="3671940"/>
              <a:ext cx="1314914" cy="971250"/>
            </a:xfrm>
            <a:prstGeom prst="rect">
              <a:avLst/>
            </a:prstGeom>
            <a:noFill/>
          </p:spPr>
          <p:txBody>
            <a:bodyPr wrap="square" rtlCol="0" anchor="ctr">
              <a:spAutoFit/>
            </a:bodyPr>
            <a:lstStyle/>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Jobs</a:t>
              </a:r>
              <a:br>
                <a:rPr sz="1000" dirty="0"/>
              </a:br>
              <a:r>
                <a:rPr lang="en-US" sz="1000" b="0" i="0" u="none" strike="noStrike" cap="none" baseline="0" dirty="0">
                  <a:solidFill>
                    <a:srgbClr val="011F57"/>
                  </a:solidFill>
                  <a:effectLst/>
                  <a:uFillTx/>
                  <a:latin typeface="Segoe UI"/>
                </a:rPr>
                <a:t>4,182</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ANEEL Capex </a:t>
              </a:r>
              <a:br>
                <a:rPr sz="1000" dirty="0"/>
              </a:br>
              <a:r>
                <a:rPr lang="en-US" sz="1000" b="0" i="0" u="none" strike="noStrike" cap="none" baseline="0" dirty="0">
                  <a:solidFill>
                    <a:srgbClr val="011F57"/>
                  </a:solidFill>
                  <a:effectLst/>
                  <a:uFillTx/>
                  <a:latin typeface="Segoe UI"/>
                </a:rPr>
                <a:t>R$2.3 billion</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RAP</a:t>
              </a:r>
              <a:br>
                <a:rPr sz="1000" dirty="0"/>
              </a:br>
              <a:r>
                <a:rPr lang="en-US" sz="1000" b="0" i="0" u="none" strike="noStrike" cap="none" baseline="0" dirty="0">
                  <a:solidFill>
                    <a:srgbClr val="011F57"/>
                  </a:solidFill>
                  <a:effectLst/>
                  <a:uFillTx/>
                  <a:latin typeface="Segoe UI"/>
                </a:rPr>
                <a:t>R$218.9 million</a:t>
              </a:r>
            </a:p>
          </p:txBody>
        </p:sp>
      </p:grpSp>
      <p:sp>
        <p:nvSpPr>
          <p:cNvPr id="151" name="CaixaDeTexto 150">
            <a:extLst>
              <a:ext uri="{FF2B5EF4-FFF2-40B4-BE49-F238E27FC236}">
                <a16:creationId xmlns:a16="http://schemas.microsoft.com/office/drawing/2014/main" id="{ADF5842C-ABCE-402E-0B46-445A22C78869}"/>
              </a:ext>
            </a:extLst>
          </p:cNvPr>
          <p:cNvSpPr txBox="1"/>
          <p:nvPr>
            <p:custDataLst>
              <p:tags r:id="rId19"/>
            </p:custDataLst>
          </p:nvPr>
        </p:nvSpPr>
        <p:spPr>
          <a:xfrm>
            <a:off x="176470" y="1086199"/>
            <a:ext cx="798363" cy="237982"/>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200" b="1" i="0" u="none" strike="noStrike" cap="none" baseline="0" dirty="0">
                <a:solidFill>
                  <a:srgbClr val="FE5000"/>
                </a:solidFill>
                <a:effectLst/>
                <a:uFillTx/>
                <a:latin typeface="Segoe UI"/>
              </a:rPr>
              <a:t>LOT 1</a:t>
            </a:r>
          </a:p>
        </p:txBody>
      </p:sp>
      <p:grpSp>
        <p:nvGrpSpPr>
          <p:cNvPr id="15" name="Agrupar 14">
            <a:extLst>
              <a:ext uri="{FF2B5EF4-FFF2-40B4-BE49-F238E27FC236}">
                <a16:creationId xmlns:a16="http://schemas.microsoft.com/office/drawing/2014/main" id="{C2C28ABF-BE3F-B093-ACD0-2A21E8001D7E}"/>
              </a:ext>
            </a:extLst>
          </p:cNvPr>
          <p:cNvGrpSpPr/>
          <p:nvPr>
            <p:custDataLst>
              <p:tags r:id="rId20"/>
            </p:custDataLst>
          </p:nvPr>
        </p:nvGrpSpPr>
        <p:grpSpPr>
          <a:xfrm>
            <a:off x="153857" y="1304111"/>
            <a:ext cx="2826046" cy="268948"/>
            <a:chOff x="360649" y="1212713"/>
            <a:chExt cx="3163715" cy="268948"/>
          </a:xfrm>
        </p:grpSpPr>
        <p:sp>
          <p:nvSpPr>
            <p:cNvPr id="25" name="Retângulo: Cantos Arredondados 24">
              <a:extLst>
                <a:ext uri="{FF2B5EF4-FFF2-40B4-BE49-F238E27FC236}">
                  <a16:creationId xmlns:a16="http://schemas.microsoft.com/office/drawing/2014/main" id="{E7BD4541-9B11-5662-EFD1-6784582DC0DB}"/>
                </a:ext>
              </a:extLst>
            </p:cNvPr>
            <p:cNvSpPr/>
            <p:nvPr>
              <p:custDataLst>
                <p:tags r:id="rId31"/>
              </p:custDataLst>
            </p:nvPr>
          </p:nvSpPr>
          <p:spPr>
            <a:xfrm>
              <a:off x="360649" y="1212713"/>
              <a:ext cx="3163715" cy="26392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05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26" name="CaixaDeTexto 25">
              <a:extLst>
                <a:ext uri="{FF2B5EF4-FFF2-40B4-BE49-F238E27FC236}">
                  <a16:creationId xmlns:a16="http://schemas.microsoft.com/office/drawing/2014/main" id="{4E592826-A42C-B395-7952-5241021B9F2B}"/>
                </a:ext>
              </a:extLst>
            </p:cNvPr>
            <p:cNvSpPr txBox="1"/>
            <p:nvPr>
              <p:custDataLst>
                <p:tags r:id="rId32"/>
              </p:custDataLst>
            </p:nvPr>
          </p:nvSpPr>
          <p:spPr>
            <a:xfrm>
              <a:off x="404568" y="1241595"/>
              <a:ext cx="2587014"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1" i="0" u="none" strike="noStrike" cap="none" spc="0" baseline="0" dirty="0">
                  <a:solidFill>
                    <a:srgbClr val="FFFFFF"/>
                  </a:solidFill>
                  <a:effectLst/>
                  <a:uFillTx/>
                  <a:latin typeface="Segoe UI"/>
                </a:rPr>
                <a:t>SERRA DOURADA PROJECT</a:t>
              </a:r>
            </a:p>
          </p:txBody>
        </p:sp>
      </p:grpSp>
      <p:grpSp>
        <p:nvGrpSpPr>
          <p:cNvPr id="85" name="Agrupar 84">
            <a:extLst>
              <a:ext uri="{FF2B5EF4-FFF2-40B4-BE49-F238E27FC236}">
                <a16:creationId xmlns:a16="http://schemas.microsoft.com/office/drawing/2014/main" id="{A4F4BBBE-5575-FD38-1BC9-A0B3783AE7F4}"/>
              </a:ext>
            </a:extLst>
          </p:cNvPr>
          <p:cNvGrpSpPr/>
          <p:nvPr>
            <p:custDataLst>
              <p:tags r:id="rId21"/>
            </p:custDataLst>
          </p:nvPr>
        </p:nvGrpSpPr>
        <p:grpSpPr>
          <a:xfrm>
            <a:off x="170630" y="1627788"/>
            <a:ext cx="2778404" cy="1292662"/>
            <a:chOff x="170630" y="1627788"/>
            <a:chExt cx="2778404" cy="1292662"/>
          </a:xfrm>
        </p:grpSpPr>
        <p:sp>
          <p:nvSpPr>
            <p:cNvPr id="152" name="CaixaDeTexto 151">
              <a:extLst>
                <a:ext uri="{FF2B5EF4-FFF2-40B4-BE49-F238E27FC236}">
                  <a16:creationId xmlns:a16="http://schemas.microsoft.com/office/drawing/2014/main" id="{5B776CC2-9056-30D4-AA44-CC2F707CC354}"/>
                </a:ext>
              </a:extLst>
            </p:cNvPr>
            <p:cNvSpPr txBox="1"/>
            <p:nvPr>
              <p:custDataLst>
                <p:tags r:id="rId29"/>
              </p:custDataLst>
            </p:nvPr>
          </p:nvSpPr>
          <p:spPr>
            <a:xfrm>
              <a:off x="170630" y="1633399"/>
              <a:ext cx="1871317" cy="1281440"/>
            </a:xfrm>
            <a:prstGeom prst="rect">
              <a:avLst/>
            </a:prstGeom>
            <a:noFill/>
          </p:spPr>
          <p:txBody>
            <a:bodyPr wrap="square" rtlCol="0" anchor="ctr">
              <a:spAutoFit/>
            </a:bodyPr>
            <a:lstStyle/>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State</a:t>
              </a:r>
              <a:br>
                <a:rPr sz="1000" dirty="0"/>
              </a:br>
              <a:r>
                <a:rPr lang="en-US" sz="1000" b="0" i="0" u="none" strike="noStrike" cap="none" baseline="0" dirty="0">
                  <a:solidFill>
                    <a:srgbClr val="011F57"/>
                  </a:solidFill>
                  <a:effectLst/>
                  <a:uFillTx/>
                  <a:latin typeface="Segoe UI"/>
                </a:rPr>
                <a:t>Bahia and Minas Gerais</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Transmission Lines</a:t>
              </a:r>
              <a:br>
                <a:rPr sz="1000" dirty="0"/>
              </a:br>
              <a:r>
                <a:rPr lang="en-US" sz="1000" b="0" i="0" u="none" strike="noStrike" cap="none" baseline="0" dirty="0">
                  <a:solidFill>
                    <a:srgbClr val="011F57"/>
                  </a:solidFill>
                  <a:effectLst/>
                  <a:uFillTx/>
                  <a:latin typeface="Segoe UI"/>
                </a:rPr>
                <a:t>1,116 km</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Jobs</a:t>
              </a:r>
              <a:br>
                <a:rPr sz="1000" dirty="0"/>
              </a:br>
              <a:r>
                <a:rPr lang="en-US" sz="1000" b="0" i="0" u="none" strike="noStrike" cap="none" baseline="0" dirty="0">
                  <a:solidFill>
                    <a:srgbClr val="011F57"/>
                  </a:solidFill>
                  <a:effectLst/>
                  <a:uFillTx/>
                  <a:latin typeface="Segoe UI"/>
                </a:rPr>
                <a:t>5,739</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ANEEL term</a:t>
              </a:r>
              <a:br>
                <a:rPr sz="1000" dirty="0"/>
              </a:br>
              <a:r>
                <a:rPr lang="en-US" sz="1000" b="0" i="0" u="none" strike="noStrike" cap="none" baseline="0" dirty="0">
                  <a:solidFill>
                    <a:srgbClr val="011F57"/>
                  </a:solidFill>
                  <a:effectLst/>
                  <a:uFillTx/>
                  <a:latin typeface="Segoe UI"/>
                </a:rPr>
                <a:t>66 months</a:t>
              </a:r>
            </a:p>
          </p:txBody>
        </p:sp>
        <p:sp>
          <p:nvSpPr>
            <p:cNvPr id="28" name="CaixaDeTexto 27">
              <a:extLst>
                <a:ext uri="{FF2B5EF4-FFF2-40B4-BE49-F238E27FC236}">
                  <a16:creationId xmlns:a16="http://schemas.microsoft.com/office/drawing/2014/main" id="{5AAFA4A5-4A13-F9F0-E3BC-7406852569B2}"/>
                </a:ext>
              </a:extLst>
            </p:cNvPr>
            <p:cNvSpPr txBox="1"/>
            <p:nvPr>
              <p:custDataLst>
                <p:tags r:id="rId30"/>
              </p:custDataLst>
            </p:nvPr>
          </p:nvSpPr>
          <p:spPr>
            <a:xfrm>
              <a:off x="1610245" y="1627788"/>
              <a:ext cx="1340128" cy="661060"/>
            </a:xfrm>
            <a:prstGeom prst="rect">
              <a:avLst/>
            </a:prstGeom>
            <a:noFill/>
          </p:spPr>
          <p:txBody>
            <a:bodyPr wrap="square">
              <a:spAutoFit/>
            </a:bodyPr>
            <a:lstStyle/>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ANEEL Capex</a:t>
              </a:r>
              <a:br>
                <a:rPr sz="1000" dirty="0"/>
              </a:br>
              <a:r>
                <a:rPr lang="en-US" sz="1000" b="0" i="0" u="none" strike="noStrike" cap="none" baseline="0" dirty="0">
                  <a:solidFill>
                    <a:srgbClr val="011F57"/>
                  </a:solidFill>
                  <a:effectLst/>
                  <a:uFillTx/>
                  <a:latin typeface="Segoe UI"/>
                </a:rPr>
                <a:t>R$3.1 billion</a:t>
              </a:r>
            </a:p>
            <a:p>
              <a:pPr marL="0" marR="0" lvl="0" indent="0" algn="l"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RAP</a:t>
              </a:r>
              <a:br>
                <a:rPr sz="1000" dirty="0"/>
              </a:br>
              <a:r>
                <a:rPr lang="en-US" sz="1000" b="0" i="0" u="none" strike="noStrike" cap="none" baseline="0" dirty="0">
                  <a:solidFill>
                    <a:srgbClr val="011F57"/>
                  </a:solidFill>
                  <a:effectLst/>
                  <a:uFillTx/>
                  <a:latin typeface="Segoe UI"/>
                </a:rPr>
                <a:t>R$283.8 million</a:t>
              </a:r>
            </a:p>
          </p:txBody>
        </p:sp>
      </p:grpSp>
      <p:sp>
        <p:nvSpPr>
          <p:cNvPr id="61" name="CaixaDeTexto 60">
            <a:extLst>
              <a:ext uri="{FF2B5EF4-FFF2-40B4-BE49-F238E27FC236}">
                <a16:creationId xmlns:a16="http://schemas.microsoft.com/office/drawing/2014/main" id="{3105F1F1-38DD-DAE7-0331-8931519B9515}"/>
              </a:ext>
            </a:extLst>
          </p:cNvPr>
          <p:cNvSpPr txBox="1"/>
          <p:nvPr>
            <p:custDataLst>
              <p:tags r:id="rId22"/>
            </p:custDataLst>
          </p:nvPr>
        </p:nvSpPr>
        <p:spPr>
          <a:xfrm>
            <a:off x="7602828" y="1634757"/>
            <a:ext cx="1287705" cy="1591630"/>
          </a:xfrm>
          <a:prstGeom prst="rect">
            <a:avLst/>
          </a:prstGeom>
          <a:noFill/>
        </p:spPr>
        <p:txBody>
          <a:bodyPr wrap="square" rtlCol="0" anchor="ctr">
            <a:spAutoFit/>
          </a:bodyPr>
          <a:lstStyle/>
          <a:p>
            <a:pPr marL="0" marR="0" lvl="0" indent="0" algn="r"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State</a:t>
            </a:r>
            <a:br>
              <a:rPr sz="1000" dirty="0"/>
            </a:br>
            <a:r>
              <a:rPr lang="en-US" sz="1000" b="0" i="0" u="none" strike="noStrike" cap="none" baseline="0" dirty="0">
                <a:solidFill>
                  <a:srgbClr val="011F57"/>
                </a:solidFill>
                <a:effectLst/>
                <a:uFillTx/>
                <a:latin typeface="Segoe UI"/>
              </a:rPr>
              <a:t>Minas Gerais</a:t>
            </a:r>
          </a:p>
          <a:p>
            <a:pPr marL="0" marR="0" lvl="0" indent="0" algn="r" defTabSz="449931" rtl="0" eaLnBrk="1" fontAlgn="auto" latinLnBrk="0" hangingPunct="1">
              <a:lnSpc>
                <a:spcPct val="85000"/>
              </a:lnSpc>
              <a:spcBef>
                <a:spcPts val="200"/>
              </a:spcBef>
              <a:spcAft>
                <a:spcPts val="200"/>
              </a:spcAft>
              <a:buClrTx/>
              <a:buSzTx/>
              <a:buFontTx/>
              <a:buNone/>
              <a:defRPr/>
            </a:pPr>
            <a:r>
              <a:rPr lang="en-US" sz="1000" b="1" i="0" u="none" strike="noStrike" cap="none" baseline="0" dirty="0">
                <a:solidFill>
                  <a:srgbClr val="005FD7"/>
                </a:solidFill>
                <a:effectLst/>
                <a:uFillTx/>
                <a:latin typeface="Segoe UI"/>
              </a:rPr>
              <a:t>Jobs</a:t>
            </a:r>
            <a:br>
              <a:rPr sz="1000" dirty="0"/>
            </a:br>
            <a:r>
              <a:rPr lang="en-US" sz="1000" b="0" i="0" u="none" strike="noStrike" cap="none" baseline="0" dirty="0">
                <a:solidFill>
                  <a:srgbClr val="011F57"/>
                </a:solidFill>
                <a:effectLst/>
                <a:uFillTx/>
                <a:latin typeface="Segoe UI"/>
              </a:rPr>
              <a:t>313</a:t>
            </a:r>
          </a:p>
          <a:p>
            <a:pPr lvl="0" algn="r" defTabSz="449931">
              <a:lnSpc>
                <a:spcPct val="85000"/>
              </a:lnSpc>
              <a:spcBef>
                <a:spcPts val="200"/>
              </a:spcBef>
              <a:spcAft>
                <a:spcPts val="200"/>
              </a:spcAft>
              <a:defRPr/>
            </a:pPr>
            <a:r>
              <a:rPr lang="en-US" sz="1000" b="1" i="0" u="none" strike="noStrike" cap="none" baseline="0" dirty="0">
                <a:solidFill>
                  <a:srgbClr val="005FD7"/>
                </a:solidFill>
                <a:effectLst/>
                <a:uFillTx/>
                <a:latin typeface="Segoe UI"/>
              </a:rPr>
              <a:t>ANEEL Capex</a:t>
            </a:r>
            <a:br>
              <a:rPr sz="1000" dirty="0"/>
            </a:br>
            <a:r>
              <a:rPr lang="en-US" sz="1000" b="0" i="0" u="none" strike="noStrike" cap="none" baseline="0" dirty="0">
                <a:solidFill>
                  <a:srgbClr val="011F57"/>
                </a:solidFill>
                <a:effectLst/>
                <a:uFillTx/>
                <a:latin typeface="Segoe UI"/>
              </a:rPr>
              <a:t>R$94 million</a:t>
            </a:r>
          </a:p>
          <a:p>
            <a:pPr lvl="0" algn="r" defTabSz="449931">
              <a:lnSpc>
                <a:spcPct val="85000"/>
              </a:lnSpc>
              <a:spcBef>
                <a:spcPts val="200"/>
              </a:spcBef>
              <a:spcAft>
                <a:spcPts val="200"/>
              </a:spcAft>
              <a:defRPr/>
            </a:pPr>
            <a:r>
              <a:rPr lang="en-US" sz="1000" b="1" i="0" u="none" strike="noStrike" cap="none" baseline="0" dirty="0">
                <a:solidFill>
                  <a:srgbClr val="005FD7"/>
                </a:solidFill>
                <a:effectLst/>
                <a:uFillTx/>
                <a:latin typeface="Segoe UI"/>
              </a:rPr>
              <a:t>RAP</a:t>
            </a:r>
            <a:br>
              <a:rPr sz="1000" dirty="0"/>
            </a:br>
            <a:r>
              <a:rPr lang="en-US" sz="1000" b="0" i="0" u="none" strike="noStrike" cap="none" baseline="0" dirty="0">
                <a:solidFill>
                  <a:srgbClr val="011F57"/>
                </a:solidFill>
                <a:effectLst/>
                <a:uFillTx/>
                <a:latin typeface="Segoe UI"/>
              </a:rPr>
              <a:t>R$7.8 million</a:t>
            </a:r>
          </a:p>
          <a:p>
            <a:pPr algn="r" defTabSz="449931">
              <a:lnSpc>
                <a:spcPct val="85000"/>
              </a:lnSpc>
              <a:spcBef>
                <a:spcPts val="200"/>
              </a:spcBef>
              <a:spcAft>
                <a:spcPts val="200"/>
              </a:spcAft>
              <a:defRPr/>
            </a:pPr>
            <a:r>
              <a:rPr lang="en-US" sz="1000" b="1" i="0" u="none" strike="noStrike" cap="none" baseline="0" dirty="0">
                <a:solidFill>
                  <a:srgbClr val="005FD7"/>
                </a:solidFill>
                <a:effectLst/>
                <a:uFillTx/>
                <a:latin typeface="Segoe UI"/>
              </a:rPr>
              <a:t>ANEEL term</a:t>
            </a:r>
            <a:br>
              <a:rPr sz="1000" dirty="0"/>
            </a:br>
            <a:r>
              <a:rPr lang="en-US" sz="1000" b="0" i="0" u="none" strike="noStrike" cap="none" baseline="0" dirty="0">
                <a:solidFill>
                  <a:srgbClr val="011F57"/>
                </a:solidFill>
                <a:effectLst/>
                <a:uFillTx/>
                <a:latin typeface="Segoe UI"/>
              </a:rPr>
              <a:t>36 months</a:t>
            </a:r>
          </a:p>
        </p:txBody>
      </p:sp>
      <p:sp>
        <p:nvSpPr>
          <p:cNvPr id="1046" name="Forma Livre: Forma 1045">
            <a:extLst>
              <a:ext uri="{FF2B5EF4-FFF2-40B4-BE49-F238E27FC236}">
                <a16:creationId xmlns:a16="http://schemas.microsoft.com/office/drawing/2014/main" id="{EB7F2783-D10F-ED06-D24C-C3125EC39DFD}"/>
              </a:ext>
            </a:extLst>
          </p:cNvPr>
          <p:cNvSpPr/>
          <p:nvPr>
            <p:custDataLst>
              <p:tags r:id="rId23"/>
            </p:custDataLst>
          </p:nvPr>
        </p:nvSpPr>
        <p:spPr>
          <a:xfrm>
            <a:off x="4819650" y="1562100"/>
            <a:ext cx="2247900" cy="1695450"/>
          </a:xfrm>
          <a:custGeom>
            <a:avLst/>
            <a:gdLst>
              <a:gd name="connsiteX0" fmla="*/ 0 w 2247900"/>
              <a:gd name="connsiteY0" fmla="*/ 1695450 h 1695450"/>
              <a:gd name="connsiteX1" fmla="*/ 2247900 w 2247900"/>
              <a:gd name="connsiteY1" fmla="*/ 1695450 h 1695450"/>
              <a:gd name="connsiteX2" fmla="*/ 2247900 w 2247900"/>
              <a:gd name="connsiteY2" fmla="*/ 0 h 1695450"/>
            </a:gdLst>
            <a:ahLst/>
            <a:cxnLst>
              <a:cxn ang="0">
                <a:pos x="connsiteX0" y="connsiteY0"/>
              </a:cxn>
              <a:cxn ang="0">
                <a:pos x="connsiteX1" y="connsiteY1"/>
              </a:cxn>
              <a:cxn ang="0">
                <a:pos x="connsiteX2" y="connsiteY2"/>
              </a:cxn>
            </a:cxnLst>
            <a:rect l="l" t="t" r="r" b="b"/>
            <a:pathLst>
              <a:path w="2247900" h="1695450">
                <a:moveTo>
                  <a:pt x="0" y="1695450"/>
                </a:moveTo>
                <a:lnTo>
                  <a:pt x="2247900" y="1695450"/>
                </a:lnTo>
                <a:lnTo>
                  <a:pt x="2247900" y="0"/>
                </a:lnTo>
              </a:path>
            </a:pathLst>
          </a:custGeom>
          <a:noFill/>
          <a:ln>
            <a:solidFill>
              <a:srgbClr val="005FD7"/>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dirty="0"/>
          </a:p>
        </p:txBody>
      </p:sp>
      <p:sp>
        <p:nvSpPr>
          <p:cNvPr id="60" name="CaixaDeTexto 59">
            <a:extLst>
              <a:ext uri="{FF2B5EF4-FFF2-40B4-BE49-F238E27FC236}">
                <a16:creationId xmlns:a16="http://schemas.microsoft.com/office/drawing/2014/main" id="{1B63964E-22C5-0BAE-A52C-AF57CD51D6AD}"/>
              </a:ext>
            </a:extLst>
          </p:cNvPr>
          <p:cNvSpPr txBox="1"/>
          <p:nvPr>
            <p:custDataLst>
              <p:tags r:id="rId24"/>
            </p:custDataLst>
          </p:nvPr>
        </p:nvSpPr>
        <p:spPr>
          <a:xfrm>
            <a:off x="8087903" y="1086199"/>
            <a:ext cx="798363" cy="237982"/>
          </a:xfrm>
          <a:prstGeom prst="rect">
            <a:avLst/>
          </a:prstGeom>
          <a:noFill/>
        </p:spPr>
        <p:txBody>
          <a:bodyPr wrap="square" rtlCol="0" anchor="ctr">
            <a:spAutoFit/>
          </a:bodyPr>
          <a:lstStyle/>
          <a:p>
            <a:pPr marL="0" marR="0" lvl="0" indent="0" algn="r" defTabSz="449931" rtl="0" eaLnBrk="1" fontAlgn="auto" latinLnBrk="0" hangingPunct="1">
              <a:lnSpc>
                <a:spcPct val="80000"/>
              </a:lnSpc>
              <a:spcBef>
                <a:spcPts val="148"/>
              </a:spcBef>
              <a:spcAft>
                <a:spcPts val="148"/>
              </a:spcAft>
              <a:buClrTx/>
              <a:buSzTx/>
              <a:buFontTx/>
              <a:buNone/>
              <a:defRPr/>
            </a:pPr>
            <a:r>
              <a:rPr lang="en-US" sz="1200" b="1" i="0" u="none" strike="noStrike" cap="none" baseline="0">
                <a:solidFill>
                  <a:srgbClr val="FE5000"/>
                </a:solidFill>
                <a:effectLst/>
                <a:uFillTx/>
                <a:latin typeface="Segoe UI"/>
              </a:rPr>
              <a:t>LOT 9</a:t>
            </a:r>
            <a:endParaRPr lang="en-US" sz="1200" b="1" i="0" u="none" strike="noStrike" cap="none" baseline="0" dirty="0">
              <a:solidFill>
                <a:srgbClr val="FE5000"/>
              </a:solidFill>
              <a:effectLst/>
              <a:uFillTx/>
              <a:latin typeface="Segoe UI"/>
            </a:endParaRPr>
          </a:p>
        </p:txBody>
      </p:sp>
      <p:grpSp>
        <p:nvGrpSpPr>
          <p:cNvPr id="57" name="Agrupar 56">
            <a:extLst>
              <a:ext uri="{FF2B5EF4-FFF2-40B4-BE49-F238E27FC236}">
                <a16:creationId xmlns:a16="http://schemas.microsoft.com/office/drawing/2014/main" id="{DFCD7047-10D0-5E2C-79E4-2DCE22B914FC}"/>
              </a:ext>
            </a:extLst>
          </p:cNvPr>
          <p:cNvGrpSpPr/>
          <p:nvPr>
            <p:custDataLst>
              <p:tags r:id="rId25"/>
            </p:custDataLst>
          </p:nvPr>
        </p:nvGrpSpPr>
        <p:grpSpPr>
          <a:xfrm>
            <a:off x="6310732" y="1319406"/>
            <a:ext cx="2507321" cy="263927"/>
            <a:chOff x="717456" y="1212713"/>
            <a:chExt cx="2806907" cy="263927"/>
          </a:xfrm>
        </p:grpSpPr>
        <p:sp>
          <p:nvSpPr>
            <p:cNvPr id="58" name="Retângulo: Cantos Arredondados 57">
              <a:extLst>
                <a:ext uri="{FF2B5EF4-FFF2-40B4-BE49-F238E27FC236}">
                  <a16:creationId xmlns:a16="http://schemas.microsoft.com/office/drawing/2014/main" id="{9775F1B3-58E3-5B63-9C7E-A1D6CC53D97A}"/>
                </a:ext>
              </a:extLst>
            </p:cNvPr>
            <p:cNvSpPr/>
            <p:nvPr>
              <p:custDataLst>
                <p:tags r:id="rId27"/>
              </p:custDataLst>
            </p:nvPr>
          </p:nvSpPr>
          <p:spPr>
            <a:xfrm>
              <a:off x="717456" y="1212713"/>
              <a:ext cx="2806907" cy="26392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59" name="CaixaDeTexto 58">
              <a:extLst>
                <a:ext uri="{FF2B5EF4-FFF2-40B4-BE49-F238E27FC236}">
                  <a16:creationId xmlns:a16="http://schemas.microsoft.com/office/drawing/2014/main" id="{5E262033-ECE3-B6C2-1C95-89F0AC36D30A}"/>
                </a:ext>
              </a:extLst>
            </p:cNvPr>
            <p:cNvSpPr txBox="1"/>
            <p:nvPr>
              <p:custDataLst>
                <p:tags r:id="rId28"/>
              </p:custDataLst>
            </p:nvPr>
          </p:nvSpPr>
          <p:spPr>
            <a:xfrm>
              <a:off x="946234" y="1230865"/>
              <a:ext cx="2486519"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spcBef>
                  <a:spcPct val="0"/>
                </a:spcBef>
                <a:spcAft>
                  <a:spcPct val="0"/>
                </a:spcAft>
                <a:defRPr/>
              </a:pPr>
              <a:r>
                <a:rPr lang="en-US" sz="1200" b="1" spc="0" dirty="0">
                  <a:solidFill>
                    <a:srgbClr val="FFFFFF"/>
                  </a:solidFill>
                  <a:latin typeface="Segoe UI"/>
                </a:rPr>
                <a:t>ÁGUA VERMELHA PROJECT </a:t>
              </a:r>
              <a:endParaRPr lang="en-US" sz="1200" b="1" i="0" u="none" strike="noStrike" cap="none" spc="0" baseline="0" dirty="0">
                <a:solidFill>
                  <a:srgbClr val="FFFFFF"/>
                </a:solidFill>
                <a:effectLst/>
                <a:uFillTx/>
                <a:latin typeface="Segoe UI"/>
              </a:endParaRPr>
            </a:p>
          </p:txBody>
        </p:sp>
      </p:grpSp>
      <p:sp>
        <p:nvSpPr>
          <p:cNvPr id="1053" name="CaixaDeTexto 1052">
            <a:extLst>
              <a:ext uri="{FF2B5EF4-FFF2-40B4-BE49-F238E27FC236}">
                <a16:creationId xmlns:a16="http://schemas.microsoft.com/office/drawing/2014/main" id="{CDEF9951-F66D-912C-87FB-A633F55D4C3C}"/>
              </a:ext>
            </a:extLst>
          </p:cNvPr>
          <p:cNvSpPr txBox="1"/>
          <p:nvPr>
            <p:custDataLst>
              <p:tags r:id="rId26"/>
            </p:custDataLst>
          </p:nvPr>
        </p:nvSpPr>
        <p:spPr>
          <a:xfrm>
            <a:off x="646912" y="123231"/>
            <a:ext cx="1805034" cy="58477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EXCELLENCE IN</a:t>
            </a:r>
            <a:br>
              <a:rPr sz="1000" spc="0" dirty="0">
                <a:latin typeface="Segoe UI" panose="020B0502040204020203" pitchFamily="34" charset="0"/>
                <a:ea typeface="Segoe UI" panose="020B0502040204020203" pitchFamily="34" charset="0"/>
                <a:cs typeface="Segoe UI" panose="020B0502040204020203" pitchFamily="34" charset="0"/>
              </a:rPr>
            </a:br>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JECT MANAGEMENT</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isciplined structuring and execution</a:t>
            </a:r>
          </a:p>
        </p:txBody>
      </p:sp>
      <p:grpSp>
        <p:nvGrpSpPr>
          <p:cNvPr id="2" name="Agrupar 1">
            <a:extLst>
              <a:ext uri="{FF2B5EF4-FFF2-40B4-BE49-F238E27FC236}">
                <a16:creationId xmlns:a16="http://schemas.microsoft.com/office/drawing/2014/main" id="{23FAFE6E-4E69-6BA6-DDF4-B8AB06660EB5}"/>
              </a:ext>
            </a:extLst>
          </p:cNvPr>
          <p:cNvGrpSpPr/>
          <p:nvPr/>
        </p:nvGrpSpPr>
        <p:grpSpPr>
          <a:xfrm>
            <a:off x="194193" y="166754"/>
            <a:ext cx="362316" cy="288292"/>
            <a:chOff x="194193" y="166754"/>
            <a:chExt cx="362316" cy="288292"/>
          </a:xfrm>
        </p:grpSpPr>
        <p:sp>
          <p:nvSpPr>
            <p:cNvPr id="5" name="Forma Livre: Forma 4">
              <a:extLst>
                <a:ext uri="{FF2B5EF4-FFF2-40B4-BE49-F238E27FC236}">
                  <a16:creationId xmlns:a16="http://schemas.microsoft.com/office/drawing/2014/main" id="{D153AF77-BF6C-BF51-8673-FF63D4F3E650}"/>
                </a:ext>
              </a:extLst>
            </p:cNvPr>
            <p:cNvSpPr/>
            <p:nvPr/>
          </p:nvSpPr>
          <p:spPr>
            <a:xfrm>
              <a:off x="194193" y="166754"/>
              <a:ext cx="362316" cy="253696"/>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a:p>
          </p:txBody>
        </p:sp>
        <p:sp>
          <p:nvSpPr>
            <p:cNvPr id="6" name="CaixaDeTexto 5">
              <a:extLst>
                <a:ext uri="{FF2B5EF4-FFF2-40B4-BE49-F238E27FC236}">
                  <a16:creationId xmlns:a16="http://schemas.microsoft.com/office/drawing/2014/main" id="{44A31031-221A-F564-B4B0-D79DF59BE2A2}"/>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4</a:t>
              </a:r>
            </a:p>
          </p:txBody>
        </p:sp>
      </p:grpSp>
      <p:grpSp>
        <p:nvGrpSpPr>
          <p:cNvPr id="7" name="Agrupar 6">
            <a:extLst>
              <a:ext uri="{FF2B5EF4-FFF2-40B4-BE49-F238E27FC236}">
                <a16:creationId xmlns:a16="http://schemas.microsoft.com/office/drawing/2014/main" id="{1E131C40-2E2C-6E98-66DD-941CBB2CB4EC}"/>
              </a:ext>
            </a:extLst>
          </p:cNvPr>
          <p:cNvGrpSpPr/>
          <p:nvPr/>
        </p:nvGrpSpPr>
        <p:grpSpPr>
          <a:xfrm>
            <a:off x="5651730" y="2096101"/>
            <a:ext cx="107024" cy="92174"/>
            <a:chOff x="7215212" y="2138075"/>
            <a:chExt cx="107024" cy="92174"/>
          </a:xfrm>
        </p:grpSpPr>
        <p:grpSp>
          <p:nvGrpSpPr>
            <p:cNvPr id="8" name="Agrupar 7">
              <a:extLst>
                <a:ext uri="{FF2B5EF4-FFF2-40B4-BE49-F238E27FC236}">
                  <a16:creationId xmlns:a16="http://schemas.microsoft.com/office/drawing/2014/main" id="{11CC3176-B107-B085-53FD-4FEC53FECC53}"/>
                </a:ext>
              </a:extLst>
            </p:cNvPr>
            <p:cNvGrpSpPr/>
            <p:nvPr/>
          </p:nvGrpSpPr>
          <p:grpSpPr>
            <a:xfrm>
              <a:off x="7220590" y="2138075"/>
              <a:ext cx="101646" cy="92174"/>
              <a:chOff x="-773373" y="4648327"/>
              <a:chExt cx="599816" cy="599809"/>
            </a:xfrm>
          </p:grpSpPr>
          <p:sp>
            <p:nvSpPr>
              <p:cNvPr id="10" name="Elipse 9">
                <a:extLst>
                  <a:ext uri="{FF2B5EF4-FFF2-40B4-BE49-F238E27FC236}">
                    <a16:creationId xmlns:a16="http://schemas.microsoft.com/office/drawing/2014/main" id="{B6A73456-CD8F-5313-0D66-88439B5D672C}"/>
                  </a:ext>
                </a:extLst>
              </p:cNvPr>
              <p:cNvSpPr/>
              <p:nvPr/>
            </p:nvSpPr>
            <p:spPr>
              <a:xfrm>
                <a:off x="-773373" y="4648327"/>
                <a:ext cx="599816" cy="599809"/>
              </a:xfrm>
              <a:prstGeom prst="ellipse">
                <a:avLst/>
              </a:prstGeom>
              <a:gradFill>
                <a:gsLst>
                  <a:gs pos="0">
                    <a:schemeClr val="bg1">
                      <a:lumMod val="85000"/>
                      <a:alpha val="51000"/>
                    </a:schemeClr>
                  </a:gs>
                  <a:gs pos="72000">
                    <a:schemeClr val="bg1">
                      <a:lumMod val="65000"/>
                    </a:schemeClr>
                  </a:gs>
                </a:gsLst>
                <a:lin ang="2700000" scaled="0"/>
              </a:gradFill>
              <a:ln w="9525">
                <a:gradFill>
                  <a:gsLst>
                    <a:gs pos="0">
                      <a:schemeClr val="bg1">
                        <a:lumMod val="65000"/>
                      </a:schemeClr>
                    </a:gs>
                    <a:gs pos="50000">
                      <a:schemeClr val="bg1">
                        <a:lumMod val="50000"/>
                        <a:alpha val="0"/>
                      </a:schemeClr>
                    </a:gs>
                    <a:gs pos="100000">
                      <a:schemeClr val="bg1">
                        <a:lumMod val="75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1" name="Gráfico 93">
                <a:extLst>
                  <a:ext uri="{FF2B5EF4-FFF2-40B4-BE49-F238E27FC236}">
                    <a16:creationId xmlns:a16="http://schemas.microsoft.com/office/drawing/2014/main" id="{14F06188-94C8-6F32-DD0E-9E9E702D3022}"/>
                  </a:ext>
                </a:extLst>
              </p:cNvPr>
              <p:cNvGrpSpPr/>
              <p:nvPr/>
            </p:nvGrpSpPr>
            <p:grpSpPr>
              <a:xfrm>
                <a:off x="-606137" y="4738821"/>
                <a:ext cx="265344" cy="418821"/>
                <a:chOff x="-1314401" y="4003518"/>
                <a:chExt cx="572680" cy="903922"/>
              </a:xfrm>
              <a:solidFill>
                <a:schemeClr val="bg1"/>
              </a:solidFill>
            </p:grpSpPr>
            <p:sp>
              <p:nvSpPr>
                <p:cNvPr id="27" name="Forma Livre: Forma 26">
                  <a:extLst>
                    <a:ext uri="{FF2B5EF4-FFF2-40B4-BE49-F238E27FC236}">
                      <a16:creationId xmlns:a16="http://schemas.microsoft.com/office/drawing/2014/main" id="{E8416377-6BC7-222A-B969-06481277D42B}"/>
                    </a:ext>
                  </a:extLst>
                </p:cNvPr>
                <p:cNvSpPr/>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a:p>
              </p:txBody>
            </p:sp>
            <p:sp>
              <p:nvSpPr>
                <p:cNvPr id="50" name="Forma Livre: Forma 49">
                  <a:extLst>
                    <a:ext uri="{FF2B5EF4-FFF2-40B4-BE49-F238E27FC236}">
                      <a16:creationId xmlns:a16="http://schemas.microsoft.com/office/drawing/2014/main" id="{0FEA03CD-8CFF-F2F3-372D-8FCAF5225001}"/>
                    </a:ext>
                  </a:extLst>
                </p:cNvPr>
                <p:cNvSpPr/>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a:p>
              </p:txBody>
            </p:sp>
            <p:sp>
              <p:nvSpPr>
                <p:cNvPr id="51" name="Forma Livre: Forma 50">
                  <a:extLst>
                    <a:ext uri="{FF2B5EF4-FFF2-40B4-BE49-F238E27FC236}">
                      <a16:creationId xmlns:a16="http://schemas.microsoft.com/office/drawing/2014/main" id="{577916F5-3719-9382-A0E6-6D64E9085D19}"/>
                    </a:ext>
                  </a:extLst>
                </p:cNvPr>
                <p:cNvSpPr/>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a:p>
              </p:txBody>
            </p:sp>
            <p:sp>
              <p:nvSpPr>
                <p:cNvPr id="62" name="Forma Livre: Forma 61">
                  <a:extLst>
                    <a:ext uri="{FF2B5EF4-FFF2-40B4-BE49-F238E27FC236}">
                      <a16:creationId xmlns:a16="http://schemas.microsoft.com/office/drawing/2014/main" id="{F61CBEAD-DE6D-A107-11BC-313E14A1BADD}"/>
                    </a:ext>
                  </a:extLst>
                </p:cNvPr>
                <p:cNvSpPr/>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a:p>
              </p:txBody>
            </p:sp>
            <p:sp>
              <p:nvSpPr>
                <p:cNvPr id="63" name="Forma Livre: Forma 62">
                  <a:extLst>
                    <a:ext uri="{FF2B5EF4-FFF2-40B4-BE49-F238E27FC236}">
                      <a16:creationId xmlns:a16="http://schemas.microsoft.com/office/drawing/2014/main" id="{E49B5C27-45BE-D5B0-B8BB-6A49723D077C}"/>
                    </a:ext>
                  </a:extLst>
                </p:cNvPr>
                <p:cNvSpPr/>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a:p>
              </p:txBody>
            </p:sp>
            <p:sp>
              <p:nvSpPr>
                <p:cNvPr id="64" name="Forma Livre: Forma 63">
                  <a:extLst>
                    <a:ext uri="{FF2B5EF4-FFF2-40B4-BE49-F238E27FC236}">
                      <a16:creationId xmlns:a16="http://schemas.microsoft.com/office/drawing/2014/main" id="{9D03925F-EFF4-8A72-59A4-42A96D4D6564}"/>
                    </a:ext>
                  </a:extLst>
                </p:cNvPr>
                <p:cNvSpPr/>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a:p>
              </p:txBody>
            </p:sp>
            <p:sp>
              <p:nvSpPr>
                <p:cNvPr id="65" name="Forma Livre: Forma 64">
                  <a:extLst>
                    <a:ext uri="{FF2B5EF4-FFF2-40B4-BE49-F238E27FC236}">
                      <a16:creationId xmlns:a16="http://schemas.microsoft.com/office/drawing/2014/main" id="{4B467871-BDEE-E33E-4504-E59670453BE5}"/>
                    </a:ext>
                  </a:extLst>
                </p:cNvPr>
                <p:cNvSpPr/>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a:p>
              </p:txBody>
            </p:sp>
            <p:sp>
              <p:nvSpPr>
                <p:cNvPr id="66" name="Forma Livre: Forma 65">
                  <a:extLst>
                    <a:ext uri="{FF2B5EF4-FFF2-40B4-BE49-F238E27FC236}">
                      <a16:creationId xmlns:a16="http://schemas.microsoft.com/office/drawing/2014/main" id="{1AD3A2E2-E176-A5AD-15ED-6B31562CACEC}"/>
                    </a:ext>
                  </a:extLst>
                </p:cNvPr>
                <p:cNvSpPr/>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4" h="120014">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a:p>
              </p:txBody>
            </p:sp>
            <p:sp>
              <p:nvSpPr>
                <p:cNvPr id="67" name="Forma Livre: Forma 66">
                  <a:extLst>
                    <a:ext uri="{FF2B5EF4-FFF2-40B4-BE49-F238E27FC236}">
                      <a16:creationId xmlns:a16="http://schemas.microsoft.com/office/drawing/2014/main" id="{4B7F0807-7428-7965-76E5-7C6AFEE16F28}"/>
                    </a:ext>
                  </a:extLst>
                </p:cNvPr>
                <p:cNvSpPr/>
                <p:nvPr/>
              </p:nvSpPr>
              <p:spPr>
                <a:xfrm>
                  <a:off x="-1248989" y="4424523"/>
                  <a:ext cx="442912" cy="482917"/>
                </a:xfrm>
                <a:custGeom>
                  <a:avLst/>
                  <a:gdLst>
                    <a:gd name="connsiteX0" fmla="*/ 266700 w 442912"/>
                    <a:gd name="connsiteY0" fmla="*/ 372428 h 482917"/>
                    <a:gd name="connsiteX1" fmla="*/ 245745 w 442912"/>
                    <a:gd name="connsiteY1" fmla="*/ 0 h 482917"/>
                    <a:gd name="connsiteX2" fmla="*/ 220980 w 442912"/>
                    <a:gd name="connsiteY2" fmla="*/ 3810 h 482917"/>
                    <a:gd name="connsiteX3" fmla="*/ 196215 w 442912"/>
                    <a:gd name="connsiteY3" fmla="*/ 0 h 482917"/>
                    <a:gd name="connsiteX4" fmla="*/ 175260 w 442912"/>
                    <a:gd name="connsiteY4" fmla="*/ 372428 h 482917"/>
                    <a:gd name="connsiteX5" fmla="*/ 0 w 442912"/>
                    <a:gd name="connsiteY5" fmla="*/ 482918 h 482917"/>
                    <a:gd name="connsiteX6" fmla="*/ 442913 w 442912"/>
                    <a:gd name="connsiteY6" fmla="*/ 482918 h 482917"/>
                    <a:gd name="connsiteX7" fmla="*/ 266700 w 442912"/>
                    <a:gd name="connsiteY7" fmla="*/ 372428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 h="482917">
                      <a:moveTo>
                        <a:pt x="266700" y="372428"/>
                      </a:moveTo>
                      <a:cubicBezTo>
                        <a:pt x="260033" y="290512"/>
                        <a:pt x="251460" y="156210"/>
                        <a:pt x="245745" y="0"/>
                      </a:cubicBezTo>
                      <a:cubicBezTo>
                        <a:pt x="238125" y="1905"/>
                        <a:pt x="229553" y="3810"/>
                        <a:pt x="220980" y="3810"/>
                      </a:cubicBezTo>
                      <a:cubicBezTo>
                        <a:pt x="212408" y="3810"/>
                        <a:pt x="203835" y="2857"/>
                        <a:pt x="196215" y="0"/>
                      </a:cubicBezTo>
                      <a:cubicBezTo>
                        <a:pt x="190500" y="156210"/>
                        <a:pt x="181928" y="290512"/>
                        <a:pt x="175260" y="372428"/>
                      </a:cubicBezTo>
                      <a:cubicBezTo>
                        <a:pt x="99060" y="384810"/>
                        <a:pt x="39053" y="428625"/>
                        <a:pt x="0" y="482918"/>
                      </a:cubicBezTo>
                      <a:lnTo>
                        <a:pt x="442913" y="482918"/>
                      </a:lnTo>
                      <a:cubicBezTo>
                        <a:pt x="402908" y="428625"/>
                        <a:pt x="342900" y="385762"/>
                        <a:pt x="266700" y="372428"/>
                      </a:cubicBezTo>
                      <a:close/>
                    </a:path>
                  </a:pathLst>
                </a:custGeom>
                <a:grpFill/>
                <a:ln w="9525" cap="flat">
                  <a:noFill/>
                  <a:prstDash val="solid"/>
                  <a:miter/>
                </a:ln>
              </p:spPr>
              <p:txBody>
                <a:bodyPr rtlCol="0" anchor="ctr"/>
                <a:lstStyle/>
                <a:p>
                  <a:endParaRPr lang="pt-BR"/>
                </a:p>
              </p:txBody>
            </p:sp>
          </p:grpSp>
        </p:grpSp>
        <p:sp>
          <p:nvSpPr>
            <p:cNvPr id="9" name="Retângulo 8">
              <a:extLst>
                <a:ext uri="{FF2B5EF4-FFF2-40B4-BE49-F238E27FC236}">
                  <a16:creationId xmlns:a16="http://schemas.microsoft.com/office/drawing/2014/main" id="{48A1F5DA-548E-0284-4027-46E5B5B52C8E}"/>
                </a:ext>
              </a:extLst>
            </p:cNvPr>
            <p:cNvSpPr/>
            <p:nvPr/>
          </p:nvSpPr>
          <p:spPr>
            <a:xfrm>
              <a:off x="7215212" y="2138075"/>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68" name="Agrupar 67">
            <a:extLst>
              <a:ext uri="{FF2B5EF4-FFF2-40B4-BE49-F238E27FC236}">
                <a16:creationId xmlns:a16="http://schemas.microsoft.com/office/drawing/2014/main" id="{33FECE39-8134-9DBB-2EB9-2F18CFFDBEC9}"/>
              </a:ext>
            </a:extLst>
          </p:cNvPr>
          <p:cNvGrpSpPr/>
          <p:nvPr/>
        </p:nvGrpSpPr>
        <p:grpSpPr>
          <a:xfrm>
            <a:off x="5551223" y="1961212"/>
            <a:ext cx="107326" cy="89362"/>
            <a:chOff x="7396090" y="2146764"/>
            <a:chExt cx="107326" cy="89362"/>
          </a:xfrm>
        </p:grpSpPr>
        <p:grpSp>
          <p:nvGrpSpPr>
            <p:cNvPr id="70" name="Agrupar 69">
              <a:extLst>
                <a:ext uri="{FF2B5EF4-FFF2-40B4-BE49-F238E27FC236}">
                  <a16:creationId xmlns:a16="http://schemas.microsoft.com/office/drawing/2014/main" id="{5AE8831F-C5E4-D456-457B-0441BE67D931}"/>
                </a:ext>
              </a:extLst>
            </p:cNvPr>
            <p:cNvGrpSpPr/>
            <p:nvPr/>
          </p:nvGrpSpPr>
          <p:grpSpPr>
            <a:xfrm>
              <a:off x="7396090" y="2147062"/>
              <a:ext cx="97784" cy="80375"/>
              <a:chOff x="5346212" y="951625"/>
              <a:chExt cx="760769" cy="760755"/>
            </a:xfrm>
          </p:grpSpPr>
          <p:sp>
            <p:nvSpPr>
              <p:cNvPr id="73" name="Elipse 72">
                <a:extLst>
                  <a:ext uri="{FF2B5EF4-FFF2-40B4-BE49-F238E27FC236}">
                    <a16:creationId xmlns:a16="http://schemas.microsoft.com/office/drawing/2014/main" id="{0736CF71-298A-94CE-6E10-33F94B30699F}"/>
                  </a:ext>
                </a:extLst>
              </p:cNvPr>
              <p:cNvSpPr/>
              <p:nvPr/>
            </p:nvSpPr>
            <p:spPr>
              <a:xfrm>
                <a:off x="5346212" y="951625"/>
                <a:ext cx="760769" cy="760755"/>
              </a:xfrm>
              <a:prstGeom prst="ellipse">
                <a:avLst/>
              </a:prstGeom>
              <a:gradFill>
                <a:gsLst>
                  <a:gs pos="0">
                    <a:srgbClr val="CCB282">
                      <a:alpha val="25000"/>
                    </a:srgbClr>
                  </a:gs>
                  <a:gs pos="100000">
                    <a:srgbClr val="CCB282"/>
                  </a:gs>
                </a:gsLst>
                <a:lin ang="2700000" scaled="0"/>
              </a:gradFill>
              <a:ln w="9525">
                <a:gradFill>
                  <a:gsLst>
                    <a:gs pos="0">
                      <a:srgbClr val="CCB282"/>
                    </a:gs>
                    <a:gs pos="50000">
                      <a:srgbClr val="CCB282">
                        <a:alpha val="0"/>
                      </a:srgbClr>
                    </a:gs>
                    <a:gs pos="100000">
                      <a:srgbClr val="CCB282"/>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77" name="Gráfico 490">
                <a:extLst>
                  <a:ext uri="{FF2B5EF4-FFF2-40B4-BE49-F238E27FC236}">
                    <a16:creationId xmlns:a16="http://schemas.microsoft.com/office/drawing/2014/main" id="{E15487ED-47FF-1879-1C11-87BBC8419FD3}"/>
                  </a:ext>
                </a:extLst>
              </p:cNvPr>
              <p:cNvGrpSpPr/>
              <p:nvPr/>
            </p:nvGrpSpPr>
            <p:grpSpPr>
              <a:xfrm>
                <a:off x="5452332" y="1051578"/>
                <a:ext cx="549099" cy="547367"/>
                <a:chOff x="7139340" y="2443618"/>
                <a:chExt cx="905827" cy="902970"/>
              </a:xfrm>
              <a:solidFill>
                <a:schemeClr val="bg1"/>
              </a:solidFill>
            </p:grpSpPr>
            <p:sp>
              <p:nvSpPr>
                <p:cNvPr id="81" name="Forma Livre: Forma 80">
                  <a:extLst>
                    <a:ext uri="{FF2B5EF4-FFF2-40B4-BE49-F238E27FC236}">
                      <a16:creationId xmlns:a16="http://schemas.microsoft.com/office/drawing/2014/main" id="{73536BEF-8C4C-E041-04E9-6FED18986BB4}"/>
                    </a:ext>
                  </a:extLst>
                </p:cNvPr>
                <p:cNvSpPr/>
                <p:nvPr/>
              </p:nvSpPr>
              <p:spPr>
                <a:xfrm>
                  <a:off x="7390800" y="2694126"/>
                  <a:ext cx="401954" cy="401954"/>
                </a:xfrm>
                <a:custGeom>
                  <a:avLst/>
                  <a:gdLst>
                    <a:gd name="connsiteX0" fmla="*/ 200978 w 401954"/>
                    <a:gd name="connsiteY0" fmla="*/ 0 h 401954"/>
                    <a:gd name="connsiteX1" fmla="*/ 0 w 401954"/>
                    <a:gd name="connsiteY1" fmla="*/ 200978 h 401954"/>
                    <a:gd name="connsiteX2" fmla="*/ 200978 w 401954"/>
                    <a:gd name="connsiteY2" fmla="*/ 401955 h 401954"/>
                    <a:gd name="connsiteX3" fmla="*/ 401955 w 401954"/>
                    <a:gd name="connsiteY3" fmla="*/ 200978 h 401954"/>
                    <a:gd name="connsiteX4" fmla="*/ 200978 w 401954"/>
                    <a:gd name="connsiteY4" fmla="*/ 0 h 40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4" h="401954">
                      <a:moveTo>
                        <a:pt x="200978" y="0"/>
                      </a:moveTo>
                      <a:cubicBezTo>
                        <a:pt x="90488" y="0"/>
                        <a:pt x="0" y="90488"/>
                        <a:pt x="0" y="200978"/>
                      </a:cubicBezTo>
                      <a:cubicBezTo>
                        <a:pt x="0" y="311468"/>
                        <a:pt x="90488" y="401955"/>
                        <a:pt x="200978" y="401955"/>
                      </a:cubicBezTo>
                      <a:cubicBezTo>
                        <a:pt x="311468" y="401955"/>
                        <a:pt x="401955" y="311468"/>
                        <a:pt x="401955" y="200978"/>
                      </a:cubicBezTo>
                      <a:cubicBezTo>
                        <a:pt x="401955" y="90488"/>
                        <a:pt x="311468" y="0"/>
                        <a:pt x="200978" y="0"/>
                      </a:cubicBezTo>
                      <a:close/>
                    </a:path>
                  </a:pathLst>
                </a:custGeom>
                <a:grpFill/>
                <a:ln w="9525" cap="flat">
                  <a:noFill/>
                  <a:prstDash val="solid"/>
                  <a:miter/>
                </a:ln>
              </p:spPr>
              <p:txBody>
                <a:bodyPr rtlCol="0" anchor="ctr"/>
                <a:lstStyle/>
                <a:p>
                  <a:endParaRPr lang="pt-BR"/>
                </a:p>
              </p:txBody>
            </p:sp>
            <p:sp>
              <p:nvSpPr>
                <p:cNvPr id="83" name="Forma Livre: Forma 82">
                  <a:extLst>
                    <a:ext uri="{FF2B5EF4-FFF2-40B4-BE49-F238E27FC236}">
                      <a16:creationId xmlns:a16="http://schemas.microsoft.com/office/drawing/2014/main" id="{E4D75580-A3DA-ED75-CF00-8D20F435277F}"/>
                    </a:ext>
                  </a:extLst>
                </p:cNvPr>
                <p:cNvSpPr/>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a:p>
              </p:txBody>
            </p:sp>
            <p:sp>
              <p:nvSpPr>
                <p:cNvPr id="91" name="Forma Livre: Forma 90">
                  <a:extLst>
                    <a:ext uri="{FF2B5EF4-FFF2-40B4-BE49-F238E27FC236}">
                      <a16:creationId xmlns:a16="http://schemas.microsoft.com/office/drawing/2014/main" id="{571E1412-ACBA-9198-6938-2342F9AB8C2E}"/>
                    </a:ext>
                  </a:extLst>
                </p:cNvPr>
                <p:cNvSpPr/>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a:p>
              </p:txBody>
            </p:sp>
            <p:sp>
              <p:nvSpPr>
                <p:cNvPr id="92" name="Forma Livre: Forma 91">
                  <a:extLst>
                    <a:ext uri="{FF2B5EF4-FFF2-40B4-BE49-F238E27FC236}">
                      <a16:creationId xmlns:a16="http://schemas.microsoft.com/office/drawing/2014/main" id="{2FCD8146-6301-60E6-7504-0A4BFE2071C3}"/>
                    </a:ext>
                  </a:extLst>
                </p:cNvPr>
                <p:cNvSpPr/>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a:p>
              </p:txBody>
            </p:sp>
            <p:sp>
              <p:nvSpPr>
                <p:cNvPr id="93" name="Forma Livre: Forma 92">
                  <a:extLst>
                    <a:ext uri="{FF2B5EF4-FFF2-40B4-BE49-F238E27FC236}">
                      <a16:creationId xmlns:a16="http://schemas.microsoft.com/office/drawing/2014/main" id="{09DE1FE6-E811-56CB-D7CB-59CDC044C66D}"/>
                    </a:ext>
                  </a:extLst>
                </p:cNvPr>
                <p:cNvSpPr/>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a:p>
              </p:txBody>
            </p:sp>
            <p:sp>
              <p:nvSpPr>
                <p:cNvPr id="94" name="Forma Livre: Forma 93">
                  <a:extLst>
                    <a:ext uri="{FF2B5EF4-FFF2-40B4-BE49-F238E27FC236}">
                      <a16:creationId xmlns:a16="http://schemas.microsoft.com/office/drawing/2014/main" id="{C2E67564-7D8E-21FD-E901-F8635D40D175}"/>
                    </a:ext>
                  </a:extLst>
                </p:cNvPr>
                <p:cNvSpPr/>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a:p>
              </p:txBody>
            </p:sp>
            <p:sp>
              <p:nvSpPr>
                <p:cNvPr id="95" name="Forma Livre: Forma 94">
                  <a:extLst>
                    <a:ext uri="{FF2B5EF4-FFF2-40B4-BE49-F238E27FC236}">
                      <a16:creationId xmlns:a16="http://schemas.microsoft.com/office/drawing/2014/main" id="{CECCD286-1D80-5D9F-CB00-BB4E7FEA85B8}"/>
                    </a:ext>
                  </a:extLst>
                </p:cNvPr>
                <p:cNvSpPr/>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a:p>
              </p:txBody>
            </p:sp>
            <p:sp>
              <p:nvSpPr>
                <p:cNvPr id="148" name="Forma Livre: Forma 147">
                  <a:extLst>
                    <a:ext uri="{FF2B5EF4-FFF2-40B4-BE49-F238E27FC236}">
                      <a16:creationId xmlns:a16="http://schemas.microsoft.com/office/drawing/2014/main" id="{7DF64AB8-0189-C3E5-73A1-8062D3613224}"/>
                    </a:ext>
                  </a:extLst>
                </p:cNvPr>
                <p:cNvSpPr/>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a:p>
              </p:txBody>
            </p:sp>
            <p:sp>
              <p:nvSpPr>
                <p:cNvPr id="149" name="Forma Livre: Forma 148">
                  <a:extLst>
                    <a:ext uri="{FF2B5EF4-FFF2-40B4-BE49-F238E27FC236}">
                      <a16:creationId xmlns:a16="http://schemas.microsoft.com/office/drawing/2014/main" id="{0152A758-84CB-8A33-79EB-E436ABC8C856}"/>
                    </a:ext>
                  </a:extLst>
                </p:cNvPr>
                <p:cNvSpPr/>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a:p>
              </p:txBody>
            </p:sp>
          </p:grpSp>
        </p:grpSp>
        <p:sp>
          <p:nvSpPr>
            <p:cNvPr id="72" name="Retângulo 71">
              <a:extLst>
                <a:ext uri="{FF2B5EF4-FFF2-40B4-BE49-F238E27FC236}">
                  <a16:creationId xmlns:a16="http://schemas.microsoft.com/office/drawing/2014/main" id="{A850896C-4A7A-1125-FC62-D00F14FD1F40}"/>
                </a:ext>
              </a:extLst>
            </p:cNvPr>
            <p:cNvSpPr/>
            <p:nvPr/>
          </p:nvSpPr>
          <p:spPr>
            <a:xfrm>
              <a:off x="7396392" y="2146764"/>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154" name="Agrupar 153">
            <a:extLst>
              <a:ext uri="{FF2B5EF4-FFF2-40B4-BE49-F238E27FC236}">
                <a16:creationId xmlns:a16="http://schemas.microsoft.com/office/drawing/2014/main" id="{815DFF70-DAF9-95B1-0E46-7A4622FD304D}"/>
              </a:ext>
            </a:extLst>
          </p:cNvPr>
          <p:cNvGrpSpPr/>
          <p:nvPr/>
        </p:nvGrpSpPr>
        <p:grpSpPr>
          <a:xfrm>
            <a:off x="5970207" y="2145169"/>
            <a:ext cx="107024" cy="92174"/>
            <a:chOff x="7215212" y="2138075"/>
            <a:chExt cx="107024" cy="92174"/>
          </a:xfrm>
        </p:grpSpPr>
        <p:grpSp>
          <p:nvGrpSpPr>
            <p:cNvPr id="155" name="Agrupar 154">
              <a:extLst>
                <a:ext uri="{FF2B5EF4-FFF2-40B4-BE49-F238E27FC236}">
                  <a16:creationId xmlns:a16="http://schemas.microsoft.com/office/drawing/2014/main" id="{39AB16FB-D747-2222-29C6-6E0899161E91}"/>
                </a:ext>
              </a:extLst>
            </p:cNvPr>
            <p:cNvGrpSpPr/>
            <p:nvPr/>
          </p:nvGrpSpPr>
          <p:grpSpPr>
            <a:xfrm>
              <a:off x="7220590" y="2138075"/>
              <a:ext cx="101646" cy="92174"/>
              <a:chOff x="-773373" y="4648327"/>
              <a:chExt cx="599816" cy="599809"/>
            </a:xfrm>
          </p:grpSpPr>
          <p:sp>
            <p:nvSpPr>
              <p:cNvPr id="157" name="Elipse 156">
                <a:extLst>
                  <a:ext uri="{FF2B5EF4-FFF2-40B4-BE49-F238E27FC236}">
                    <a16:creationId xmlns:a16="http://schemas.microsoft.com/office/drawing/2014/main" id="{25F75B21-9533-B36C-B0E3-2DBA3050E59D}"/>
                  </a:ext>
                </a:extLst>
              </p:cNvPr>
              <p:cNvSpPr/>
              <p:nvPr/>
            </p:nvSpPr>
            <p:spPr>
              <a:xfrm>
                <a:off x="-773373" y="4648327"/>
                <a:ext cx="599816" cy="599809"/>
              </a:xfrm>
              <a:prstGeom prst="ellipse">
                <a:avLst/>
              </a:prstGeom>
              <a:gradFill>
                <a:gsLst>
                  <a:gs pos="0">
                    <a:schemeClr val="bg1">
                      <a:lumMod val="85000"/>
                      <a:alpha val="51000"/>
                    </a:schemeClr>
                  </a:gs>
                  <a:gs pos="72000">
                    <a:schemeClr val="bg1">
                      <a:lumMod val="65000"/>
                    </a:schemeClr>
                  </a:gs>
                </a:gsLst>
                <a:lin ang="2700000" scaled="0"/>
              </a:gradFill>
              <a:ln w="9525">
                <a:gradFill>
                  <a:gsLst>
                    <a:gs pos="0">
                      <a:schemeClr val="bg1">
                        <a:lumMod val="65000"/>
                      </a:schemeClr>
                    </a:gs>
                    <a:gs pos="50000">
                      <a:schemeClr val="bg1">
                        <a:lumMod val="50000"/>
                        <a:alpha val="0"/>
                      </a:schemeClr>
                    </a:gs>
                    <a:gs pos="100000">
                      <a:schemeClr val="bg1">
                        <a:lumMod val="75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8" name="Gráfico 93">
                <a:extLst>
                  <a:ext uri="{FF2B5EF4-FFF2-40B4-BE49-F238E27FC236}">
                    <a16:creationId xmlns:a16="http://schemas.microsoft.com/office/drawing/2014/main" id="{BF3446F0-A3CE-CED2-5BDE-38499601B318}"/>
                  </a:ext>
                </a:extLst>
              </p:cNvPr>
              <p:cNvGrpSpPr/>
              <p:nvPr/>
            </p:nvGrpSpPr>
            <p:grpSpPr>
              <a:xfrm>
                <a:off x="-606137" y="4738821"/>
                <a:ext cx="265344" cy="418821"/>
                <a:chOff x="-1314401" y="4003518"/>
                <a:chExt cx="572680" cy="903922"/>
              </a:xfrm>
              <a:solidFill>
                <a:schemeClr val="bg1"/>
              </a:solidFill>
            </p:grpSpPr>
            <p:sp>
              <p:nvSpPr>
                <p:cNvPr id="159" name="Forma Livre: Forma 158">
                  <a:extLst>
                    <a:ext uri="{FF2B5EF4-FFF2-40B4-BE49-F238E27FC236}">
                      <a16:creationId xmlns:a16="http://schemas.microsoft.com/office/drawing/2014/main" id="{F5D37F09-BAB9-C418-B2FE-45981485ABC5}"/>
                    </a:ext>
                  </a:extLst>
                </p:cNvPr>
                <p:cNvSpPr/>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a:p>
              </p:txBody>
            </p:sp>
            <p:sp>
              <p:nvSpPr>
                <p:cNvPr id="160" name="Forma Livre: Forma 159">
                  <a:extLst>
                    <a:ext uri="{FF2B5EF4-FFF2-40B4-BE49-F238E27FC236}">
                      <a16:creationId xmlns:a16="http://schemas.microsoft.com/office/drawing/2014/main" id="{AF03C6D5-D595-06AD-2879-0A5CC2BE1DE4}"/>
                    </a:ext>
                  </a:extLst>
                </p:cNvPr>
                <p:cNvSpPr/>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a:p>
              </p:txBody>
            </p:sp>
            <p:sp>
              <p:nvSpPr>
                <p:cNvPr id="161" name="Forma Livre: Forma 160">
                  <a:extLst>
                    <a:ext uri="{FF2B5EF4-FFF2-40B4-BE49-F238E27FC236}">
                      <a16:creationId xmlns:a16="http://schemas.microsoft.com/office/drawing/2014/main" id="{71959253-D545-FE9C-EF5D-C710FC5CB152}"/>
                    </a:ext>
                  </a:extLst>
                </p:cNvPr>
                <p:cNvSpPr/>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a:p>
              </p:txBody>
            </p:sp>
            <p:sp>
              <p:nvSpPr>
                <p:cNvPr id="162" name="Forma Livre: Forma 161">
                  <a:extLst>
                    <a:ext uri="{FF2B5EF4-FFF2-40B4-BE49-F238E27FC236}">
                      <a16:creationId xmlns:a16="http://schemas.microsoft.com/office/drawing/2014/main" id="{3282593B-3423-467A-7CC1-3DDB387DEA5F}"/>
                    </a:ext>
                  </a:extLst>
                </p:cNvPr>
                <p:cNvSpPr/>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a:p>
              </p:txBody>
            </p:sp>
            <p:sp>
              <p:nvSpPr>
                <p:cNvPr id="163" name="Forma Livre: Forma 162">
                  <a:extLst>
                    <a:ext uri="{FF2B5EF4-FFF2-40B4-BE49-F238E27FC236}">
                      <a16:creationId xmlns:a16="http://schemas.microsoft.com/office/drawing/2014/main" id="{50A5FD7A-3B6F-14C0-40D3-A1B81F8B48E1}"/>
                    </a:ext>
                  </a:extLst>
                </p:cNvPr>
                <p:cNvSpPr/>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a:p>
              </p:txBody>
            </p:sp>
            <p:sp>
              <p:nvSpPr>
                <p:cNvPr id="164" name="Forma Livre: Forma 163">
                  <a:extLst>
                    <a:ext uri="{FF2B5EF4-FFF2-40B4-BE49-F238E27FC236}">
                      <a16:creationId xmlns:a16="http://schemas.microsoft.com/office/drawing/2014/main" id="{3D80C520-EA55-EE4D-8AA5-700A94C1D2A6}"/>
                    </a:ext>
                  </a:extLst>
                </p:cNvPr>
                <p:cNvSpPr/>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a:p>
              </p:txBody>
            </p:sp>
            <p:sp>
              <p:nvSpPr>
                <p:cNvPr id="165" name="Forma Livre: Forma 164">
                  <a:extLst>
                    <a:ext uri="{FF2B5EF4-FFF2-40B4-BE49-F238E27FC236}">
                      <a16:creationId xmlns:a16="http://schemas.microsoft.com/office/drawing/2014/main" id="{52645B41-DFC4-D1EC-2B75-410792984B00}"/>
                    </a:ext>
                  </a:extLst>
                </p:cNvPr>
                <p:cNvSpPr/>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a:p>
              </p:txBody>
            </p:sp>
            <p:sp>
              <p:nvSpPr>
                <p:cNvPr id="166" name="Forma Livre: Forma 165">
                  <a:extLst>
                    <a:ext uri="{FF2B5EF4-FFF2-40B4-BE49-F238E27FC236}">
                      <a16:creationId xmlns:a16="http://schemas.microsoft.com/office/drawing/2014/main" id="{80562C36-ED32-5035-84F8-C57D2E517DE6}"/>
                    </a:ext>
                  </a:extLst>
                </p:cNvPr>
                <p:cNvSpPr/>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4" h="120014">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a:p>
              </p:txBody>
            </p:sp>
            <p:sp>
              <p:nvSpPr>
                <p:cNvPr id="167" name="Forma Livre: Forma 166">
                  <a:extLst>
                    <a:ext uri="{FF2B5EF4-FFF2-40B4-BE49-F238E27FC236}">
                      <a16:creationId xmlns:a16="http://schemas.microsoft.com/office/drawing/2014/main" id="{01F5C4F3-BAE6-EF4E-8A6F-B1462D4A065E}"/>
                    </a:ext>
                  </a:extLst>
                </p:cNvPr>
                <p:cNvSpPr/>
                <p:nvPr/>
              </p:nvSpPr>
              <p:spPr>
                <a:xfrm>
                  <a:off x="-1248989" y="4424523"/>
                  <a:ext cx="442912" cy="482917"/>
                </a:xfrm>
                <a:custGeom>
                  <a:avLst/>
                  <a:gdLst>
                    <a:gd name="connsiteX0" fmla="*/ 266700 w 442912"/>
                    <a:gd name="connsiteY0" fmla="*/ 372428 h 482917"/>
                    <a:gd name="connsiteX1" fmla="*/ 245745 w 442912"/>
                    <a:gd name="connsiteY1" fmla="*/ 0 h 482917"/>
                    <a:gd name="connsiteX2" fmla="*/ 220980 w 442912"/>
                    <a:gd name="connsiteY2" fmla="*/ 3810 h 482917"/>
                    <a:gd name="connsiteX3" fmla="*/ 196215 w 442912"/>
                    <a:gd name="connsiteY3" fmla="*/ 0 h 482917"/>
                    <a:gd name="connsiteX4" fmla="*/ 175260 w 442912"/>
                    <a:gd name="connsiteY4" fmla="*/ 372428 h 482917"/>
                    <a:gd name="connsiteX5" fmla="*/ 0 w 442912"/>
                    <a:gd name="connsiteY5" fmla="*/ 482918 h 482917"/>
                    <a:gd name="connsiteX6" fmla="*/ 442913 w 442912"/>
                    <a:gd name="connsiteY6" fmla="*/ 482918 h 482917"/>
                    <a:gd name="connsiteX7" fmla="*/ 266700 w 442912"/>
                    <a:gd name="connsiteY7" fmla="*/ 372428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 h="482917">
                      <a:moveTo>
                        <a:pt x="266700" y="372428"/>
                      </a:moveTo>
                      <a:cubicBezTo>
                        <a:pt x="260033" y="290512"/>
                        <a:pt x="251460" y="156210"/>
                        <a:pt x="245745" y="0"/>
                      </a:cubicBezTo>
                      <a:cubicBezTo>
                        <a:pt x="238125" y="1905"/>
                        <a:pt x="229553" y="3810"/>
                        <a:pt x="220980" y="3810"/>
                      </a:cubicBezTo>
                      <a:cubicBezTo>
                        <a:pt x="212408" y="3810"/>
                        <a:pt x="203835" y="2857"/>
                        <a:pt x="196215" y="0"/>
                      </a:cubicBezTo>
                      <a:cubicBezTo>
                        <a:pt x="190500" y="156210"/>
                        <a:pt x="181928" y="290512"/>
                        <a:pt x="175260" y="372428"/>
                      </a:cubicBezTo>
                      <a:cubicBezTo>
                        <a:pt x="99060" y="384810"/>
                        <a:pt x="39053" y="428625"/>
                        <a:pt x="0" y="482918"/>
                      </a:cubicBezTo>
                      <a:lnTo>
                        <a:pt x="442913" y="482918"/>
                      </a:lnTo>
                      <a:cubicBezTo>
                        <a:pt x="402908" y="428625"/>
                        <a:pt x="342900" y="385762"/>
                        <a:pt x="266700" y="372428"/>
                      </a:cubicBezTo>
                      <a:close/>
                    </a:path>
                  </a:pathLst>
                </a:custGeom>
                <a:grpFill/>
                <a:ln w="9525" cap="flat">
                  <a:noFill/>
                  <a:prstDash val="solid"/>
                  <a:miter/>
                </a:ln>
              </p:spPr>
              <p:txBody>
                <a:bodyPr rtlCol="0" anchor="ctr"/>
                <a:lstStyle/>
                <a:p>
                  <a:endParaRPr lang="pt-BR"/>
                </a:p>
              </p:txBody>
            </p:sp>
          </p:grpSp>
        </p:grpSp>
        <p:sp>
          <p:nvSpPr>
            <p:cNvPr id="156" name="Retângulo 155">
              <a:extLst>
                <a:ext uri="{FF2B5EF4-FFF2-40B4-BE49-F238E27FC236}">
                  <a16:creationId xmlns:a16="http://schemas.microsoft.com/office/drawing/2014/main" id="{18605C7B-488A-DE7C-EBD0-FDA3192A08C6}"/>
                </a:ext>
              </a:extLst>
            </p:cNvPr>
            <p:cNvSpPr/>
            <p:nvPr/>
          </p:nvSpPr>
          <p:spPr>
            <a:xfrm>
              <a:off x="7215212" y="2138075"/>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168" name="Agrupar 167">
            <a:extLst>
              <a:ext uri="{FF2B5EF4-FFF2-40B4-BE49-F238E27FC236}">
                <a16:creationId xmlns:a16="http://schemas.microsoft.com/office/drawing/2014/main" id="{DCC4437C-3265-8662-DDF2-83BD0F5BE3C5}"/>
              </a:ext>
            </a:extLst>
          </p:cNvPr>
          <p:cNvGrpSpPr/>
          <p:nvPr/>
        </p:nvGrpSpPr>
        <p:grpSpPr>
          <a:xfrm>
            <a:off x="5726913" y="2557676"/>
            <a:ext cx="107326" cy="89362"/>
            <a:chOff x="7396090" y="2146764"/>
            <a:chExt cx="107326" cy="89362"/>
          </a:xfrm>
        </p:grpSpPr>
        <p:grpSp>
          <p:nvGrpSpPr>
            <p:cNvPr id="169" name="Agrupar 168">
              <a:extLst>
                <a:ext uri="{FF2B5EF4-FFF2-40B4-BE49-F238E27FC236}">
                  <a16:creationId xmlns:a16="http://schemas.microsoft.com/office/drawing/2014/main" id="{3C120491-23F9-F4F2-E3D8-20F49BB6C7A0}"/>
                </a:ext>
              </a:extLst>
            </p:cNvPr>
            <p:cNvGrpSpPr/>
            <p:nvPr/>
          </p:nvGrpSpPr>
          <p:grpSpPr>
            <a:xfrm>
              <a:off x="7396090" y="2147062"/>
              <a:ext cx="97784" cy="80375"/>
              <a:chOff x="5346212" y="951625"/>
              <a:chExt cx="760769" cy="760755"/>
            </a:xfrm>
          </p:grpSpPr>
          <p:sp>
            <p:nvSpPr>
              <p:cNvPr id="171" name="Elipse 170">
                <a:extLst>
                  <a:ext uri="{FF2B5EF4-FFF2-40B4-BE49-F238E27FC236}">
                    <a16:creationId xmlns:a16="http://schemas.microsoft.com/office/drawing/2014/main" id="{03A83A6D-97E7-D3A6-4361-B729D3E7C5BE}"/>
                  </a:ext>
                </a:extLst>
              </p:cNvPr>
              <p:cNvSpPr/>
              <p:nvPr/>
            </p:nvSpPr>
            <p:spPr>
              <a:xfrm>
                <a:off x="5346212" y="951625"/>
                <a:ext cx="760769" cy="760755"/>
              </a:xfrm>
              <a:prstGeom prst="ellipse">
                <a:avLst/>
              </a:prstGeom>
              <a:gradFill>
                <a:gsLst>
                  <a:gs pos="0">
                    <a:srgbClr val="CCB282">
                      <a:alpha val="25000"/>
                    </a:srgbClr>
                  </a:gs>
                  <a:gs pos="100000">
                    <a:srgbClr val="CCB282"/>
                  </a:gs>
                </a:gsLst>
                <a:lin ang="2700000" scaled="0"/>
              </a:gradFill>
              <a:ln w="9525">
                <a:gradFill>
                  <a:gsLst>
                    <a:gs pos="0">
                      <a:srgbClr val="CCB282"/>
                    </a:gs>
                    <a:gs pos="50000">
                      <a:srgbClr val="CCB282">
                        <a:alpha val="0"/>
                      </a:srgbClr>
                    </a:gs>
                    <a:gs pos="100000">
                      <a:srgbClr val="CCB282"/>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2" name="Gráfico 490">
                <a:extLst>
                  <a:ext uri="{FF2B5EF4-FFF2-40B4-BE49-F238E27FC236}">
                    <a16:creationId xmlns:a16="http://schemas.microsoft.com/office/drawing/2014/main" id="{D773227A-FAC2-1882-98DF-5B923B72CE29}"/>
                  </a:ext>
                </a:extLst>
              </p:cNvPr>
              <p:cNvGrpSpPr/>
              <p:nvPr/>
            </p:nvGrpSpPr>
            <p:grpSpPr>
              <a:xfrm>
                <a:off x="5452332" y="1051578"/>
                <a:ext cx="549099" cy="547367"/>
                <a:chOff x="7139340" y="2443618"/>
                <a:chExt cx="905827" cy="902970"/>
              </a:xfrm>
              <a:solidFill>
                <a:schemeClr val="bg1"/>
              </a:solidFill>
            </p:grpSpPr>
            <p:sp>
              <p:nvSpPr>
                <p:cNvPr id="173" name="Forma Livre: Forma 172">
                  <a:extLst>
                    <a:ext uri="{FF2B5EF4-FFF2-40B4-BE49-F238E27FC236}">
                      <a16:creationId xmlns:a16="http://schemas.microsoft.com/office/drawing/2014/main" id="{1D2C7F84-C40F-2BC4-84B6-962BC356D46F}"/>
                    </a:ext>
                  </a:extLst>
                </p:cNvPr>
                <p:cNvSpPr/>
                <p:nvPr/>
              </p:nvSpPr>
              <p:spPr>
                <a:xfrm>
                  <a:off x="7390800" y="2694126"/>
                  <a:ext cx="401954" cy="401954"/>
                </a:xfrm>
                <a:custGeom>
                  <a:avLst/>
                  <a:gdLst>
                    <a:gd name="connsiteX0" fmla="*/ 200978 w 401954"/>
                    <a:gd name="connsiteY0" fmla="*/ 0 h 401954"/>
                    <a:gd name="connsiteX1" fmla="*/ 0 w 401954"/>
                    <a:gd name="connsiteY1" fmla="*/ 200978 h 401954"/>
                    <a:gd name="connsiteX2" fmla="*/ 200978 w 401954"/>
                    <a:gd name="connsiteY2" fmla="*/ 401955 h 401954"/>
                    <a:gd name="connsiteX3" fmla="*/ 401955 w 401954"/>
                    <a:gd name="connsiteY3" fmla="*/ 200978 h 401954"/>
                    <a:gd name="connsiteX4" fmla="*/ 200978 w 401954"/>
                    <a:gd name="connsiteY4" fmla="*/ 0 h 40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4" h="401954">
                      <a:moveTo>
                        <a:pt x="200978" y="0"/>
                      </a:moveTo>
                      <a:cubicBezTo>
                        <a:pt x="90488" y="0"/>
                        <a:pt x="0" y="90488"/>
                        <a:pt x="0" y="200978"/>
                      </a:cubicBezTo>
                      <a:cubicBezTo>
                        <a:pt x="0" y="311468"/>
                        <a:pt x="90488" y="401955"/>
                        <a:pt x="200978" y="401955"/>
                      </a:cubicBezTo>
                      <a:cubicBezTo>
                        <a:pt x="311468" y="401955"/>
                        <a:pt x="401955" y="311468"/>
                        <a:pt x="401955" y="200978"/>
                      </a:cubicBezTo>
                      <a:cubicBezTo>
                        <a:pt x="401955" y="90488"/>
                        <a:pt x="311468" y="0"/>
                        <a:pt x="200978" y="0"/>
                      </a:cubicBezTo>
                      <a:close/>
                    </a:path>
                  </a:pathLst>
                </a:custGeom>
                <a:grpFill/>
                <a:ln w="9525" cap="flat">
                  <a:noFill/>
                  <a:prstDash val="solid"/>
                  <a:miter/>
                </a:ln>
              </p:spPr>
              <p:txBody>
                <a:bodyPr rtlCol="0" anchor="ctr"/>
                <a:lstStyle/>
                <a:p>
                  <a:endParaRPr lang="pt-BR"/>
                </a:p>
              </p:txBody>
            </p:sp>
            <p:sp>
              <p:nvSpPr>
                <p:cNvPr id="174" name="Forma Livre: Forma 173">
                  <a:extLst>
                    <a:ext uri="{FF2B5EF4-FFF2-40B4-BE49-F238E27FC236}">
                      <a16:creationId xmlns:a16="http://schemas.microsoft.com/office/drawing/2014/main" id="{97C987C0-6DCE-C16F-C6C6-42FB8512479F}"/>
                    </a:ext>
                  </a:extLst>
                </p:cNvPr>
                <p:cNvSpPr/>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a:p>
              </p:txBody>
            </p:sp>
            <p:sp>
              <p:nvSpPr>
                <p:cNvPr id="175" name="Forma Livre: Forma 174">
                  <a:extLst>
                    <a:ext uri="{FF2B5EF4-FFF2-40B4-BE49-F238E27FC236}">
                      <a16:creationId xmlns:a16="http://schemas.microsoft.com/office/drawing/2014/main" id="{CEC0B25B-2E4A-8CCC-4455-45B5D25B4533}"/>
                    </a:ext>
                  </a:extLst>
                </p:cNvPr>
                <p:cNvSpPr/>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a:p>
              </p:txBody>
            </p:sp>
            <p:sp>
              <p:nvSpPr>
                <p:cNvPr id="176" name="Forma Livre: Forma 175">
                  <a:extLst>
                    <a:ext uri="{FF2B5EF4-FFF2-40B4-BE49-F238E27FC236}">
                      <a16:creationId xmlns:a16="http://schemas.microsoft.com/office/drawing/2014/main" id="{EA13672F-B498-544C-1BC6-57E087E980D6}"/>
                    </a:ext>
                  </a:extLst>
                </p:cNvPr>
                <p:cNvSpPr/>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a:p>
              </p:txBody>
            </p:sp>
            <p:sp>
              <p:nvSpPr>
                <p:cNvPr id="177" name="Forma Livre: Forma 176">
                  <a:extLst>
                    <a:ext uri="{FF2B5EF4-FFF2-40B4-BE49-F238E27FC236}">
                      <a16:creationId xmlns:a16="http://schemas.microsoft.com/office/drawing/2014/main" id="{87F3C19A-AE17-ED04-E49E-8DFAF2825C91}"/>
                    </a:ext>
                  </a:extLst>
                </p:cNvPr>
                <p:cNvSpPr/>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a:p>
              </p:txBody>
            </p:sp>
            <p:sp>
              <p:nvSpPr>
                <p:cNvPr id="238" name="Forma Livre: Forma 237">
                  <a:extLst>
                    <a:ext uri="{FF2B5EF4-FFF2-40B4-BE49-F238E27FC236}">
                      <a16:creationId xmlns:a16="http://schemas.microsoft.com/office/drawing/2014/main" id="{8445B8A6-18CC-ED0B-E45C-E7D681C3ECD2}"/>
                    </a:ext>
                  </a:extLst>
                </p:cNvPr>
                <p:cNvSpPr/>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a:p>
              </p:txBody>
            </p:sp>
            <p:sp>
              <p:nvSpPr>
                <p:cNvPr id="239" name="Forma Livre: Forma 238">
                  <a:extLst>
                    <a:ext uri="{FF2B5EF4-FFF2-40B4-BE49-F238E27FC236}">
                      <a16:creationId xmlns:a16="http://schemas.microsoft.com/office/drawing/2014/main" id="{F6155AA1-0F73-20A3-50EE-FFCD2A306EBB}"/>
                    </a:ext>
                  </a:extLst>
                </p:cNvPr>
                <p:cNvSpPr/>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a:p>
              </p:txBody>
            </p:sp>
            <p:sp>
              <p:nvSpPr>
                <p:cNvPr id="240" name="Forma Livre: Forma 239">
                  <a:extLst>
                    <a:ext uri="{FF2B5EF4-FFF2-40B4-BE49-F238E27FC236}">
                      <a16:creationId xmlns:a16="http://schemas.microsoft.com/office/drawing/2014/main" id="{7CE8A0CA-6526-D4E2-74F5-016B7226A660}"/>
                    </a:ext>
                  </a:extLst>
                </p:cNvPr>
                <p:cNvSpPr/>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a:p>
              </p:txBody>
            </p:sp>
            <p:sp>
              <p:nvSpPr>
                <p:cNvPr id="241" name="Forma Livre: Forma 240">
                  <a:extLst>
                    <a:ext uri="{FF2B5EF4-FFF2-40B4-BE49-F238E27FC236}">
                      <a16:creationId xmlns:a16="http://schemas.microsoft.com/office/drawing/2014/main" id="{92A57390-851D-67FB-299A-FF5CF0683A42}"/>
                    </a:ext>
                  </a:extLst>
                </p:cNvPr>
                <p:cNvSpPr/>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a:p>
              </p:txBody>
            </p:sp>
          </p:grpSp>
        </p:grpSp>
        <p:sp>
          <p:nvSpPr>
            <p:cNvPr id="170" name="Retângulo 169">
              <a:extLst>
                <a:ext uri="{FF2B5EF4-FFF2-40B4-BE49-F238E27FC236}">
                  <a16:creationId xmlns:a16="http://schemas.microsoft.com/office/drawing/2014/main" id="{54F8D2FF-5931-FCF9-1382-C9D87DBB5B7B}"/>
                </a:ext>
              </a:extLst>
            </p:cNvPr>
            <p:cNvSpPr/>
            <p:nvPr/>
          </p:nvSpPr>
          <p:spPr>
            <a:xfrm>
              <a:off x="7396392" y="2146764"/>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42" name="Agrupar 241">
            <a:extLst>
              <a:ext uri="{FF2B5EF4-FFF2-40B4-BE49-F238E27FC236}">
                <a16:creationId xmlns:a16="http://schemas.microsoft.com/office/drawing/2014/main" id="{A8A54C8F-9740-111D-0EC9-7ED86428A88E}"/>
              </a:ext>
            </a:extLst>
          </p:cNvPr>
          <p:cNvGrpSpPr/>
          <p:nvPr/>
        </p:nvGrpSpPr>
        <p:grpSpPr>
          <a:xfrm>
            <a:off x="5510751" y="2591834"/>
            <a:ext cx="107024" cy="92174"/>
            <a:chOff x="7215212" y="2138075"/>
            <a:chExt cx="107024" cy="92174"/>
          </a:xfrm>
        </p:grpSpPr>
        <p:grpSp>
          <p:nvGrpSpPr>
            <p:cNvPr id="243" name="Agrupar 242">
              <a:extLst>
                <a:ext uri="{FF2B5EF4-FFF2-40B4-BE49-F238E27FC236}">
                  <a16:creationId xmlns:a16="http://schemas.microsoft.com/office/drawing/2014/main" id="{4CFBBFBC-D235-790F-176B-1E7094429DD4}"/>
                </a:ext>
              </a:extLst>
            </p:cNvPr>
            <p:cNvGrpSpPr/>
            <p:nvPr/>
          </p:nvGrpSpPr>
          <p:grpSpPr>
            <a:xfrm>
              <a:off x="7220590" y="2138075"/>
              <a:ext cx="101646" cy="92174"/>
              <a:chOff x="-773373" y="4648327"/>
              <a:chExt cx="599816" cy="599809"/>
            </a:xfrm>
          </p:grpSpPr>
          <p:sp>
            <p:nvSpPr>
              <p:cNvPr id="245" name="Elipse 244">
                <a:extLst>
                  <a:ext uri="{FF2B5EF4-FFF2-40B4-BE49-F238E27FC236}">
                    <a16:creationId xmlns:a16="http://schemas.microsoft.com/office/drawing/2014/main" id="{E919976E-D485-3142-64F6-CA2C1DC4C84D}"/>
                  </a:ext>
                </a:extLst>
              </p:cNvPr>
              <p:cNvSpPr/>
              <p:nvPr/>
            </p:nvSpPr>
            <p:spPr>
              <a:xfrm>
                <a:off x="-773373" y="4648327"/>
                <a:ext cx="599816" cy="599809"/>
              </a:xfrm>
              <a:prstGeom prst="ellipse">
                <a:avLst/>
              </a:prstGeom>
              <a:gradFill>
                <a:gsLst>
                  <a:gs pos="0">
                    <a:schemeClr val="bg1">
                      <a:lumMod val="85000"/>
                      <a:alpha val="51000"/>
                    </a:schemeClr>
                  </a:gs>
                  <a:gs pos="72000">
                    <a:schemeClr val="bg1">
                      <a:lumMod val="65000"/>
                    </a:schemeClr>
                  </a:gs>
                </a:gsLst>
                <a:lin ang="2700000" scaled="0"/>
              </a:gradFill>
              <a:ln w="9525">
                <a:gradFill>
                  <a:gsLst>
                    <a:gs pos="0">
                      <a:schemeClr val="bg1">
                        <a:lumMod val="65000"/>
                      </a:schemeClr>
                    </a:gs>
                    <a:gs pos="50000">
                      <a:schemeClr val="bg1">
                        <a:lumMod val="50000"/>
                        <a:alpha val="0"/>
                      </a:schemeClr>
                    </a:gs>
                    <a:gs pos="100000">
                      <a:schemeClr val="bg1">
                        <a:lumMod val="75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6" name="Gráfico 93">
                <a:extLst>
                  <a:ext uri="{FF2B5EF4-FFF2-40B4-BE49-F238E27FC236}">
                    <a16:creationId xmlns:a16="http://schemas.microsoft.com/office/drawing/2014/main" id="{FAFEB675-ED05-519D-FB4D-CE4967DA0278}"/>
                  </a:ext>
                </a:extLst>
              </p:cNvPr>
              <p:cNvGrpSpPr/>
              <p:nvPr/>
            </p:nvGrpSpPr>
            <p:grpSpPr>
              <a:xfrm>
                <a:off x="-606137" y="4738821"/>
                <a:ext cx="265344" cy="418821"/>
                <a:chOff x="-1314401" y="4003518"/>
                <a:chExt cx="572680" cy="903922"/>
              </a:xfrm>
              <a:solidFill>
                <a:schemeClr val="bg1"/>
              </a:solidFill>
            </p:grpSpPr>
            <p:sp>
              <p:nvSpPr>
                <p:cNvPr id="247" name="Forma Livre: Forma 246">
                  <a:extLst>
                    <a:ext uri="{FF2B5EF4-FFF2-40B4-BE49-F238E27FC236}">
                      <a16:creationId xmlns:a16="http://schemas.microsoft.com/office/drawing/2014/main" id="{5853F9FA-0F63-963C-7853-87C299925A3A}"/>
                    </a:ext>
                  </a:extLst>
                </p:cNvPr>
                <p:cNvSpPr/>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a:p>
              </p:txBody>
            </p:sp>
            <p:sp>
              <p:nvSpPr>
                <p:cNvPr id="248" name="Forma Livre: Forma 247">
                  <a:extLst>
                    <a:ext uri="{FF2B5EF4-FFF2-40B4-BE49-F238E27FC236}">
                      <a16:creationId xmlns:a16="http://schemas.microsoft.com/office/drawing/2014/main" id="{631D5FDC-B629-3653-3EAE-BAB9A08476B3}"/>
                    </a:ext>
                  </a:extLst>
                </p:cNvPr>
                <p:cNvSpPr/>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a:p>
              </p:txBody>
            </p:sp>
            <p:sp>
              <p:nvSpPr>
                <p:cNvPr id="249" name="Forma Livre: Forma 248">
                  <a:extLst>
                    <a:ext uri="{FF2B5EF4-FFF2-40B4-BE49-F238E27FC236}">
                      <a16:creationId xmlns:a16="http://schemas.microsoft.com/office/drawing/2014/main" id="{A4B4FED2-E90B-6703-ACAD-B3EF32D79A25}"/>
                    </a:ext>
                  </a:extLst>
                </p:cNvPr>
                <p:cNvSpPr/>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a:p>
              </p:txBody>
            </p:sp>
            <p:sp>
              <p:nvSpPr>
                <p:cNvPr id="274" name="Forma Livre: Forma 273">
                  <a:extLst>
                    <a:ext uri="{FF2B5EF4-FFF2-40B4-BE49-F238E27FC236}">
                      <a16:creationId xmlns:a16="http://schemas.microsoft.com/office/drawing/2014/main" id="{70F3B20C-B3F5-A499-56CA-F0FFE20B0A6B}"/>
                    </a:ext>
                  </a:extLst>
                </p:cNvPr>
                <p:cNvSpPr/>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a:p>
              </p:txBody>
            </p:sp>
            <p:sp>
              <p:nvSpPr>
                <p:cNvPr id="275" name="Forma Livre: Forma 274">
                  <a:extLst>
                    <a:ext uri="{FF2B5EF4-FFF2-40B4-BE49-F238E27FC236}">
                      <a16:creationId xmlns:a16="http://schemas.microsoft.com/office/drawing/2014/main" id="{8750C9F0-908F-8633-6C23-49B881A0C374}"/>
                    </a:ext>
                  </a:extLst>
                </p:cNvPr>
                <p:cNvSpPr/>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a:p>
              </p:txBody>
            </p:sp>
            <p:sp>
              <p:nvSpPr>
                <p:cNvPr id="276" name="Forma Livre: Forma 275">
                  <a:extLst>
                    <a:ext uri="{FF2B5EF4-FFF2-40B4-BE49-F238E27FC236}">
                      <a16:creationId xmlns:a16="http://schemas.microsoft.com/office/drawing/2014/main" id="{813069FB-D7C2-771B-16A7-88828CA51180}"/>
                    </a:ext>
                  </a:extLst>
                </p:cNvPr>
                <p:cNvSpPr/>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a:p>
              </p:txBody>
            </p:sp>
            <p:sp>
              <p:nvSpPr>
                <p:cNvPr id="277" name="Forma Livre: Forma 276">
                  <a:extLst>
                    <a:ext uri="{FF2B5EF4-FFF2-40B4-BE49-F238E27FC236}">
                      <a16:creationId xmlns:a16="http://schemas.microsoft.com/office/drawing/2014/main" id="{11701768-E6C9-25F4-D5E2-858067BB3800}"/>
                    </a:ext>
                  </a:extLst>
                </p:cNvPr>
                <p:cNvSpPr/>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a:p>
              </p:txBody>
            </p:sp>
            <p:sp>
              <p:nvSpPr>
                <p:cNvPr id="278" name="Forma Livre: Forma 277">
                  <a:extLst>
                    <a:ext uri="{FF2B5EF4-FFF2-40B4-BE49-F238E27FC236}">
                      <a16:creationId xmlns:a16="http://schemas.microsoft.com/office/drawing/2014/main" id="{7EC26349-B80F-DF01-2C53-0057B2C0F7CF}"/>
                    </a:ext>
                  </a:extLst>
                </p:cNvPr>
                <p:cNvSpPr/>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4" h="120014">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a:p>
              </p:txBody>
            </p:sp>
            <p:sp>
              <p:nvSpPr>
                <p:cNvPr id="279" name="Forma Livre: Forma 278">
                  <a:extLst>
                    <a:ext uri="{FF2B5EF4-FFF2-40B4-BE49-F238E27FC236}">
                      <a16:creationId xmlns:a16="http://schemas.microsoft.com/office/drawing/2014/main" id="{BB34C5DB-E3AE-F093-8950-702607D7518F}"/>
                    </a:ext>
                  </a:extLst>
                </p:cNvPr>
                <p:cNvSpPr/>
                <p:nvPr/>
              </p:nvSpPr>
              <p:spPr>
                <a:xfrm>
                  <a:off x="-1248989" y="4424523"/>
                  <a:ext cx="442912" cy="482917"/>
                </a:xfrm>
                <a:custGeom>
                  <a:avLst/>
                  <a:gdLst>
                    <a:gd name="connsiteX0" fmla="*/ 266700 w 442912"/>
                    <a:gd name="connsiteY0" fmla="*/ 372428 h 482917"/>
                    <a:gd name="connsiteX1" fmla="*/ 245745 w 442912"/>
                    <a:gd name="connsiteY1" fmla="*/ 0 h 482917"/>
                    <a:gd name="connsiteX2" fmla="*/ 220980 w 442912"/>
                    <a:gd name="connsiteY2" fmla="*/ 3810 h 482917"/>
                    <a:gd name="connsiteX3" fmla="*/ 196215 w 442912"/>
                    <a:gd name="connsiteY3" fmla="*/ 0 h 482917"/>
                    <a:gd name="connsiteX4" fmla="*/ 175260 w 442912"/>
                    <a:gd name="connsiteY4" fmla="*/ 372428 h 482917"/>
                    <a:gd name="connsiteX5" fmla="*/ 0 w 442912"/>
                    <a:gd name="connsiteY5" fmla="*/ 482918 h 482917"/>
                    <a:gd name="connsiteX6" fmla="*/ 442913 w 442912"/>
                    <a:gd name="connsiteY6" fmla="*/ 482918 h 482917"/>
                    <a:gd name="connsiteX7" fmla="*/ 266700 w 442912"/>
                    <a:gd name="connsiteY7" fmla="*/ 372428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 h="482917">
                      <a:moveTo>
                        <a:pt x="266700" y="372428"/>
                      </a:moveTo>
                      <a:cubicBezTo>
                        <a:pt x="260033" y="290512"/>
                        <a:pt x="251460" y="156210"/>
                        <a:pt x="245745" y="0"/>
                      </a:cubicBezTo>
                      <a:cubicBezTo>
                        <a:pt x="238125" y="1905"/>
                        <a:pt x="229553" y="3810"/>
                        <a:pt x="220980" y="3810"/>
                      </a:cubicBezTo>
                      <a:cubicBezTo>
                        <a:pt x="212408" y="3810"/>
                        <a:pt x="203835" y="2857"/>
                        <a:pt x="196215" y="0"/>
                      </a:cubicBezTo>
                      <a:cubicBezTo>
                        <a:pt x="190500" y="156210"/>
                        <a:pt x="181928" y="290512"/>
                        <a:pt x="175260" y="372428"/>
                      </a:cubicBezTo>
                      <a:cubicBezTo>
                        <a:pt x="99060" y="384810"/>
                        <a:pt x="39053" y="428625"/>
                        <a:pt x="0" y="482918"/>
                      </a:cubicBezTo>
                      <a:lnTo>
                        <a:pt x="442913" y="482918"/>
                      </a:lnTo>
                      <a:cubicBezTo>
                        <a:pt x="402908" y="428625"/>
                        <a:pt x="342900" y="385762"/>
                        <a:pt x="266700" y="372428"/>
                      </a:cubicBezTo>
                      <a:close/>
                    </a:path>
                  </a:pathLst>
                </a:custGeom>
                <a:grpFill/>
                <a:ln w="9525" cap="flat">
                  <a:noFill/>
                  <a:prstDash val="solid"/>
                  <a:miter/>
                </a:ln>
              </p:spPr>
              <p:txBody>
                <a:bodyPr rtlCol="0" anchor="ctr"/>
                <a:lstStyle/>
                <a:p>
                  <a:endParaRPr lang="pt-BR"/>
                </a:p>
              </p:txBody>
            </p:sp>
          </p:grpSp>
        </p:grpSp>
        <p:sp>
          <p:nvSpPr>
            <p:cNvPr id="244" name="Retângulo 243">
              <a:extLst>
                <a:ext uri="{FF2B5EF4-FFF2-40B4-BE49-F238E27FC236}">
                  <a16:creationId xmlns:a16="http://schemas.microsoft.com/office/drawing/2014/main" id="{2AA097B2-7F09-6D36-2733-FAAFDC2D8A62}"/>
                </a:ext>
              </a:extLst>
            </p:cNvPr>
            <p:cNvSpPr/>
            <p:nvPr/>
          </p:nvSpPr>
          <p:spPr>
            <a:xfrm>
              <a:off x="7215212" y="2138075"/>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80" name="Agrupar 279">
            <a:extLst>
              <a:ext uri="{FF2B5EF4-FFF2-40B4-BE49-F238E27FC236}">
                <a16:creationId xmlns:a16="http://schemas.microsoft.com/office/drawing/2014/main" id="{3DC28F79-95BE-8B41-EBC7-1632A0EF7720}"/>
              </a:ext>
            </a:extLst>
          </p:cNvPr>
          <p:cNvGrpSpPr/>
          <p:nvPr/>
        </p:nvGrpSpPr>
        <p:grpSpPr>
          <a:xfrm>
            <a:off x="5780787" y="2784498"/>
            <a:ext cx="107024" cy="92174"/>
            <a:chOff x="7215212" y="2138075"/>
            <a:chExt cx="107024" cy="92174"/>
          </a:xfrm>
        </p:grpSpPr>
        <p:grpSp>
          <p:nvGrpSpPr>
            <p:cNvPr id="281" name="Agrupar 280">
              <a:extLst>
                <a:ext uri="{FF2B5EF4-FFF2-40B4-BE49-F238E27FC236}">
                  <a16:creationId xmlns:a16="http://schemas.microsoft.com/office/drawing/2014/main" id="{6F88C5BB-A8A0-EB25-A9D4-75DB06CFA2AF}"/>
                </a:ext>
              </a:extLst>
            </p:cNvPr>
            <p:cNvGrpSpPr/>
            <p:nvPr/>
          </p:nvGrpSpPr>
          <p:grpSpPr>
            <a:xfrm>
              <a:off x="7220590" y="2138075"/>
              <a:ext cx="101646" cy="92174"/>
              <a:chOff x="-773373" y="4648327"/>
              <a:chExt cx="599816" cy="599809"/>
            </a:xfrm>
          </p:grpSpPr>
          <p:sp>
            <p:nvSpPr>
              <p:cNvPr id="283" name="Elipse 282">
                <a:extLst>
                  <a:ext uri="{FF2B5EF4-FFF2-40B4-BE49-F238E27FC236}">
                    <a16:creationId xmlns:a16="http://schemas.microsoft.com/office/drawing/2014/main" id="{A2A133CB-D2C4-8E92-E5F2-DB8663ABF7A1}"/>
                  </a:ext>
                </a:extLst>
              </p:cNvPr>
              <p:cNvSpPr/>
              <p:nvPr/>
            </p:nvSpPr>
            <p:spPr>
              <a:xfrm>
                <a:off x="-773373" y="4648327"/>
                <a:ext cx="599816" cy="599809"/>
              </a:xfrm>
              <a:prstGeom prst="ellipse">
                <a:avLst/>
              </a:prstGeom>
              <a:gradFill>
                <a:gsLst>
                  <a:gs pos="0">
                    <a:schemeClr val="bg1">
                      <a:lumMod val="85000"/>
                      <a:alpha val="51000"/>
                    </a:schemeClr>
                  </a:gs>
                  <a:gs pos="72000">
                    <a:schemeClr val="bg1">
                      <a:lumMod val="65000"/>
                    </a:schemeClr>
                  </a:gs>
                </a:gsLst>
                <a:lin ang="2700000" scaled="0"/>
              </a:gradFill>
              <a:ln w="9525">
                <a:gradFill>
                  <a:gsLst>
                    <a:gs pos="0">
                      <a:schemeClr val="bg1">
                        <a:lumMod val="65000"/>
                      </a:schemeClr>
                    </a:gs>
                    <a:gs pos="50000">
                      <a:schemeClr val="bg1">
                        <a:lumMod val="50000"/>
                        <a:alpha val="0"/>
                      </a:schemeClr>
                    </a:gs>
                    <a:gs pos="100000">
                      <a:schemeClr val="bg1">
                        <a:lumMod val="75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84" name="Gráfico 93">
                <a:extLst>
                  <a:ext uri="{FF2B5EF4-FFF2-40B4-BE49-F238E27FC236}">
                    <a16:creationId xmlns:a16="http://schemas.microsoft.com/office/drawing/2014/main" id="{81209279-0DD3-4388-7516-0612E17C4EED}"/>
                  </a:ext>
                </a:extLst>
              </p:cNvPr>
              <p:cNvGrpSpPr/>
              <p:nvPr/>
            </p:nvGrpSpPr>
            <p:grpSpPr>
              <a:xfrm>
                <a:off x="-606137" y="4738821"/>
                <a:ext cx="265344" cy="418821"/>
                <a:chOff x="-1314401" y="4003518"/>
                <a:chExt cx="572680" cy="903922"/>
              </a:xfrm>
              <a:solidFill>
                <a:schemeClr val="bg1"/>
              </a:solidFill>
            </p:grpSpPr>
            <p:sp>
              <p:nvSpPr>
                <p:cNvPr id="285" name="Forma Livre: Forma 284">
                  <a:extLst>
                    <a:ext uri="{FF2B5EF4-FFF2-40B4-BE49-F238E27FC236}">
                      <a16:creationId xmlns:a16="http://schemas.microsoft.com/office/drawing/2014/main" id="{351175AC-7CB2-31D3-D66C-7311AC05E935}"/>
                    </a:ext>
                  </a:extLst>
                </p:cNvPr>
                <p:cNvSpPr/>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a:p>
              </p:txBody>
            </p:sp>
            <p:sp>
              <p:nvSpPr>
                <p:cNvPr id="286" name="Forma Livre: Forma 285">
                  <a:extLst>
                    <a:ext uri="{FF2B5EF4-FFF2-40B4-BE49-F238E27FC236}">
                      <a16:creationId xmlns:a16="http://schemas.microsoft.com/office/drawing/2014/main" id="{4539D7CE-7268-35CE-F9DD-365A96158CED}"/>
                    </a:ext>
                  </a:extLst>
                </p:cNvPr>
                <p:cNvSpPr/>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a:p>
              </p:txBody>
            </p:sp>
            <p:sp>
              <p:nvSpPr>
                <p:cNvPr id="287" name="Forma Livre: Forma 286">
                  <a:extLst>
                    <a:ext uri="{FF2B5EF4-FFF2-40B4-BE49-F238E27FC236}">
                      <a16:creationId xmlns:a16="http://schemas.microsoft.com/office/drawing/2014/main" id="{30C6F138-FAEA-F272-C36A-BDD1727E62E9}"/>
                    </a:ext>
                  </a:extLst>
                </p:cNvPr>
                <p:cNvSpPr/>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a:p>
              </p:txBody>
            </p:sp>
            <p:sp>
              <p:nvSpPr>
                <p:cNvPr id="288" name="Forma Livre: Forma 287">
                  <a:extLst>
                    <a:ext uri="{FF2B5EF4-FFF2-40B4-BE49-F238E27FC236}">
                      <a16:creationId xmlns:a16="http://schemas.microsoft.com/office/drawing/2014/main" id="{2D1EF1B7-BA3D-2C72-DFA1-28148C149358}"/>
                    </a:ext>
                  </a:extLst>
                </p:cNvPr>
                <p:cNvSpPr/>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a:p>
              </p:txBody>
            </p:sp>
            <p:sp>
              <p:nvSpPr>
                <p:cNvPr id="289" name="Forma Livre: Forma 288">
                  <a:extLst>
                    <a:ext uri="{FF2B5EF4-FFF2-40B4-BE49-F238E27FC236}">
                      <a16:creationId xmlns:a16="http://schemas.microsoft.com/office/drawing/2014/main" id="{DB112A25-3AE6-8CC4-689D-5C3A4AC1E06A}"/>
                    </a:ext>
                  </a:extLst>
                </p:cNvPr>
                <p:cNvSpPr/>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a:p>
              </p:txBody>
            </p:sp>
            <p:sp>
              <p:nvSpPr>
                <p:cNvPr id="290" name="Forma Livre: Forma 289">
                  <a:extLst>
                    <a:ext uri="{FF2B5EF4-FFF2-40B4-BE49-F238E27FC236}">
                      <a16:creationId xmlns:a16="http://schemas.microsoft.com/office/drawing/2014/main" id="{177064EE-1969-E3EB-2008-CBB1F11BB105}"/>
                    </a:ext>
                  </a:extLst>
                </p:cNvPr>
                <p:cNvSpPr/>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a:p>
              </p:txBody>
            </p:sp>
            <p:sp>
              <p:nvSpPr>
                <p:cNvPr id="291" name="Forma Livre: Forma 290">
                  <a:extLst>
                    <a:ext uri="{FF2B5EF4-FFF2-40B4-BE49-F238E27FC236}">
                      <a16:creationId xmlns:a16="http://schemas.microsoft.com/office/drawing/2014/main" id="{01B53022-7FDC-7084-6833-9D9ADF973333}"/>
                    </a:ext>
                  </a:extLst>
                </p:cNvPr>
                <p:cNvSpPr/>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a:p>
              </p:txBody>
            </p:sp>
            <p:sp>
              <p:nvSpPr>
                <p:cNvPr id="292" name="Forma Livre: Forma 291">
                  <a:extLst>
                    <a:ext uri="{FF2B5EF4-FFF2-40B4-BE49-F238E27FC236}">
                      <a16:creationId xmlns:a16="http://schemas.microsoft.com/office/drawing/2014/main" id="{6D0E3057-0F4D-3555-B035-0677816934E9}"/>
                    </a:ext>
                  </a:extLst>
                </p:cNvPr>
                <p:cNvSpPr/>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4" h="120014">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a:p>
              </p:txBody>
            </p:sp>
            <p:sp>
              <p:nvSpPr>
                <p:cNvPr id="293" name="Forma Livre: Forma 292">
                  <a:extLst>
                    <a:ext uri="{FF2B5EF4-FFF2-40B4-BE49-F238E27FC236}">
                      <a16:creationId xmlns:a16="http://schemas.microsoft.com/office/drawing/2014/main" id="{1473881B-B73D-D3FC-07EE-69C539C6149A}"/>
                    </a:ext>
                  </a:extLst>
                </p:cNvPr>
                <p:cNvSpPr/>
                <p:nvPr/>
              </p:nvSpPr>
              <p:spPr>
                <a:xfrm>
                  <a:off x="-1248989" y="4424523"/>
                  <a:ext cx="442912" cy="482917"/>
                </a:xfrm>
                <a:custGeom>
                  <a:avLst/>
                  <a:gdLst>
                    <a:gd name="connsiteX0" fmla="*/ 266700 w 442912"/>
                    <a:gd name="connsiteY0" fmla="*/ 372428 h 482917"/>
                    <a:gd name="connsiteX1" fmla="*/ 245745 w 442912"/>
                    <a:gd name="connsiteY1" fmla="*/ 0 h 482917"/>
                    <a:gd name="connsiteX2" fmla="*/ 220980 w 442912"/>
                    <a:gd name="connsiteY2" fmla="*/ 3810 h 482917"/>
                    <a:gd name="connsiteX3" fmla="*/ 196215 w 442912"/>
                    <a:gd name="connsiteY3" fmla="*/ 0 h 482917"/>
                    <a:gd name="connsiteX4" fmla="*/ 175260 w 442912"/>
                    <a:gd name="connsiteY4" fmla="*/ 372428 h 482917"/>
                    <a:gd name="connsiteX5" fmla="*/ 0 w 442912"/>
                    <a:gd name="connsiteY5" fmla="*/ 482918 h 482917"/>
                    <a:gd name="connsiteX6" fmla="*/ 442913 w 442912"/>
                    <a:gd name="connsiteY6" fmla="*/ 482918 h 482917"/>
                    <a:gd name="connsiteX7" fmla="*/ 266700 w 442912"/>
                    <a:gd name="connsiteY7" fmla="*/ 372428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 h="482917">
                      <a:moveTo>
                        <a:pt x="266700" y="372428"/>
                      </a:moveTo>
                      <a:cubicBezTo>
                        <a:pt x="260033" y="290512"/>
                        <a:pt x="251460" y="156210"/>
                        <a:pt x="245745" y="0"/>
                      </a:cubicBezTo>
                      <a:cubicBezTo>
                        <a:pt x="238125" y="1905"/>
                        <a:pt x="229553" y="3810"/>
                        <a:pt x="220980" y="3810"/>
                      </a:cubicBezTo>
                      <a:cubicBezTo>
                        <a:pt x="212408" y="3810"/>
                        <a:pt x="203835" y="2857"/>
                        <a:pt x="196215" y="0"/>
                      </a:cubicBezTo>
                      <a:cubicBezTo>
                        <a:pt x="190500" y="156210"/>
                        <a:pt x="181928" y="290512"/>
                        <a:pt x="175260" y="372428"/>
                      </a:cubicBezTo>
                      <a:cubicBezTo>
                        <a:pt x="99060" y="384810"/>
                        <a:pt x="39053" y="428625"/>
                        <a:pt x="0" y="482918"/>
                      </a:cubicBezTo>
                      <a:lnTo>
                        <a:pt x="442913" y="482918"/>
                      </a:lnTo>
                      <a:cubicBezTo>
                        <a:pt x="402908" y="428625"/>
                        <a:pt x="342900" y="385762"/>
                        <a:pt x="266700" y="372428"/>
                      </a:cubicBezTo>
                      <a:close/>
                    </a:path>
                  </a:pathLst>
                </a:custGeom>
                <a:grpFill/>
                <a:ln w="9525" cap="flat">
                  <a:noFill/>
                  <a:prstDash val="solid"/>
                  <a:miter/>
                </a:ln>
              </p:spPr>
              <p:txBody>
                <a:bodyPr rtlCol="0" anchor="ctr"/>
                <a:lstStyle/>
                <a:p>
                  <a:endParaRPr lang="pt-BR"/>
                </a:p>
              </p:txBody>
            </p:sp>
          </p:grpSp>
        </p:grpSp>
        <p:sp>
          <p:nvSpPr>
            <p:cNvPr id="282" name="Retângulo 281">
              <a:extLst>
                <a:ext uri="{FF2B5EF4-FFF2-40B4-BE49-F238E27FC236}">
                  <a16:creationId xmlns:a16="http://schemas.microsoft.com/office/drawing/2014/main" id="{74A1F94B-11AE-18C8-9881-F03F3BEA5252}"/>
                </a:ext>
              </a:extLst>
            </p:cNvPr>
            <p:cNvSpPr/>
            <p:nvPr/>
          </p:nvSpPr>
          <p:spPr>
            <a:xfrm>
              <a:off x="7215212" y="2138075"/>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294" name="Agrupar 293">
            <a:extLst>
              <a:ext uri="{FF2B5EF4-FFF2-40B4-BE49-F238E27FC236}">
                <a16:creationId xmlns:a16="http://schemas.microsoft.com/office/drawing/2014/main" id="{472E278F-FFB8-3D6B-CCA2-499CF80E21B1}"/>
              </a:ext>
            </a:extLst>
          </p:cNvPr>
          <p:cNvGrpSpPr/>
          <p:nvPr/>
        </p:nvGrpSpPr>
        <p:grpSpPr>
          <a:xfrm>
            <a:off x="5856386" y="2338943"/>
            <a:ext cx="107326" cy="89362"/>
            <a:chOff x="7396090" y="2146764"/>
            <a:chExt cx="107326" cy="89362"/>
          </a:xfrm>
        </p:grpSpPr>
        <p:grpSp>
          <p:nvGrpSpPr>
            <p:cNvPr id="295" name="Agrupar 294">
              <a:extLst>
                <a:ext uri="{FF2B5EF4-FFF2-40B4-BE49-F238E27FC236}">
                  <a16:creationId xmlns:a16="http://schemas.microsoft.com/office/drawing/2014/main" id="{789FE997-9947-F3E7-AEA7-FE80C64D83A8}"/>
                </a:ext>
              </a:extLst>
            </p:cNvPr>
            <p:cNvGrpSpPr/>
            <p:nvPr/>
          </p:nvGrpSpPr>
          <p:grpSpPr>
            <a:xfrm>
              <a:off x="7396090" y="2147062"/>
              <a:ext cx="97784" cy="80375"/>
              <a:chOff x="5346212" y="951625"/>
              <a:chExt cx="760769" cy="760755"/>
            </a:xfrm>
          </p:grpSpPr>
          <p:sp>
            <p:nvSpPr>
              <p:cNvPr id="297" name="Elipse 296">
                <a:extLst>
                  <a:ext uri="{FF2B5EF4-FFF2-40B4-BE49-F238E27FC236}">
                    <a16:creationId xmlns:a16="http://schemas.microsoft.com/office/drawing/2014/main" id="{2CF286C9-E3EF-3E5C-1C31-190C2B051F5A}"/>
                  </a:ext>
                </a:extLst>
              </p:cNvPr>
              <p:cNvSpPr/>
              <p:nvPr/>
            </p:nvSpPr>
            <p:spPr>
              <a:xfrm>
                <a:off x="5346212" y="951625"/>
                <a:ext cx="760769" cy="760755"/>
              </a:xfrm>
              <a:prstGeom prst="ellipse">
                <a:avLst/>
              </a:prstGeom>
              <a:gradFill>
                <a:gsLst>
                  <a:gs pos="0">
                    <a:srgbClr val="CCB282">
                      <a:alpha val="25000"/>
                    </a:srgbClr>
                  </a:gs>
                  <a:gs pos="100000">
                    <a:srgbClr val="CCB282"/>
                  </a:gs>
                </a:gsLst>
                <a:lin ang="2700000" scaled="0"/>
              </a:gradFill>
              <a:ln w="9525">
                <a:gradFill>
                  <a:gsLst>
                    <a:gs pos="0">
                      <a:srgbClr val="CCB282"/>
                    </a:gs>
                    <a:gs pos="50000">
                      <a:srgbClr val="CCB282">
                        <a:alpha val="0"/>
                      </a:srgbClr>
                    </a:gs>
                    <a:gs pos="100000">
                      <a:srgbClr val="CCB282"/>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22" name="Gráfico 490">
                <a:extLst>
                  <a:ext uri="{FF2B5EF4-FFF2-40B4-BE49-F238E27FC236}">
                    <a16:creationId xmlns:a16="http://schemas.microsoft.com/office/drawing/2014/main" id="{32A3C3C0-BB83-634F-B49C-1512C0EE98B8}"/>
                  </a:ext>
                </a:extLst>
              </p:cNvPr>
              <p:cNvGrpSpPr/>
              <p:nvPr/>
            </p:nvGrpSpPr>
            <p:grpSpPr>
              <a:xfrm>
                <a:off x="5452332" y="1051578"/>
                <a:ext cx="549099" cy="547367"/>
                <a:chOff x="7139340" y="2443618"/>
                <a:chExt cx="905827" cy="902970"/>
              </a:xfrm>
              <a:solidFill>
                <a:schemeClr val="bg1"/>
              </a:solidFill>
            </p:grpSpPr>
            <p:sp>
              <p:nvSpPr>
                <p:cNvPr id="323" name="Forma Livre: Forma 322">
                  <a:extLst>
                    <a:ext uri="{FF2B5EF4-FFF2-40B4-BE49-F238E27FC236}">
                      <a16:creationId xmlns:a16="http://schemas.microsoft.com/office/drawing/2014/main" id="{63F028EC-9B68-AC76-DC29-5C6341FCB095}"/>
                    </a:ext>
                  </a:extLst>
                </p:cNvPr>
                <p:cNvSpPr/>
                <p:nvPr/>
              </p:nvSpPr>
              <p:spPr>
                <a:xfrm>
                  <a:off x="7390800" y="2694126"/>
                  <a:ext cx="401954" cy="401954"/>
                </a:xfrm>
                <a:custGeom>
                  <a:avLst/>
                  <a:gdLst>
                    <a:gd name="connsiteX0" fmla="*/ 200978 w 401954"/>
                    <a:gd name="connsiteY0" fmla="*/ 0 h 401954"/>
                    <a:gd name="connsiteX1" fmla="*/ 0 w 401954"/>
                    <a:gd name="connsiteY1" fmla="*/ 200978 h 401954"/>
                    <a:gd name="connsiteX2" fmla="*/ 200978 w 401954"/>
                    <a:gd name="connsiteY2" fmla="*/ 401955 h 401954"/>
                    <a:gd name="connsiteX3" fmla="*/ 401955 w 401954"/>
                    <a:gd name="connsiteY3" fmla="*/ 200978 h 401954"/>
                    <a:gd name="connsiteX4" fmla="*/ 200978 w 401954"/>
                    <a:gd name="connsiteY4" fmla="*/ 0 h 40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4" h="401954">
                      <a:moveTo>
                        <a:pt x="200978" y="0"/>
                      </a:moveTo>
                      <a:cubicBezTo>
                        <a:pt x="90488" y="0"/>
                        <a:pt x="0" y="90488"/>
                        <a:pt x="0" y="200978"/>
                      </a:cubicBezTo>
                      <a:cubicBezTo>
                        <a:pt x="0" y="311468"/>
                        <a:pt x="90488" y="401955"/>
                        <a:pt x="200978" y="401955"/>
                      </a:cubicBezTo>
                      <a:cubicBezTo>
                        <a:pt x="311468" y="401955"/>
                        <a:pt x="401955" y="311468"/>
                        <a:pt x="401955" y="200978"/>
                      </a:cubicBezTo>
                      <a:cubicBezTo>
                        <a:pt x="401955" y="90488"/>
                        <a:pt x="311468" y="0"/>
                        <a:pt x="200978" y="0"/>
                      </a:cubicBezTo>
                      <a:close/>
                    </a:path>
                  </a:pathLst>
                </a:custGeom>
                <a:grpFill/>
                <a:ln w="9525" cap="flat">
                  <a:noFill/>
                  <a:prstDash val="solid"/>
                  <a:miter/>
                </a:ln>
              </p:spPr>
              <p:txBody>
                <a:bodyPr rtlCol="0" anchor="ctr"/>
                <a:lstStyle/>
                <a:p>
                  <a:endParaRPr lang="pt-BR"/>
                </a:p>
              </p:txBody>
            </p:sp>
            <p:sp>
              <p:nvSpPr>
                <p:cNvPr id="324" name="Forma Livre: Forma 323">
                  <a:extLst>
                    <a:ext uri="{FF2B5EF4-FFF2-40B4-BE49-F238E27FC236}">
                      <a16:creationId xmlns:a16="http://schemas.microsoft.com/office/drawing/2014/main" id="{1C23ABDC-2FB4-7334-D264-216BA04E3153}"/>
                    </a:ext>
                  </a:extLst>
                </p:cNvPr>
                <p:cNvSpPr/>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a:p>
              </p:txBody>
            </p:sp>
            <p:sp>
              <p:nvSpPr>
                <p:cNvPr id="325" name="Forma Livre: Forma 324">
                  <a:extLst>
                    <a:ext uri="{FF2B5EF4-FFF2-40B4-BE49-F238E27FC236}">
                      <a16:creationId xmlns:a16="http://schemas.microsoft.com/office/drawing/2014/main" id="{569E6B77-EF0C-D9DD-6842-6CF68B288474}"/>
                    </a:ext>
                  </a:extLst>
                </p:cNvPr>
                <p:cNvSpPr/>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a:p>
              </p:txBody>
            </p:sp>
            <p:sp>
              <p:nvSpPr>
                <p:cNvPr id="326" name="Forma Livre: Forma 325">
                  <a:extLst>
                    <a:ext uri="{FF2B5EF4-FFF2-40B4-BE49-F238E27FC236}">
                      <a16:creationId xmlns:a16="http://schemas.microsoft.com/office/drawing/2014/main" id="{114D4064-21BA-9909-598B-2CC6DA4A3038}"/>
                    </a:ext>
                  </a:extLst>
                </p:cNvPr>
                <p:cNvSpPr/>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a:p>
              </p:txBody>
            </p:sp>
            <p:sp>
              <p:nvSpPr>
                <p:cNvPr id="327" name="Forma Livre: Forma 326">
                  <a:extLst>
                    <a:ext uri="{FF2B5EF4-FFF2-40B4-BE49-F238E27FC236}">
                      <a16:creationId xmlns:a16="http://schemas.microsoft.com/office/drawing/2014/main" id="{44942329-0F88-5646-ED94-E741FC249A68}"/>
                    </a:ext>
                  </a:extLst>
                </p:cNvPr>
                <p:cNvSpPr/>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a:p>
              </p:txBody>
            </p:sp>
            <p:sp>
              <p:nvSpPr>
                <p:cNvPr id="328" name="Forma Livre: Forma 327">
                  <a:extLst>
                    <a:ext uri="{FF2B5EF4-FFF2-40B4-BE49-F238E27FC236}">
                      <a16:creationId xmlns:a16="http://schemas.microsoft.com/office/drawing/2014/main" id="{8277F0D5-863B-242A-A467-C67D31AA7E53}"/>
                    </a:ext>
                  </a:extLst>
                </p:cNvPr>
                <p:cNvSpPr/>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a:p>
              </p:txBody>
            </p:sp>
            <p:sp>
              <p:nvSpPr>
                <p:cNvPr id="329" name="Forma Livre: Forma 328">
                  <a:extLst>
                    <a:ext uri="{FF2B5EF4-FFF2-40B4-BE49-F238E27FC236}">
                      <a16:creationId xmlns:a16="http://schemas.microsoft.com/office/drawing/2014/main" id="{97FFFF87-C1BC-A0E4-E917-F74D310B9127}"/>
                    </a:ext>
                  </a:extLst>
                </p:cNvPr>
                <p:cNvSpPr/>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a:p>
              </p:txBody>
            </p:sp>
            <p:sp>
              <p:nvSpPr>
                <p:cNvPr id="330" name="Forma Livre: Forma 329">
                  <a:extLst>
                    <a:ext uri="{FF2B5EF4-FFF2-40B4-BE49-F238E27FC236}">
                      <a16:creationId xmlns:a16="http://schemas.microsoft.com/office/drawing/2014/main" id="{D5797D87-C7A4-65FF-3C1E-F1CA78BA9033}"/>
                    </a:ext>
                  </a:extLst>
                </p:cNvPr>
                <p:cNvSpPr/>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a:p>
              </p:txBody>
            </p:sp>
            <p:sp>
              <p:nvSpPr>
                <p:cNvPr id="331" name="Forma Livre: Forma 330">
                  <a:extLst>
                    <a:ext uri="{FF2B5EF4-FFF2-40B4-BE49-F238E27FC236}">
                      <a16:creationId xmlns:a16="http://schemas.microsoft.com/office/drawing/2014/main" id="{71734BC9-8DB8-4F41-294A-470A961C3BE6}"/>
                    </a:ext>
                  </a:extLst>
                </p:cNvPr>
                <p:cNvSpPr/>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a:p>
              </p:txBody>
            </p:sp>
          </p:grpSp>
        </p:grpSp>
        <p:sp>
          <p:nvSpPr>
            <p:cNvPr id="296" name="Retângulo 295">
              <a:extLst>
                <a:ext uri="{FF2B5EF4-FFF2-40B4-BE49-F238E27FC236}">
                  <a16:creationId xmlns:a16="http://schemas.microsoft.com/office/drawing/2014/main" id="{50DF1186-EA84-588B-D0ED-B84DE7F0673F}"/>
                </a:ext>
              </a:extLst>
            </p:cNvPr>
            <p:cNvSpPr/>
            <p:nvPr/>
          </p:nvSpPr>
          <p:spPr>
            <a:xfrm>
              <a:off x="7396392" y="2146764"/>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332" name="Agrupar 331">
            <a:extLst>
              <a:ext uri="{FF2B5EF4-FFF2-40B4-BE49-F238E27FC236}">
                <a16:creationId xmlns:a16="http://schemas.microsoft.com/office/drawing/2014/main" id="{745F481C-256C-B781-23C9-D6D3E1F3C565}"/>
              </a:ext>
            </a:extLst>
          </p:cNvPr>
          <p:cNvGrpSpPr/>
          <p:nvPr/>
        </p:nvGrpSpPr>
        <p:grpSpPr>
          <a:xfrm>
            <a:off x="6056640" y="2288596"/>
            <a:ext cx="107326" cy="89362"/>
            <a:chOff x="7396090" y="2146764"/>
            <a:chExt cx="107326" cy="89362"/>
          </a:xfrm>
        </p:grpSpPr>
        <p:grpSp>
          <p:nvGrpSpPr>
            <p:cNvPr id="333" name="Agrupar 332">
              <a:extLst>
                <a:ext uri="{FF2B5EF4-FFF2-40B4-BE49-F238E27FC236}">
                  <a16:creationId xmlns:a16="http://schemas.microsoft.com/office/drawing/2014/main" id="{2FC95BA2-BF42-FE7B-8D47-1D0E0BB15A92}"/>
                </a:ext>
              </a:extLst>
            </p:cNvPr>
            <p:cNvGrpSpPr/>
            <p:nvPr/>
          </p:nvGrpSpPr>
          <p:grpSpPr>
            <a:xfrm>
              <a:off x="7396090" y="2147062"/>
              <a:ext cx="97784" cy="80375"/>
              <a:chOff x="5346212" y="951625"/>
              <a:chExt cx="760769" cy="760755"/>
            </a:xfrm>
          </p:grpSpPr>
          <p:sp>
            <p:nvSpPr>
              <p:cNvPr id="371" name="Elipse 370">
                <a:extLst>
                  <a:ext uri="{FF2B5EF4-FFF2-40B4-BE49-F238E27FC236}">
                    <a16:creationId xmlns:a16="http://schemas.microsoft.com/office/drawing/2014/main" id="{D7269524-332A-4787-8F4C-F86A61443AF8}"/>
                  </a:ext>
                </a:extLst>
              </p:cNvPr>
              <p:cNvSpPr/>
              <p:nvPr/>
            </p:nvSpPr>
            <p:spPr>
              <a:xfrm>
                <a:off x="5346212" y="951625"/>
                <a:ext cx="760769" cy="760755"/>
              </a:xfrm>
              <a:prstGeom prst="ellipse">
                <a:avLst/>
              </a:prstGeom>
              <a:gradFill>
                <a:gsLst>
                  <a:gs pos="0">
                    <a:srgbClr val="CCB282">
                      <a:alpha val="25000"/>
                    </a:srgbClr>
                  </a:gs>
                  <a:gs pos="100000">
                    <a:srgbClr val="CCB282"/>
                  </a:gs>
                </a:gsLst>
                <a:lin ang="2700000" scaled="0"/>
              </a:gradFill>
              <a:ln w="9525">
                <a:gradFill>
                  <a:gsLst>
                    <a:gs pos="0">
                      <a:srgbClr val="CCB282"/>
                    </a:gs>
                    <a:gs pos="50000">
                      <a:srgbClr val="CCB282">
                        <a:alpha val="0"/>
                      </a:srgbClr>
                    </a:gs>
                    <a:gs pos="100000">
                      <a:srgbClr val="CCB282"/>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372" name="Gráfico 490">
                <a:extLst>
                  <a:ext uri="{FF2B5EF4-FFF2-40B4-BE49-F238E27FC236}">
                    <a16:creationId xmlns:a16="http://schemas.microsoft.com/office/drawing/2014/main" id="{850C0F19-73CC-D3BB-14F2-76F85CA6944D}"/>
                  </a:ext>
                </a:extLst>
              </p:cNvPr>
              <p:cNvGrpSpPr/>
              <p:nvPr/>
            </p:nvGrpSpPr>
            <p:grpSpPr>
              <a:xfrm>
                <a:off x="5452332" y="1051578"/>
                <a:ext cx="549099" cy="547367"/>
                <a:chOff x="7139340" y="2443618"/>
                <a:chExt cx="905827" cy="902970"/>
              </a:xfrm>
              <a:solidFill>
                <a:schemeClr val="bg1"/>
              </a:solidFill>
            </p:grpSpPr>
            <p:sp>
              <p:nvSpPr>
                <p:cNvPr id="373" name="Forma Livre: Forma 372">
                  <a:extLst>
                    <a:ext uri="{FF2B5EF4-FFF2-40B4-BE49-F238E27FC236}">
                      <a16:creationId xmlns:a16="http://schemas.microsoft.com/office/drawing/2014/main" id="{6B9A3F88-3D10-E8B3-24AA-74C6EECFABC7}"/>
                    </a:ext>
                  </a:extLst>
                </p:cNvPr>
                <p:cNvSpPr/>
                <p:nvPr/>
              </p:nvSpPr>
              <p:spPr>
                <a:xfrm>
                  <a:off x="7390800" y="2694126"/>
                  <a:ext cx="401954" cy="401954"/>
                </a:xfrm>
                <a:custGeom>
                  <a:avLst/>
                  <a:gdLst>
                    <a:gd name="connsiteX0" fmla="*/ 200978 w 401954"/>
                    <a:gd name="connsiteY0" fmla="*/ 0 h 401954"/>
                    <a:gd name="connsiteX1" fmla="*/ 0 w 401954"/>
                    <a:gd name="connsiteY1" fmla="*/ 200978 h 401954"/>
                    <a:gd name="connsiteX2" fmla="*/ 200978 w 401954"/>
                    <a:gd name="connsiteY2" fmla="*/ 401955 h 401954"/>
                    <a:gd name="connsiteX3" fmla="*/ 401955 w 401954"/>
                    <a:gd name="connsiteY3" fmla="*/ 200978 h 401954"/>
                    <a:gd name="connsiteX4" fmla="*/ 200978 w 401954"/>
                    <a:gd name="connsiteY4" fmla="*/ 0 h 40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4" h="401954">
                      <a:moveTo>
                        <a:pt x="200978" y="0"/>
                      </a:moveTo>
                      <a:cubicBezTo>
                        <a:pt x="90488" y="0"/>
                        <a:pt x="0" y="90488"/>
                        <a:pt x="0" y="200978"/>
                      </a:cubicBezTo>
                      <a:cubicBezTo>
                        <a:pt x="0" y="311468"/>
                        <a:pt x="90488" y="401955"/>
                        <a:pt x="200978" y="401955"/>
                      </a:cubicBezTo>
                      <a:cubicBezTo>
                        <a:pt x="311468" y="401955"/>
                        <a:pt x="401955" y="311468"/>
                        <a:pt x="401955" y="200978"/>
                      </a:cubicBezTo>
                      <a:cubicBezTo>
                        <a:pt x="401955" y="90488"/>
                        <a:pt x="311468" y="0"/>
                        <a:pt x="200978" y="0"/>
                      </a:cubicBezTo>
                      <a:close/>
                    </a:path>
                  </a:pathLst>
                </a:custGeom>
                <a:grpFill/>
                <a:ln w="9525" cap="flat">
                  <a:noFill/>
                  <a:prstDash val="solid"/>
                  <a:miter/>
                </a:ln>
              </p:spPr>
              <p:txBody>
                <a:bodyPr rtlCol="0" anchor="ctr"/>
                <a:lstStyle/>
                <a:p>
                  <a:endParaRPr lang="pt-BR"/>
                </a:p>
              </p:txBody>
            </p:sp>
            <p:sp>
              <p:nvSpPr>
                <p:cNvPr id="374" name="Forma Livre: Forma 373">
                  <a:extLst>
                    <a:ext uri="{FF2B5EF4-FFF2-40B4-BE49-F238E27FC236}">
                      <a16:creationId xmlns:a16="http://schemas.microsoft.com/office/drawing/2014/main" id="{359C2C08-2BAF-17FA-8ED0-031C61B79513}"/>
                    </a:ext>
                  </a:extLst>
                </p:cNvPr>
                <p:cNvSpPr/>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a:p>
              </p:txBody>
            </p:sp>
            <p:sp>
              <p:nvSpPr>
                <p:cNvPr id="375" name="Forma Livre: Forma 374">
                  <a:extLst>
                    <a:ext uri="{FF2B5EF4-FFF2-40B4-BE49-F238E27FC236}">
                      <a16:creationId xmlns:a16="http://schemas.microsoft.com/office/drawing/2014/main" id="{286E3D97-6B62-AD0E-0C37-BD36D43EE510}"/>
                    </a:ext>
                  </a:extLst>
                </p:cNvPr>
                <p:cNvSpPr/>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a:p>
              </p:txBody>
            </p:sp>
            <p:sp>
              <p:nvSpPr>
                <p:cNvPr id="376" name="Forma Livre: Forma 375">
                  <a:extLst>
                    <a:ext uri="{FF2B5EF4-FFF2-40B4-BE49-F238E27FC236}">
                      <a16:creationId xmlns:a16="http://schemas.microsoft.com/office/drawing/2014/main" id="{DF7BDE51-293A-723F-5324-5814BB25552A}"/>
                    </a:ext>
                  </a:extLst>
                </p:cNvPr>
                <p:cNvSpPr/>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a:p>
              </p:txBody>
            </p:sp>
            <p:sp>
              <p:nvSpPr>
                <p:cNvPr id="377" name="Forma Livre: Forma 376">
                  <a:extLst>
                    <a:ext uri="{FF2B5EF4-FFF2-40B4-BE49-F238E27FC236}">
                      <a16:creationId xmlns:a16="http://schemas.microsoft.com/office/drawing/2014/main" id="{0EA6EE3D-9859-9778-E475-B7D84156F258}"/>
                    </a:ext>
                  </a:extLst>
                </p:cNvPr>
                <p:cNvSpPr/>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a:p>
              </p:txBody>
            </p:sp>
            <p:sp>
              <p:nvSpPr>
                <p:cNvPr id="378" name="Forma Livre: Forma 377">
                  <a:extLst>
                    <a:ext uri="{FF2B5EF4-FFF2-40B4-BE49-F238E27FC236}">
                      <a16:creationId xmlns:a16="http://schemas.microsoft.com/office/drawing/2014/main" id="{33A195AA-879A-51C8-B8D7-E7B04FD1EAA3}"/>
                    </a:ext>
                  </a:extLst>
                </p:cNvPr>
                <p:cNvSpPr/>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a:p>
              </p:txBody>
            </p:sp>
            <p:sp>
              <p:nvSpPr>
                <p:cNvPr id="379" name="Forma Livre: Forma 378">
                  <a:extLst>
                    <a:ext uri="{FF2B5EF4-FFF2-40B4-BE49-F238E27FC236}">
                      <a16:creationId xmlns:a16="http://schemas.microsoft.com/office/drawing/2014/main" id="{6C4801AB-2997-C9CC-B813-8ED13BEEE6E8}"/>
                    </a:ext>
                  </a:extLst>
                </p:cNvPr>
                <p:cNvSpPr/>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a:p>
              </p:txBody>
            </p:sp>
            <p:sp>
              <p:nvSpPr>
                <p:cNvPr id="380" name="Forma Livre: Forma 379">
                  <a:extLst>
                    <a:ext uri="{FF2B5EF4-FFF2-40B4-BE49-F238E27FC236}">
                      <a16:creationId xmlns:a16="http://schemas.microsoft.com/office/drawing/2014/main" id="{1544DB3B-7081-B80E-A9E6-E9DE4B63824F}"/>
                    </a:ext>
                  </a:extLst>
                </p:cNvPr>
                <p:cNvSpPr/>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a:p>
              </p:txBody>
            </p:sp>
            <p:sp>
              <p:nvSpPr>
                <p:cNvPr id="381" name="Forma Livre: Forma 380">
                  <a:extLst>
                    <a:ext uri="{FF2B5EF4-FFF2-40B4-BE49-F238E27FC236}">
                      <a16:creationId xmlns:a16="http://schemas.microsoft.com/office/drawing/2014/main" id="{3A728352-C387-FA62-BF6C-CA5863F8DCFB}"/>
                    </a:ext>
                  </a:extLst>
                </p:cNvPr>
                <p:cNvSpPr/>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a:p>
              </p:txBody>
            </p:sp>
          </p:grpSp>
        </p:grpSp>
        <p:sp>
          <p:nvSpPr>
            <p:cNvPr id="370" name="Retângulo 369">
              <a:extLst>
                <a:ext uri="{FF2B5EF4-FFF2-40B4-BE49-F238E27FC236}">
                  <a16:creationId xmlns:a16="http://schemas.microsoft.com/office/drawing/2014/main" id="{6AF6ACEE-CE81-5049-35EB-07A8E845572D}"/>
                </a:ext>
              </a:extLst>
            </p:cNvPr>
            <p:cNvSpPr/>
            <p:nvPr/>
          </p:nvSpPr>
          <p:spPr>
            <a:xfrm>
              <a:off x="7396392" y="2146764"/>
              <a:ext cx="107024" cy="89362"/>
            </a:xfrm>
            <a:prstGeom prst="rect">
              <a:avLst/>
            </a:prstGeom>
            <a:solidFill>
              <a:schemeClr val="bg1">
                <a:lumMod val="95000"/>
                <a:alpha val="5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grpSp>
        <p:nvGrpSpPr>
          <p:cNvPr id="418" name="Agrupar 417">
            <a:extLst>
              <a:ext uri="{FF2B5EF4-FFF2-40B4-BE49-F238E27FC236}">
                <a16:creationId xmlns:a16="http://schemas.microsoft.com/office/drawing/2014/main" id="{F0D95EC6-B2BB-FAA7-84F2-B0C9685166BF}"/>
              </a:ext>
            </a:extLst>
          </p:cNvPr>
          <p:cNvGrpSpPr/>
          <p:nvPr/>
        </p:nvGrpSpPr>
        <p:grpSpPr>
          <a:xfrm>
            <a:off x="8219866" y="4703083"/>
            <a:ext cx="163706" cy="163703"/>
            <a:chOff x="-773373" y="4648327"/>
            <a:chExt cx="599816" cy="599809"/>
          </a:xfrm>
        </p:grpSpPr>
        <p:sp>
          <p:nvSpPr>
            <p:cNvPr id="419" name="Elipse 418">
              <a:extLst>
                <a:ext uri="{FF2B5EF4-FFF2-40B4-BE49-F238E27FC236}">
                  <a16:creationId xmlns:a16="http://schemas.microsoft.com/office/drawing/2014/main" id="{4F081D4F-058F-D814-16C4-CDBE39036C5F}"/>
                </a:ext>
              </a:extLst>
            </p:cNvPr>
            <p:cNvSpPr/>
            <p:nvPr/>
          </p:nvSpPr>
          <p:spPr>
            <a:xfrm>
              <a:off x="-773373" y="4648327"/>
              <a:ext cx="599816" cy="599809"/>
            </a:xfrm>
            <a:prstGeom prst="ellipse">
              <a:avLst/>
            </a:prstGeom>
            <a:gradFill>
              <a:gsLst>
                <a:gs pos="0">
                  <a:schemeClr val="bg1">
                    <a:lumMod val="85000"/>
                    <a:alpha val="51000"/>
                  </a:schemeClr>
                </a:gs>
                <a:gs pos="72000">
                  <a:schemeClr val="bg1">
                    <a:lumMod val="65000"/>
                  </a:schemeClr>
                </a:gs>
              </a:gsLst>
              <a:lin ang="2700000" scaled="0"/>
            </a:gradFill>
            <a:ln w="9525">
              <a:gradFill>
                <a:gsLst>
                  <a:gs pos="0">
                    <a:schemeClr val="bg1">
                      <a:lumMod val="65000"/>
                    </a:schemeClr>
                  </a:gs>
                  <a:gs pos="50000">
                    <a:schemeClr val="bg1">
                      <a:lumMod val="50000"/>
                      <a:alpha val="0"/>
                    </a:schemeClr>
                  </a:gs>
                  <a:gs pos="100000">
                    <a:schemeClr val="bg1">
                      <a:lumMod val="75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20" name="Gráfico 93">
              <a:extLst>
                <a:ext uri="{FF2B5EF4-FFF2-40B4-BE49-F238E27FC236}">
                  <a16:creationId xmlns:a16="http://schemas.microsoft.com/office/drawing/2014/main" id="{3A561600-2182-5D1E-2ACB-D7FA6ACFAFAA}"/>
                </a:ext>
              </a:extLst>
            </p:cNvPr>
            <p:cNvGrpSpPr/>
            <p:nvPr/>
          </p:nvGrpSpPr>
          <p:grpSpPr>
            <a:xfrm>
              <a:off x="-606137" y="4738821"/>
              <a:ext cx="265344" cy="418821"/>
              <a:chOff x="-1314401" y="4003518"/>
              <a:chExt cx="572680" cy="903922"/>
            </a:xfrm>
            <a:solidFill>
              <a:schemeClr val="bg1"/>
            </a:solidFill>
          </p:grpSpPr>
          <p:sp>
            <p:nvSpPr>
              <p:cNvPr id="421" name="Forma Livre: Forma 420">
                <a:extLst>
                  <a:ext uri="{FF2B5EF4-FFF2-40B4-BE49-F238E27FC236}">
                    <a16:creationId xmlns:a16="http://schemas.microsoft.com/office/drawing/2014/main" id="{FCFB1CFA-BF03-9325-66E4-4D16E9F9780C}"/>
                  </a:ext>
                </a:extLst>
              </p:cNvPr>
              <p:cNvSpPr/>
              <p:nvPr/>
            </p:nvSpPr>
            <p:spPr>
              <a:xfrm>
                <a:off x="-942418" y="4068281"/>
                <a:ext cx="198254" cy="318142"/>
              </a:xfrm>
              <a:custGeom>
                <a:avLst/>
                <a:gdLst>
                  <a:gd name="connsiteX0" fmla="*/ 8707 w 198254"/>
                  <a:gd name="connsiteY0" fmla="*/ 25725 h 318142"/>
                  <a:gd name="connsiteX1" fmla="*/ 171584 w 198254"/>
                  <a:gd name="connsiteY1" fmla="*/ 264802 h 318142"/>
                  <a:gd name="connsiteX2" fmla="*/ 168727 w 198254"/>
                  <a:gd name="connsiteY2" fmla="*/ 302902 h 318142"/>
                  <a:gd name="connsiteX3" fmla="*/ 180157 w 198254"/>
                  <a:gd name="connsiteY3" fmla="*/ 318142 h 318142"/>
                  <a:gd name="connsiteX4" fmla="*/ 182062 w 198254"/>
                  <a:gd name="connsiteY4" fmla="*/ 318142 h 318142"/>
                  <a:gd name="connsiteX5" fmla="*/ 195397 w 198254"/>
                  <a:gd name="connsiteY5" fmla="*/ 306712 h 318142"/>
                  <a:gd name="connsiteX6" fmla="*/ 198254 w 198254"/>
                  <a:gd name="connsiteY6" fmla="*/ 264802 h 318142"/>
                  <a:gd name="connsiteX7" fmla="*/ 18232 w 198254"/>
                  <a:gd name="connsiteY7" fmla="*/ 960 h 318142"/>
                  <a:gd name="connsiteX8" fmla="*/ 1087 w 198254"/>
                  <a:gd name="connsiteY8" fmla="*/ 8580 h 318142"/>
                  <a:gd name="connsiteX9" fmla="*/ 8707 w 198254"/>
                  <a:gd name="connsiteY9" fmla="*/ 25725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254" h="318142">
                    <a:moveTo>
                      <a:pt x="8707" y="25725"/>
                    </a:moveTo>
                    <a:cubicBezTo>
                      <a:pt x="106814" y="64777"/>
                      <a:pt x="171584" y="159075"/>
                      <a:pt x="171584" y="264802"/>
                    </a:cubicBezTo>
                    <a:cubicBezTo>
                      <a:pt x="171584" y="277185"/>
                      <a:pt x="170632" y="290520"/>
                      <a:pt x="168727" y="302902"/>
                    </a:cubicBezTo>
                    <a:cubicBezTo>
                      <a:pt x="167774" y="310522"/>
                      <a:pt x="172537" y="317190"/>
                      <a:pt x="180157" y="318142"/>
                    </a:cubicBezTo>
                    <a:cubicBezTo>
                      <a:pt x="181109" y="318142"/>
                      <a:pt x="181109" y="318142"/>
                      <a:pt x="182062" y="318142"/>
                    </a:cubicBezTo>
                    <a:cubicBezTo>
                      <a:pt x="188729" y="318142"/>
                      <a:pt x="194444" y="313380"/>
                      <a:pt x="195397" y="306712"/>
                    </a:cubicBezTo>
                    <a:cubicBezTo>
                      <a:pt x="197302" y="292425"/>
                      <a:pt x="198254" y="278137"/>
                      <a:pt x="198254" y="264802"/>
                    </a:cubicBezTo>
                    <a:cubicBezTo>
                      <a:pt x="198254" y="147645"/>
                      <a:pt x="127769" y="43822"/>
                      <a:pt x="18232" y="960"/>
                    </a:cubicBezTo>
                    <a:cubicBezTo>
                      <a:pt x="11564" y="-1898"/>
                      <a:pt x="3944" y="1912"/>
                      <a:pt x="1087" y="8580"/>
                    </a:cubicBezTo>
                    <a:cubicBezTo>
                      <a:pt x="-1771" y="16200"/>
                      <a:pt x="1087" y="23820"/>
                      <a:pt x="8707" y="25725"/>
                    </a:cubicBezTo>
                    <a:close/>
                  </a:path>
                </a:pathLst>
              </a:custGeom>
              <a:grpFill/>
              <a:ln w="9525" cap="flat">
                <a:noFill/>
                <a:prstDash val="solid"/>
                <a:miter/>
              </a:ln>
            </p:spPr>
            <p:txBody>
              <a:bodyPr rtlCol="0" anchor="ctr"/>
              <a:lstStyle/>
              <a:p>
                <a:endParaRPr lang="pt-BR"/>
              </a:p>
            </p:txBody>
          </p:sp>
          <p:sp>
            <p:nvSpPr>
              <p:cNvPr id="422" name="Forma Livre: Forma 421">
                <a:extLst>
                  <a:ext uri="{FF2B5EF4-FFF2-40B4-BE49-F238E27FC236}">
                    <a16:creationId xmlns:a16="http://schemas.microsoft.com/office/drawing/2014/main" id="{F57C3EDB-BB42-0570-181E-8C2EED19A9CE}"/>
                  </a:ext>
                </a:extLst>
              </p:cNvPr>
              <p:cNvSpPr/>
              <p:nvPr/>
            </p:nvSpPr>
            <p:spPr>
              <a:xfrm>
                <a:off x="-1311853" y="4069233"/>
                <a:ext cx="198127" cy="318142"/>
              </a:xfrm>
              <a:custGeom>
                <a:avLst/>
                <a:gdLst>
                  <a:gd name="connsiteX0" fmla="*/ 16192 w 198127"/>
                  <a:gd name="connsiteY0" fmla="*/ 318142 h 318142"/>
                  <a:gd name="connsiteX1" fmla="*/ 18097 w 198127"/>
                  <a:gd name="connsiteY1" fmla="*/ 318142 h 318142"/>
                  <a:gd name="connsiteX2" fmla="*/ 29527 w 198127"/>
                  <a:gd name="connsiteY2" fmla="*/ 302902 h 318142"/>
                  <a:gd name="connsiteX3" fmla="*/ 26670 w 198127"/>
                  <a:gd name="connsiteY3" fmla="*/ 264802 h 318142"/>
                  <a:gd name="connsiteX4" fmla="*/ 189547 w 198127"/>
                  <a:gd name="connsiteY4" fmla="*/ 25725 h 318142"/>
                  <a:gd name="connsiteX5" fmla="*/ 197168 w 198127"/>
                  <a:gd name="connsiteY5" fmla="*/ 8580 h 318142"/>
                  <a:gd name="connsiteX6" fmla="*/ 180022 w 198127"/>
                  <a:gd name="connsiteY6" fmla="*/ 960 h 318142"/>
                  <a:gd name="connsiteX7" fmla="*/ 0 w 198127"/>
                  <a:gd name="connsiteY7" fmla="*/ 264802 h 318142"/>
                  <a:gd name="connsiteX8" fmla="*/ 2857 w 198127"/>
                  <a:gd name="connsiteY8" fmla="*/ 306712 h 318142"/>
                  <a:gd name="connsiteX9" fmla="*/ 16192 w 198127"/>
                  <a:gd name="connsiteY9" fmla="*/ 318142 h 31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127" h="318142">
                    <a:moveTo>
                      <a:pt x="16192" y="318142"/>
                    </a:moveTo>
                    <a:cubicBezTo>
                      <a:pt x="17145" y="318142"/>
                      <a:pt x="17145" y="318142"/>
                      <a:pt x="18097" y="318142"/>
                    </a:cubicBezTo>
                    <a:cubicBezTo>
                      <a:pt x="25717" y="317190"/>
                      <a:pt x="30480" y="310522"/>
                      <a:pt x="29527" y="302902"/>
                    </a:cubicBezTo>
                    <a:cubicBezTo>
                      <a:pt x="27622" y="289567"/>
                      <a:pt x="26670" y="277185"/>
                      <a:pt x="26670" y="264802"/>
                    </a:cubicBezTo>
                    <a:cubicBezTo>
                      <a:pt x="26670" y="158122"/>
                      <a:pt x="90488" y="64777"/>
                      <a:pt x="189547" y="25725"/>
                    </a:cubicBezTo>
                    <a:cubicBezTo>
                      <a:pt x="196215" y="22867"/>
                      <a:pt x="200025" y="15247"/>
                      <a:pt x="197168" y="8580"/>
                    </a:cubicBezTo>
                    <a:cubicBezTo>
                      <a:pt x="194310" y="1912"/>
                      <a:pt x="186690" y="-1898"/>
                      <a:pt x="180022" y="960"/>
                    </a:cubicBezTo>
                    <a:cubicBezTo>
                      <a:pt x="70485" y="43822"/>
                      <a:pt x="0" y="147645"/>
                      <a:pt x="0" y="264802"/>
                    </a:cubicBezTo>
                    <a:cubicBezTo>
                      <a:pt x="0" y="278137"/>
                      <a:pt x="952" y="292425"/>
                      <a:pt x="2857" y="306712"/>
                    </a:cubicBezTo>
                    <a:cubicBezTo>
                      <a:pt x="4763" y="313380"/>
                      <a:pt x="10477" y="318142"/>
                      <a:pt x="16192" y="318142"/>
                    </a:cubicBezTo>
                    <a:close/>
                  </a:path>
                </a:pathLst>
              </a:custGeom>
              <a:grpFill/>
              <a:ln w="9525" cap="flat">
                <a:noFill/>
                <a:prstDash val="solid"/>
                <a:miter/>
              </a:ln>
            </p:spPr>
            <p:txBody>
              <a:bodyPr rtlCol="0" anchor="ctr"/>
              <a:lstStyle/>
              <a:p>
                <a:endParaRPr lang="pt-BR"/>
              </a:p>
            </p:txBody>
          </p:sp>
          <p:sp>
            <p:nvSpPr>
              <p:cNvPr id="423" name="Forma Livre: Forma 422">
                <a:extLst>
                  <a:ext uri="{FF2B5EF4-FFF2-40B4-BE49-F238E27FC236}">
                    <a16:creationId xmlns:a16="http://schemas.microsoft.com/office/drawing/2014/main" id="{9FA7D660-2E89-414E-E03E-CBEEB29857BA}"/>
                  </a:ext>
                </a:extLst>
              </p:cNvPr>
              <p:cNvSpPr/>
              <p:nvPr/>
            </p:nvSpPr>
            <p:spPr>
              <a:xfrm>
                <a:off x="-1242321" y="4150166"/>
                <a:ext cx="120755" cy="188631"/>
              </a:xfrm>
              <a:custGeom>
                <a:avLst/>
                <a:gdLst>
                  <a:gd name="connsiteX0" fmla="*/ 100013 w 120755"/>
                  <a:gd name="connsiteY0" fmla="*/ 1942 h 188631"/>
                  <a:gd name="connsiteX1" fmla="*/ 0 w 120755"/>
                  <a:gd name="connsiteY1" fmla="*/ 175297 h 188631"/>
                  <a:gd name="connsiteX2" fmla="*/ 12382 w 120755"/>
                  <a:gd name="connsiteY2" fmla="*/ 188632 h 188631"/>
                  <a:gd name="connsiteX3" fmla="*/ 13335 w 120755"/>
                  <a:gd name="connsiteY3" fmla="*/ 188632 h 188631"/>
                  <a:gd name="connsiteX4" fmla="*/ 26670 w 120755"/>
                  <a:gd name="connsiteY4" fmla="*/ 176249 h 188631"/>
                  <a:gd name="connsiteX5" fmla="*/ 114300 w 120755"/>
                  <a:gd name="connsiteY5" fmla="*/ 24802 h 188631"/>
                  <a:gd name="connsiteX6" fmla="*/ 118110 w 120755"/>
                  <a:gd name="connsiteY6" fmla="*/ 6704 h 188631"/>
                  <a:gd name="connsiteX7" fmla="*/ 100013 w 120755"/>
                  <a:gd name="connsiteY7" fmla="*/ 1942 h 18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755" h="188631">
                    <a:moveTo>
                      <a:pt x="100013" y="1942"/>
                    </a:moveTo>
                    <a:cubicBezTo>
                      <a:pt x="40005" y="40042"/>
                      <a:pt x="2857" y="104812"/>
                      <a:pt x="0" y="175297"/>
                    </a:cubicBezTo>
                    <a:cubicBezTo>
                      <a:pt x="0" y="182917"/>
                      <a:pt x="5715" y="188632"/>
                      <a:pt x="12382" y="188632"/>
                    </a:cubicBezTo>
                    <a:cubicBezTo>
                      <a:pt x="12382" y="188632"/>
                      <a:pt x="12382" y="188632"/>
                      <a:pt x="13335" y="188632"/>
                    </a:cubicBezTo>
                    <a:cubicBezTo>
                      <a:pt x="20003" y="188632"/>
                      <a:pt x="26670" y="182917"/>
                      <a:pt x="26670" y="176249"/>
                    </a:cubicBezTo>
                    <a:cubicBezTo>
                      <a:pt x="28575" y="114337"/>
                      <a:pt x="61913" y="57187"/>
                      <a:pt x="114300" y="24802"/>
                    </a:cubicBezTo>
                    <a:cubicBezTo>
                      <a:pt x="120968" y="20992"/>
                      <a:pt x="122873" y="12419"/>
                      <a:pt x="118110" y="6704"/>
                    </a:cubicBezTo>
                    <a:cubicBezTo>
                      <a:pt x="114300" y="37"/>
                      <a:pt x="106680" y="-1868"/>
                      <a:pt x="100013" y="1942"/>
                    </a:cubicBezTo>
                    <a:close/>
                  </a:path>
                </a:pathLst>
              </a:custGeom>
              <a:grpFill/>
              <a:ln w="9525" cap="flat">
                <a:noFill/>
                <a:prstDash val="solid"/>
                <a:miter/>
              </a:ln>
            </p:spPr>
            <p:txBody>
              <a:bodyPr rtlCol="0" anchor="ctr"/>
              <a:lstStyle/>
              <a:p>
                <a:endParaRPr lang="pt-BR"/>
              </a:p>
            </p:txBody>
          </p:sp>
          <p:sp>
            <p:nvSpPr>
              <p:cNvPr id="424" name="Forma Livre: Forma 423">
                <a:extLst>
                  <a:ext uri="{FF2B5EF4-FFF2-40B4-BE49-F238E27FC236}">
                    <a16:creationId xmlns:a16="http://schemas.microsoft.com/office/drawing/2014/main" id="{9498E7DD-6B5B-5CFB-D665-11899BE38339}"/>
                  </a:ext>
                </a:extLst>
              </p:cNvPr>
              <p:cNvSpPr/>
              <p:nvPr/>
            </p:nvSpPr>
            <p:spPr>
              <a:xfrm>
                <a:off x="-933788" y="4150126"/>
                <a:ext cx="120196" cy="187719"/>
              </a:xfrm>
              <a:custGeom>
                <a:avLst/>
                <a:gdLst>
                  <a:gd name="connsiteX0" fmla="*/ 20080 w 120196"/>
                  <a:gd name="connsiteY0" fmla="*/ 1982 h 187719"/>
                  <a:gd name="connsiteX1" fmla="*/ 1982 w 120196"/>
                  <a:gd name="connsiteY1" fmla="*/ 5792 h 187719"/>
                  <a:gd name="connsiteX2" fmla="*/ 5792 w 120196"/>
                  <a:gd name="connsiteY2" fmla="*/ 23890 h 187719"/>
                  <a:gd name="connsiteX3" fmla="*/ 93422 w 120196"/>
                  <a:gd name="connsiteY3" fmla="*/ 175337 h 187719"/>
                  <a:gd name="connsiteX4" fmla="*/ 106757 w 120196"/>
                  <a:gd name="connsiteY4" fmla="*/ 187720 h 187719"/>
                  <a:gd name="connsiteX5" fmla="*/ 107710 w 120196"/>
                  <a:gd name="connsiteY5" fmla="*/ 187720 h 187719"/>
                  <a:gd name="connsiteX6" fmla="*/ 120092 w 120196"/>
                  <a:gd name="connsiteY6" fmla="*/ 174385 h 187719"/>
                  <a:gd name="connsiteX7" fmla="*/ 20080 w 120196"/>
                  <a:gd name="connsiteY7" fmla="*/ 1982 h 18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196" h="187719">
                    <a:moveTo>
                      <a:pt x="20080" y="1982"/>
                    </a:moveTo>
                    <a:cubicBezTo>
                      <a:pt x="13412" y="-1828"/>
                      <a:pt x="5792" y="77"/>
                      <a:pt x="1982" y="5792"/>
                    </a:cubicBezTo>
                    <a:cubicBezTo>
                      <a:pt x="-1828" y="12460"/>
                      <a:pt x="77" y="20080"/>
                      <a:pt x="5792" y="23890"/>
                    </a:cubicBezTo>
                    <a:cubicBezTo>
                      <a:pt x="58180" y="57227"/>
                      <a:pt x="91517" y="113425"/>
                      <a:pt x="93422" y="175337"/>
                    </a:cubicBezTo>
                    <a:cubicBezTo>
                      <a:pt x="93422" y="182957"/>
                      <a:pt x="99137" y="187720"/>
                      <a:pt x="106757" y="187720"/>
                    </a:cubicBezTo>
                    <a:cubicBezTo>
                      <a:pt x="106757" y="187720"/>
                      <a:pt x="106757" y="187720"/>
                      <a:pt x="107710" y="187720"/>
                    </a:cubicBezTo>
                    <a:cubicBezTo>
                      <a:pt x="115330" y="187720"/>
                      <a:pt x="121045" y="181052"/>
                      <a:pt x="120092" y="174385"/>
                    </a:cubicBezTo>
                    <a:cubicBezTo>
                      <a:pt x="117235" y="104852"/>
                      <a:pt x="80087" y="40082"/>
                      <a:pt x="20080" y="1982"/>
                    </a:cubicBezTo>
                    <a:close/>
                  </a:path>
                </a:pathLst>
              </a:custGeom>
              <a:grpFill/>
              <a:ln w="9525" cap="flat">
                <a:noFill/>
                <a:prstDash val="solid"/>
                <a:miter/>
              </a:ln>
            </p:spPr>
            <p:txBody>
              <a:bodyPr rtlCol="0" anchor="ctr"/>
              <a:lstStyle/>
              <a:p>
                <a:endParaRPr lang="pt-BR"/>
              </a:p>
            </p:txBody>
          </p:sp>
          <p:sp>
            <p:nvSpPr>
              <p:cNvPr id="425" name="Forma Livre: Forma 424">
                <a:extLst>
                  <a:ext uri="{FF2B5EF4-FFF2-40B4-BE49-F238E27FC236}">
                    <a16:creationId xmlns:a16="http://schemas.microsoft.com/office/drawing/2014/main" id="{B378F290-27DA-F56C-90E8-1AC89694B8C1}"/>
                  </a:ext>
                </a:extLst>
              </p:cNvPr>
              <p:cNvSpPr/>
              <p:nvPr/>
            </p:nvSpPr>
            <p:spPr>
              <a:xfrm>
                <a:off x="-1314401" y="4344513"/>
                <a:ext cx="230194" cy="157302"/>
              </a:xfrm>
              <a:custGeom>
                <a:avLst/>
                <a:gdLst>
                  <a:gd name="connsiteX0" fmla="*/ 192095 w 230194"/>
                  <a:gd name="connsiteY0" fmla="*/ 0 h 157302"/>
                  <a:gd name="connsiteX1" fmla="*/ 642 w 230194"/>
                  <a:gd name="connsiteY1" fmla="*/ 154305 h 157302"/>
                  <a:gd name="connsiteX2" fmla="*/ 230195 w 230194"/>
                  <a:gd name="connsiteY2" fmla="*/ 65723 h 157302"/>
                  <a:gd name="connsiteX3" fmla="*/ 192095 w 230194"/>
                  <a:gd name="connsiteY3" fmla="*/ 0 h 157302"/>
                </a:gdLst>
                <a:ahLst/>
                <a:cxnLst>
                  <a:cxn ang="0">
                    <a:pos x="connsiteX0" y="connsiteY0"/>
                  </a:cxn>
                  <a:cxn ang="0">
                    <a:pos x="connsiteX1" y="connsiteY1"/>
                  </a:cxn>
                  <a:cxn ang="0">
                    <a:pos x="connsiteX2" y="connsiteY2"/>
                  </a:cxn>
                  <a:cxn ang="0">
                    <a:pos x="connsiteX3" y="connsiteY3"/>
                  </a:cxn>
                </a:cxnLst>
                <a:rect l="l" t="t" r="r" b="b"/>
                <a:pathLst>
                  <a:path w="230194" h="157302">
                    <a:moveTo>
                      <a:pt x="192095" y="0"/>
                    </a:moveTo>
                    <a:cubicBezTo>
                      <a:pt x="110180" y="48578"/>
                      <a:pt x="-9835" y="137160"/>
                      <a:pt x="642" y="154305"/>
                    </a:cubicBezTo>
                    <a:cubicBezTo>
                      <a:pt x="10167" y="171450"/>
                      <a:pt x="146375" y="111443"/>
                      <a:pt x="230195" y="65723"/>
                    </a:cubicBezTo>
                    <a:cubicBezTo>
                      <a:pt x="209240" y="50482"/>
                      <a:pt x="194952" y="26670"/>
                      <a:pt x="192095" y="0"/>
                    </a:cubicBezTo>
                    <a:close/>
                  </a:path>
                </a:pathLst>
              </a:custGeom>
              <a:grpFill/>
              <a:ln w="9525" cap="flat">
                <a:noFill/>
                <a:prstDash val="solid"/>
                <a:miter/>
              </a:ln>
            </p:spPr>
            <p:txBody>
              <a:bodyPr rtlCol="0" anchor="ctr"/>
              <a:lstStyle/>
              <a:p>
                <a:endParaRPr lang="pt-BR"/>
              </a:p>
            </p:txBody>
          </p:sp>
          <p:sp>
            <p:nvSpPr>
              <p:cNvPr id="426" name="Forma Livre: Forma 425">
                <a:extLst>
                  <a:ext uri="{FF2B5EF4-FFF2-40B4-BE49-F238E27FC236}">
                    <a16:creationId xmlns:a16="http://schemas.microsoft.com/office/drawing/2014/main" id="{0E071C8A-863F-0FC0-A4E0-A4D74535C9D2}"/>
                  </a:ext>
                </a:extLst>
              </p:cNvPr>
              <p:cNvSpPr/>
              <p:nvPr/>
            </p:nvSpPr>
            <p:spPr>
              <a:xfrm>
                <a:off x="-1066109" y="4003518"/>
                <a:ext cx="76200" cy="242887"/>
              </a:xfrm>
              <a:custGeom>
                <a:avLst/>
                <a:gdLst>
                  <a:gd name="connsiteX0" fmla="*/ 76200 w 76200"/>
                  <a:gd name="connsiteY0" fmla="*/ 242888 h 242887"/>
                  <a:gd name="connsiteX1" fmla="*/ 38100 w 76200"/>
                  <a:gd name="connsiteY1" fmla="*/ 0 h 242887"/>
                  <a:gd name="connsiteX2" fmla="*/ 0 w 76200"/>
                  <a:gd name="connsiteY2" fmla="*/ 242888 h 242887"/>
                  <a:gd name="connsiteX3" fmla="*/ 38100 w 76200"/>
                  <a:gd name="connsiteY3" fmla="*/ 235268 h 242887"/>
                  <a:gd name="connsiteX4" fmla="*/ 76200 w 76200"/>
                  <a:gd name="connsiteY4" fmla="*/ 242888 h 2428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00" h="242887">
                    <a:moveTo>
                      <a:pt x="76200" y="242888"/>
                    </a:moveTo>
                    <a:cubicBezTo>
                      <a:pt x="74295" y="147638"/>
                      <a:pt x="58102" y="0"/>
                      <a:pt x="38100" y="0"/>
                    </a:cubicBezTo>
                    <a:cubicBezTo>
                      <a:pt x="18098" y="0"/>
                      <a:pt x="1905" y="147638"/>
                      <a:pt x="0" y="242888"/>
                    </a:cubicBezTo>
                    <a:cubicBezTo>
                      <a:pt x="11430" y="238125"/>
                      <a:pt x="24765" y="235268"/>
                      <a:pt x="38100" y="235268"/>
                    </a:cubicBezTo>
                    <a:cubicBezTo>
                      <a:pt x="51435" y="235268"/>
                      <a:pt x="64770" y="238125"/>
                      <a:pt x="76200" y="242888"/>
                    </a:cubicBezTo>
                    <a:close/>
                  </a:path>
                </a:pathLst>
              </a:custGeom>
              <a:grpFill/>
              <a:ln w="9525" cap="flat">
                <a:noFill/>
                <a:prstDash val="solid"/>
                <a:miter/>
              </a:ln>
            </p:spPr>
            <p:txBody>
              <a:bodyPr rtlCol="0" anchor="ctr"/>
              <a:lstStyle/>
              <a:p>
                <a:endParaRPr lang="pt-BR"/>
              </a:p>
            </p:txBody>
          </p:sp>
          <p:sp>
            <p:nvSpPr>
              <p:cNvPr id="427" name="Forma Livre: Forma 426">
                <a:extLst>
                  <a:ext uri="{FF2B5EF4-FFF2-40B4-BE49-F238E27FC236}">
                    <a16:creationId xmlns:a16="http://schemas.microsoft.com/office/drawing/2014/main" id="{86C62820-C44F-4A04-2A64-C98559BCA970}"/>
                  </a:ext>
                </a:extLst>
              </p:cNvPr>
              <p:cNvSpPr/>
              <p:nvPr/>
            </p:nvSpPr>
            <p:spPr>
              <a:xfrm>
                <a:off x="-971811" y="4343561"/>
                <a:ext cx="230090" cy="158253"/>
              </a:xfrm>
              <a:custGeom>
                <a:avLst/>
                <a:gdLst>
                  <a:gd name="connsiteX0" fmla="*/ 38100 w 230090"/>
                  <a:gd name="connsiteY0" fmla="*/ 0 h 158253"/>
                  <a:gd name="connsiteX1" fmla="*/ 0 w 230090"/>
                  <a:gd name="connsiteY1" fmla="*/ 65722 h 158253"/>
                  <a:gd name="connsiteX2" fmla="*/ 229552 w 230090"/>
                  <a:gd name="connsiteY2" fmla="*/ 155258 h 158253"/>
                  <a:gd name="connsiteX3" fmla="*/ 38100 w 230090"/>
                  <a:gd name="connsiteY3" fmla="*/ 0 h 158253"/>
                </a:gdLst>
                <a:ahLst/>
                <a:cxnLst>
                  <a:cxn ang="0">
                    <a:pos x="connsiteX0" y="connsiteY0"/>
                  </a:cxn>
                  <a:cxn ang="0">
                    <a:pos x="connsiteX1" y="connsiteY1"/>
                  </a:cxn>
                  <a:cxn ang="0">
                    <a:pos x="connsiteX2" y="connsiteY2"/>
                  </a:cxn>
                  <a:cxn ang="0">
                    <a:pos x="connsiteX3" y="connsiteY3"/>
                  </a:cxn>
                </a:cxnLst>
                <a:rect l="l" t="t" r="r" b="b"/>
                <a:pathLst>
                  <a:path w="230090" h="158253">
                    <a:moveTo>
                      <a:pt x="38100" y="0"/>
                    </a:moveTo>
                    <a:cubicBezTo>
                      <a:pt x="35242" y="26670"/>
                      <a:pt x="20955" y="50482"/>
                      <a:pt x="0" y="65722"/>
                    </a:cubicBezTo>
                    <a:cubicBezTo>
                      <a:pt x="83820" y="112395"/>
                      <a:pt x="220027" y="172402"/>
                      <a:pt x="229552" y="155258"/>
                    </a:cubicBezTo>
                    <a:cubicBezTo>
                      <a:pt x="239077" y="138113"/>
                      <a:pt x="120015" y="49530"/>
                      <a:pt x="38100" y="0"/>
                    </a:cubicBezTo>
                    <a:close/>
                  </a:path>
                </a:pathLst>
              </a:custGeom>
              <a:grpFill/>
              <a:ln w="9525" cap="flat">
                <a:noFill/>
                <a:prstDash val="solid"/>
                <a:miter/>
              </a:ln>
            </p:spPr>
            <p:txBody>
              <a:bodyPr rtlCol="0" anchor="ctr"/>
              <a:lstStyle/>
              <a:p>
                <a:endParaRPr lang="pt-BR"/>
              </a:p>
            </p:txBody>
          </p:sp>
          <p:sp>
            <p:nvSpPr>
              <p:cNvPr id="428" name="Forma Livre: Forma 427">
                <a:extLst>
                  <a:ext uri="{FF2B5EF4-FFF2-40B4-BE49-F238E27FC236}">
                    <a16:creationId xmlns:a16="http://schemas.microsoft.com/office/drawing/2014/main" id="{974BBB16-9E54-E1CE-0720-858156591332}"/>
                  </a:ext>
                </a:extLst>
              </p:cNvPr>
              <p:cNvSpPr/>
              <p:nvPr/>
            </p:nvSpPr>
            <p:spPr>
              <a:xfrm>
                <a:off x="-1088016" y="4274028"/>
                <a:ext cx="120014" cy="120014"/>
              </a:xfrm>
              <a:custGeom>
                <a:avLst/>
                <a:gdLst>
                  <a:gd name="connsiteX0" fmla="*/ 120015 w 120014"/>
                  <a:gd name="connsiteY0" fmla="*/ 60008 h 120014"/>
                  <a:gd name="connsiteX1" fmla="*/ 60008 w 120014"/>
                  <a:gd name="connsiteY1" fmla="*/ 120015 h 120014"/>
                  <a:gd name="connsiteX2" fmla="*/ 0 w 120014"/>
                  <a:gd name="connsiteY2" fmla="*/ 60008 h 120014"/>
                  <a:gd name="connsiteX3" fmla="*/ 60008 w 120014"/>
                  <a:gd name="connsiteY3" fmla="*/ 0 h 120014"/>
                  <a:gd name="connsiteX4" fmla="*/ 120015 w 120014"/>
                  <a:gd name="connsiteY4" fmla="*/ 60008 h 1200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014" h="120014">
                    <a:moveTo>
                      <a:pt x="120015" y="60008"/>
                    </a:moveTo>
                    <a:cubicBezTo>
                      <a:pt x="120015" y="93149"/>
                      <a:pt x="93149" y="120015"/>
                      <a:pt x="60008" y="120015"/>
                    </a:cubicBezTo>
                    <a:cubicBezTo>
                      <a:pt x="26866" y="120015"/>
                      <a:pt x="0" y="93149"/>
                      <a:pt x="0" y="60008"/>
                    </a:cubicBezTo>
                    <a:cubicBezTo>
                      <a:pt x="0" y="26866"/>
                      <a:pt x="26866" y="0"/>
                      <a:pt x="60008" y="0"/>
                    </a:cubicBezTo>
                    <a:cubicBezTo>
                      <a:pt x="93149" y="0"/>
                      <a:pt x="120015" y="26866"/>
                      <a:pt x="120015" y="60008"/>
                    </a:cubicBezTo>
                    <a:close/>
                  </a:path>
                </a:pathLst>
              </a:custGeom>
              <a:grpFill/>
              <a:ln w="9525" cap="flat">
                <a:noFill/>
                <a:prstDash val="solid"/>
                <a:miter/>
              </a:ln>
            </p:spPr>
            <p:txBody>
              <a:bodyPr rtlCol="0" anchor="ctr"/>
              <a:lstStyle/>
              <a:p>
                <a:endParaRPr lang="pt-BR"/>
              </a:p>
            </p:txBody>
          </p:sp>
          <p:sp>
            <p:nvSpPr>
              <p:cNvPr id="429" name="Forma Livre: Forma 428">
                <a:extLst>
                  <a:ext uri="{FF2B5EF4-FFF2-40B4-BE49-F238E27FC236}">
                    <a16:creationId xmlns:a16="http://schemas.microsoft.com/office/drawing/2014/main" id="{710D1C00-8BE0-D688-F369-65D8E6070ECC}"/>
                  </a:ext>
                </a:extLst>
              </p:cNvPr>
              <p:cNvSpPr/>
              <p:nvPr/>
            </p:nvSpPr>
            <p:spPr>
              <a:xfrm>
                <a:off x="-1248989" y="4424523"/>
                <a:ext cx="442912" cy="482917"/>
              </a:xfrm>
              <a:custGeom>
                <a:avLst/>
                <a:gdLst>
                  <a:gd name="connsiteX0" fmla="*/ 266700 w 442912"/>
                  <a:gd name="connsiteY0" fmla="*/ 372428 h 482917"/>
                  <a:gd name="connsiteX1" fmla="*/ 245745 w 442912"/>
                  <a:gd name="connsiteY1" fmla="*/ 0 h 482917"/>
                  <a:gd name="connsiteX2" fmla="*/ 220980 w 442912"/>
                  <a:gd name="connsiteY2" fmla="*/ 3810 h 482917"/>
                  <a:gd name="connsiteX3" fmla="*/ 196215 w 442912"/>
                  <a:gd name="connsiteY3" fmla="*/ 0 h 482917"/>
                  <a:gd name="connsiteX4" fmla="*/ 175260 w 442912"/>
                  <a:gd name="connsiteY4" fmla="*/ 372428 h 482917"/>
                  <a:gd name="connsiteX5" fmla="*/ 0 w 442912"/>
                  <a:gd name="connsiteY5" fmla="*/ 482918 h 482917"/>
                  <a:gd name="connsiteX6" fmla="*/ 442913 w 442912"/>
                  <a:gd name="connsiteY6" fmla="*/ 482918 h 482917"/>
                  <a:gd name="connsiteX7" fmla="*/ 266700 w 442912"/>
                  <a:gd name="connsiteY7" fmla="*/ 372428 h 48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2912" h="482917">
                    <a:moveTo>
                      <a:pt x="266700" y="372428"/>
                    </a:moveTo>
                    <a:cubicBezTo>
                      <a:pt x="260033" y="290512"/>
                      <a:pt x="251460" y="156210"/>
                      <a:pt x="245745" y="0"/>
                    </a:cubicBezTo>
                    <a:cubicBezTo>
                      <a:pt x="238125" y="1905"/>
                      <a:pt x="229553" y="3810"/>
                      <a:pt x="220980" y="3810"/>
                    </a:cubicBezTo>
                    <a:cubicBezTo>
                      <a:pt x="212408" y="3810"/>
                      <a:pt x="203835" y="2857"/>
                      <a:pt x="196215" y="0"/>
                    </a:cubicBezTo>
                    <a:cubicBezTo>
                      <a:pt x="190500" y="156210"/>
                      <a:pt x="181928" y="290512"/>
                      <a:pt x="175260" y="372428"/>
                    </a:cubicBezTo>
                    <a:cubicBezTo>
                      <a:pt x="99060" y="384810"/>
                      <a:pt x="39053" y="428625"/>
                      <a:pt x="0" y="482918"/>
                    </a:cubicBezTo>
                    <a:lnTo>
                      <a:pt x="442913" y="482918"/>
                    </a:lnTo>
                    <a:cubicBezTo>
                      <a:pt x="402908" y="428625"/>
                      <a:pt x="342900" y="385762"/>
                      <a:pt x="266700" y="372428"/>
                    </a:cubicBezTo>
                    <a:close/>
                  </a:path>
                </a:pathLst>
              </a:custGeom>
              <a:grpFill/>
              <a:ln w="9525" cap="flat">
                <a:noFill/>
                <a:prstDash val="solid"/>
                <a:miter/>
              </a:ln>
            </p:spPr>
            <p:txBody>
              <a:bodyPr rtlCol="0" anchor="ctr"/>
              <a:lstStyle/>
              <a:p>
                <a:endParaRPr lang="pt-BR"/>
              </a:p>
            </p:txBody>
          </p:sp>
        </p:grpSp>
      </p:grpSp>
      <p:grpSp>
        <p:nvGrpSpPr>
          <p:cNvPr id="430" name="Agrupar 429">
            <a:extLst>
              <a:ext uri="{FF2B5EF4-FFF2-40B4-BE49-F238E27FC236}">
                <a16:creationId xmlns:a16="http://schemas.microsoft.com/office/drawing/2014/main" id="{9C37D4E5-1D7C-FA3E-1465-38713226EA64}"/>
              </a:ext>
            </a:extLst>
          </p:cNvPr>
          <p:cNvGrpSpPr/>
          <p:nvPr/>
        </p:nvGrpSpPr>
        <p:grpSpPr>
          <a:xfrm>
            <a:off x="7598275" y="4704240"/>
            <a:ext cx="159923" cy="159920"/>
            <a:chOff x="5346212" y="951625"/>
            <a:chExt cx="760768" cy="760755"/>
          </a:xfrm>
        </p:grpSpPr>
        <p:sp>
          <p:nvSpPr>
            <p:cNvPr id="431" name="Elipse 430">
              <a:extLst>
                <a:ext uri="{FF2B5EF4-FFF2-40B4-BE49-F238E27FC236}">
                  <a16:creationId xmlns:a16="http://schemas.microsoft.com/office/drawing/2014/main" id="{5A5A29CA-7314-19CD-C7C4-EFE69FE150C8}"/>
                </a:ext>
              </a:extLst>
            </p:cNvPr>
            <p:cNvSpPr/>
            <p:nvPr/>
          </p:nvSpPr>
          <p:spPr>
            <a:xfrm>
              <a:off x="5346212" y="951625"/>
              <a:ext cx="760768" cy="760755"/>
            </a:xfrm>
            <a:prstGeom prst="ellipse">
              <a:avLst/>
            </a:prstGeom>
            <a:gradFill>
              <a:gsLst>
                <a:gs pos="0">
                  <a:srgbClr val="CCB282">
                    <a:alpha val="25000"/>
                  </a:srgbClr>
                </a:gs>
                <a:gs pos="100000">
                  <a:srgbClr val="CCB282"/>
                </a:gs>
              </a:gsLst>
              <a:lin ang="2700000" scaled="0"/>
            </a:gradFill>
            <a:ln w="9525">
              <a:gradFill>
                <a:gsLst>
                  <a:gs pos="0">
                    <a:srgbClr val="CCB282"/>
                  </a:gs>
                  <a:gs pos="50000">
                    <a:srgbClr val="CCB282">
                      <a:alpha val="0"/>
                    </a:srgbClr>
                  </a:gs>
                  <a:gs pos="100000">
                    <a:srgbClr val="CCB282"/>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32" name="Gráfico 490">
              <a:extLst>
                <a:ext uri="{FF2B5EF4-FFF2-40B4-BE49-F238E27FC236}">
                  <a16:creationId xmlns:a16="http://schemas.microsoft.com/office/drawing/2014/main" id="{CF6A5563-7DE3-C790-E86D-22850794FC95}"/>
                </a:ext>
              </a:extLst>
            </p:cNvPr>
            <p:cNvGrpSpPr/>
            <p:nvPr/>
          </p:nvGrpSpPr>
          <p:grpSpPr>
            <a:xfrm>
              <a:off x="5452332" y="1051578"/>
              <a:ext cx="549099" cy="547367"/>
              <a:chOff x="7139340" y="2443618"/>
              <a:chExt cx="905827" cy="902970"/>
            </a:xfrm>
            <a:solidFill>
              <a:schemeClr val="bg1"/>
            </a:solidFill>
          </p:grpSpPr>
          <p:sp>
            <p:nvSpPr>
              <p:cNvPr id="433" name="Forma Livre: Forma 432">
                <a:extLst>
                  <a:ext uri="{FF2B5EF4-FFF2-40B4-BE49-F238E27FC236}">
                    <a16:creationId xmlns:a16="http://schemas.microsoft.com/office/drawing/2014/main" id="{A1FA6943-6809-D776-DF68-3DEC5528A386}"/>
                  </a:ext>
                </a:extLst>
              </p:cNvPr>
              <p:cNvSpPr/>
              <p:nvPr/>
            </p:nvSpPr>
            <p:spPr>
              <a:xfrm>
                <a:off x="7390800" y="2694126"/>
                <a:ext cx="401954" cy="401954"/>
              </a:xfrm>
              <a:custGeom>
                <a:avLst/>
                <a:gdLst>
                  <a:gd name="connsiteX0" fmla="*/ 200978 w 401954"/>
                  <a:gd name="connsiteY0" fmla="*/ 0 h 401954"/>
                  <a:gd name="connsiteX1" fmla="*/ 0 w 401954"/>
                  <a:gd name="connsiteY1" fmla="*/ 200978 h 401954"/>
                  <a:gd name="connsiteX2" fmla="*/ 200978 w 401954"/>
                  <a:gd name="connsiteY2" fmla="*/ 401955 h 401954"/>
                  <a:gd name="connsiteX3" fmla="*/ 401955 w 401954"/>
                  <a:gd name="connsiteY3" fmla="*/ 200978 h 401954"/>
                  <a:gd name="connsiteX4" fmla="*/ 200978 w 401954"/>
                  <a:gd name="connsiteY4" fmla="*/ 0 h 4019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954" h="401954">
                    <a:moveTo>
                      <a:pt x="200978" y="0"/>
                    </a:moveTo>
                    <a:cubicBezTo>
                      <a:pt x="90488" y="0"/>
                      <a:pt x="0" y="90488"/>
                      <a:pt x="0" y="200978"/>
                    </a:cubicBezTo>
                    <a:cubicBezTo>
                      <a:pt x="0" y="311468"/>
                      <a:pt x="90488" y="401955"/>
                      <a:pt x="200978" y="401955"/>
                    </a:cubicBezTo>
                    <a:cubicBezTo>
                      <a:pt x="311468" y="401955"/>
                      <a:pt x="401955" y="311468"/>
                      <a:pt x="401955" y="200978"/>
                    </a:cubicBezTo>
                    <a:cubicBezTo>
                      <a:pt x="401955" y="90488"/>
                      <a:pt x="311468" y="0"/>
                      <a:pt x="200978" y="0"/>
                    </a:cubicBezTo>
                    <a:close/>
                  </a:path>
                </a:pathLst>
              </a:custGeom>
              <a:grpFill/>
              <a:ln w="9525" cap="flat">
                <a:noFill/>
                <a:prstDash val="solid"/>
                <a:miter/>
              </a:ln>
            </p:spPr>
            <p:txBody>
              <a:bodyPr rtlCol="0" anchor="ctr"/>
              <a:lstStyle/>
              <a:p>
                <a:endParaRPr lang="pt-BR"/>
              </a:p>
            </p:txBody>
          </p:sp>
          <p:sp>
            <p:nvSpPr>
              <p:cNvPr id="434" name="Forma Livre: Forma 433">
                <a:extLst>
                  <a:ext uri="{FF2B5EF4-FFF2-40B4-BE49-F238E27FC236}">
                    <a16:creationId xmlns:a16="http://schemas.microsoft.com/office/drawing/2014/main" id="{FCADF891-47CB-273C-E5B4-082AD418CCB9}"/>
                  </a:ext>
                </a:extLst>
              </p:cNvPr>
              <p:cNvSpPr/>
              <p:nvPr/>
            </p:nvSpPr>
            <p:spPr>
              <a:xfrm>
                <a:off x="7551772" y="2443618"/>
                <a:ext cx="80010" cy="189547"/>
              </a:xfrm>
              <a:custGeom>
                <a:avLst/>
                <a:gdLst>
                  <a:gd name="connsiteX0" fmla="*/ 40005 w 80010"/>
                  <a:gd name="connsiteY0" fmla="*/ 189548 h 189547"/>
                  <a:gd name="connsiteX1" fmla="*/ 80010 w 80010"/>
                  <a:gd name="connsiteY1" fmla="*/ 150495 h 189547"/>
                  <a:gd name="connsiteX2" fmla="*/ 80010 w 80010"/>
                  <a:gd name="connsiteY2" fmla="*/ 39053 h 189547"/>
                  <a:gd name="connsiteX3" fmla="*/ 40005 w 80010"/>
                  <a:gd name="connsiteY3" fmla="*/ 0 h 189547"/>
                  <a:gd name="connsiteX4" fmla="*/ 0 w 80010"/>
                  <a:gd name="connsiteY4" fmla="*/ 39053 h 189547"/>
                  <a:gd name="connsiteX5" fmla="*/ 0 w 80010"/>
                  <a:gd name="connsiteY5" fmla="*/ 150495 h 189547"/>
                  <a:gd name="connsiteX6" fmla="*/ 40005 w 80010"/>
                  <a:gd name="connsiteY6" fmla="*/ 189548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189548"/>
                    </a:moveTo>
                    <a:cubicBezTo>
                      <a:pt x="61913" y="189548"/>
                      <a:pt x="80010" y="171450"/>
                      <a:pt x="80010" y="150495"/>
                    </a:cubicBezTo>
                    <a:lnTo>
                      <a:pt x="80010" y="39053"/>
                    </a:lnTo>
                    <a:cubicBezTo>
                      <a:pt x="80010" y="17145"/>
                      <a:pt x="61913" y="0"/>
                      <a:pt x="40005" y="0"/>
                    </a:cubicBezTo>
                    <a:cubicBezTo>
                      <a:pt x="18098" y="0"/>
                      <a:pt x="0" y="18098"/>
                      <a:pt x="0" y="39053"/>
                    </a:cubicBezTo>
                    <a:lnTo>
                      <a:pt x="0" y="150495"/>
                    </a:lnTo>
                    <a:cubicBezTo>
                      <a:pt x="0" y="171450"/>
                      <a:pt x="18098" y="189548"/>
                      <a:pt x="40005" y="189548"/>
                    </a:cubicBezTo>
                    <a:close/>
                  </a:path>
                </a:pathLst>
              </a:custGeom>
              <a:grpFill/>
              <a:ln w="9525" cap="flat">
                <a:noFill/>
                <a:prstDash val="solid"/>
                <a:miter/>
              </a:ln>
            </p:spPr>
            <p:txBody>
              <a:bodyPr rtlCol="0" anchor="ctr"/>
              <a:lstStyle/>
              <a:p>
                <a:endParaRPr lang="pt-BR"/>
              </a:p>
            </p:txBody>
          </p:sp>
          <p:sp>
            <p:nvSpPr>
              <p:cNvPr id="435" name="Forma Livre: Forma 434">
                <a:extLst>
                  <a:ext uri="{FF2B5EF4-FFF2-40B4-BE49-F238E27FC236}">
                    <a16:creationId xmlns:a16="http://schemas.microsoft.com/office/drawing/2014/main" id="{0271633C-24C5-6FC1-112A-38E41BB68553}"/>
                  </a:ext>
                </a:extLst>
              </p:cNvPr>
              <p:cNvSpPr/>
              <p:nvPr/>
            </p:nvSpPr>
            <p:spPr>
              <a:xfrm>
                <a:off x="7259355" y="2562681"/>
                <a:ext cx="158114" cy="158115"/>
              </a:xfrm>
              <a:custGeom>
                <a:avLst/>
                <a:gdLst>
                  <a:gd name="connsiteX0" fmla="*/ 91440 w 158114"/>
                  <a:gd name="connsiteY0" fmla="*/ 146685 h 158115"/>
                  <a:gd name="connsiteX1" fmla="*/ 119063 w 158114"/>
                  <a:gd name="connsiteY1" fmla="*/ 158115 h 158115"/>
                  <a:gd name="connsiteX2" fmla="*/ 146685 w 158114"/>
                  <a:gd name="connsiteY2" fmla="*/ 146685 h 158115"/>
                  <a:gd name="connsiteX3" fmla="*/ 146685 w 158114"/>
                  <a:gd name="connsiteY3" fmla="*/ 90488 h 158115"/>
                  <a:gd name="connsiteX4" fmla="*/ 67628 w 158114"/>
                  <a:gd name="connsiteY4" fmla="*/ 11430 h 158115"/>
                  <a:gd name="connsiteX5" fmla="*/ 11430 w 158114"/>
                  <a:gd name="connsiteY5" fmla="*/ 11430 h 158115"/>
                  <a:gd name="connsiteX6" fmla="*/ 11430 w 158114"/>
                  <a:gd name="connsiteY6" fmla="*/ 67628 h 158115"/>
                  <a:gd name="connsiteX7" fmla="*/ 91440 w 158114"/>
                  <a:gd name="connsiteY7" fmla="*/ 146685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5">
                    <a:moveTo>
                      <a:pt x="91440" y="146685"/>
                    </a:moveTo>
                    <a:cubicBezTo>
                      <a:pt x="99060" y="154305"/>
                      <a:pt x="109538" y="158115"/>
                      <a:pt x="119063" y="158115"/>
                    </a:cubicBezTo>
                    <a:cubicBezTo>
                      <a:pt x="129540" y="158115"/>
                      <a:pt x="139065" y="154305"/>
                      <a:pt x="146685" y="146685"/>
                    </a:cubicBezTo>
                    <a:cubicBezTo>
                      <a:pt x="161925" y="131445"/>
                      <a:pt x="161925" y="106680"/>
                      <a:pt x="146685" y="90488"/>
                    </a:cubicBezTo>
                    <a:lnTo>
                      <a:pt x="67628" y="11430"/>
                    </a:lnTo>
                    <a:cubicBezTo>
                      <a:pt x="52388" y="-3810"/>
                      <a:pt x="27623" y="-3810"/>
                      <a:pt x="11430" y="11430"/>
                    </a:cubicBezTo>
                    <a:cubicBezTo>
                      <a:pt x="-3810" y="26670"/>
                      <a:pt x="-3810" y="51435"/>
                      <a:pt x="11430" y="67628"/>
                    </a:cubicBezTo>
                    <a:lnTo>
                      <a:pt x="91440" y="146685"/>
                    </a:lnTo>
                    <a:close/>
                  </a:path>
                </a:pathLst>
              </a:custGeom>
              <a:grpFill/>
              <a:ln w="9525" cap="flat">
                <a:noFill/>
                <a:prstDash val="solid"/>
                <a:miter/>
              </a:ln>
            </p:spPr>
            <p:txBody>
              <a:bodyPr rtlCol="0" anchor="ctr"/>
              <a:lstStyle/>
              <a:p>
                <a:endParaRPr lang="pt-BR"/>
              </a:p>
            </p:txBody>
          </p:sp>
          <p:sp>
            <p:nvSpPr>
              <p:cNvPr id="436" name="Forma Livre: Forma 435">
                <a:extLst>
                  <a:ext uri="{FF2B5EF4-FFF2-40B4-BE49-F238E27FC236}">
                    <a16:creationId xmlns:a16="http://schemas.microsoft.com/office/drawing/2014/main" id="{FBC415AC-8921-579F-B28C-4BA5E5D43812}"/>
                  </a:ext>
                </a:extLst>
              </p:cNvPr>
              <p:cNvSpPr/>
              <p:nvPr/>
            </p:nvSpPr>
            <p:spPr>
              <a:xfrm>
                <a:off x="7139340" y="2856051"/>
                <a:ext cx="190500" cy="78104"/>
              </a:xfrm>
              <a:custGeom>
                <a:avLst/>
                <a:gdLst>
                  <a:gd name="connsiteX0" fmla="*/ 190500 w 190500"/>
                  <a:gd name="connsiteY0" fmla="*/ 39052 h 78104"/>
                  <a:gd name="connsiteX1" fmla="*/ 150495 w 190500"/>
                  <a:gd name="connsiteY1" fmla="*/ 0 h 78104"/>
                  <a:gd name="connsiteX2" fmla="*/ 40005 w 190500"/>
                  <a:gd name="connsiteY2" fmla="*/ 0 h 78104"/>
                  <a:gd name="connsiteX3" fmla="*/ 0 w 190500"/>
                  <a:gd name="connsiteY3" fmla="*/ 39052 h 78104"/>
                  <a:gd name="connsiteX4" fmla="*/ 40005 w 190500"/>
                  <a:gd name="connsiteY4" fmla="*/ 78105 h 78104"/>
                  <a:gd name="connsiteX5" fmla="*/ 151448 w 190500"/>
                  <a:gd name="connsiteY5" fmla="*/ 78105 h 78104"/>
                  <a:gd name="connsiteX6" fmla="*/ 190500 w 190500"/>
                  <a:gd name="connsiteY6" fmla="*/ 39052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0" h="78104">
                    <a:moveTo>
                      <a:pt x="190500" y="39052"/>
                    </a:moveTo>
                    <a:cubicBezTo>
                      <a:pt x="190500" y="17145"/>
                      <a:pt x="172403" y="0"/>
                      <a:pt x="150495" y="0"/>
                    </a:cubicBezTo>
                    <a:lnTo>
                      <a:pt x="40005" y="0"/>
                    </a:lnTo>
                    <a:cubicBezTo>
                      <a:pt x="18098" y="0"/>
                      <a:pt x="0" y="18097"/>
                      <a:pt x="0" y="39052"/>
                    </a:cubicBezTo>
                    <a:cubicBezTo>
                      <a:pt x="0" y="60007"/>
                      <a:pt x="18098" y="78105"/>
                      <a:pt x="40005" y="78105"/>
                    </a:cubicBezTo>
                    <a:lnTo>
                      <a:pt x="151448" y="78105"/>
                    </a:lnTo>
                    <a:cubicBezTo>
                      <a:pt x="172403" y="78105"/>
                      <a:pt x="190500" y="60960"/>
                      <a:pt x="190500" y="39052"/>
                    </a:cubicBezTo>
                    <a:close/>
                  </a:path>
                </a:pathLst>
              </a:custGeom>
              <a:grpFill/>
              <a:ln w="9525" cap="flat">
                <a:noFill/>
                <a:prstDash val="solid"/>
                <a:miter/>
              </a:ln>
            </p:spPr>
            <p:txBody>
              <a:bodyPr rtlCol="0" anchor="ctr"/>
              <a:lstStyle/>
              <a:p>
                <a:endParaRPr lang="pt-BR"/>
              </a:p>
            </p:txBody>
          </p:sp>
          <p:sp>
            <p:nvSpPr>
              <p:cNvPr id="437" name="Forma Livre: Forma 436">
                <a:extLst>
                  <a:ext uri="{FF2B5EF4-FFF2-40B4-BE49-F238E27FC236}">
                    <a16:creationId xmlns:a16="http://schemas.microsoft.com/office/drawing/2014/main" id="{FDA91B77-2F67-B908-6BFD-8DE272AC03D5}"/>
                  </a:ext>
                </a:extLst>
              </p:cNvPr>
              <p:cNvSpPr/>
              <p:nvPr/>
            </p:nvSpPr>
            <p:spPr>
              <a:xfrm>
                <a:off x="7260308" y="3068697"/>
                <a:ext cx="157162" cy="158829"/>
              </a:xfrm>
              <a:custGeom>
                <a:avLst/>
                <a:gdLst>
                  <a:gd name="connsiteX0" fmla="*/ 90488 w 157162"/>
                  <a:gd name="connsiteY0" fmla="*/ 12144 h 158829"/>
                  <a:gd name="connsiteX1" fmla="*/ 11430 w 157162"/>
                  <a:gd name="connsiteY1" fmla="*/ 91202 h 158829"/>
                  <a:gd name="connsiteX2" fmla="*/ 11430 w 157162"/>
                  <a:gd name="connsiteY2" fmla="*/ 147399 h 158829"/>
                  <a:gd name="connsiteX3" fmla="*/ 39052 w 157162"/>
                  <a:gd name="connsiteY3" fmla="*/ 158829 h 158829"/>
                  <a:gd name="connsiteX4" fmla="*/ 66675 w 157162"/>
                  <a:gd name="connsiteY4" fmla="*/ 147399 h 158829"/>
                  <a:gd name="connsiteX5" fmla="*/ 145733 w 157162"/>
                  <a:gd name="connsiteY5" fmla="*/ 68342 h 158829"/>
                  <a:gd name="connsiteX6" fmla="*/ 145733 w 157162"/>
                  <a:gd name="connsiteY6" fmla="*/ 12144 h 158829"/>
                  <a:gd name="connsiteX7" fmla="*/ 90488 w 157162"/>
                  <a:gd name="connsiteY7" fmla="*/ 12144 h 158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829">
                    <a:moveTo>
                      <a:pt x="90488" y="12144"/>
                    </a:moveTo>
                    <a:lnTo>
                      <a:pt x="11430" y="91202"/>
                    </a:lnTo>
                    <a:cubicBezTo>
                      <a:pt x="-3810" y="106442"/>
                      <a:pt x="-3810" y="131207"/>
                      <a:pt x="11430" y="147399"/>
                    </a:cubicBezTo>
                    <a:cubicBezTo>
                      <a:pt x="19050" y="155019"/>
                      <a:pt x="29527" y="158829"/>
                      <a:pt x="39052" y="158829"/>
                    </a:cubicBezTo>
                    <a:cubicBezTo>
                      <a:pt x="49530" y="158829"/>
                      <a:pt x="59055" y="155019"/>
                      <a:pt x="66675" y="147399"/>
                    </a:cubicBezTo>
                    <a:lnTo>
                      <a:pt x="145733" y="68342"/>
                    </a:lnTo>
                    <a:cubicBezTo>
                      <a:pt x="160972" y="53102"/>
                      <a:pt x="160972" y="28337"/>
                      <a:pt x="145733" y="12144"/>
                    </a:cubicBezTo>
                    <a:cubicBezTo>
                      <a:pt x="130492" y="-4048"/>
                      <a:pt x="105727" y="-4048"/>
                      <a:pt x="90488" y="12144"/>
                    </a:cubicBezTo>
                    <a:close/>
                  </a:path>
                </a:pathLst>
              </a:custGeom>
              <a:grpFill/>
              <a:ln w="9525" cap="flat">
                <a:noFill/>
                <a:prstDash val="solid"/>
                <a:miter/>
              </a:ln>
            </p:spPr>
            <p:txBody>
              <a:bodyPr rtlCol="0" anchor="ctr"/>
              <a:lstStyle/>
              <a:p>
                <a:endParaRPr lang="pt-BR"/>
              </a:p>
            </p:txBody>
          </p:sp>
          <p:sp>
            <p:nvSpPr>
              <p:cNvPr id="438" name="Forma Livre: Forma 437">
                <a:extLst>
                  <a:ext uri="{FF2B5EF4-FFF2-40B4-BE49-F238E27FC236}">
                    <a16:creationId xmlns:a16="http://schemas.microsoft.com/office/drawing/2014/main" id="{51425452-90C3-AB02-02F4-5DC8934A9E41}"/>
                  </a:ext>
                </a:extLst>
              </p:cNvPr>
              <p:cNvSpPr/>
              <p:nvPr/>
            </p:nvSpPr>
            <p:spPr>
              <a:xfrm>
                <a:off x="7551772" y="3157041"/>
                <a:ext cx="80010" cy="189547"/>
              </a:xfrm>
              <a:custGeom>
                <a:avLst/>
                <a:gdLst>
                  <a:gd name="connsiteX0" fmla="*/ 40005 w 80010"/>
                  <a:gd name="connsiteY0" fmla="*/ 0 h 189547"/>
                  <a:gd name="connsiteX1" fmla="*/ 0 w 80010"/>
                  <a:gd name="connsiteY1" fmla="*/ 39052 h 189547"/>
                  <a:gd name="connsiteX2" fmla="*/ 0 w 80010"/>
                  <a:gd name="connsiteY2" fmla="*/ 150495 h 189547"/>
                  <a:gd name="connsiteX3" fmla="*/ 40005 w 80010"/>
                  <a:gd name="connsiteY3" fmla="*/ 189548 h 189547"/>
                  <a:gd name="connsiteX4" fmla="*/ 80010 w 80010"/>
                  <a:gd name="connsiteY4" fmla="*/ 150495 h 189547"/>
                  <a:gd name="connsiteX5" fmla="*/ 80010 w 80010"/>
                  <a:gd name="connsiteY5" fmla="*/ 40005 h 189547"/>
                  <a:gd name="connsiteX6" fmla="*/ 40005 w 80010"/>
                  <a:gd name="connsiteY6" fmla="*/ 0 h 189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010" h="189547">
                    <a:moveTo>
                      <a:pt x="40005" y="0"/>
                    </a:moveTo>
                    <a:cubicBezTo>
                      <a:pt x="18098" y="0"/>
                      <a:pt x="0" y="18098"/>
                      <a:pt x="0" y="39052"/>
                    </a:cubicBezTo>
                    <a:lnTo>
                      <a:pt x="0" y="150495"/>
                    </a:lnTo>
                    <a:cubicBezTo>
                      <a:pt x="0" y="172402"/>
                      <a:pt x="18098" y="189548"/>
                      <a:pt x="40005" y="189548"/>
                    </a:cubicBezTo>
                    <a:cubicBezTo>
                      <a:pt x="61913" y="189548"/>
                      <a:pt x="80010" y="171450"/>
                      <a:pt x="80010" y="150495"/>
                    </a:cubicBezTo>
                    <a:lnTo>
                      <a:pt x="80010" y="40005"/>
                    </a:lnTo>
                    <a:cubicBezTo>
                      <a:pt x="80010" y="18098"/>
                      <a:pt x="61913" y="0"/>
                      <a:pt x="40005" y="0"/>
                    </a:cubicBezTo>
                    <a:close/>
                  </a:path>
                </a:pathLst>
              </a:custGeom>
              <a:grpFill/>
              <a:ln w="9525" cap="flat">
                <a:noFill/>
                <a:prstDash val="solid"/>
                <a:miter/>
              </a:ln>
            </p:spPr>
            <p:txBody>
              <a:bodyPr rtlCol="0" anchor="ctr"/>
              <a:lstStyle/>
              <a:p>
                <a:endParaRPr lang="pt-BR"/>
              </a:p>
            </p:txBody>
          </p:sp>
          <p:sp>
            <p:nvSpPr>
              <p:cNvPr id="439" name="Forma Livre: Forma 438">
                <a:extLst>
                  <a:ext uri="{FF2B5EF4-FFF2-40B4-BE49-F238E27FC236}">
                    <a16:creationId xmlns:a16="http://schemas.microsoft.com/office/drawing/2014/main" id="{59C939C8-70DD-B23E-7984-BC58A7BFAA3A}"/>
                  </a:ext>
                </a:extLst>
              </p:cNvPr>
              <p:cNvSpPr/>
              <p:nvPr/>
            </p:nvSpPr>
            <p:spPr>
              <a:xfrm>
                <a:off x="7765133" y="3069411"/>
                <a:ext cx="157162" cy="158115"/>
              </a:xfrm>
              <a:custGeom>
                <a:avLst/>
                <a:gdLst>
                  <a:gd name="connsiteX0" fmla="*/ 67628 w 157162"/>
                  <a:gd name="connsiteY0" fmla="*/ 11430 h 158115"/>
                  <a:gd name="connsiteX1" fmla="*/ 11430 w 157162"/>
                  <a:gd name="connsiteY1" fmla="*/ 11430 h 158115"/>
                  <a:gd name="connsiteX2" fmla="*/ 11430 w 157162"/>
                  <a:gd name="connsiteY2" fmla="*/ 67628 h 158115"/>
                  <a:gd name="connsiteX3" fmla="*/ 90487 w 157162"/>
                  <a:gd name="connsiteY3" fmla="*/ 146685 h 158115"/>
                  <a:gd name="connsiteX4" fmla="*/ 118110 w 157162"/>
                  <a:gd name="connsiteY4" fmla="*/ 158115 h 158115"/>
                  <a:gd name="connsiteX5" fmla="*/ 145732 w 157162"/>
                  <a:gd name="connsiteY5" fmla="*/ 146685 h 158115"/>
                  <a:gd name="connsiteX6" fmla="*/ 145732 w 157162"/>
                  <a:gd name="connsiteY6" fmla="*/ 90488 h 158115"/>
                  <a:gd name="connsiteX7" fmla="*/ 67628 w 157162"/>
                  <a:gd name="connsiteY7" fmla="*/ 11430 h 15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2" h="158115">
                    <a:moveTo>
                      <a:pt x="67628" y="11430"/>
                    </a:moveTo>
                    <a:cubicBezTo>
                      <a:pt x="52387" y="-3810"/>
                      <a:pt x="27622" y="-3810"/>
                      <a:pt x="11430" y="11430"/>
                    </a:cubicBezTo>
                    <a:cubicBezTo>
                      <a:pt x="-3810" y="26670"/>
                      <a:pt x="-3810" y="52388"/>
                      <a:pt x="11430" y="67628"/>
                    </a:cubicBezTo>
                    <a:lnTo>
                      <a:pt x="90487" y="146685"/>
                    </a:lnTo>
                    <a:cubicBezTo>
                      <a:pt x="98107" y="154305"/>
                      <a:pt x="108585" y="158115"/>
                      <a:pt x="118110" y="158115"/>
                    </a:cubicBezTo>
                    <a:cubicBezTo>
                      <a:pt x="128587" y="158115"/>
                      <a:pt x="138112" y="154305"/>
                      <a:pt x="145732" y="146685"/>
                    </a:cubicBezTo>
                    <a:cubicBezTo>
                      <a:pt x="160972" y="131445"/>
                      <a:pt x="160972" y="105728"/>
                      <a:pt x="145732" y="90488"/>
                    </a:cubicBezTo>
                    <a:lnTo>
                      <a:pt x="67628" y="11430"/>
                    </a:lnTo>
                    <a:close/>
                  </a:path>
                </a:pathLst>
              </a:custGeom>
              <a:grpFill/>
              <a:ln w="9525" cap="flat">
                <a:noFill/>
                <a:prstDash val="solid"/>
                <a:miter/>
              </a:ln>
            </p:spPr>
            <p:txBody>
              <a:bodyPr rtlCol="0" anchor="ctr"/>
              <a:lstStyle/>
              <a:p>
                <a:endParaRPr lang="pt-BR"/>
              </a:p>
            </p:txBody>
          </p:sp>
          <p:sp>
            <p:nvSpPr>
              <p:cNvPr id="440" name="Forma Livre: Forma 439">
                <a:extLst>
                  <a:ext uri="{FF2B5EF4-FFF2-40B4-BE49-F238E27FC236}">
                    <a16:creationId xmlns:a16="http://schemas.microsoft.com/office/drawing/2014/main" id="{57DD7F46-11B9-B212-F440-D91C99ED9961}"/>
                  </a:ext>
                </a:extLst>
              </p:cNvPr>
              <p:cNvSpPr/>
              <p:nvPr/>
            </p:nvSpPr>
            <p:spPr>
              <a:xfrm>
                <a:off x="7853715" y="2856051"/>
                <a:ext cx="191452" cy="78104"/>
              </a:xfrm>
              <a:custGeom>
                <a:avLst/>
                <a:gdLst>
                  <a:gd name="connsiteX0" fmla="*/ 150495 w 191452"/>
                  <a:gd name="connsiteY0" fmla="*/ 0 h 78104"/>
                  <a:gd name="connsiteX1" fmla="*/ 40005 w 191452"/>
                  <a:gd name="connsiteY1" fmla="*/ 0 h 78104"/>
                  <a:gd name="connsiteX2" fmla="*/ 0 w 191452"/>
                  <a:gd name="connsiteY2" fmla="*/ 39052 h 78104"/>
                  <a:gd name="connsiteX3" fmla="*/ 40005 w 191452"/>
                  <a:gd name="connsiteY3" fmla="*/ 78105 h 78104"/>
                  <a:gd name="connsiteX4" fmla="*/ 151448 w 191452"/>
                  <a:gd name="connsiteY4" fmla="*/ 78105 h 78104"/>
                  <a:gd name="connsiteX5" fmla="*/ 191452 w 191452"/>
                  <a:gd name="connsiteY5" fmla="*/ 39052 h 78104"/>
                  <a:gd name="connsiteX6" fmla="*/ 150495 w 191452"/>
                  <a:gd name="connsiteY6" fmla="*/ 0 h 7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52" h="78104">
                    <a:moveTo>
                      <a:pt x="150495" y="0"/>
                    </a:moveTo>
                    <a:lnTo>
                      <a:pt x="40005" y="0"/>
                    </a:lnTo>
                    <a:cubicBezTo>
                      <a:pt x="18098" y="0"/>
                      <a:pt x="0" y="18097"/>
                      <a:pt x="0" y="39052"/>
                    </a:cubicBezTo>
                    <a:cubicBezTo>
                      <a:pt x="0" y="60007"/>
                      <a:pt x="18098" y="78105"/>
                      <a:pt x="40005" y="78105"/>
                    </a:cubicBezTo>
                    <a:lnTo>
                      <a:pt x="151448" y="78105"/>
                    </a:lnTo>
                    <a:cubicBezTo>
                      <a:pt x="173355" y="78105"/>
                      <a:pt x="191452" y="60007"/>
                      <a:pt x="191452" y="39052"/>
                    </a:cubicBezTo>
                    <a:cubicBezTo>
                      <a:pt x="191452" y="18097"/>
                      <a:pt x="172402" y="0"/>
                      <a:pt x="150495" y="0"/>
                    </a:cubicBezTo>
                    <a:close/>
                  </a:path>
                </a:pathLst>
              </a:custGeom>
              <a:grpFill/>
              <a:ln w="9525" cap="flat">
                <a:noFill/>
                <a:prstDash val="solid"/>
                <a:miter/>
              </a:ln>
            </p:spPr>
            <p:txBody>
              <a:bodyPr rtlCol="0" anchor="ctr"/>
              <a:lstStyle/>
              <a:p>
                <a:endParaRPr lang="pt-BR"/>
              </a:p>
            </p:txBody>
          </p:sp>
          <p:sp>
            <p:nvSpPr>
              <p:cNvPr id="441" name="Forma Livre: Forma 440">
                <a:extLst>
                  <a:ext uri="{FF2B5EF4-FFF2-40B4-BE49-F238E27FC236}">
                    <a16:creationId xmlns:a16="http://schemas.microsoft.com/office/drawing/2014/main" id="{48E1154E-C997-A0E8-952B-DB0C1C4C67BB}"/>
                  </a:ext>
                </a:extLst>
              </p:cNvPr>
              <p:cNvSpPr/>
              <p:nvPr/>
            </p:nvSpPr>
            <p:spPr>
              <a:xfrm>
                <a:off x="7765133" y="2563634"/>
                <a:ext cx="158114" cy="158114"/>
              </a:xfrm>
              <a:custGeom>
                <a:avLst/>
                <a:gdLst>
                  <a:gd name="connsiteX0" fmla="*/ 40005 w 158114"/>
                  <a:gd name="connsiteY0" fmla="*/ 158115 h 158114"/>
                  <a:gd name="connsiteX1" fmla="*/ 67628 w 158114"/>
                  <a:gd name="connsiteY1" fmla="*/ 146685 h 158114"/>
                  <a:gd name="connsiteX2" fmla="*/ 146685 w 158114"/>
                  <a:gd name="connsiteY2" fmla="*/ 67627 h 158114"/>
                  <a:gd name="connsiteX3" fmla="*/ 146685 w 158114"/>
                  <a:gd name="connsiteY3" fmla="*/ 11430 h 158114"/>
                  <a:gd name="connsiteX4" fmla="*/ 90487 w 158114"/>
                  <a:gd name="connsiteY4" fmla="*/ 11430 h 158114"/>
                  <a:gd name="connsiteX5" fmla="*/ 11430 w 158114"/>
                  <a:gd name="connsiteY5" fmla="*/ 90488 h 158114"/>
                  <a:gd name="connsiteX6" fmla="*/ 11430 w 158114"/>
                  <a:gd name="connsiteY6" fmla="*/ 146685 h 158114"/>
                  <a:gd name="connsiteX7" fmla="*/ 40005 w 158114"/>
                  <a:gd name="connsiteY7" fmla="*/ 158115 h 15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114" h="158114">
                    <a:moveTo>
                      <a:pt x="40005" y="158115"/>
                    </a:moveTo>
                    <a:cubicBezTo>
                      <a:pt x="50482" y="158115"/>
                      <a:pt x="60007" y="154305"/>
                      <a:pt x="67628" y="146685"/>
                    </a:cubicBezTo>
                    <a:lnTo>
                      <a:pt x="146685" y="67627"/>
                    </a:lnTo>
                    <a:cubicBezTo>
                      <a:pt x="161925" y="52388"/>
                      <a:pt x="161925" y="26670"/>
                      <a:pt x="146685" y="11430"/>
                    </a:cubicBezTo>
                    <a:cubicBezTo>
                      <a:pt x="131445" y="-3810"/>
                      <a:pt x="106680" y="-3810"/>
                      <a:pt x="90487" y="11430"/>
                    </a:cubicBezTo>
                    <a:lnTo>
                      <a:pt x="11430" y="90488"/>
                    </a:lnTo>
                    <a:cubicBezTo>
                      <a:pt x="-3810" y="105727"/>
                      <a:pt x="-3810" y="131445"/>
                      <a:pt x="11430" y="146685"/>
                    </a:cubicBezTo>
                    <a:cubicBezTo>
                      <a:pt x="20003" y="153353"/>
                      <a:pt x="29528" y="158115"/>
                      <a:pt x="40005" y="158115"/>
                    </a:cubicBezTo>
                    <a:close/>
                  </a:path>
                </a:pathLst>
              </a:custGeom>
              <a:grpFill/>
              <a:ln w="9525" cap="flat">
                <a:noFill/>
                <a:prstDash val="solid"/>
                <a:miter/>
              </a:ln>
            </p:spPr>
            <p:txBody>
              <a:bodyPr rtlCol="0" anchor="ctr"/>
              <a:lstStyle/>
              <a:p>
                <a:endParaRPr lang="pt-BR"/>
              </a:p>
            </p:txBody>
          </p:sp>
        </p:grpSp>
      </p:grpSp>
      <p:pic>
        <p:nvPicPr>
          <p:cNvPr id="96" name="Imagem 95" descr="Uma imagem contendo Interface gráfica do usuário&#10;&#10;Descrição gerada automaticamente">
            <a:extLst>
              <a:ext uri="{FF2B5EF4-FFF2-40B4-BE49-F238E27FC236}">
                <a16:creationId xmlns:a16="http://schemas.microsoft.com/office/drawing/2014/main" id="{76FB647A-B8F7-ABF1-0245-CFF89A258837}"/>
              </a:ext>
            </a:extLst>
          </p:cNvPr>
          <p:cNvPicPr>
            <a:picLocks noChangeAspect="1"/>
          </p:cNvPicPr>
          <p:nvPr/>
        </p:nvPicPr>
        <p:blipFill>
          <a:blip r:embed="rId141"/>
          <a:stretch>
            <a:fillRect/>
          </a:stretch>
        </p:blipFill>
        <p:spPr>
          <a:xfrm>
            <a:off x="8039840" y="60434"/>
            <a:ext cx="920231" cy="509571"/>
          </a:xfrm>
          <a:prstGeom prst="rect">
            <a:avLst/>
          </a:prstGeom>
        </p:spPr>
      </p:pic>
    </p:spTree>
    <p:extLst>
      <p:ext uri="{BB962C8B-B14F-4D97-AF65-F5344CB8AC3E}">
        <p14:creationId xmlns:p14="http://schemas.microsoft.com/office/powerpoint/2010/main" val="1769137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10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5"/>
                                        </p:tgtEl>
                                        <p:attrNameLst>
                                          <p:attrName>style.visibility</p:attrName>
                                        </p:attrNameLst>
                                      </p:cBhvr>
                                      <p:to>
                                        <p:strVal val="visible"/>
                                      </p:to>
                                    </p:set>
                                    <p:animEffect transition="in" filter="fade">
                                      <p:cBhvr>
                                        <p:cTn id="13" dur="500"/>
                                        <p:tgtEl>
                                          <p:spTgt spid="55"/>
                                        </p:tgtEl>
                                      </p:cBhvr>
                                    </p:animEffect>
                                  </p:childTnLst>
                                </p:cTn>
                              </p:par>
                              <p:par>
                                <p:cTn id="14" presetID="35" presetClass="path" presetSubtype="0" accel="17000" decel="83000" fill="hold" grpId="1" nodeType="withEffect">
                                  <p:stCondLst>
                                    <p:cond delay="0"/>
                                  </p:stCondLst>
                                  <p:childTnLst>
                                    <p:animMotion origin="layout" path="M 0.02311 4.2333E-06 L -1.80102E-06 4.2333E-06" pathEditMode="relative" rAng="0" ptsTypes="AA">
                                      <p:cBhvr>
                                        <p:cTn id="15" dur="1100" fill="hold"/>
                                        <p:tgtEl>
                                          <p:spTgt spid="55"/>
                                        </p:tgtEl>
                                        <p:attrNameLst>
                                          <p:attrName>ppt_x</p:attrName>
                                          <p:attrName>ppt_y</p:attrName>
                                        </p:attrNameLst>
                                      </p:cBhvr>
                                      <p:rCtr x="-1164" y="0"/>
                                    </p:animMotion>
                                  </p:childTnLst>
                                </p:cTn>
                              </p:par>
                              <p:par>
                                <p:cTn id="16" presetID="10" presetClass="entr" presetSubtype="0" fill="hold" grpId="0" nodeType="withEffect">
                                  <p:stCondLst>
                                    <p:cond delay="0"/>
                                  </p:stCondLst>
                                  <p:childTnLst>
                                    <p:set>
                                      <p:cBhvr>
                                        <p:cTn id="17" dur="1" fill="hold">
                                          <p:stCondLst>
                                            <p:cond delay="0"/>
                                          </p:stCondLst>
                                        </p:cTn>
                                        <p:tgtEl>
                                          <p:spTgt spid="56"/>
                                        </p:tgtEl>
                                        <p:attrNameLst>
                                          <p:attrName>style.visibility</p:attrName>
                                        </p:attrNameLst>
                                      </p:cBhvr>
                                      <p:to>
                                        <p:strVal val="visible"/>
                                      </p:to>
                                    </p:set>
                                    <p:animEffect transition="in" filter="fade">
                                      <p:cBhvr>
                                        <p:cTn id="18" dur="500"/>
                                        <p:tgtEl>
                                          <p:spTgt spid="56"/>
                                        </p:tgtEl>
                                      </p:cBhvr>
                                    </p:animEffect>
                                  </p:childTnLst>
                                </p:cTn>
                              </p:par>
                              <p:par>
                                <p:cTn id="19" presetID="35" presetClass="path" presetSubtype="0" accel="17000" decel="83000" fill="hold" grpId="1" nodeType="withEffect">
                                  <p:stCondLst>
                                    <p:cond delay="0"/>
                                  </p:stCondLst>
                                  <p:childTnLst>
                                    <p:animMotion origin="layout" path="M -0.0321 1.67451E-06 L -1.80102E-06 1.67451E-06" pathEditMode="relative" rAng="0" ptsTypes="AA">
                                      <p:cBhvr>
                                        <p:cTn id="20" dur="1100" fill="hold"/>
                                        <p:tgtEl>
                                          <p:spTgt spid="56"/>
                                        </p:tgtEl>
                                        <p:attrNameLst>
                                          <p:attrName>ppt_x</p:attrName>
                                          <p:attrName>ppt_y</p:attrName>
                                        </p:attrNameLst>
                                      </p:cBhvr>
                                      <p:rCtr x="1605" y="0"/>
                                    </p:animMotion>
                                  </p:childTnLst>
                                </p:cTn>
                              </p:par>
                              <p:par>
                                <p:cTn id="21" presetID="10" presetClass="entr" presetSubtype="0" fill="hold" nodeType="withEffect">
                                  <p:stCondLst>
                                    <p:cond delay="225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par>
                                <p:cTn id="24" presetID="23" presetClass="entr" presetSubtype="288" fill="hold" nodeType="withEffect">
                                  <p:stCondLst>
                                    <p:cond delay="225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strVal val="4/3*#ppt_w"/>
                                          </p:val>
                                        </p:tav>
                                        <p:tav tm="100000">
                                          <p:val>
                                            <p:strVal val="#ppt_w"/>
                                          </p:val>
                                        </p:tav>
                                      </p:tavLst>
                                    </p:anim>
                                    <p:anim calcmode="lin" valueType="num">
                                      <p:cBhvr>
                                        <p:cTn id="27" dur="500" fill="hold"/>
                                        <p:tgtEl>
                                          <p:spTgt spid="57"/>
                                        </p:tgtEl>
                                        <p:attrNameLst>
                                          <p:attrName>ppt_h</p:attrName>
                                        </p:attrNameLst>
                                      </p:cBhvr>
                                      <p:tavLst>
                                        <p:tav tm="0">
                                          <p:val>
                                            <p:strVal val="4/3*#ppt_h"/>
                                          </p:val>
                                        </p:tav>
                                        <p:tav tm="100000">
                                          <p:val>
                                            <p:strVal val="#ppt_h"/>
                                          </p:val>
                                        </p:tav>
                                      </p:tavLst>
                                    </p:anim>
                                  </p:childTnLst>
                                </p:cTn>
                              </p:par>
                              <p:par>
                                <p:cTn id="28" presetID="10" presetClass="entr" presetSubtype="0" fill="hold" grpId="0" nodeType="withEffect">
                                  <p:stCondLst>
                                    <p:cond delay="225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35" presetClass="path" presetSubtype="0" accel="17000" decel="83000" fill="hold" grpId="1" nodeType="withEffect">
                                  <p:stCondLst>
                                    <p:cond delay="2250"/>
                                  </p:stCondLst>
                                  <p:childTnLst>
                                    <p:animMotion origin="layout" path="M -0.02945 4.3556E-06 L -3.46093E-06 4.3556E-06" pathEditMode="relative" rAng="0" ptsTypes="AA">
                                      <p:cBhvr>
                                        <p:cTn id="32" dur="1100" fill="hold"/>
                                        <p:tgtEl>
                                          <p:spTgt spid="60"/>
                                        </p:tgtEl>
                                        <p:attrNameLst>
                                          <p:attrName>ppt_x</p:attrName>
                                          <p:attrName>ppt_y</p:attrName>
                                        </p:attrNameLst>
                                      </p:cBhvr>
                                      <p:rCtr x="1464" y="0"/>
                                    </p:animMotion>
                                  </p:childTnLst>
                                </p:cTn>
                              </p:par>
                              <p:par>
                                <p:cTn id="33" presetID="10" presetClass="entr" presetSubtype="0" fill="hold" grpId="0" nodeType="withEffect">
                                  <p:stCondLst>
                                    <p:cond delay="2500"/>
                                  </p:stCondLst>
                                  <p:childTnLst>
                                    <p:set>
                                      <p:cBhvr>
                                        <p:cTn id="34" dur="1" fill="hold">
                                          <p:stCondLst>
                                            <p:cond delay="0"/>
                                          </p:stCondLst>
                                        </p:cTn>
                                        <p:tgtEl>
                                          <p:spTgt spid="61"/>
                                        </p:tgtEl>
                                        <p:attrNameLst>
                                          <p:attrName>style.visibility</p:attrName>
                                        </p:attrNameLst>
                                      </p:cBhvr>
                                      <p:to>
                                        <p:strVal val="visible"/>
                                      </p:to>
                                    </p:set>
                                    <p:animEffect transition="in" filter="fade">
                                      <p:cBhvr>
                                        <p:cTn id="35" dur="500"/>
                                        <p:tgtEl>
                                          <p:spTgt spid="61"/>
                                        </p:tgtEl>
                                      </p:cBhvr>
                                    </p:animEffect>
                                  </p:childTnLst>
                                </p:cTn>
                              </p:par>
                              <p:par>
                                <p:cTn id="36" presetID="35" presetClass="path" presetSubtype="0" accel="17000" decel="83000" fill="hold" grpId="1" nodeType="withEffect">
                                  <p:stCondLst>
                                    <p:cond delay="2500"/>
                                  </p:stCondLst>
                                  <p:childTnLst>
                                    <p:animMotion origin="layout" path="M 2.63009E-06 0.04484 L 2.63009E-06 2.19818E-06" pathEditMode="relative" rAng="0" ptsTypes="AA">
                                      <p:cBhvr>
                                        <p:cTn id="37" dur="1100" fill="hold"/>
                                        <p:tgtEl>
                                          <p:spTgt spid="61"/>
                                        </p:tgtEl>
                                        <p:attrNameLst>
                                          <p:attrName>ppt_x</p:attrName>
                                          <p:attrName>ppt_y</p:attrName>
                                        </p:attrNameLst>
                                      </p:cBhvr>
                                      <p:rCtr x="0" y="-2258"/>
                                    </p:animMotion>
                                  </p:childTnLst>
                                </p:cTn>
                              </p:par>
                              <p:par>
                                <p:cTn id="38" presetID="10" presetClass="entr" presetSubtype="0" fill="hold" nodeType="withEffect">
                                  <p:stCondLst>
                                    <p:cond delay="2000"/>
                                  </p:stCondLst>
                                  <p:childTnLst>
                                    <p:set>
                                      <p:cBhvr>
                                        <p:cTn id="39" dur="1" fill="hold">
                                          <p:stCondLst>
                                            <p:cond delay="0"/>
                                          </p:stCondLst>
                                        </p:cTn>
                                        <p:tgtEl>
                                          <p:spTgt spid="134"/>
                                        </p:tgtEl>
                                        <p:attrNameLst>
                                          <p:attrName>style.visibility</p:attrName>
                                        </p:attrNameLst>
                                      </p:cBhvr>
                                      <p:to>
                                        <p:strVal val="visible"/>
                                      </p:to>
                                    </p:set>
                                    <p:animEffect transition="in" filter="fade">
                                      <p:cBhvr>
                                        <p:cTn id="40" dur="500"/>
                                        <p:tgtEl>
                                          <p:spTgt spid="134"/>
                                        </p:tgtEl>
                                      </p:cBhvr>
                                    </p:animEffect>
                                  </p:childTnLst>
                                </p:cTn>
                              </p:par>
                              <p:par>
                                <p:cTn id="41" presetID="10" presetClass="entr" presetSubtype="0" fill="hold" nodeType="withEffect">
                                  <p:stCondLst>
                                    <p:cond delay="500"/>
                                  </p:stCondLst>
                                  <p:childTnLst>
                                    <p:set>
                                      <p:cBhvr>
                                        <p:cTn id="42" dur="1" fill="hold">
                                          <p:stCondLst>
                                            <p:cond delay="0"/>
                                          </p:stCondLst>
                                        </p:cTn>
                                        <p:tgtEl>
                                          <p:spTgt spid="90"/>
                                        </p:tgtEl>
                                        <p:attrNameLst>
                                          <p:attrName>style.visibility</p:attrName>
                                        </p:attrNameLst>
                                      </p:cBhvr>
                                      <p:to>
                                        <p:strVal val="visible"/>
                                      </p:to>
                                    </p:set>
                                    <p:animEffect transition="in" filter="fade">
                                      <p:cBhvr>
                                        <p:cTn id="43" dur="500"/>
                                        <p:tgtEl>
                                          <p:spTgt spid="90"/>
                                        </p:tgtEl>
                                      </p:cBhvr>
                                    </p:animEffect>
                                  </p:childTnLst>
                                </p:cTn>
                              </p:par>
                              <p:par>
                                <p:cTn id="44" presetID="10" presetClass="entr" presetSubtype="0" fill="hold" nodeType="withEffect">
                                  <p:stCondLst>
                                    <p:cond delay="500"/>
                                  </p:stCondLst>
                                  <p:childTnLst>
                                    <p:set>
                                      <p:cBhvr>
                                        <p:cTn id="45" dur="1" fill="hold">
                                          <p:stCondLst>
                                            <p:cond delay="0"/>
                                          </p:stCondLst>
                                        </p:cTn>
                                        <p:tgtEl>
                                          <p:spTgt spid="1038"/>
                                        </p:tgtEl>
                                        <p:attrNameLst>
                                          <p:attrName>style.visibility</p:attrName>
                                        </p:attrNameLst>
                                      </p:cBhvr>
                                      <p:to>
                                        <p:strVal val="visible"/>
                                      </p:to>
                                    </p:set>
                                    <p:animEffect transition="in" filter="fade">
                                      <p:cBhvr>
                                        <p:cTn id="46" dur="500"/>
                                        <p:tgtEl>
                                          <p:spTgt spid="1038"/>
                                        </p:tgtEl>
                                      </p:cBhvr>
                                    </p:animEffect>
                                  </p:childTnLst>
                                </p:cTn>
                              </p:par>
                              <p:par>
                                <p:cTn id="47" presetID="10" presetClass="entr" presetSubtype="0" fill="hold" nodeType="withEffect">
                                  <p:stCondLst>
                                    <p:cond delay="1250"/>
                                  </p:stCondLst>
                                  <p:childTnLst>
                                    <p:set>
                                      <p:cBhvr>
                                        <p:cTn id="48" dur="1" fill="hold">
                                          <p:stCondLst>
                                            <p:cond delay="0"/>
                                          </p:stCondLst>
                                        </p:cTn>
                                        <p:tgtEl>
                                          <p:spTgt spid="133"/>
                                        </p:tgtEl>
                                        <p:attrNameLst>
                                          <p:attrName>style.visibility</p:attrName>
                                        </p:attrNameLst>
                                      </p:cBhvr>
                                      <p:to>
                                        <p:strVal val="visible"/>
                                      </p:to>
                                    </p:set>
                                    <p:animEffect transition="in" filter="fade">
                                      <p:cBhvr>
                                        <p:cTn id="49" dur="500"/>
                                        <p:tgtEl>
                                          <p:spTgt spid="133"/>
                                        </p:tgtEl>
                                      </p:cBhvr>
                                    </p:animEffect>
                                  </p:childTnLst>
                                </p:cTn>
                              </p:par>
                              <p:par>
                                <p:cTn id="50" presetID="10" presetClass="entr" presetSubtype="0" fill="hold" nodeType="withEffect">
                                  <p:stCondLst>
                                    <p:cond delay="150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par>
                                <p:cTn id="53" presetID="23" presetClass="entr" presetSubtype="288" fill="hold" nodeType="withEffect">
                                  <p:stCondLst>
                                    <p:cond delay="1500"/>
                                  </p:stCondLst>
                                  <p:childTnLst>
                                    <p:set>
                                      <p:cBhvr>
                                        <p:cTn id="54" dur="1" fill="hold">
                                          <p:stCondLst>
                                            <p:cond delay="0"/>
                                          </p:stCondLst>
                                        </p:cTn>
                                        <p:tgtEl>
                                          <p:spTgt spid="16"/>
                                        </p:tgtEl>
                                        <p:attrNameLst>
                                          <p:attrName>style.visibility</p:attrName>
                                        </p:attrNameLst>
                                      </p:cBhvr>
                                      <p:to>
                                        <p:strVal val="visible"/>
                                      </p:to>
                                    </p:set>
                                    <p:anim calcmode="lin" valueType="num">
                                      <p:cBhvr>
                                        <p:cTn id="55" dur="500" fill="hold"/>
                                        <p:tgtEl>
                                          <p:spTgt spid="16"/>
                                        </p:tgtEl>
                                        <p:attrNameLst>
                                          <p:attrName>ppt_w</p:attrName>
                                        </p:attrNameLst>
                                      </p:cBhvr>
                                      <p:tavLst>
                                        <p:tav tm="0">
                                          <p:val>
                                            <p:strVal val="4/3*#ppt_w"/>
                                          </p:val>
                                        </p:tav>
                                        <p:tav tm="100000">
                                          <p:val>
                                            <p:strVal val="#ppt_w"/>
                                          </p:val>
                                        </p:tav>
                                      </p:tavLst>
                                    </p:anim>
                                    <p:anim calcmode="lin" valueType="num">
                                      <p:cBhvr>
                                        <p:cTn id="56" dur="500" fill="hold"/>
                                        <p:tgtEl>
                                          <p:spTgt spid="16"/>
                                        </p:tgtEl>
                                        <p:attrNameLst>
                                          <p:attrName>ppt_h</p:attrName>
                                        </p:attrNameLst>
                                      </p:cBhvr>
                                      <p:tavLst>
                                        <p:tav tm="0">
                                          <p:val>
                                            <p:strVal val="4/3*#ppt_h"/>
                                          </p:val>
                                        </p:tav>
                                        <p:tav tm="100000">
                                          <p:val>
                                            <p:strVal val="#ppt_h"/>
                                          </p:val>
                                        </p:tav>
                                      </p:tavLst>
                                    </p:anim>
                                  </p:childTnLst>
                                </p:cTn>
                              </p:par>
                              <p:par>
                                <p:cTn id="57" presetID="10" presetClass="entr" presetSubtype="0" fill="hold" grpId="0" nodeType="withEffect">
                                  <p:stCondLst>
                                    <p:cond delay="150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35" presetClass="path" presetSubtype="0" accel="17000" decel="83000" fill="hold" grpId="1" nodeType="withEffect">
                                  <p:stCondLst>
                                    <p:cond delay="1500"/>
                                  </p:stCondLst>
                                  <p:childTnLst>
                                    <p:animMotion origin="layout" path="M 0.0231 -4.01066E-06 L 3.94073E-06 -4.01066E-06" pathEditMode="relative" rAng="0" ptsTypes="AA">
                                      <p:cBhvr>
                                        <p:cTn id="61" dur="1100" fill="hold"/>
                                        <p:tgtEl>
                                          <p:spTgt spid="20"/>
                                        </p:tgtEl>
                                        <p:attrNameLst>
                                          <p:attrName>ppt_x</p:attrName>
                                          <p:attrName>ppt_y</p:attrName>
                                        </p:attrNameLst>
                                      </p:cBhvr>
                                      <p:rCtr x="-1164" y="0"/>
                                    </p:animMotion>
                                  </p:childTnLst>
                                </p:cTn>
                              </p:par>
                              <p:par>
                                <p:cTn id="62" presetID="10" presetClass="entr" presetSubtype="0" fill="hold" nodeType="withEffect">
                                  <p:stCondLst>
                                    <p:cond delay="500"/>
                                  </p:stCondLst>
                                  <p:childTnLst>
                                    <p:set>
                                      <p:cBhvr>
                                        <p:cTn id="63" dur="1" fill="hold">
                                          <p:stCondLst>
                                            <p:cond delay="0"/>
                                          </p:stCondLst>
                                        </p:cTn>
                                        <p:tgtEl>
                                          <p:spTgt spid="147"/>
                                        </p:tgtEl>
                                        <p:attrNameLst>
                                          <p:attrName>style.visibility</p:attrName>
                                        </p:attrNameLst>
                                      </p:cBhvr>
                                      <p:to>
                                        <p:strVal val="visible"/>
                                      </p:to>
                                    </p:set>
                                    <p:animEffect transition="in" filter="fade">
                                      <p:cBhvr>
                                        <p:cTn id="64" dur="500"/>
                                        <p:tgtEl>
                                          <p:spTgt spid="147"/>
                                        </p:tgtEl>
                                      </p:cBhvr>
                                    </p:animEffect>
                                  </p:childTnLst>
                                </p:cTn>
                              </p:par>
                              <p:par>
                                <p:cTn id="65" presetID="10" presetClass="entr" presetSubtype="0" fill="hold" grpId="0" nodeType="withEffect">
                                  <p:stCondLst>
                                    <p:cond delay="750"/>
                                  </p:stCondLst>
                                  <p:childTnLst>
                                    <p:set>
                                      <p:cBhvr>
                                        <p:cTn id="66" dur="1" fill="hold">
                                          <p:stCondLst>
                                            <p:cond delay="0"/>
                                          </p:stCondLst>
                                        </p:cTn>
                                        <p:tgtEl>
                                          <p:spTgt spid="151"/>
                                        </p:tgtEl>
                                        <p:attrNameLst>
                                          <p:attrName>style.visibility</p:attrName>
                                        </p:attrNameLst>
                                      </p:cBhvr>
                                      <p:to>
                                        <p:strVal val="visible"/>
                                      </p:to>
                                    </p:set>
                                    <p:animEffect transition="in" filter="fade">
                                      <p:cBhvr>
                                        <p:cTn id="67" dur="500"/>
                                        <p:tgtEl>
                                          <p:spTgt spid="151"/>
                                        </p:tgtEl>
                                      </p:cBhvr>
                                    </p:animEffect>
                                  </p:childTnLst>
                                </p:cTn>
                              </p:par>
                              <p:par>
                                <p:cTn id="68" presetID="35" presetClass="path" presetSubtype="0" accel="17000" decel="83000" fill="hold" grpId="1" nodeType="withEffect">
                                  <p:stCondLst>
                                    <p:cond delay="750"/>
                                  </p:stCondLst>
                                  <p:childTnLst>
                                    <p:animMotion origin="layout" path="M 0.0231 4.3556E-06 L 3.94073E-06 4.3556E-06" pathEditMode="relative" rAng="0" ptsTypes="AA">
                                      <p:cBhvr>
                                        <p:cTn id="69" dur="1100" fill="hold"/>
                                        <p:tgtEl>
                                          <p:spTgt spid="151"/>
                                        </p:tgtEl>
                                        <p:attrNameLst>
                                          <p:attrName>ppt_x</p:attrName>
                                          <p:attrName>ppt_y</p:attrName>
                                        </p:attrNameLst>
                                      </p:cBhvr>
                                      <p:rCtr x="-1164" y="0"/>
                                    </p:animMotion>
                                  </p:childTnLst>
                                </p:cTn>
                              </p:par>
                              <p:par>
                                <p:cTn id="70" presetID="10" presetClass="entr" presetSubtype="0" fill="hold" nodeType="withEffect">
                                  <p:stCondLst>
                                    <p:cond delay="750"/>
                                  </p:stCondLst>
                                  <p:childTnLst>
                                    <p:set>
                                      <p:cBhvr>
                                        <p:cTn id="71" dur="1" fill="hold">
                                          <p:stCondLst>
                                            <p:cond delay="0"/>
                                          </p:stCondLst>
                                        </p:cTn>
                                        <p:tgtEl>
                                          <p:spTgt spid="15"/>
                                        </p:tgtEl>
                                        <p:attrNameLst>
                                          <p:attrName>style.visibility</p:attrName>
                                        </p:attrNameLst>
                                      </p:cBhvr>
                                      <p:to>
                                        <p:strVal val="visible"/>
                                      </p:to>
                                    </p:set>
                                    <p:animEffect transition="in" filter="fade">
                                      <p:cBhvr>
                                        <p:cTn id="72" dur="500"/>
                                        <p:tgtEl>
                                          <p:spTgt spid="15"/>
                                        </p:tgtEl>
                                      </p:cBhvr>
                                    </p:animEffect>
                                  </p:childTnLst>
                                </p:cTn>
                              </p:par>
                              <p:par>
                                <p:cTn id="73" presetID="23" presetClass="entr" presetSubtype="288" fill="hold" nodeType="withEffect">
                                  <p:stCondLst>
                                    <p:cond delay="750"/>
                                  </p:stCondLst>
                                  <p:childTnLst>
                                    <p:set>
                                      <p:cBhvr>
                                        <p:cTn id="74" dur="1" fill="hold">
                                          <p:stCondLst>
                                            <p:cond delay="0"/>
                                          </p:stCondLst>
                                        </p:cTn>
                                        <p:tgtEl>
                                          <p:spTgt spid="15"/>
                                        </p:tgtEl>
                                        <p:attrNameLst>
                                          <p:attrName>style.visibility</p:attrName>
                                        </p:attrNameLst>
                                      </p:cBhvr>
                                      <p:to>
                                        <p:strVal val="visible"/>
                                      </p:to>
                                    </p:set>
                                    <p:anim calcmode="lin" valueType="num">
                                      <p:cBhvr>
                                        <p:cTn id="75" dur="500" fill="hold"/>
                                        <p:tgtEl>
                                          <p:spTgt spid="15"/>
                                        </p:tgtEl>
                                        <p:attrNameLst>
                                          <p:attrName>ppt_w</p:attrName>
                                        </p:attrNameLst>
                                      </p:cBhvr>
                                      <p:tavLst>
                                        <p:tav tm="0">
                                          <p:val>
                                            <p:strVal val="4/3*#ppt_w"/>
                                          </p:val>
                                        </p:tav>
                                        <p:tav tm="100000">
                                          <p:val>
                                            <p:strVal val="#ppt_w"/>
                                          </p:val>
                                        </p:tav>
                                      </p:tavLst>
                                    </p:anim>
                                    <p:anim calcmode="lin" valueType="num">
                                      <p:cBhvr>
                                        <p:cTn id="76" dur="500" fill="hold"/>
                                        <p:tgtEl>
                                          <p:spTgt spid="15"/>
                                        </p:tgtEl>
                                        <p:attrNameLst>
                                          <p:attrName>ppt_h</p:attrName>
                                        </p:attrNameLst>
                                      </p:cBhvr>
                                      <p:tavLst>
                                        <p:tav tm="0">
                                          <p:val>
                                            <p:strVal val="4/3*#ppt_h"/>
                                          </p:val>
                                        </p:tav>
                                        <p:tav tm="100000">
                                          <p:val>
                                            <p:strVal val="#ppt_h"/>
                                          </p:val>
                                        </p:tav>
                                      </p:tavLst>
                                    </p:anim>
                                  </p:childTnLst>
                                </p:cTn>
                              </p:par>
                              <p:par>
                                <p:cTn id="77" presetID="22" presetClass="entr" presetSubtype="1" fill="hold" grpId="0" nodeType="withEffect">
                                  <p:stCondLst>
                                    <p:cond delay="3000"/>
                                  </p:stCondLst>
                                  <p:childTnLst>
                                    <p:set>
                                      <p:cBhvr>
                                        <p:cTn id="78" dur="1" fill="hold">
                                          <p:stCondLst>
                                            <p:cond delay="0"/>
                                          </p:stCondLst>
                                        </p:cTn>
                                        <p:tgtEl>
                                          <p:spTgt spid="87"/>
                                        </p:tgtEl>
                                        <p:attrNameLst>
                                          <p:attrName>style.visibility</p:attrName>
                                        </p:attrNameLst>
                                      </p:cBhvr>
                                      <p:to>
                                        <p:strVal val="visible"/>
                                      </p:to>
                                    </p:set>
                                    <p:animEffect transition="in" filter="wipe(up)">
                                      <p:cBhvr>
                                        <p:cTn id="79" dur="750"/>
                                        <p:tgtEl>
                                          <p:spTgt spid="87"/>
                                        </p:tgtEl>
                                      </p:cBhvr>
                                    </p:animEffect>
                                  </p:childTnLst>
                                </p:cTn>
                              </p:par>
                              <p:par>
                                <p:cTn id="80" presetID="18" presetClass="entr" presetSubtype="9" fill="hold" grpId="0" nodeType="withEffect">
                                  <p:stCondLst>
                                    <p:cond delay="500"/>
                                  </p:stCondLst>
                                  <p:childTnLst>
                                    <p:set>
                                      <p:cBhvr>
                                        <p:cTn id="81" dur="1" fill="hold">
                                          <p:stCondLst>
                                            <p:cond delay="0"/>
                                          </p:stCondLst>
                                        </p:cTn>
                                        <p:tgtEl>
                                          <p:spTgt spid="1039"/>
                                        </p:tgtEl>
                                        <p:attrNameLst>
                                          <p:attrName>style.visibility</p:attrName>
                                        </p:attrNameLst>
                                      </p:cBhvr>
                                      <p:to>
                                        <p:strVal val="visible"/>
                                      </p:to>
                                    </p:set>
                                    <p:animEffect transition="in" filter="strips(upLeft)">
                                      <p:cBhvr>
                                        <p:cTn id="82" dur="500"/>
                                        <p:tgtEl>
                                          <p:spTgt spid="1039"/>
                                        </p:tgtEl>
                                      </p:cBhvr>
                                    </p:animEffect>
                                  </p:childTnLst>
                                </p:cTn>
                              </p:par>
                              <p:par>
                                <p:cTn id="83" presetID="10" presetClass="entr" presetSubtype="0" fill="hold" nodeType="withEffect">
                                  <p:stCondLst>
                                    <p:cond delay="1000"/>
                                  </p:stCondLst>
                                  <p:childTnLst>
                                    <p:set>
                                      <p:cBhvr>
                                        <p:cTn id="84" dur="1" fill="hold">
                                          <p:stCondLst>
                                            <p:cond delay="0"/>
                                          </p:stCondLst>
                                        </p:cTn>
                                        <p:tgtEl>
                                          <p:spTgt spid="85"/>
                                        </p:tgtEl>
                                        <p:attrNameLst>
                                          <p:attrName>style.visibility</p:attrName>
                                        </p:attrNameLst>
                                      </p:cBhvr>
                                      <p:to>
                                        <p:strVal val="visible"/>
                                      </p:to>
                                    </p:set>
                                    <p:animEffect transition="in" filter="fade">
                                      <p:cBhvr>
                                        <p:cTn id="85" dur="500"/>
                                        <p:tgtEl>
                                          <p:spTgt spid="85"/>
                                        </p:tgtEl>
                                      </p:cBhvr>
                                    </p:animEffect>
                                  </p:childTnLst>
                                </p:cTn>
                              </p:par>
                              <p:par>
                                <p:cTn id="86" presetID="35" presetClass="path" presetSubtype="0" accel="17000" decel="83000" fill="hold" nodeType="withEffect">
                                  <p:stCondLst>
                                    <p:cond delay="1000"/>
                                  </p:stCondLst>
                                  <p:childTnLst>
                                    <p:animMotion origin="layout" path="M -2.69536E-06 0.04484 L -2.69536E-06 -5.83255E-07" pathEditMode="relative" rAng="0" ptsTypes="AA">
                                      <p:cBhvr>
                                        <p:cTn id="87" dur="1100" fill="hold"/>
                                        <p:tgtEl>
                                          <p:spTgt spid="85"/>
                                        </p:tgtEl>
                                        <p:attrNameLst>
                                          <p:attrName>ppt_x</p:attrName>
                                          <p:attrName>ppt_y</p:attrName>
                                        </p:attrNameLst>
                                      </p:cBhvr>
                                      <p:rCtr x="0" y="-2258"/>
                                    </p:animMotion>
                                  </p:childTnLst>
                                </p:cTn>
                              </p:par>
                              <p:par>
                                <p:cTn id="88" presetID="22" presetClass="entr" presetSubtype="2" fill="hold" nodeType="withEffect">
                                  <p:stCondLst>
                                    <p:cond delay="1250"/>
                                  </p:stCondLst>
                                  <p:childTnLst>
                                    <p:set>
                                      <p:cBhvr>
                                        <p:cTn id="89" dur="1" fill="hold">
                                          <p:stCondLst>
                                            <p:cond delay="0"/>
                                          </p:stCondLst>
                                        </p:cTn>
                                        <p:tgtEl>
                                          <p:spTgt spid="1041"/>
                                        </p:tgtEl>
                                        <p:attrNameLst>
                                          <p:attrName>style.visibility</p:attrName>
                                        </p:attrNameLst>
                                      </p:cBhvr>
                                      <p:to>
                                        <p:strVal val="visible"/>
                                      </p:to>
                                    </p:set>
                                    <p:animEffect transition="in" filter="wipe(right)">
                                      <p:cBhvr>
                                        <p:cTn id="90" dur="500"/>
                                        <p:tgtEl>
                                          <p:spTgt spid="1041"/>
                                        </p:tgtEl>
                                      </p:cBhvr>
                                    </p:animEffect>
                                  </p:childTnLst>
                                </p:cTn>
                              </p:par>
                              <p:par>
                                <p:cTn id="91" presetID="10" presetClass="entr" presetSubtype="0" fill="hold" nodeType="withEffect">
                                  <p:stCondLst>
                                    <p:cond delay="1750"/>
                                  </p:stCondLst>
                                  <p:childTnLst>
                                    <p:set>
                                      <p:cBhvr>
                                        <p:cTn id="92" dur="1" fill="hold">
                                          <p:stCondLst>
                                            <p:cond delay="0"/>
                                          </p:stCondLst>
                                        </p:cTn>
                                        <p:tgtEl>
                                          <p:spTgt spid="1047"/>
                                        </p:tgtEl>
                                        <p:attrNameLst>
                                          <p:attrName>style.visibility</p:attrName>
                                        </p:attrNameLst>
                                      </p:cBhvr>
                                      <p:to>
                                        <p:strVal val="visible"/>
                                      </p:to>
                                    </p:set>
                                    <p:animEffect transition="in" filter="fade">
                                      <p:cBhvr>
                                        <p:cTn id="93" dur="500"/>
                                        <p:tgtEl>
                                          <p:spTgt spid="1047"/>
                                        </p:tgtEl>
                                      </p:cBhvr>
                                    </p:animEffect>
                                  </p:childTnLst>
                                </p:cTn>
                              </p:par>
                              <p:par>
                                <p:cTn id="94" presetID="35" presetClass="path" presetSubtype="0" accel="17000" decel="83000" fill="hold" nodeType="withEffect">
                                  <p:stCondLst>
                                    <p:cond delay="1750"/>
                                  </p:stCondLst>
                                  <p:childTnLst>
                                    <p:animMotion origin="layout" path="M -2.69536E-06 0.04484 L -2.69536E-06 -5.83255E-07" pathEditMode="relative" rAng="0" ptsTypes="AA">
                                      <p:cBhvr>
                                        <p:cTn id="95" dur="1100" fill="hold"/>
                                        <p:tgtEl>
                                          <p:spTgt spid="1047"/>
                                        </p:tgtEl>
                                        <p:attrNameLst>
                                          <p:attrName>ppt_x</p:attrName>
                                          <p:attrName>ppt_y</p:attrName>
                                        </p:attrNameLst>
                                      </p:cBhvr>
                                      <p:rCtr x="0" y="-2258"/>
                                    </p:animMotion>
                                  </p:childTnLst>
                                </p:cTn>
                              </p:par>
                              <p:par>
                                <p:cTn id="96" presetID="18" presetClass="entr" presetSubtype="3" fill="hold" grpId="0" nodeType="withEffect">
                                  <p:stCondLst>
                                    <p:cond delay="2000"/>
                                  </p:stCondLst>
                                  <p:childTnLst>
                                    <p:set>
                                      <p:cBhvr>
                                        <p:cTn id="97" dur="1" fill="hold">
                                          <p:stCondLst>
                                            <p:cond delay="0"/>
                                          </p:stCondLst>
                                        </p:cTn>
                                        <p:tgtEl>
                                          <p:spTgt spid="1046"/>
                                        </p:tgtEl>
                                        <p:attrNameLst>
                                          <p:attrName>style.visibility</p:attrName>
                                        </p:attrNameLst>
                                      </p:cBhvr>
                                      <p:to>
                                        <p:strVal val="visible"/>
                                      </p:to>
                                    </p:set>
                                    <p:animEffect transition="in" filter="strips(upRight)">
                                      <p:cBhvr>
                                        <p:cTn id="98" dur="750"/>
                                        <p:tgtEl>
                                          <p:spTgt spid="1046"/>
                                        </p:tgtEl>
                                      </p:cBhvr>
                                    </p:animEffect>
                                  </p:childTnLst>
                                </p:cTn>
                              </p:par>
                              <p:par>
                                <p:cTn id="99" presetID="10" presetClass="entr" presetSubtype="0" fill="hold" grpId="0" nodeType="withEffect">
                                  <p:stCondLst>
                                    <p:cond delay="3000"/>
                                  </p:stCondLst>
                                  <p:childTnLst>
                                    <p:set>
                                      <p:cBhvr>
                                        <p:cTn id="100" dur="1" fill="hold">
                                          <p:stCondLst>
                                            <p:cond delay="0"/>
                                          </p:stCondLst>
                                        </p:cTn>
                                        <p:tgtEl>
                                          <p:spTgt spid="29"/>
                                        </p:tgtEl>
                                        <p:attrNameLst>
                                          <p:attrName>style.visibility</p:attrName>
                                        </p:attrNameLst>
                                      </p:cBhvr>
                                      <p:to>
                                        <p:strVal val="visible"/>
                                      </p:to>
                                    </p:set>
                                    <p:animEffect transition="in" filter="fade">
                                      <p:cBhvr>
                                        <p:cTn id="101" dur="500"/>
                                        <p:tgtEl>
                                          <p:spTgt spid="29"/>
                                        </p:tgtEl>
                                      </p:cBhvr>
                                    </p:animEffect>
                                  </p:childTnLst>
                                </p:cTn>
                              </p:par>
                              <p:par>
                                <p:cTn id="102" presetID="22" presetClass="entr" presetSubtype="1" fill="hold" nodeType="withEffect">
                                  <p:stCondLst>
                                    <p:cond delay="3000"/>
                                  </p:stCondLst>
                                  <p:childTnLst>
                                    <p:set>
                                      <p:cBhvr>
                                        <p:cTn id="103" dur="1" fill="hold">
                                          <p:stCondLst>
                                            <p:cond delay="0"/>
                                          </p:stCondLst>
                                        </p:cTn>
                                        <p:tgtEl>
                                          <p:spTgt spid="7"/>
                                        </p:tgtEl>
                                        <p:attrNameLst>
                                          <p:attrName>style.visibility</p:attrName>
                                        </p:attrNameLst>
                                      </p:cBhvr>
                                      <p:to>
                                        <p:strVal val="visible"/>
                                      </p:to>
                                    </p:set>
                                    <p:animEffect transition="in" filter="wipe(up)">
                                      <p:cBhvr>
                                        <p:cTn id="104" dur="750"/>
                                        <p:tgtEl>
                                          <p:spTgt spid="7"/>
                                        </p:tgtEl>
                                      </p:cBhvr>
                                    </p:animEffect>
                                  </p:childTnLst>
                                </p:cTn>
                              </p:par>
                              <p:par>
                                <p:cTn id="105" presetID="22" presetClass="entr" presetSubtype="1" fill="hold" nodeType="withEffect">
                                  <p:stCondLst>
                                    <p:cond delay="3000"/>
                                  </p:stCondLst>
                                  <p:childTnLst>
                                    <p:set>
                                      <p:cBhvr>
                                        <p:cTn id="106" dur="1" fill="hold">
                                          <p:stCondLst>
                                            <p:cond delay="0"/>
                                          </p:stCondLst>
                                        </p:cTn>
                                        <p:tgtEl>
                                          <p:spTgt spid="68"/>
                                        </p:tgtEl>
                                        <p:attrNameLst>
                                          <p:attrName>style.visibility</p:attrName>
                                        </p:attrNameLst>
                                      </p:cBhvr>
                                      <p:to>
                                        <p:strVal val="visible"/>
                                      </p:to>
                                    </p:set>
                                    <p:animEffect transition="in" filter="wipe(up)">
                                      <p:cBhvr>
                                        <p:cTn id="107" dur="750"/>
                                        <p:tgtEl>
                                          <p:spTgt spid="68"/>
                                        </p:tgtEl>
                                      </p:cBhvr>
                                    </p:animEffect>
                                  </p:childTnLst>
                                </p:cTn>
                              </p:par>
                              <p:par>
                                <p:cTn id="108" presetID="22" presetClass="entr" presetSubtype="1" fill="hold" nodeType="withEffect">
                                  <p:stCondLst>
                                    <p:cond delay="3000"/>
                                  </p:stCondLst>
                                  <p:childTnLst>
                                    <p:set>
                                      <p:cBhvr>
                                        <p:cTn id="109" dur="1" fill="hold">
                                          <p:stCondLst>
                                            <p:cond delay="0"/>
                                          </p:stCondLst>
                                        </p:cTn>
                                        <p:tgtEl>
                                          <p:spTgt spid="154"/>
                                        </p:tgtEl>
                                        <p:attrNameLst>
                                          <p:attrName>style.visibility</p:attrName>
                                        </p:attrNameLst>
                                      </p:cBhvr>
                                      <p:to>
                                        <p:strVal val="visible"/>
                                      </p:to>
                                    </p:set>
                                    <p:animEffect transition="in" filter="wipe(up)">
                                      <p:cBhvr>
                                        <p:cTn id="110" dur="750"/>
                                        <p:tgtEl>
                                          <p:spTgt spid="154"/>
                                        </p:tgtEl>
                                      </p:cBhvr>
                                    </p:animEffect>
                                  </p:childTnLst>
                                </p:cTn>
                              </p:par>
                              <p:par>
                                <p:cTn id="111" presetID="22" presetClass="entr" presetSubtype="1" fill="hold" nodeType="withEffect">
                                  <p:stCondLst>
                                    <p:cond delay="3000"/>
                                  </p:stCondLst>
                                  <p:childTnLst>
                                    <p:set>
                                      <p:cBhvr>
                                        <p:cTn id="112" dur="1" fill="hold">
                                          <p:stCondLst>
                                            <p:cond delay="0"/>
                                          </p:stCondLst>
                                        </p:cTn>
                                        <p:tgtEl>
                                          <p:spTgt spid="168"/>
                                        </p:tgtEl>
                                        <p:attrNameLst>
                                          <p:attrName>style.visibility</p:attrName>
                                        </p:attrNameLst>
                                      </p:cBhvr>
                                      <p:to>
                                        <p:strVal val="visible"/>
                                      </p:to>
                                    </p:set>
                                    <p:animEffect transition="in" filter="wipe(up)">
                                      <p:cBhvr>
                                        <p:cTn id="113" dur="750"/>
                                        <p:tgtEl>
                                          <p:spTgt spid="168"/>
                                        </p:tgtEl>
                                      </p:cBhvr>
                                    </p:animEffect>
                                  </p:childTnLst>
                                </p:cTn>
                              </p:par>
                              <p:par>
                                <p:cTn id="114" presetID="22" presetClass="entr" presetSubtype="1" fill="hold" nodeType="withEffect">
                                  <p:stCondLst>
                                    <p:cond delay="3000"/>
                                  </p:stCondLst>
                                  <p:childTnLst>
                                    <p:set>
                                      <p:cBhvr>
                                        <p:cTn id="115" dur="1" fill="hold">
                                          <p:stCondLst>
                                            <p:cond delay="0"/>
                                          </p:stCondLst>
                                        </p:cTn>
                                        <p:tgtEl>
                                          <p:spTgt spid="242"/>
                                        </p:tgtEl>
                                        <p:attrNameLst>
                                          <p:attrName>style.visibility</p:attrName>
                                        </p:attrNameLst>
                                      </p:cBhvr>
                                      <p:to>
                                        <p:strVal val="visible"/>
                                      </p:to>
                                    </p:set>
                                    <p:animEffect transition="in" filter="wipe(up)">
                                      <p:cBhvr>
                                        <p:cTn id="116" dur="750"/>
                                        <p:tgtEl>
                                          <p:spTgt spid="242"/>
                                        </p:tgtEl>
                                      </p:cBhvr>
                                    </p:animEffect>
                                  </p:childTnLst>
                                </p:cTn>
                              </p:par>
                              <p:par>
                                <p:cTn id="117" presetID="22" presetClass="entr" presetSubtype="1" fill="hold" nodeType="withEffect">
                                  <p:stCondLst>
                                    <p:cond delay="3000"/>
                                  </p:stCondLst>
                                  <p:childTnLst>
                                    <p:set>
                                      <p:cBhvr>
                                        <p:cTn id="118" dur="1" fill="hold">
                                          <p:stCondLst>
                                            <p:cond delay="0"/>
                                          </p:stCondLst>
                                        </p:cTn>
                                        <p:tgtEl>
                                          <p:spTgt spid="280"/>
                                        </p:tgtEl>
                                        <p:attrNameLst>
                                          <p:attrName>style.visibility</p:attrName>
                                        </p:attrNameLst>
                                      </p:cBhvr>
                                      <p:to>
                                        <p:strVal val="visible"/>
                                      </p:to>
                                    </p:set>
                                    <p:animEffect transition="in" filter="wipe(up)">
                                      <p:cBhvr>
                                        <p:cTn id="119" dur="750"/>
                                        <p:tgtEl>
                                          <p:spTgt spid="280"/>
                                        </p:tgtEl>
                                      </p:cBhvr>
                                    </p:animEffect>
                                  </p:childTnLst>
                                </p:cTn>
                              </p:par>
                              <p:par>
                                <p:cTn id="120" presetID="22" presetClass="entr" presetSubtype="1" fill="hold" nodeType="withEffect">
                                  <p:stCondLst>
                                    <p:cond delay="3000"/>
                                  </p:stCondLst>
                                  <p:childTnLst>
                                    <p:set>
                                      <p:cBhvr>
                                        <p:cTn id="121" dur="1" fill="hold">
                                          <p:stCondLst>
                                            <p:cond delay="0"/>
                                          </p:stCondLst>
                                        </p:cTn>
                                        <p:tgtEl>
                                          <p:spTgt spid="294"/>
                                        </p:tgtEl>
                                        <p:attrNameLst>
                                          <p:attrName>style.visibility</p:attrName>
                                        </p:attrNameLst>
                                      </p:cBhvr>
                                      <p:to>
                                        <p:strVal val="visible"/>
                                      </p:to>
                                    </p:set>
                                    <p:animEffect transition="in" filter="wipe(up)">
                                      <p:cBhvr>
                                        <p:cTn id="122" dur="750"/>
                                        <p:tgtEl>
                                          <p:spTgt spid="294"/>
                                        </p:tgtEl>
                                      </p:cBhvr>
                                    </p:animEffect>
                                  </p:childTnLst>
                                </p:cTn>
                              </p:par>
                              <p:par>
                                <p:cTn id="123" presetID="22" presetClass="entr" presetSubtype="1" fill="hold" nodeType="withEffect">
                                  <p:stCondLst>
                                    <p:cond delay="3000"/>
                                  </p:stCondLst>
                                  <p:childTnLst>
                                    <p:set>
                                      <p:cBhvr>
                                        <p:cTn id="124" dur="1" fill="hold">
                                          <p:stCondLst>
                                            <p:cond delay="0"/>
                                          </p:stCondLst>
                                        </p:cTn>
                                        <p:tgtEl>
                                          <p:spTgt spid="332"/>
                                        </p:tgtEl>
                                        <p:attrNameLst>
                                          <p:attrName>style.visibility</p:attrName>
                                        </p:attrNameLst>
                                      </p:cBhvr>
                                      <p:to>
                                        <p:strVal val="visible"/>
                                      </p:to>
                                    </p:set>
                                    <p:animEffect transition="in" filter="wipe(up)">
                                      <p:cBhvr>
                                        <p:cTn id="125" dur="750"/>
                                        <p:tgtEl>
                                          <p:spTgt spid="332"/>
                                        </p:tgtEl>
                                      </p:cBhvr>
                                    </p:animEffect>
                                  </p:childTnLst>
                                </p:cTn>
                              </p:par>
                              <p:par>
                                <p:cTn id="126" presetID="22" presetClass="entr" presetSubtype="1" fill="hold" nodeType="withEffect">
                                  <p:stCondLst>
                                    <p:cond delay="3000"/>
                                  </p:stCondLst>
                                  <p:childTnLst>
                                    <p:set>
                                      <p:cBhvr>
                                        <p:cTn id="127" dur="1" fill="hold">
                                          <p:stCondLst>
                                            <p:cond delay="0"/>
                                          </p:stCondLst>
                                        </p:cTn>
                                        <p:tgtEl>
                                          <p:spTgt spid="430"/>
                                        </p:tgtEl>
                                        <p:attrNameLst>
                                          <p:attrName>style.visibility</p:attrName>
                                        </p:attrNameLst>
                                      </p:cBhvr>
                                      <p:to>
                                        <p:strVal val="visible"/>
                                      </p:to>
                                    </p:set>
                                    <p:animEffect transition="in" filter="wipe(up)">
                                      <p:cBhvr>
                                        <p:cTn id="128" dur="750"/>
                                        <p:tgtEl>
                                          <p:spTgt spid="430"/>
                                        </p:tgtEl>
                                      </p:cBhvr>
                                    </p:animEffect>
                                  </p:childTnLst>
                                </p:cTn>
                              </p:par>
                              <p:par>
                                <p:cTn id="129" presetID="22" presetClass="entr" presetSubtype="1" fill="hold" nodeType="withEffect">
                                  <p:stCondLst>
                                    <p:cond delay="3000"/>
                                  </p:stCondLst>
                                  <p:childTnLst>
                                    <p:set>
                                      <p:cBhvr>
                                        <p:cTn id="130" dur="1" fill="hold">
                                          <p:stCondLst>
                                            <p:cond delay="0"/>
                                          </p:stCondLst>
                                        </p:cTn>
                                        <p:tgtEl>
                                          <p:spTgt spid="418"/>
                                        </p:tgtEl>
                                        <p:attrNameLst>
                                          <p:attrName>style.visibility</p:attrName>
                                        </p:attrNameLst>
                                      </p:cBhvr>
                                      <p:to>
                                        <p:strVal val="visible"/>
                                      </p:to>
                                    </p:set>
                                    <p:animEffect transition="in" filter="wipe(up)">
                                      <p:cBhvr>
                                        <p:cTn id="131" dur="750"/>
                                        <p:tgtEl>
                                          <p:spTgt spid="4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P spid="56" grpId="0"/>
      <p:bldP spid="56" grpId="1"/>
      <p:bldP spid="87" grpId="0" animBg="1"/>
      <p:bldP spid="29" grpId="0"/>
      <p:bldP spid="1039" grpId="0" animBg="1"/>
      <p:bldP spid="20" grpId="0"/>
      <p:bldP spid="20" grpId="1"/>
      <p:bldP spid="151" grpId="0"/>
      <p:bldP spid="151" grpId="1"/>
      <p:bldP spid="61" grpId="0"/>
      <p:bldP spid="61" grpId="1"/>
      <p:bldP spid="1046" grpId="0" animBg="1"/>
      <p:bldP spid="60" grpId="0"/>
      <p:bldP spid="60"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Imagem 49" descr="Uma imagem contendo comida, água, mesa, bolo&#10;&#10;Descrição gerada automaticamente">
            <a:extLst>
              <a:ext uri="{FF2B5EF4-FFF2-40B4-BE49-F238E27FC236}">
                <a16:creationId xmlns:a16="http://schemas.microsoft.com/office/drawing/2014/main" id="{8356695A-23C7-A6D7-8F28-97F5F203E79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298"/>
            <a:ext cx="8999538" cy="5062240"/>
          </a:xfrm>
          <a:prstGeom prst="rect">
            <a:avLst/>
          </a:prstGeom>
        </p:spPr>
      </p:pic>
      <p:graphicFrame>
        <p:nvGraphicFramePr>
          <p:cNvPr id="7" name="Objeto 6" hidden="1">
            <a:extLst>
              <a:ext uri="{FF2B5EF4-FFF2-40B4-BE49-F238E27FC236}">
                <a16:creationId xmlns:a16="http://schemas.microsoft.com/office/drawing/2014/main" id="{76ADDBB6-9BB3-4293-A026-C421E1C266B8}"/>
              </a:ext>
            </a:extLst>
          </p:cNvPr>
          <p:cNvGraphicFramePr>
            <a:graphicFrameLocks noChangeAspect="1"/>
          </p:cNvGraphicFramePr>
          <p:nvPr>
            <p:custDataLst>
              <p:tags r:id="rId1"/>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7" imgW="421" imgH="425" progId="TCLayout.ActiveDocument.1">
                  <p:embed/>
                </p:oleObj>
              </mc:Choice>
              <mc:Fallback>
                <p:oleObj name="Slide do think-cell" r:id="rId7" imgW="421" imgH="425" progId="TCLayout.ActiveDocument.1">
                  <p:embed/>
                  <p:pic>
                    <p:nvPicPr>
                      <p:cNvPr id="7" name="Objeto 6" hidden="1">
                        <a:extLst>
                          <a:ext uri="{FF2B5EF4-FFF2-40B4-BE49-F238E27FC236}">
                            <a16:creationId xmlns:a16="http://schemas.microsoft.com/office/drawing/2014/main" id="{76ADDBB6-9BB3-4293-A026-C421E1C266B8}"/>
                          </a:ext>
                        </a:extLst>
                      </p:cNvPr>
                      <p:cNvPicPr/>
                      <p:nvPr/>
                    </p:nvPicPr>
                    <p:blipFill>
                      <a:blip r:embed="rId8"/>
                      <a:stretch>
                        <a:fillRect/>
                      </a:stretch>
                    </p:blipFill>
                    <p:spPr>
                      <a:xfrm>
                        <a:off x="1173" y="1321"/>
                        <a:ext cx="1172" cy="1172"/>
                      </a:xfrm>
                      <a:prstGeom prst="rect">
                        <a:avLst/>
                      </a:prstGeom>
                    </p:spPr>
                  </p:pic>
                </p:oleObj>
              </mc:Fallback>
            </mc:AlternateContent>
          </a:graphicData>
        </a:graphic>
      </p:graphicFrame>
      <p:sp>
        <p:nvSpPr>
          <p:cNvPr id="6" name="Retângulo 5" hidden="1">
            <a:extLst>
              <a:ext uri="{FF2B5EF4-FFF2-40B4-BE49-F238E27FC236}">
                <a16:creationId xmlns:a16="http://schemas.microsoft.com/office/drawing/2014/main" id="{7C92AF4F-B084-48E0-A71B-0D43E91C503F}"/>
              </a:ext>
            </a:extLst>
          </p:cNvPr>
          <p:cNvSpPr/>
          <p:nvPr>
            <p:custDataLst>
              <p:tags r:id="rId2"/>
            </p:custDataLst>
          </p:nvPr>
        </p:nvSpPr>
        <p:spPr>
          <a:xfrm>
            <a:off x="0" y="149"/>
            <a:ext cx="117181" cy="11718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75010">
              <a:defRPr/>
            </a:pPr>
            <a:endParaRPr lang="pt-BR" sz="1575" b="1">
              <a:solidFill>
                <a:prstClr val="white"/>
              </a:solidFill>
              <a:latin typeface="Tahoma" panose="020B0604030504040204" pitchFamily="34" charset="0"/>
              <a:sym typeface="Tahoma" panose="020B0604030504040204" pitchFamily="34" charset="0"/>
            </a:endParaRPr>
          </a:p>
        </p:txBody>
      </p:sp>
      <p:pic>
        <p:nvPicPr>
          <p:cNvPr id="504" name="Imagen 10">
            <a:extLst>
              <a:ext uri="{FF2B5EF4-FFF2-40B4-BE49-F238E27FC236}">
                <a16:creationId xmlns:a16="http://schemas.microsoft.com/office/drawing/2014/main" id="{1B8E2324-BE18-FB48-E964-2F835E35849A}"/>
              </a:ext>
            </a:extLst>
          </p:cNvPr>
          <p:cNvPicPr>
            <a:picLocks noChangeAspect="1"/>
          </p:cNvPicPr>
          <p:nvPr/>
        </p:nvPicPr>
        <p:blipFill rotWithShape="1">
          <a:blip r:embed="rId9"/>
          <a:srcRect t="45081"/>
          <a:stretch/>
        </p:blipFill>
        <p:spPr>
          <a:xfrm>
            <a:off x="0" y="4314468"/>
            <a:ext cx="8999538" cy="747920"/>
          </a:xfrm>
          <a:prstGeom prst="rect">
            <a:avLst/>
          </a:prstGeom>
        </p:spPr>
      </p:pic>
      <p:pic>
        <p:nvPicPr>
          <p:cNvPr id="509" name="Imagem 508" descr="Uma imagem contendo Interface gráfica do usuário&#10;&#10;Descrição gerada automaticamente">
            <a:extLst>
              <a:ext uri="{FF2B5EF4-FFF2-40B4-BE49-F238E27FC236}">
                <a16:creationId xmlns:a16="http://schemas.microsoft.com/office/drawing/2014/main" id="{DB4C0389-5492-0C0A-5807-321DC714BBA6}"/>
              </a:ext>
            </a:extLst>
          </p:cNvPr>
          <p:cNvPicPr>
            <a:picLocks noChangeAspect="1"/>
          </p:cNvPicPr>
          <p:nvPr/>
        </p:nvPicPr>
        <p:blipFill>
          <a:blip r:embed="rId10"/>
          <a:stretch>
            <a:fillRect/>
          </a:stretch>
        </p:blipFill>
        <p:spPr>
          <a:xfrm>
            <a:off x="7931944" y="118865"/>
            <a:ext cx="920177" cy="509541"/>
          </a:xfrm>
          <a:prstGeom prst="rect">
            <a:avLst/>
          </a:prstGeom>
        </p:spPr>
      </p:pic>
      <p:grpSp>
        <p:nvGrpSpPr>
          <p:cNvPr id="213" name="Agrupar 212">
            <a:extLst>
              <a:ext uri="{FF2B5EF4-FFF2-40B4-BE49-F238E27FC236}">
                <a16:creationId xmlns:a16="http://schemas.microsoft.com/office/drawing/2014/main" id="{3A35865C-886A-CB9E-90A7-4480163D5901}"/>
              </a:ext>
            </a:extLst>
          </p:cNvPr>
          <p:cNvGrpSpPr/>
          <p:nvPr/>
        </p:nvGrpSpPr>
        <p:grpSpPr>
          <a:xfrm>
            <a:off x="332478" y="1774480"/>
            <a:ext cx="2764311" cy="324446"/>
            <a:chOff x="-718580" y="919040"/>
            <a:chExt cx="3744913" cy="439539"/>
          </a:xfrm>
        </p:grpSpPr>
        <p:sp>
          <p:nvSpPr>
            <p:cNvPr id="214" name="Retângulo: Cantos Arredondados 213">
              <a:extLst>
                <a:ext uri="{FF2B5EF4-FFF2-40B4-BE49-F238E27FC236}">
                  <a16:creationId xmlns:a16="http://schemas.microsoft.com/office/drawing/2014/main" id="{317CD122-A882-AB29-C37D-5D35E1E3228A}"/>
                </a:ext>
              </a:extLst>
            </p:cNvPr>
            <p:cNvSpPr/>
            <p:nvPr/>
          </p:nvSpPr>
          <p:spPr>
            <a:xfrm>
              <a:off x="-718580" y="919040"/>
              <a:ext cx="3744913" cy="439539"/>
            </a:xfrm>
            <a:prstGeom prst="roundRect">
              <a:avLst>
                <a:gd name="adj" fmla="val 50000"/>
              </a:avLst>
            </a:prstGeom>
            <a:gradFill>
              <a:gsLst>
                <a:gs pos="0">
                  <a:srgbClr val="FF9F3F"/>
                </a:gs>
                <a:gs pos="68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defRPr/>
              </a:pPr>
              <a:endParaRPr lang="pt-BR" sz="1329" dirty="0">
                <a:solidFill>
                  <a:prstClr val="white"/>
                </a:solidFill>
                <a:latin typeface="Tahoma" panose="020B0604030504040204" pitchFamily="34" charset="0"/>
              </a:endParaRPr>
            </a:p>
          </p:txBody>
        </p:sp>
        <p:sp>
          <p:nvSpPr>
            <p:cNvPr id="215" name="CaixaDeTexto 214">
              <a:extLst>
                <a:ext uri="{FF2B5EF4-FFF2-40B4-BE49-F238E27FC236}">
                  <a16:creationId xmlns:a16="http://schemas.microsoft.com/office/drawing/2014/main" id="{A3D5F26F-3D00-FAAC-F5C9-14655A981098}"/>
                </a:ext>
              </a:extLst>
            </p:cNvPr>
            <p:cNvSpPr txBox="1"/>
            <p:nvPr/>
          </p:nvSpPr>
          <p:spPr>
            <a:xfrm>
              <a:off x="-213519" y="956390"/>
              <a:ext cx="3177774" cy="343527"/>
            </a:xfrm>
            <a:prstGeom prst="rect">
              <a:avLst/>
            </a:prstGeom>
            <a:no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pt-BR"/>
              </a:defPPr>
              <a:lvl1pPr marR="0" lvl="0" indent="0" algn="ctr" fontAlgn="auto">
                <a:lnSpc>
                  <a:spcPct val="100000"/>
                </a:lnSpc>
                <a:spcBef>
                  <a:spcPts val="0"/>
                </a:spcBef>
                <a:spcAft>
                  <a:spcPts val="0"/>
                </a:spcAft>
                <a:buClrTx/>
                <a:buSzTx/>
                <a:buFontTx/>
                <a:buNone/>
                <a:tabLst/>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675010">
                <a:defRPr/>
              </a:pPr>
              <a:r>
                <a:rPr lang="pt-BR" sz="1329" b="1">
                  <a:latin typeface="Tahoma" panose="020B0604030504040204" pitchFamily="34" charset="0"/>
                  <a:ea typeface="Tahoma" panose="020B0604030504040204" pitchFamily="34" charset="0"/>
                  <a:cs typeface="Tahoma" panose="020B0604030504040204" pitchFamily="34" charset="0"/>
                </a:rPr>
                <a:t>7 units under execution</a:t>
              </a:r>
              <a:endParaRPr lang="pt-BR" sz="1329" b="1" dirty="0">
                <a:latin typeface="Tahoma" panose="020B0604030504040204" pitchFamily="34" charset="0"/>
                <a:ea typeface="Tahoma" panose="020B0604030504040204" pitchFamily="34" charset="0"/>
                <a:cs typeface="Tahoma" panose="020B0604030504040204" pitchFamily="34" charset="0"/>
              </a:endParaRPr>
            </a:p>
          </p:txBody>
        </p:sp>
      </p:grpSp>
      <p:sp>
        <p:nvSpPr>
          <p:cNvPr id="216" name="CaixaDeTexto 215">
            <a:extLst>
              <a:ext uri="{FF2B5EF4-FFF2-40B4-BE49-F238E27FC236}">
                <a16:creationId xmlns:a16="http://schemas.microsoft.com/office/drawing/2014/main" id="{83DD8847-2539-177F-1849-BA6A761409FB}"/>
              </a:ext>
            </a:extLst>
          </p:cNvPr>
          <p:cNvSpPr txBox="1"/>
          <p:nvPr/>
        </p:nvSpPr>
        <p:spPr>
          <a:xfrm>
            <a:off x="110932" y="4681517"/>
            <a:ext cx="3750635" cy="249299"/>
          </a:xfrm>
          <a:prstGeom prst="rect">
            <a:avLst/>
          </a:prstGeom>
          <a:noFill/>
        </p:spPr>
        <p:txBody>
          <a:bodyPr wrap="square" anchor="b">
            <a:spAutoFit/>
          </a:bodyPr>
          <a:lstStyle/>
          <a:p>
            <a:pPr defTabSz="449931">
              <a:lnSpc>
                <a:spcPct val="85000"/>
              </a:lnSpc>
              <a:defRPr/>
            </a:pPr>
            <a:r>
              <a:rPr lang="pt-BR" sz="600" dirty="0">
                <a:solidFill>
                  <a:srgbClr val="4472C4">
                    <a:lumMod val="50000"/>
                  </a:srgbClr>
                </a:solidFill>
                <a:latin typeface="Segoe UI" panose="020B0502040204020203" pitchFamily="34" charset="0"/>
                <a:cs typeface="Segoe UI" panose="020B0502040204020203" pitchFamily="34" charset="0"/>
              </a:rPr>
              <a:t>¹ Annual </a:t>
            </a:r>
            <a:r>
              <a:rPr lang="pt-BR" sz="600" dirty="0" err="1">
                <a:solidFill>
                  <a:srgbClr val="4472C4">
                    <a:lumMod val="50000"/>
                  </a:srgbClr>
                </a:solidFill>
                <a:latin typeface="Segoe UI" panose="020B0502040204020203" pitchFamily="34" charset="0"/>
                <a:cs typeface="Segoe UI" panose="020B0502040204020203" pitchFamily="34" charset="0"/>
              </a:rPr>
              <a:t>Permitted</a:t>
            </a:r>
            <a:r>
              <a:rPr lang="pt-BR" sz="600" dirty="0">
                <a:solidFill>
                  <a:srgbClr val="4472C4">
                    <a:lumMod val="50000"/>
                  </a:srgbClr>
                </a:solidFill>
                <a:latin typeface="Segoe UI" panose="020B0502040204020203" pitchFamily="34" charset="0"/>
                <a:cs typeface="Segoe UI" panose="020B0502040204020203" pitchFamily="34" charset="0"/>
              </a:rPr>
              <a:t> </a:t>
            </a:r>
            <a:r>
              <a:rPr lang="pt-BR" sz="600" dirty="0" err="1">
                <a:solidFill>
                  <a:srgbClr val="4472C4">
                    <a:lumMod val="50000"/>
                  </a:srgbClr>
                </a:solidFill>
                <a:latin typeface="Segoe UI" panose="020B0502040204020203" pitchFamily="34" charset="0"/>
                <a:cs typeface="Segoe UI" panose="020B0502040204020203" pitchFamily="34" charset="0"/>
              </a:rPr>
              <a:t>Revenue</a:t>
            </a:r>
            <a:r>
              <a:rPr lang="pt-BR" sz="600" dirty="0">
                <a:solidFill>
                  <a:srgbClr val="4472C4">
                    <a:lumMod val="50000"/>
                  </a:srgbClr>
                </a:solidFill>
                <a:latin typeface="Segoe UI" panose="020B0502040204020203" pitchFamily="34" charset="0"/>
                <a:cs typeface="Segoe UI" panose="020B0502040204020203" pitchFamily="34" charset="0"/>
              </a:rPr>
              <a:t> (RAP) </a:t>
            </a:r>
            <a:r>
              <a:rPr lang="pt-BR" sz="600" dirty="0" err="1">
                <a:solidFill>
                  <a:srgbClr val="4472C4">
                    <a:lumMod val="50000"/>
                  </a:srgbClr>
                </a:solidFill>
                <a:latin typeface="Segoe UI" panose="020B0502040204020203" pitchFamily="34" charset="0"/>
                <a:cs typeface="Segoe UI" panose="020B0502040204020203" pitchFamily="34" charset="0"/>
              </a:rPr>
              <a:t>cycle</a:t>
            </a:r>
            <a:r>
              <a:rPr lang="pt-BR" sz="600" dirty="0">
                <a:solidFill>
                  <a:srgbClr val="4472C4">
                    <a:lumMod val="50000"/>
                  </a:srgbClr>
                </a:solidFill>
                <a:latin typeface="Segoe UI" panose="020B0502040204020203" pitchFamily="34" charset="0"/>
                <a:cs typeface="Segoe UI" panose="020B0502040204020203" pitchFamily="34" charset="0"/>
              </a:rPr>
              <a:t> 2023/2024, </a:t>
            </a:r>
            <a:r>
              <a:rPr lang="pt-BR" sz="600" dirty="0" err="1">
                <a:solidFill>
                  <a:srgbClr val="4472C4">
                    <a:lumMod val="50000"/>
                  </a:srgbClr>
                </a:solidFill>
                <a:latin typeface="Segoe UI" panose="020B0502040204020203" pitchFamily="34" charset="0"/>
                <a:cs typeface="Segoe UI" panose="020B0502040204020203" pitchFamily="34" charset="0"/>
              </a:rPr>
              <a:t>proportional</a:t>
            </a:r>
            <a:r>
              <a:rPr lang="pt-BR" sz="600" dirty="0">
                <a:solidFill>
                  <a:srgbClr val="4472C4">
                    <a:lumMod val="50000"/>
                  </a:srgbClr>
                </a:solidFill>
                <a:latin typeface="Segoe UI" panose="020B0502040204020203" pitchFamily="34" charset="0"/>
                <a:cs typeface="Segoe UI" panose="020B0502040204020203" pitchFamily="34" charset="0"/>
              </a:rPr>
              <a:t> </a:t>
            </a:r>
            <a:r>
              <a:rPr lang="pt-BR" sz="600" dirty="0" err="1">
                <a:solidFill>
                  <a:srgbClr val="4472C4">
                    <a:lumMod val="50000"/>
                  </a:srgbClr>
                </a:solidFill>
                <a:latin typeface="Segoe UI" panose="020B0502040204020203" pitchFamily="34" charset="0"/>
                <a:cs typeface="Segoe UI" panose="020B0502040204020203" pitchFamily="34" charset="0"/>
              </a:rPr>
              <a:t>through</a:t>
            </a:r>
            <a:r>
              <a:rPr lang="pt-BR" sz="600" dirty="0">
                <a:solidFill>
                  <a:srgbClr val="4472C4">
                    <a:lumMod val="50000"/>
                  </a:srgbClr>
                </a:solidFill>
                <a:latin typeface="Segoe UI" panose="020B0502040204020203" pitchFamily="34" charset="0"/>
                <a:cs typeface="Segoe UI" panose="020B0502040204020203" pitchFamily="34" charset="0"/>
              </a:rPr>
              <a:t> ISA </a:t>
            </a:r>
            <a:r>
              <a:rPr lang="pt-BR" sz="600" dirty="0" err="1">
                <a:solidFill>
                  <a:srgbClr val="4472C4">
                    <a:lumMod val="50000"/>
                  </a:srgbClr>
                </a:solidFill>
                <a:latin typeface="Segoe UI" panose="020B0502040204020203" pitchFamily="34" charset="0"/>
                <a:cs typeface="Segoe UI" panose="020B0502040204020203" pitchFamily="34" charset="0"/>
              </a:rPr>
              <a:t>CTEEP’s</a:t>
            </a:r>
            <a:r>
              <a:rPr lang="pt-BR" sz="600" dirty="0">
                <a:solidFill>
                  <a:srgbClr val="4472C4">
                    <a:lumMod val="50000"/>
                  </a:srgbClr>
                </a:solidFill>
                <a:latin typeface="Segoe UI" panose="020B0502040204020203" pitchFamily="34" charset="0"/>
                <a:cs typeface="Segoe UI" panose="020B0502040204020203" pitchFamily="34" charset="0"/>
              </a:rPr>
              <a:t> </a:t>
            </a:r>
            <a:r>
              <a:rPr lang="pt-BR" sz="600" dirty="0" err="1">
                <a:solidFill>
                  <a:srgbClr val="4472C4">
                    <a:lumMod val="50000"/>
                  </a:srgbClr>
                </a:solidFill>
                <a:latin typeface="Segoe UI" panose="020B0502040204020203" pitchFamily="34" charset="0"/>
                <a:cs typeface="Segoe UI" panose="020B0502040204020203" pitchFamily="34" charset="0"/>
              </a:rPr>
              <a:t>participation</a:t>
            </a:r>
            <a:endParaRPr lang="pt-BR" sz="600" dirty="0">
              <a:solidFill>
                <a:srgbClr val="4472C4">
                  <a:lumMod val="50000"/>
                </a:srgbClr>
              </a:solidFill>
              <a:latin typeface="Segoe UI" panose="020B0502040204020203" pitchFamily="34" charset="0"/>
              <a:cs typeface="Segoe UI" panose="020B0502040204020203" pitchFamily="34" charset="0"/>
            </a:endParaRPr>
          </a:p>
          <a:p>
            <a:pPr defTabSz="449931">
              <a:lnSpc>
                <a:spcPct val="85000"/>
              </a:lnSpc>
              <a:defRPr/>
            </a:pPr>
            <a:r>
              <a:rPr lang="pt-BR" sz="600" dirty="0">
                <a:solidFill>
                  <a:srgbClr val="4472C4">
                    <a:lumMod val="50000"/>
                  </a:srgbClr>
                </a:solidFill>
                <a:latin typeface="Segoe UI" panose="020B0502040204020203" pitchFamily="34" charset="0"/>
                <a:cs typeface="Segoe UI" panose="020B0502040204020203" pitchFamily="34" charset="0"/>
              </a:rPr>
              <a:t>² </a:t>
            </a:r>
            <a:r>
              <a:rPr lang="pt-BR" sz="600" dirty="0" err="1">
                <a:solidFill>
                  <a:srgbClr val="4472C4">
                    <a:lumMod val="50000"/>
                  </a:srgbClr>
                </a:solidFill>
                <a:latin typeface="Segoe UI" panose="020B0502040204020203" pitchFamily="34" charset="0"/>
                <a:cs typeface="Segoe UI" panose="020B0502040204020203" pitchFamily="34" charset="0"/>
              </a:rPr>
              <a:t>Considers</a:t>
            </a:r>
            <a:r>
              <a:rPr lang="pt-BR" sz="600" dirty="0">
                <a:solidFill>
                  <a:srgbClr val="4472C4">
                    <a:lumMod val="50000"/>
                  </a:srgbClr>
                </a:solidFill>
                <a:latin typeface="Segoe UI" panose="020B0502040204020203" pitchFamily="34" charset="0"/>
                <a:cs typeface="Segoe UI" panose="020B0502040204020203" pitchFamily="34" charset="0"/>
              </a:rPr>
              <a:t> Project (100%)</a:t>
            </a:r>
          </a:p>
        </p:txBody>
      </p:sp>
      <p:sp>
        <p:nvSpPr>
          <p:cNvPr id="218" name="CaixaDeTexto 217">
            <a:extLst>
              <a:ext uri="{FF2B5EF4-FFF2-40B4-BE49-F238E27FC236}">
                <a16:creationId xmlns:a16="http://schemas.microsoft.com/office/drawing/2014/main" id="{BCEB3DCF-6996-6393-2CCD-1B1E70A5E6C4}"/>
              </a:ext>
            </a:extLst>
          </p:cNvPr>
          <p:cNvSpPr txBox="1"/>
          <p:nvPr/>
        </p:nvSpPr>
        <p:spPr>
          <a:xfrm>
            <a:off x="204687" y="2366220"/>
            <a:ext cx="3181547" cy="2275495"/>
          </a:xfrm>
          <a:prstGeom prst="rect">
            <a:avLst/>
          </a:prstGeom>
          <a:noFill/>
        </p:spPr>
        <p:txBody>
          <a:bodyPr wrap="square">
            <a:spAutoFit/>
          </a:bodyPr>
          <a:lstStyle/>
          <a:p>
            <a:pPr defTabSz="675010">
              <a:lnSpc>
                <a:spcPct val="85000"/>
              </a:lnSpc>
              <a:spcBef>
                <a:spcPts val="738"/>
              </a:spcBef>
              <a:spcAft>
                <a:spcPts val="738"/>
              </a:spcAft>
              <a:defRPr/>
            </a:pPr>
            <a:r>
              <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rPr>
              <a:t>2.7 mil km </a:t>
            </a:r>
            <a:r>
              <a:rPr lang="pt-BR" sz="1400" dirty="0" err="1">
                <a:solidFill>
                  <a:srgbClr val="595959"/>
                </a:solidFill>
                <a:latin typeface="Segoe UI" panose="020B0502040204020203" pitchFamily="34" charset="0"/>
                <a:ea typeface="Tahoma" panose="020B0604030504040204" pitchFamily="34" charset="0"/>
                <a:cs typeface="Segoe UI" panose="020B0502040204020203" pitchFamily="34" charset="0"/>
              </a:rPr>
              <a:t>of</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 </a:t>
            </a:r>
            <a:r>
              <a:rPr lang="pt-BR" sz="1400" dirty="0" err="1">
                <a:solidFill>
                  <a:srgbClr val="595959"/>
                </a:solidFill>
                <a:latin typeface="Segoe UI" panose="020B0502040204020203" pitchFamily="34" charset="0"/>
                <a:ea typeface="Tahoma" panose="020B0604030504040204" pitchFamily="34" charset="0"/>
                <a:cs typeface="Segoe UI" panose="020B0502040204020203" pitchFamily="34" charset="0"/>
              </a:rPr>
              <a:t>transmission</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 </a:t>
            </a:r>
            <a:r>
              <a:rPr lang="pt-BR" sz="1400" dirty="0" err="1">
                <a:solidFill>
                  <a:srgbClr val="595959"/>
                </a:solidFill>
                <a:latin typeface="Segoe UI" panose="020B0502040204020203" pitchFamily="34" charset="0"/>
                <a:ea typeface="Tahoma" panose="020B0604030504040204" pitchFamily="34" charset="0"/>
                <a:cs typeface="Segoe UI" panose="020B0502040204020203" pitchFamily="34" charset="0"/>
              </a:rPr>
              <a:t>lines</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²</a:t>
            </a:r>
          </a:p>
          <a:p>
            <a:pPr defTabSz="675010">
              <a:lnSpc>
                <a:spcPct val="85000"/>
              </a:lnSpc>
              <a:spcBef>
                <a:spcPts val="738"/>
              </a:spcBef>
              <a:spcAft>
                <a:spcPts val="738"/>
              </a:spcAft>
              <a:defRPr/>
            </a:pPr>
            <a:r>
              <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rPr>
              <a:t>7.1 mil MVA </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in </a:t>
            </a:r>
            <a:r>
              <a:rPr lang="pt-BR" sz="1400" dirty="0" err="1">
                <a:solidFill>
                  <a:srgbClr val="595959"/>
                </a:solidFill>
                <a:latin typeface="Segoe UI" panose="020B0502040204020203" pitchFamily="34" charset="0"/>
                <a:ea typeface="Tahoma" panose="020B0604030504040204" pitchFamily="34" charset="0"/>
                <a:cs typeface="Segoe UI" panose="020B0502040204020203" pitchFamily="34" charset="0"/>
              </a:rPr>
              <a:t>transforming</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 capacity²</a:t>
            </a:r>
          </a:p>
          <a:p>
            <a:pPr defTabSz="675010">
              <a:lnSpc>
                <a:spcPct val="85000"/>
              </a:lnSpc>
              <a:spcBef>
                <a:spcPts val="738"/>
              </a:spcBef>
              <a:spcAft>
                <a:spcPts val="738"/>
              </a:spcAft>
              <a:defRPr/>
            </a:pPr>
            <a:r>
              <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rPr>
              <a:t>8 </a:t>
            </a:r>
            <a:r>
              <a:rPr lang="pt-BR" sz="1400" dirty="0" err="1">
                <a:solidFill>
                  <a:srgbClr val="595959"/>
                </a:solidFill>
                <a:latin typeface="Segoe UI" panose="020B0502040204020203" pitchFamily="34" charset="0"/>
                <a:ea typeface="Tahoma" panose="020B0604030504040204" pitchFamily="34" charset="0"/>
                <a:cs typeface="Segoe UI" panose="020B0502040204020203" pitchFamily="34" charset="0"/>
              </a:rPr>
              <a:t>substation</a:t>
            </a: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 </a:t>
            </a:r>
          </a:p>
          <a:p>
            <a:pPr defTabSz="675010">
              <a:lnSpc>
                <a:spcPct val="85000"/>
              </a:lnSpc>
              <a:spcBef>
                <a:spcPts val="738"/>
              </a:spcBef>
              <a:spcAft>
                <a:spcPts val="738"/>
              </a:spcAft>
              <a:defRPr/>
            </a:pP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CAPEX ANEEL </a:t>
            </a:r>
            <a:r>
              <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rPr>
              <a:t>R$10.6 </a:t>
            </a:r>
            <a:r>
              <a:rPr lang="pt-BR" sz="1400" b="1" dirty="0" err="1">
                <a:solidFill>
                  <a:srgbClr val="EA7500"/>
                </a:solidFill>
                <a:latin typeface="Segoe UI" panose="020B0502040204020203" pitchFamily="34" charset="0"/>
                <a:ea typeface="Tahoma" panose="020B0604030504040204" pitchFamily="34" charset="0"/>
                <a:cs typeface="Segoe UI" panose="020B0502040204020203" pitchFamily="34" charset="0"/>
              </a:rPr>
              <a:t>billion</a:t>
            </a:r>
            <a:endPar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endParaRPr>
          </a:p>
          <a:p>
            <a:pPr defTabSz="675010">
              <a:lnSpc>
                <a:spcPct val="85000"/>
              </a:lnSpc>
              <a:spcBef>
                <a:spcPts val="738"/>
              </a:spcBef>
              <a:spcAft>
                <a:spcPts val="738"/>
              </a:spcAft>
              <a:defRPr/>
            </a:pPr>
            <a:r>
              <a:rPr lang="pt-BR" sz="1400" dirty="0">
                <a:solidFill>
                  <a:srgbClr val="595959"/>
                </a:solidFill>
                <a:latin typeface="Segoe UI" panose="020B0502040204020203" pitchFamily="34" charset="0"/>
                <a:ea typeface="Tahoma" panose="020B0604030504040204" pitchFamily="34" charset="0"/>
                <a:cs typeface="Segoe UI" panose="020B0502040204020203" pitchFamily="34" charset="0"/>
              </a:rPr>
              <a:t>RAP </a:t>
            </a:r>
            <a:r>
              <a:rPr lang="pt-BR" sz="1400" b="1" dirty="0">
                <a:solidFill>
                  <a:srgbClr val="EA7500"/>
                </a:solidFill>
                <a:latin typeface="Segoe UI" panose="020B0502040204020203" pitchFamily="34" charset="0"/>
                <a:ea typeface="Tahoma" panose="020B0604030504040204" pitchFamily="34" charset="0"/>
                <a:cs typeface="Segoe UI" panose="020B0502040204020203" pitchFamily="34" charset="0"/>
              </a:rPr>
              <a:t>R$972 million¹</a:t>
            </a:r>
          </a:p>
        </p:txBody>
      </p:sp>
      <p:grpSp>
        <p:nvGrpSpPr>
          <p:cNvPr id="223" name="Agrupar 222">
            <a:extLst>
              <a:ext uri="{FF2B5EF4-FFF2-40B4-BE49-F238E27FC236}">
                <a16:creationId xmlns:a16="http://schemas.microsoft.com/office/drawing/2014/main" id="{15E73947-CA4F-B5C1-65D1-98321023C754}"/>
              </a:ext>
            </a:extLst>
          </p:cNvPr>
          <p:cNvGrpSpPr/>
          <p:nvPr/>
        </p:nvGrpSpPr>
        <p:grpSpPr>
          <a:xfrm>
            <a:off x="38633" y="1553453"/>
            <a:ext cx="696443" cy="696443"/>
            <a:chOff x="677358" y="1830589"/>
            <a:chExt cx="943496" cy="943496"/>
          </a:xfrm>
        </p:grpSpPr>
        <p:sp>
          <p:nvSpPr>
            <p:cNvPr id="224" name="Elipse 223">
              <a:extLst>
                <a:ext uri="{FF2B5EF4-FFF2-40B4-BE49-F238E27FC236}">
                  <a16:creationId xmlns:a16="http://schemas.microsoft.com/office/drawing/2014/main" id="{3A641D57-996B-C013-4A63-8D05ABFE3978}"/>
                </a:ext>
              </a:extLst>
            </p:cNvPr>
            <p:cNvSpPr/>
            <p:nvPr/>
          </p:nvSpPr>
          <p:spPr>
            <a:xfrm>
              <a:off x="677358" y="1830589"/>
              <a:ext cx="943496" cy="943496"/>
            </a:xfrm>
            <a:prstGeom prst="ellipse">
              <a:avLst/>
            </a:prstGeom>
            <a:gradFill>
              <a:gsLst>
                <a:gs pos="0">
                  <a:srgbClr val="FF7F03"/>
                </a:gs>
                <a:gs pos="100000">
                  <a:srgbClr val="CC6600"/>
                </a:gs>
              </a:gsLst>
              <a:lin ang="5400000" scaled="0"/>
            </a:gradFill>
            <a:ln w="22225">
              <a:gradFill>
                <a:gsLst>
                  <a:gs pos="0">
                    <a:schemeClr val="accent1">
                      <a:lumMod val="5000"/>
                      <a:lumOff val="95000"/>
                    </a:schemeClr>
                  </a:gs>
                  <a:gs pos="32000">
                    <a:schemeClr val="bg1">
                      <a:alpha val="0"/>
                    </a:schemeClr>
                  </a:gs>
                  <a:gs pos="60000">
                    <a:schemeClr val="bg1"/>
                  </a:gs>
                  <a:gs pos="100000">
                    <a:schemeClr val="bg1">
                      <a:alpha val="0"/>
                    </a:schemeClr>
                  </a:gs>
                </a:gsLst>
                <a:lin ang="54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329">
                <a:solidFill>
                  <a:prstClr val="white"/>
                </a:solidFill>
                <a:latin typeface="Tahoma" panose="020B0604030504040204" pitchFamily="34" charset="0"/>
              </a:endParaRPr>
            </a:p>
          </p:txBody>
        </p:sp>
        <p:grpSp>
          <p:nvGrpSpPr>
            <p:cNvPr id="225" name="Agrupar 224">
              <a:extLst>
                <a:ext uri="{FF2B5EF4-FFF2-40B4-BE49-F238E27FC236}">
                  <a16:creationId xmlns:a16="http://schemas.microsoft.com/office/drawing/2014/main" id="{A100A5DD-CC47-9468-D4D9-EC5B021FD192}"/>
                </a:ext>
              </a:extLst>
            </p:cNvPr>
            <p:cNvGrpSpPr/>
            <p:nvPr/>
          </p:nvGrpSpPr>
          <p:grpSpPr>
            <a:xfrm>
              <a:off x="936138" y="2054768"/>
              <a:ext cx="405999" cy="539285"/>
              <a:chOff x="-791800" y="2344862"/>
              <a:chExt cx="744077" cy="988350"/>
            </a:xfrm>
            <a:solidFill>
              <a:schemeClr val="bg1"/>
            </a:solidFill>
          </p:grpSpPr>
          <p:sp>
            <p:nvSpPr>
              <p:cNvPr id="226" name="Forma Livre: Forma 225">
                <a:extLst>
                  <a:ext uri="{FF2B5EF4-FFF2-40B4-BE49-F238E27FC236}">
                    <a16:creationId xmlns:a16="http://schemas.microsoft.com/office/drawing/2014/main" id="{74F9B75E-C93A-9946-6D4E-4611C79429C3}"/>
                  </a:ext>
                </a:extLst>
              </p:cNvPr>
              <p:cNvSpPr/>
              <p:nvPr/>
            </p:nvSpPr>
            <p:spPr>
              <a:xfrm>
                <a:off x="-616738" y="2500847"/>
                <a:ext cx="394445" cy="394445"/>
              </a:xfrm>
              <a:custGeom>
                <a:avLst/>
                <a:gdLst>
                  <a:gd name="connsiteX0" fmla="*/ 394446 w 394445"/>
                  <a:gd name="connsiteY0" fmla="*/ 197223 h 394445"/>
                  <a:gd name="connsiteX1" fmla="*/ 197223 w 394445"/>
                  <a:gd name="connsiteY1" fmla="*/ 0 h 394445"/>
                  <a:gd name="connsiteX2" fmla="*/ 0 w 394445"/>
                  <a:gd name="connsiteY2" fmla="*/ 197223 h 394445"/>
                  <a:gd name="connsiteX3" fmla="*/ 197223 w 394445"/>
                  <a:gd name="connsiteY3" fmla="*/ 394446 h 394445"/>
                  <a:gd name="connsiteX4" fmla="*/ 394446 w 394445"/>
                  <a:gd name="connsiteY4" fmla="*/ 197223 h 394445"/>
                  <a:gd name="connsiteX5" fmla="*/ 50278 w 394445"/>
                  <a:gd name="connsiteY5" fmla="*/ 197223 h 394445"/>
                  <a:gd name="connsiteX6" fmla="*/ 197223 w 394445"/>
                  <a:gd name="connsiteY6" fmla="*/ 50278 h 394445"/>
                  <a:gd name="connsiteX7" fmla="*/ 344168 w 394445"/>
                  <a:gd name="connsiteY7" fmla="*/ 197223 h 394445"/>
                  <a:gd name="connsiteX8" fmla="*/ 197223 w 394445"/>
                  <a:gd name="connsiteY8" fmla="*/ 344168 h 394445"/>
                  <a:gd name="connsiteX9" fmla="*/ 50278 w 394445"/>
                  <a:gd name="connsiteY9" fmla="*/ 197223 h 39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445" h="394445">
                    <a:moveTo>
                      <a:pt x="394446" y="197223"/>
                    </a:moveTo>
                    <a:cubicBezTo>
                      <a:pt x="394446" y="88300"/>
                      <a:pt x="306146" y="0"/>
                      <a:pt x="197223" y="0"/>
                    </a:cubicBezTo>
                    <a:cubicBezTo>
                      <a:pt x="88300" y="0"/>
                      <a:pt x="0" y="88300"/>
                      <a:pt x="0" y="197223"/>
                    </a:cubicBezTo>
                    <a:cubicBezTo>
                      <a:pt x="0" y="306146"/>
                      <a:pt x="88300" y="394446"/>
                      <a:pt x="197223" y="394446"/>
                    </a:cubicBezTo>
                    <a:cubicBezTo>
                      <a:pt x="306100" y="394335"/>
                      <a:pt x="394335" y="306100"/>
                      <a:pt x="394446" y="197223"/>
                    </a:cubicBezTo>
                    <a:close/>
                    <a:moveTo>
                      <a:pt x="50278" y="197223"/>
                    </a:moveTo>
                    <a:cubicBezTo>
                      <a:pt x="50278" y="116067"/>
                      <a:pt x="116067" y="50278"/>
                      <a:pt x="197223" y="50278"/>
                    </a:cubicBezTo>
                    <a:cubicBezTo>
                      <a:pt x="278378" y="50278"/>
                      <a:pt x="344168" y="116067"/>
                      <a:pt x="344168" y="197223"/>
                    </a:cubicBezTo>
                    <a:cubicBezTo>
                      <a:pt x="344168" y="278378"/>
                      <a:pt x="278378" y="344168"/>
                      <a:pt x="197223" y="344168"/>
                    </a:cubicBezTo>
                    <a:cubicBezTo>
                      <a:pt x="116106" y="344076"/>
                      <a:pt x="50370" y="278340"/>
                      <a:pt x="50278" y="197223"/>
                    </a:cubicBezTo>
                    <a:close/>
                  </a:path>
                </a:pathLst>
              </a:custGeom>
              <a:grpFill/>
              <a:ln w="33338" cap="flat">
                <a:noFill/>
                <a:prstDash val="solid"/>
                <a:miter/>
              </a:ln>
            </p:spPr>
            <p:txBody>
              <a:bodyPr rtlCol="0" anchor="ctr"/>
              <a:lstStyle/>
              <a:p>
                <a:endParaRPr lang="pt-BR" sz="1329"/>
              </a:p>
            </p:txBody>
          </p:sp>
          <p:sp>
            <p:nvSpPr>
              <p:cNvPr id="227" name="Forma Livre: Forma 226">
                <a:extLst>
                  <a:ext uri="{FF2B5EF4-FFF2-40B4-BE49-F238E27FC236}">
                    <a16:creationId xmlns:a16="http://schemas.microsoft.com/office/drawing/2014/main" id="{88678E16-649A-0E66-EEEF-8A731B4DF90C}"/>
                  </a:ext>
                </a:extLst>
              </p:cNvPr>
              <p:cNvSpPr/>
              <p:nvPr/>
            </p:nvSpPr>
            <p:spPr>
              <a:xfrm>
                <a:off x="-791800" y="2344862"/>
                <a:ext cx="744077" cy="988350"/>
              </a:xfrm>
              <a:custGeom>
                <a:avLst/>
                <a:gdLst>
                  <a:gd name="connsiteX0" fmla="*/ 69144 w 744077"/>
                  <a:gd name="connsiteY0" fmla="*/ 196409 h 988350"/>
                  <a:gd name="connsiteX1" fmla="*/ 35637 w 744077"/>
                  <a:gd name="connsiteY1" fmla="*/ 208150 h 988350"/>
                  <a:gd name="connsiteX2" fmla="*/ 35625 w 744077"/>
                  <a:gd name="connsiteY2" fmla="*/ 208174 h 988350"/>
                  <a:gd name="connsiteX3" fmla="*/ 103198 w 744077"/>
                  <a:gd name="connsiteY3" fmla="*/ 601782 h 988350"/>
                  <a:gd name="connsiteX4" fmla="*/ 331359 w 744077"/>
                  <a:gd name="connsiteY4" fmla="*/ 941726 h 988350"/>
                  <a:gd name="connsiteX5" fmla="*/ 372050 w 744077"/>
                  <a:gd name="connsiteY5" fmla="*/ 988351 h 988350"/>
                  <a:gd name="connsiteX6" fmla="*/ 372352 w 744077"/>
                  <a:gd name="connsiteY6" fmla="*/ 988351 h 988350"/>
                  <a:gd name="connsiteX7" fmla="*/ 413245 w 744077"/>
                  <a:gd name="connsiteY7" fmla="*/ 941726 h 988350"/>
                  <a:gd name="connsiteX8" fmla="*/ 641371 w 744077"/>
                  <a:gd name="connsiteY8" fmla="*/ 601782 h 988350"/>
                  <a:gd name="connsiteX9" fmla="*/ 717257 w 744077"/>
                  <a:gd name="connsiteY9" fmla="*/ 226375 h 988350"/>
                  <a:gd name="connsiteX10" fmla="*/ 372285 w 744077"/>
                  <a:gd name="connsiteY10" fmla="*/ 24 h 988350"/>
                  <a:gd name="connsiteX11" fmla="*/ 128371 w 744077"/>
                  <a:gd name="connsiteY11" fmla="*/ 87843 h 988350"/>
                  <a:gd name="connsiteX12" fmla="*/ 127055 w 744077"/>
                  <a:gd name="connsiteY12" fmla="*/ 123370 h 988350"/>
                  <a:gd name="connsiteX13" fmla="*/ 160850 w 744077"/>
                  <a:gd name="connsiteY13" fmla="*/ 126154 h 988350"/>
                  <a:gd name="connsiteX14" fmla="*/ 372184 w 744077"/>
                  <a:gd name="connsiteY14" fmla="*/ 50302 h 988350"/>
                  <a:gd name="connsiteX15" fmla="*/ 670499 w 744077"/>
                  <a:gd name="connsiteY15" fmla="*/ 245614 h 988350"/>
                  <a:gd name="connsiteX16" fmla="*/ 605674 w 744077"/>
                  <a:gd name="connsiteY16" fmla="*/ 566219 h 988350"/>
                  <a:gd name="connsiteX17" fmla="*/ 372117 w 744077"/>
                  <a:gd name="connsiteY17" fmla="*/ 901236 h 988350"/>
                  <a:gd name="connsiteX18" fmla="*/ 138560 w 744077"/>
                  <a:gd name="connsiteY18" fmla="*/ 566219 h 988350"/>
                  <a:gd name="connsiteX19" fmla="*/ 80909 w 744077"/>
                  <a:gd name="connsiteY19" fmla="*/ 229961 h 988350"/>
                  <a:gd name="connsiteX20" fmla="*/ 69144 w 744077"/>
                  <a:gd name="connsiteY20" fmla="*/ 196409 h 988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44077" h="988350">
                    <a:moveTo>
                      <a:pt x="69144" y="196409"/>
                    </a:moveTo>
                    <a:cubicBezTo>
                      <a:pt x="56649" y="190399"/>
                      <a:pt x="41647" y="195655"/>
                      <a:pt x="35637" y="208150"/>
                    </a:cubicBezTo>
                    <a:cubicBezTo>
                      <a:pt x="35633" y="208158"/>
                      <a:pt x="35629" y="208166"/>
                      <a:pt x="35625" y="208174"/>
                    </a:cubicBezTo>
                    <a:cubicBezTo>
                      <a:pt x="-30325" y="340040"/>
                      <a:pt x="-2956" y="499462"/>
                      <a:pt x="103198" y="601782"/>
                    </a:cubicBezTo>
                    <a:cubicBezTo>
                      <a:pt x="292779" y="791362"/>
                      <a:pt x="319828" y="896745"/>
                      <a:pt x="331359" y="941726"/>
                    </a:cubicBezTo>
                    <a:cubicBezTo>
                      <a:pt x="336655" y="962508"/>
                      <a:pt x="343325" y="988351"/>
                      <a:pt x="372050" y="988351"/>
                    </a:cubicBezTo>
                    <a:lnTo>
                      <a:pt x="372352" y="988351"/>
                    </a:lnTo>
                    <a:cubicBezTo>
                      <a:pt x="401245" y="988351"/>
                      <a:pt x="407882" y="962474"/>
                      <a:pt x="413245" y="941726"/>
                    </a:cubicBezTo>
                    <a:cubicBezTo>
                      <a:pt x="424775" y="896711"/>
                      <a:pt x="451824" y="791329"/>
                      <a:pt x="641371" y="601782"/>
                    </a:cubicBezTo>
                    <a:cubicBezTo>
                      <a:pt x="741615" y="504243"/>
                      <a:pt x="771745" y="355191"/>
                      <a:pt x="717257" y="226375"/>
                    </a:cubicBezTo>
                    <a:cubicBezTo>
                      <a:pt x="658874" y="87894"/>
                      <a:pt x="522562" y="-1547"/>
                      <a:pt x="372285" y="24"/>
                    </a:cubicBezTo>
                    <a:cubicBezTo>
                      <a:pt x="283064" y="-994"/>
                      <a:pt x="196466" y="30185"/>
                      <a:pt x="128371" y="87843"/>
                    </a:cubicBezTo>
                    <a:cubicBezTo>
                      <a:pt x="118197" y="97290"/>
                      <a:pt x="117608" y="113196"/>
                      <a:pt x="127055" y="123370"/>
                    </a:cubicBezTo>
                    <a:cubicBezTo>
                      <a:pt x="135904" y="132900"/>
                      <a:pt x="150561" y="134107"/>
                      <a:pt x="160850" y="126154"/>
                    </a:cubicBezTo>
                    <a:cubicBezTo>
                      <a:pt x="219876" y="76270"/>
                      <a:pt x="294908" y="49339"/>
                      <a:pt x="372184" y="50302"/>
                    </a:cubicBezTo>
                    <a:cubicBezTo>
                      <a:pt x="502364" y="47733"/>
                      <a:pt x="620793" y="125271"/>
                      <a:pt x="670499" y="245614"/>
                    </a:cubicBezTo>
                    <a:cubicBezTo>
                      <a:pt x="718100" y="355519"/>
                      <a:pt x="692235" y="483440"/>
                      <a:pt x="605674" y="566219"/>
                    </a:cubicBezTo>
                    <a:cubicBezTo>
                      <a:pt x="437646" y="734247"/>
                      <a:pt x="390351" y="842143"/>
                      <a:pt x="372117" y="901236"/>
                    </a:cubicBezTo>
                    <a:cubicBezTo>
                      <a:pt x="353883" y="842109"/>
                      <a:pt x="306589" y="734247"/>
                      <a:pt x="138560" y="566219"/>
                    </a:cubicBezTo>
                    <a:cubicBezTo>
                      <a:pt x="47957" y="478759"/>
                      <a:pt x="24614" y="342607"/>
                      <a:pt x="80909" y="229961"/>
                    </a:cubicBezTo>
                    <a:cubicBezTo>
                      <a:pt x="86906" y="217446"/>
                      <a:pt x="81644" y="202438"/>
                      <a:pt x="69144" y="196409"/>
                    </a:cubicBezTo>
                    <a:close/>
                  </a:path>
                </a:pathLst>
              </a:custGeom>
              <a:grpFill/>
              <a:ln w="33338" cap="flat">
                <a:noFill/>
                <a:prstDash val="solid"/>
                <a:miter/>
              </a:ln>
            </p:spPr>
            <p:txBody>
              <a:bodyPr rtlCol="0" anchor="ctr"/>
              <a:lstStyle/>
              <a:p>
                <a:endParaRPr lang="pt-BR" sz="1329"/>
              </a:p>
            </p:txBody>
          </p:sp>
        </p:grpSp>
      </p:grpSp>
      <p:sp>
        <p:nvSpPr>
          <p:cNvPr id="4" name="CaixaDeTexto 3">
            <a:extLst>
              <a:ext uri="{FF2B5EF4-FFF2-40B4-BE49-F238E27FC236}">
                <a16:creationId xmlns:a16="http://schemas.microsoft.com/office/drawing/2014/main" id="{9AB29A0A-0FA9-56D1-3269-B00A26349830}"/>
              </a:ext>
            </a:extLst>
          </p:cNvPr>
          <p:cNvSpPr txBox="1"/>
          <p:nvPr/>
        </p:nvSpPr>
        <p:spPr>
          <a:xfrm>
            <a:off x="2037485" y="188121"/>
            <a:ext cx="5521866" cy="301621"/>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1600" spc="591">
                <a:solidFill>
                  <a:srgbClr val="002581"/>
                </a:solidFill>
                <a:latin typeface="Segoe UI Light" panose="020B0502040204020203" pitchFamily="34" charset="0"/>
                <a:ea typeface="Tahoma" panose="020B0604030504040204" pitchFamily="34" charset="0"/>
                <a:cs typeface="Segoe UI Light" panose="020B0502040204020203" pitchFamily="34" charset="0"/>
              </a:rPr>
              <a:t>PORTFOLIO OF OWNED PROJECTS</a:t>
            </a:r>
            <a:endParaRPr kumimoji="0" lang="pt-BR" sz="1600" b="0" i="0" u="none" strike="noStrike" kern="1200" cap="none" spc="591" normalizeH="0" baseline="0" noProof="0">
              <a:ln>
                <a:noFill/>
              </a:ln>
              <a:solidFill>
                <a:srgbClr val="002581"/>
              </a:solidFill>
              <a:effectLst/>
              <a:uLnTx/>
              <a:uFillTx/>
              <a:latin typeface="Segoe UI Light" panose="020B0502040204020203" pitchFamily="34" charset="0"/>
              <a:ea typeface="Tahoma" panose="020B0604030504040204" pitchFamily="34" charset="0"/>
              <a:cs typeface="Segoe UI Light" panose="020B0502040204020203" pitchFamily="34" charset="0"/>
            </a:endParaRPr>
          </a:p>
        </p:txBody>
      </p:sp>
      <p:sp>
        <p:nvSpPr>
          <p:cNvPr id="25" name="CaixaDeTexto 24">
            <a:extLst>
              <a:ext uri="{FF2B5EF4-FFF2-40B4-BE49-F238E27FC236}">
                <a16:creationId xmlns:a16="http://schemas.microsoft.com/office/drawing/2014/main" id="{12650235-EE15-C2E2-2F15-FE36A19EE84A}"/>
              </a:ext>
            </a:extLst>
          </p:cNvPr>
          <p:cNvSpPr txBox="1"/>
          <p:nvPr/>
        </p:nvSpPr>
        <p:spPr>
          <a:xfrm>
            <a:off x="2288839" y="435442"/>
            <a:ext cx="4421861" cy="406265"/>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tabLst/>
              <a:defRPr/>
            </a:pPr>
            <a:r>
              <a:rPr kumimoji="0" lang="pt-BR" sz="2400" b="1" i="0" u="none" strike="noStrike" kern="1200" cap="none" spc="0" normalizeH="0" baseline="0" noProof="0">
                <a:ln>
                  <a:noFill/>
                </a:ln>
                <a:solidFill>
                  <a:srgbClr val="002581"/>
                </a:solidFill>
                <a:effectLst/>
                <a:uLnTx/>
                <a:uFillTx/>
                <a:latin typeface="Segoe UI Black" panose="020B0A02040204020203" pitchFamily="34" charset="0"/>
                <a:ea typeface="Segoe UI Black" panose="020B0A02040204020203" pitchFamily="34" charset="0"/>
                <a:cs typeface="Segoe UI" panose="020B0502040204020203" pitchFamily="34" charset="0"/>
              </a:rPr>
              <a:t>UNDER EXECUTION</a:t>
            </a:r>
            <a:endParaRPr kumimoji="0" lang="pt-BR" sz="2400" b="1" i="0" u="none" strike="noStrike" kern="1200" cap="none" spc="0" normalizeH="0" baseline="0" noProof="0" dirty="0">
              <a:ln>
                <a:noFill/>
              </a:ln>
              <a:solidFill>
                <a:srgbClr val="002581"/>
              </a:solidFill>
              <a:effectLst/>
              <a:uLnTx/>
              <a:uFillTx/>
              <a:latin typeface="Segoe UI Black" panose="020B0A02040204020203" pitchFamily="34" charset="0"/>
              <a:ea typeface="Segoe UI Black" panose="020B0A02040204020203" pitchFamily="34" charset="0"/>
              <a:cs typeface="Segoe UI" panose="020B0502040204020203" pitchFamily="34" charset="0"/>
            </a:endParaRPr>
          </a:p>
        </p:txBody>
      </p:sp>
      <p:grpSp>
        <p:nvGrpSpPr>
          <p:cNvPr id="26" name="Gráfico 13">
            <a:extLst>
              <a:ext uri="{FF2B5EF4-FFF2-40B4-BE49-F238E27FC236}">
                <a16:creationId xmlns:a16="http://schemas.microsoft.com/office/drawing/2014/main" id="{8DC1BAEA-A8C7-BC33-31EF-B7256DB3CDE2}"/>
              </a:ext>
            </a:extLst>
          </p:cNvPr>
          <p:cNvGrpSpPr/>
          <p:nvPr/>
        </p:nvGrpSpPr>
        <p:grpSpPr>
          <a:xfrm>
            <a:off x="3045856" y="1136263"/>
            <a:ext cx="3234544" cy="3325946"/>
            <a:chOff x="3048926" y="652549"/>
            <a:chExt cx="2901684" cy="2983680"/>
          </a:xfrm>
          <a:solidFill>
            <a:schemeClr val="bg1"/>
          </a:solidFill>
        </p:grpSpPr>
        <p:sp>
          <p:nvSpPr>
            <p:cNvPr id="28" name="Forma Livre: Forma 27">
              <a:extLst>
                <a:ext uri="{FF2B5EF4-FFF2-40B4-BE49-F238E27FC236}">
                  <a16:creationId xmlns:a16="http://schemas.microsoft.com/office/drawing/2014/main" id="{3D8F3289-96BE-0E3F-1076-BED446FF3510}"/>
                </a:ext>
              </a:extLst>
            </p:cNvPr>
            <p:cNvSpPr/>
            <p:nvPr/>
          </p:nvSpPr>
          <p:spPr>
            <a:xfrm>
              <a:off x="5670042" y="1506370"/>
              <a:ext cx="280568" cy="160656"/>
            </a:xfrm>
            <a:custGeom>
              <a:avLst/>
              <a:gdLst>
                <a:gd name="connsiteX0" fmla="*/ 257452 w 280568"/>
                <a:gd name="connsiteY0" fmla="*/ 43815 h 160656"/>
                <a:gd name="connsiteX1" fmla="*/ 210614 w 280568"/>
                <a:gd name="connsiteY1" fmla="*/ 43815 h 160656"/>
                <a:gd name="connsiteX2" fmla="*/ 206092 w 280568"/>
                <a:gd name="connsiteY2" fmla="*/ 41953 h 160656"/>
                <a:gd name="connsiteX3" fmla="*/ 188271 w 280568"/>
                <a:gd name="connsiteY3" fmla="*/ 24132 h 160656"/>
                <a:gd name="connsiteX4" fmla="*/ 177220 w 280568"/>
                <a:gd name="connsiteY4" fmla="*/ 35207 h 160656"/>
                <a:gd name="connsiteX5" fmla="*/ 177220 w 280568"/>
                <a:gd name="connsiteY5" fmla="*/ 58953 h 160656"/>
                <a:gd name="connsiteX6" fmla="*/ 175334 w 280568"/>
                <a:gd name="connsiteY6" fmla="*/ 63450 h 160656"/>
                <a:gd name="connsiteX7" fmla="*/ 163655 w 280568"/>
                <a:gd name="connsiteY7" fmla="*/ 75154 h 160656"/>
                <a:gd name="connsiteX8" fmla="*/ 162688 w 280568"/>
                <a:gd name="connsiteY8" fmla="*/ 75952 h 160656"/>
                <a:gd name="connsiteX9" fmla="*/ 162035 w 280568"/>
                <a:gd name="connsiteY9" fmla="*/ 76290 h 160656"/>
                <a:gd name="connsiteX10" fmla="*/ 161575 w 280568"/>
                <a:gd name="connsiteY10" fmla="*/ 76532 h 160656"/>
                <a:gd name="connsiteX11" fmla="*/ 160777 w 280568"/>
                <a:gd name="connsiteY11" fmla="*/ 76774 h 160656"/>
                <a:gd name="connsiteX12" fmla="*/ 160366 w 280568"/>
                <a:gd name="connsiteY12" fmla="*/ 76895 h 160656"/>
                <a:gd name="connsiteX13" fmla="*/ 159278 w 280568"/>
                <a:gd name="connsiteY13" fmla="*/ 76991 h 160656"/>
                <a:gd name="connsiteX14" fmla="*/ 159157 w 280568"/>
                <a:gd name="connsiteY14" fmla="*/ 76991 h 160656"/>
                <a:gd name="connsiteX15" fmla="*/ 158988 w 280568"/>
                <a:gd name="connsiteY15" fmla="*/ 76991 h 160656"/>
                <a:gd name="connsiteX16" fmla="*/ 157900 w 280568"/>
                <a:gd name="connsiteY16" fmla="*/ 76895 h 160656"/>
                <a:gd name="connsiteX17" fmla="*/ 157489 w 280568"/>
                <a:gd name="connsiteY17" fmla="*/ 76774 h 160656"/>
                <a:gd name="connsiteX18" fmla="*/ 156715 w 280568"/>
                <a:gd name="connsiteY18" fmla="*/ 76532 h 160656"/>
                <a:gd name="connsiteX19" fmla="*/ 156256 w 280568"/>
                <a:gd name="connsiteY19" fmla="*/ 76290 h 160656"/>
                <a:gd name="connsiteX20" fmla="*/ 155627 w 280568"/>
                <a:gd name="connsiteY20" fmla="*/ 75952 h 160656"/>
                <a:gd name="connsiteX21" fmla="*/ 154636 w 280568"/>
                <a:gd name="connsiteY21" fmla="*/ 75154 h 160656"/>
                <a:gd name="connsiteX22" fmla="*/ 144020 w 280568"/>
                <a:gd name="connsiteY22" fmla="*/ 64538 h 160656"/>
                <a:gd name="connsiteX23" fmla="*/ 97279 w 280568"/>
                <a:gd name="connsiteY23" fmla="*/ 64538 h 160656"/>
                <a:gd name="connsiteX24" fmla="*/ 90919 w 280568"/>
                <a:gd name="connsiteY24" fmla="*/ 58179 h 160656"/>
                <a:gd name="connsiteX25" fmla="*/ 90919 w 280568"/>
                <a:gd name="connsiteY25" fmla="*/ 37456 h 160656"/>
                <a:gd name="connsiteX26" fmla="*/ 92781 w 280568"/>
                <a:gd name="connsiteY26" fmla="*/ 32958 h 160656"/>
                <a:gd name="connsiteX27" fmla="*/ 117591 w 280568"/>
                <a:gd name="connsiteY27" fmla="*/ 8149 h 160656"/>
                <a:gd name="connsiteX28" fmla="*/ 117591 w 280568"/>
                <a:gd name="connsiteY28" fmla="*/ 0 h 160656"/>
                <a:gd name="connsiteX29" fmla="*/ 83544 w 280568"/>
                <a:gd name="connsiteY29" fmla="*/ 0 h 160656"/>
                <a:gd name="connsiteX30" fmla="*/ 48966 w 280568"/>
                <a:gd name="connsiteY30" fmla="*/ 34578 h 160656"/>
                <a:gd name="connsiteX31" fmla="*/ 44444 w 280568"/>
                <a:gd name="connsiteY31" fmla="*/ 36440 h 160656"/>
                <a:gd name="connsiteX32" fmla="*/ 39947 w 280568"/>
                <a:gd name="connsiteY32" fmla="*/ 34578 h 160656"/>
                <a:gd name="connsiteX33" fmla="*/ 26792 w 280568"/>
                <a:gd name="connsiteY33" fmla="*/ 21448 h 160656"/>
                <a:gd name="connsiteX34" fmla="*/ 0 w 280568"/>
                <a:gd name="connsiteY34" fmla="*/ 48216 h 160656"/>
                <a:gd name="connsiteX35" fmla="*/ 0 w 280568"/>
                <a:gd name="connsiteY35" fmla="*/ 70970 h 160656"/>
                <a:gd name="connsiteX36" fmla="*/ 21158 w 280568"/>
                <a:gd name="connsiteY36" fmla="*/ 92128 h 160656"/>
                <a:gd name="connsiteX37" fmla="*/ 23020 w 280568"/>
                <a:gd name="connsiteY37" fmla="*/ 96650 h 160656"/>
                <a:gd name="connsiteX38" fmla="*/ 21158 w 280568"/>
                <a:gd name="connsiteY38" fmla="*/ 101148 h 160656"/>
                <a:gd name="connsiteX39" fmla="*/ 14146 w 280568"/>
                <a:gd name="connsiteY39" fmla="*/ 108184 h 160656"/>
                <a:gd name="connsiteX40" fmla="*/ 40406 w 280568"/>
                <a:gd name="connsiteY40" fmla="*/ 134420 h 160656"/>
                <a:gd name="connsiteX41" fmla="*/ 55229 w 280568"/>
                <a:gd name="connsiteY41" fmla="*/ 134420 h 160656"/>
                <a:gd name="connsiteX42" fmla="*/ 102429 w 280568"/>
                <a:gd name="connsiteY42" fmla="*/ 87220 h 160656"/>
                <a:gd name="connsiteX43" fmla="*/ 111400 w 280568"/>
                <a:gd name="connsiteY43" fmla="*/ 87220 h 160656"/>
                <a:gd name="connsiteX44" fmla="*/ 128375 w 280568"/>
                <a:gd name="connsiteY44" fmla="*/ 104170 h 160656"/>
                <a:gd name="connsiteX45" fmla="*/ 130237 w 280568"/>
                <a:gd name="connsiteY45" fmla="*/ 108692 h 160656"/>
                <a:gd name="connsiteX46" fmla="*/ 130237 w 280568"/>
                <a:gd name="connsiteY46" fmla="*/ 156981 h 160656"/>
                <a:gd name="connsiteX47" fmla="*/ 133913 w 280568"/>
                <a:gd name="connsiteY47" fmla="*/ 160657 h 160656"/>
                <a:gd name="connsiteX48" fmla="*/ 168201 w 280568"/>
                <a:gd name="connsiteY48" fmla="*/ 126368 h 160656"/>
                <a:gd name="connsiteX49" fmla="*/ 172699 w 280568"/>
                <a:gd name="connsiteY49" fmla="*/ 124506 h 160656"/>
                <a:gd name="connsiteX50" fmla="*/ 210348 w 280568"/>
                <a:gd name="connsiteY50" fmla="*/ 124506 h 160656"/>
                <a:gd name="connsiteX51" fmla="*/ 232449 w 280568"/>
                <a:gd name="connsiteY51" fmla="*/ 102381 h 160656"/>
                <a:gd name="connsiteX52" fmla="*/ 236971 w 280568"/>
                <a:gd name="connsiteY52" fmla="*/ 100519 h 160656"/>
                <a:gd name="connsiteX53" fmla="*/ 280569 w 280568"/>
                <a:gd name="connsiteY53" fmla="*/ 100519 h 160656"/>
                <a:gd name="connsiteX54" fmla="*/ 280569 w 280568"/>
                <a:gd name="connsiteY54" fmla="*/ 66956 h 160656"/>
                <a:gd name="connsiteX55" fmla="*/ 257452 w 280568"/>
                <a:gd name="connsiteY55" fmla="*/ 43815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80568" h="160656">
                  <a:moveTo>
                    <a:pt x="257452" y="43815"/>
                  </a:moveTo>
                  <a:lnTo>
                    <a:pt x="210614" y="43815"/>
                  </a:lnTo>
                  <a:cubicBezTo>
                    <a:pt x="208921" y="43815"/>
                    <a:pt x="207301" y="43163"/>
                    <a:pt x="206092" y="41953"/>
                  </a:cubicBezTo>
                  <a:lnTo>
                    <a:pt x="188271" y="24132"/>
                  </a:lnTo>
                  <a:lnTo>
                    <a:pt x="177220" y="35207"/>
                  </a:lnTo>
                  <a:lnTo>
                    <a:pt x="177220" y="58953"/>
                  </a:lnTo>
                  <a:cubicBezTo>
                    <a:pt x="177220" y="60645"/>
                    <a:pt x="176543" y="62265"/>
                    <a:pt x="175334" y="63450"/>
                  </a:cubicBezTo>
                  <a:lnTo>
                    <a:pt x="163655" y="75154"/>
                  </a:lnTo>
                  <a:cubicBezTo>
                    <a:pt x="163341" y="75444"/>
                    <a:pt x="163026" y="75734"/>
                    <a:pt x="162688" y="75952"/>
                  </a:cubicBezTo>
                  <a:cubicBezTo>
                    <a:pt x="162446" y="76097"/>
                    <a:pt x="162228" y="76193"/>
                    <a:pt x="162035" y="76290"/>
                  </a:cubicBezTo>
                  <a:cubicBezTo>
                    <a:pt x="161866" y="76363"/>
                    <a:pt x="161745" y="76459"/>
                    <a:pt x="161575" y="76532"/>
                  </a:cubicBezTo>
                  <a:cubicBezTo>
                    <a:pt x="161309" y="76653"/>
                    <a:pt x="161043" y="76701"/>
                    <a:pt x="160777" y="76774"/>
                  </a:cubicBezTo>
                  <a:cubicBezTo>
                    <a:pt x="160657" y="76798"/>
                    <a:pt x="160536" y="76846"/>
                    <a:pt x="160366" y="76895"/>
                  </a:cubicBezTo>
                  <a:cubicBezTo>
                    <a:pt x="160004" y="76967"/>
                    <a:pt x="159665" y="76991"/>
                    <a:pt x="159278" y="76991"/>
                  </a:cubicBezTo>
                  <a:cubicBezTo>
                    <a:pt x="159230" y="76991"/>
                    <a:pt x="159206" y="76991"/>
                    <a:pt x="159157" y="76991"/>
                  </a:cubicBezTo>
                  <a:cubicBezTo>
                    <a:pt x="159109" y="76991"/>
                    <a:pt x="159061" y="76991"/>
                    <a:pt x="158988" y="76991"/>
                  </a:cubicBezTo>
                  <a:cubicBezTo>
                    <a:pt x="158625" y="76991"/>
                    <a:pt x="158263" y="76967"/>
                    <a:pt x="157900" y="76895"/>
                  </a:cubicBezTo>
                  <a:cubicBezTo>
                    <a:pt x="157779" y="76870"/>
                    <a:pt x="157634" y="76822"/>
                    <a:pt x="157489" y="76774"/>
                  </a:cubicBezTo>
                  <a:cubicBezTo>
                    <a:pt x="157223" y="76701"/>
                    <a:pt x="156981" y="76653"/>
                    <a:pt x="156715" y="76532"/>
                  </a:cubicBezTo>
                  <a:cubicBezTo>
                    <a:pt x="156546" y="76459"/>
                    <a:pt x="156401" y="76387"/>
                    <a:pt x="156256" y="76290"/>
                  </a:cubicBezTo>
                  <a:cubicBezTo>
                    <a:pt x="156038" y="76193"/>
                    <a:pt x="155796" y="76097"/>
                    <a:pt x="155627" y="75952"/>
                  </a:cubicBezTo>
                  <a:cubicBezTo>
                    <a:pt x="155264" y="75734"/>
                    <a:pt x="154950" y="75444"/>
                    <a:pt x="154636" y="75154"/>
                  </a:cubicBezTo>
                  <a:lnTo>
                    <a:pt x="144020" y="64538"/>
                  </a:lnTo>
                  <a:lnTo>
                    <a:pt x="97279" y="64538"/>
                  </a:lnTo>
                  <a:cubicBezTo>
                    <a:pt x="93773" y="64538"/>
                    <a:pt x="90919" y="61685"/>
                    <a:pt x="90919" y="58179"/>
                  </a:cubicBezTo>
                  <a:lnTo>
                    <a:pt x="90919" y="37456"/>
                  </a:lnTo>
                  <a:cubicBezTo>
                    <a:pt x="90919" y="35763"/>
                    <a:pt x="91572" y="34167"/>
                    <a:pt x="92781" y="32958"/>
                  </a:cubicBezTo>
                  <a:lnTo>
                    <a:pt x="117591" y="8149"/>
                  </a:lnTo>
                  <a:lnTo>
                    <a:pt x="117591" y="0"/>
                  </a:lnTo>
                  <a:lnTo>
                    <a:pt x="83544" y="0"/>
                  </a:lnTo>
                  <a:lnTo>
                    <a:pt x="48966" y="34578"/>
                  </a:lnTo>
                  <a:cubicBezTo>
                    <a:pt x="47757" y="35763"/>
                    <a:pt x="46161" y="36440"/>
                    <a:pt x="44444" y="36440"/>
                  </a:cubicBezTo>
                  <a:cubicBezTo>
                    <a:pt x="42776" y="36440"/>
                    <a:pt x="41155" y="35763"/>
                    <a:pt x="39947" y="34578"/>
                  </a:cubicBezTo>
                  <a:lnTo>
                    <a:pt x="26792" y="21448"/>
                  </a:lnTo>
                  <a:lnTo>
                    <a:pt x="0" y="48216"/>
                  </a:lnTo>
                  <a:lnTo>
                    <a:pt x="0" y="70970"/>
                  </a:lnTo>
                  <a:lnTo>
                    <a:pt x="21158" y="92128"/>
                  </a:lnTo>
                  <a:cubicBezTo>
                    <a:pt x="22367" y="93337"/>
                    <a:pt x="23020" y="94933"/>
                    <a:pt x="23020" y="96650"/>
                  </a:cubicBezTo>
                  <a:cubicBezTo>
                    <a:pt x="23020" y="98319"/>
                    <a:pt x="22367" y="99939"/>
                    <a:pt x="21158" y="101148"/>
                  </a:cubicBezTo>
                  <a:lnTo>
                    <a:pt x="14146" y="108184"/>
                  </a:lnTo>
                  <a:lnTo>
                    <a:pt x="40406" y="134420"/>
                  </a:lnTo>
                  <a:lnTo>
                    <a:pt x="55229" y="134420"/>
                  </a:lnTo>
                  <a:lnTo>
                    <a:pt x="102429" y="87220"/>
                  </a:lnTo>
                  <a:cubicBezTo>
                    <a:pt x="104920" y="84729"/>
                    <a:pt x="108934" y="84729"/>
                    <a:pt x="111400" y="87220"/>
                  </a:cubicBezTo>
                  <a:lnTo>
                    <a:pt x="128375" y="104170"/>
                  </a:lnTo>
                  <a:cubicBezTo>
                    <a:pt x="129560" y="105379"/>
                    <a:pt x="130237" y="106975"/>
                    <a:pt x="130237" y="108692"/>
                  </a:cubicBezTo>
                  <a:lnTo>
                    <a:pt x="130237" y="156981"/>
                  </a:lnTo>
                  <a:lnTo>
                    <a:pt x="133913" y="160657"/>
                  </a:lnTo>
                  <a:lnTo>
                    <a:pt x="168201" y="126368"/>
                  </a:lnTo>
                  <a:cubicBezTo>
                    <a:pt x="169410" y="125183"/>
                    <a:pt x="171006" y="124506"/>
                    <a:pt x="172699" y="124506"/>
                  </a:cubicBezTo>
                  <a:lnTo>
                    <a:pt x="210348" y="124506"/>
                  </a:lnTo>
                  <a:lnTo>
                    <a:pt x="232449" y="102381"/>
                  </a:lnTo>
                  <a:cubicBezTo>
                    <a:pt x="233634" y="101196"/>
                    <a:pt x="235254" y="100519"/>
                    <a:pt x="236971" y="100519"/>
                  </a:cubicBezTo>
                  <a:lnTo>
                    <a:pt x="280569" y="100519"/>
                  </a:lnTo>
                  <a:lnTo>
                    <a:pt x="280569" y="66956"/>
                  </a:lnTo>
                  <a:lnTo>
                    <a:pt x="257452" y="43815"/>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orma Livre: Forma 28">
              <a:extLst>
                <a:ext uri="{FF2B5EF4-FFF2-40B4-BE49-F238E27FC236}">
                  <a16:creationId xmlns:a16="http://schemas.microsoft.com/office/drawing/2014/main" id="{3D74B2D8-BADA-8753-6EED-34D918146592}"/>
                </a:ext>
              </a:extLst>
            </p:cNvPr>
            <p:cNvSpPr/>
            <p:nvPr/>
          </p:nvSpPr>
          <p:spPr>
            <a:xfrm>
              <a:off x="5697922" y="1418956"/>
              <a:ext cx="225920" cy="149098"/>
            </a:xfrm>
            <a:custGeom>
              <a:avLst/>
              <a:gdLst>
                <a:gd name="connsiteX0" fmla="*/ 51650 w 225920"/>
                <a:gd name="connsiteY0" fmla="*/ 22246 h 149098"/>
                <a:gd name="connsiteX1" fmla="*/ 51650 w 225920"/>
                <a:gd name="connsiteY1" fmla="*/ 37577 h 149098"/>
                <a:gd name="connsiteX2" fmla="*/ 51505 w 225920"/>
                <a:gd name="connsiteY2" fmla="*/ 38834 h 149098"/>
                <a:gd name="connsiteX3" fmla="*/ 49788 w 225920"/>
                <a:gd name="connsiteY3" fmla="*/ 42074 h 149098"/>
                <a:gd name="connsiteX4" fmla="*/ 0 w 225920"/>
                <a:gd name="connsiteY4" fmla="*/ 91838 h 149098"/>
                <a:gd name="connsiteX5" fmla="*/ 16636 w 225920"/>
                <a:gd name="connsiteY5" fmla="*/ 108475 h 149098"/>
                <a:gd name="connsiteX6" fmla="*/ 48579 w 225920"/>
                <a:gd name="connsiteY6" fmla="*/ 76532 h 149098"/>
                <a:gd name="connsiteX7" fmla="*/ 53101 w 225920"/>
                <a:gd name="connsiteY7" fmla="*/ 74670 h 149098"/>
                <a:gd name="connsiteX8" fmla="*/ 96142 w 225920"/>
                <a:gd name="connsiteY8" fmla="*/ 74670 h 149098"/>
                <a:gd name="connsiteX9" fmla="*/ 102502 w 225920"/>
                <a:gd name="connsiteY9" fmla="*/ 81030 h 149098"/>
                <a:gd name="connsiteX10" fmla="*/ 102502 w 225920"/>
                <a:gd name="connsiteY10" fmla="*/ 98198 h 149098"/>
                <a:gd name="connsiteX11" fmla="*/ 100640 w 225920"/>
                <a:gd name="connsiteY11" fmla="*/ 102695 h 149098"/>
                <a:gd name="connsiteX12" fmla="*/ 75831 w 225920"/>
                <a:gd name="connsiteY12" fmla="*/ 127505 h 149098"/>
                <a:gd name="connsiteX13" fmla="*/ 75831 w 225920"/>
                <a:gd name="connsiteY13" fmla="*/ 139232 h 149098"/>
                <a:gd name="connsiteX14" fmla="*/ 118800 w 225920"/>
                <a:gd name="connsiteY14" fmla="*/ 139232 h 149098"/>
                <a:gd name="connsiteX15" fmla="*/ 123297 w 225920"/>
                <a:gd name="connsiteY15" fmla="*/ 141094 h 149098"/>
                <a:gd name="connsiteX16" fmla="*/ 131325 w 225920"/>
                <a:gd name="connsiteY16" fmla="*/ 149098 h 149098"/>
                <a:gd name="connsiteX17" fmla="*/ 136669 w 225920"/>
                <a:gd name="connsiteY17" fmla="*/ 143754 h 149098"/>
                <a:gd name="connsiteX18" fmla="*/ 136669 w 225920"/>
                <a:gd name="connsiteY18" fmla="*/ 119985 h 149098"/>
                <a:gd name="connsiteX19" fmla="*/ 138507 w 225920"/>
                <a:gd name="connsiteY19" fmla="*/ 115487 h 149098"/>
                <a:gd name="connsiteX20" fmla="*/ 155965 w 225920"/>
                <a:gd name="connsiteY20" fmla="*/ 98029 h 149098"/>
                <a:gd name="connsiteX21" fmla="*/ 164961 w 225920"/>
                <a:gd name="connsiteY21" fmla="*/ 98029 h 149098"/>
                <a:gd name="connsiteX22" fmla="*/ 185442 w 225920"/>
                <a:gd name="connsiteY22" fmla="*/ 118485 h 149098"/>
                <a:gd name="connsiteX23" fmla="*/ 225920 w 225920"/>
                <a:gd name="connsiteY23" fmla="*/ 118485 h 149098"/>
                <a:gd name="connsiteX24" fmla="*/ 225920 w 225920"/>
                <a:gd name="connsiteY24" fmla="*/ 55229 h 149098"/>
                <a:gd name="connsiteX25" fmla="*/ 196976 w 225920"/>
                <a:gd name="connsiteY25" fmla="*/ 26260 h 149098"/>
                <a:gd name="connsiteX26" fmla="*/ 119598 w 225920"/>
                <a:gd name="connsiteY26" fmla="*/ 26260 h 149098"/>
                <a:gd name="connsiteX27" fmla="*/ 115076 w 225920"/>
                <a:gd name="connsiteY27" fmla="*/ 24398 h 149098"/>
                <a:gd name="connsiteX28" fmla="*/ 90581 w 225920"/>
                <a:gd name="connsiteY28" fmla="*/ 0 h 149098"/>
                <a:gd name="connsiteX29" fmla="*/ 73896 w 225920"/>
                <a:gd name="connsiteY29" fmla="*/ 0 h 149098"/>
                <a:gd name="connsiteX30" fmla="*/ 51650 w 225920"/>
                <a:gd name="connsiteY30" fmla="*/ 22246 h 149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25920" h="149098">
                  <a:moveTo>
                    <a:pt x="51650" y="22246"/>
                  </a:moveTo>
                  <a:lnTo>
                    <a:pt x="51650" y="37577"/>
                  </a:lnTo>
                  <a:cubicBezTo>
                    <a:pt x="51650" y="37988"/>
                    <a:pt x="51602" y="38423"/>
                    <a:pt x="51505" y="38834"/>
                  </a:cubicBezTo>
                  <a:cubicBezTo>
                    <a:pt x="51263" y="40067"/>
                    <a:pt x="50658" y="41180"/>
                    <a:pt x="49788" y="42074"/>
                  </a:cubicBezTo>
                  <a:lnTo>
                    <a:pt x="0" y="91838"/>
                  </a:lnTo>
                  <a:lnTo>
                    <a:pt x="16636" y="108475"/>
                  </a:lnTo>
                  <a:lnTo>
                    <a:pt x="48579" y="76532"/>
                  </a:lnTo>
                  <a:cubicBezTo>
                    <a:pt x="49788" y="75347"/>
                    <a:pt x="51384" y="74670"/>
                    <a:pt x="53101" y="74670"/>
                  </a:cubicBezTo>
                  <a:lnTo>
                    <a:pt x="96142" y="74670"/>
                  </a:lnTo>
                  <a:cubicBezTo>
                    <a:pt x="99649" y="74670"/>
                    <a:pt x="102502" y="77523"/>
                    <a:pt x="102502" y="81030"/>
                  </a:cubicBezTo>
                  <a:lnTo>
                    <a:pt x="102502" y="98198"/>
                  </a:lnTo>
                  <a:cubicBezTo>
                    <a:pt x="102502" y="99866"/>
                    <a:pt x="101849" y="101511"/>
                    <a:pt x="100640" y="102695"/>
                  </a:cubicBezTo>
                  <a:lnTo>
                    <a:pt x="75831" y="127505"/>
                  </a:lnTo>
                  <a:lnTo>
                    <a:pt x="75831" y="139232"/>
                  </a:lnTo>
                  <a:lnTo>
                    <a:pt x="118800" y="139232"/>
                  </a:lnTo>
                  <a:cubicBezTo>
                    <a:pt x="120468" y="139232"/>
                    <a:pt x="122137" y="139910"/>
                    <a:pt x="123297" y="141094"/>
                  </a:cubicBezTo>
                  <a:lnTo>
                    <a:pt x="131325" y="149098"/>
                  </a:lnTo>
                  <a:lnTo>
                    <a:pt x="136669" y="143754"/>
                  </a:lnTo>
                  <a:lnTo>
                    <a:pt x="136669" y="119985"/>
                  </a:lnTo>
                  <a:cubicBezTo>
                    <a:pt x="136669" y="118316"/>
                    <a:pt x="137322" y="116672"/>
                    <a:pt x="138507" y="115487"/>
                  </a:cubicBezTo>
                  <a:lnTo>
                    <a:pt x="155965" y="98029"/>
                  </a:lnTo>
                  <a:cubicBezTo>
                    <a:pt x="158456" y="95538"/>
                    <a:pt x="162494" y="95538"/>
                    <a:pt x="164961" y="98029"/>
                  </a:cubicBezTo>
                  <a:lnTo>
                    <a:pt x="185442" y="118485"/>
                  </a:lnTo>
                  <a:lnTo>
                    <a:pt x="225920" y="118485"/>
                  </a:lnTo>
                  <a:lnTo>
                    <a:pt x="225920" y="55229"/>
                  </a:lnTo>
                  <a:lnTo>
                    <a:pt x="196976" y="26260"/>
                  </a:lnTo>
                  <a:lnTo>
                    <a:pt x="119598" y="26260"/>
                  </a:lnTo>
                  <a:cubicBezTo>
                    <a:pt x="117905" y="26260"/>
                    <a:pt x="116261" y="25607"/>
                    <a:pt x="115076" y="24398"/>
                  </a:cubicBezTo>
                  <a:lnTo>
                    <a:pt x="90581" y="0"/>
                  </a:lnTo>
                  <a:lnTo>
                    <a:pt x="73896" y="0"/>
                  </a:lnTo>
                  <a:lnTo>
                    <a:pt x="51650" y="2224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orma Livre: Forma 30">
              <a:extLst>
                <a:ext uri="{FF2B5EF4-FFF2-40B4-BE49-F238E27FC236}">
                  <a16:creationId xmlns:a16="http://schemas.microsoft.com/office/drawing/2014/main" id="{74B8454D-18E9-13A3-9059-1DF8DE8E623A}"/>
                </a:ext>
              </a:extLst>
            </p:cNvPr>
            <p:cNvSpPr/>
            <p:nvPr/>
          </p:nvSpPr>
          <p:spPr>
            <a:xfrm>
              <a:off x="5473308" y="1269399"/>
              <a:ext cx="302427" cy="362033"/>
            </a:xfrm>
            <a:custGeom>
              <a:avLst/>
              <a:gdLst>
                <a:gd name="connsiteX0" fmla="*/ 24 w 302427"/>
                <a:gd name="connsiteY0" fmla="*/ 47394 h 362033"/>
                <a:gd name="connsiteX1" fmla="*/ 28968 w 302427"/>
                <a:gd name="connsiteY1" fmla="*/ 76363 h 362033"/>
                <a:gd name="connsiteX2" fmla="*/ 30830 w 302427"/>
                <a:gd name="connsiteY2" fmla="*/ 80860 h 362033"/>
                <a:gd name="connsiteX3" fmla="*/ 30830 w 302427"/>
                <a:gd name="connsiteY3" fmla="*/ 143126 h 362033"/>
                <a:gd name="connsiteX4" fmla="*/ 43477 w 302427"/>
                <a:gd name="connsiteY4" fmla="*/ 155772 h 362033"/>
                <a:gd name="connsiteX5" fmla="*/ 45339 w 302427"/>
                <a:gd name="connsiteY5" fmla="*/ 160270 h 362033"/>
                <a:gd name="connsiteX6" fmla="*/ 45339 w 302427"/>
                <a:gd name="connsiteY6" fmla="*/ 257065 h 362033"/>
                <a:gd name="connsiteX7" fmla="*/ 78587 w 302427"/>
                <a:gd name="connsiteY7" fmla="*/ 290313 h 362033"/>
                <a:gd name="connsiteX8" fmla="*/ 80425 w 302427"/>
                <a:gd name="connsiteY8" fmla="*/ 294811 h 362033"/>
                <a:gd name="connsiteX9" fmla="*/ 80425 w 302427"/>
                <a:gd name="connsiteY9" fmla="*/ 329051 h 362033"/>
                <a:gd name="connsiteX10" fmla="*/ 140369 w 302427"/>
                <a:gd name="connsiteY10" fmla="*/ 329051 h 362033"/>
                <a:gd name="connsiteX11" fmla="*/ 141626 w 302427"/>
                <a:gd name="connsiteY11" fmla="*/ 329172 h 362033"/>
                <a:gd name="connsiteX12" fmla="*/ 144867 w 302427"/>
                <a:gd name="connsiteY12" fmla="*/ 330913 h 362033"/>
                <a:gd name="connsiteX13" fmla="*/ 176011 w 302427"/>
                <a:gd name="connsiteY13" fmla="*/ 362033 h 362033"/>
                <a:gd name="connsiteX14" fmla="*/ 197435 w 302427"/>
                <a:gd name="connsiteY14" fmla="*/ 340609 h 362033"/>
                <a:gd name="connsiteX15" fmla="*/ 197435 w 302427"/>
                <a:gd name="connsiteY15" fmla="*/ 340609 h 362033"/>
                <a:gd name="connsiteX16" fmla="*/ 204448 w 302427"/>
                <a:gd name="connsiteY16" fmla="*/ 333597 h 362033"/>
                <a:gd name="connsiteX17" fmla="*/ 185925 w 302427"/>
                <a:gd name="connsiteY17" fmla="*/ 315050 h 362033"/>
                <a:gd name="connsiteX18" fmla="*/ 184064 w 302427"/>
                <a:gd name="connsiteY18" fmla="*/ 310553 h 362033"/>
                <a:gd name="connsiteX19" fmla="*/ 184064 w 302427"/>
                <a:gd name="connsiteY19" fmla="*/ 282551 h 362033"/>
                <a:gd name="connsiteX20" fmla="*/ 184184 w 302427"/>
                <a:gd name="connsiteY20" fmla="*/ 281318 h 362033"/>
                <a:gd name="connsiteX21" fmla="*/ 185925 w 302427"/>
                <a:gd name="connsiteY21" fmla="*/ 278054 h 362033"/>
                <a:gd name="connsiteX22" fmla="*/ 214580 w 302427"/>
                <a:gd name="connsiteY22" fmla="*/ 249400 h 362033"/>
                <a:gd name="connsiteX23" fmla="*/ 211097 w 302427"/>
                <a:gd name="connsiteY23" fmla="*/ 245918 h 362033"/>
                <a:gd name="connsiteX24" fmla="*/ 209332 w 302427"/>
                <a:gd name="connsiteY24" fmla="*/ 242629 h 362033"/>
                <a:gd name="connsiteX25" fmla="*/ 209236 w 302427"/>
                <a:gd name="connsiteY25" fmla="*/ 241420 h 362033"/>
                <a:gd name="connsiteX26" fmla="*/ 211097 w 302427"/>
                <a:gd name="connsiteY26" fmla="*/ 236922 h 362033"/>
                <a:gd name="connsiteX27" fmla="*/ 263497 w 302427"/>
                <a:gd name="connsiteY27" fmla="*/ 184523 h 362033"/>
                <a:gd name="connsiteX28" fmla="*/ 263497 w 302427"/>
                <a:gd name="connsiteY28" fmla="*/ 169192 h 362033"/>
                <a:gd name="connsiteX29" fmla="*/ 263618 w 302427"/>
                <a:gd name="connsiteY29" fmla="*/ 167959 h 362033"/>
                <a:gd name="connsiteX30" fmla="*/ 265335 w 302427"/>
                <a:gd name="connsiteY30" fmla="*/ 164719 h 362033"/>
                <a:gd name="connsiteX31" fmla="*/ 291329 w 302427"/>
                <a:gd name="connsiteY31" fmla="*/ 138725 h 362033"/>
                <a:gd name="connsiteX32" fmla="*/ 295827 w 302427"/>
                <a:gd name="connsiteY32" fmla="*/ 136863 h 362033"/>
                <a:gd name="connsiteX33" fmla="*/ 302428 w 302427"/>
                <a:gd name="connsiteY33" fmla="*/ 136863 h 362033"/>
                <a:gd name="connsiteX34" fmla="*/ 217675 w 302427"/>
                <a:gd name="connsiteY34" fmla="*/ 52109 h 362033"/>
                <a:gd name="connsiteX35" fmla="*/ 188827 w 302427"/>
                <a:gd name="connsiteY35" fmla="*/ 52109 h 362033"/>
                <a:gd name="connsiteX36" fmla="*/ 184330 w 302427"/>
                <a:gd name="connsiteY36" fmla="*/ 50247 h 362033"/>
                <a:gd name="connsiteX37" fmla="*/ 134106 w 302427"/>
                <a:gd name="connsiteY37" fmla="*/ 0 h 362033"/>
                <a:gd name="connsiteX38" fmla="*/ 20650 w 302427"/>
                <a:gd name="connsiteY38" fmla="*/ 0 h 362033"/>
                <a:gd name="connsiteX39" fmla="*/ 0 w 302427"/>
                <a:gd name="connsiteY39" fmla="*/ 20674 h 362033"/>
                <a:gd name="connsiteX40" fmla="*/ 0 w 302427"/>
                <a:gd name="connsiteY40" fmla="*/ 47394 h 36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2427" h="362033">
                  <a:moveTo>
                    <a:pt x="24" y="47394"/>
                  </a:moveTo>
                  <a:lnTo>
                    <a:pt x="28968" y="76363"/>
                  </a:lnTo>
                  <a:cubicBezTo>
                    <a:pt x="30153" y="77547"/>
                    <a:pt x="30830" y="79168"/>
                    <a:pt x="30830" y="80860"/>
                  </a:cubicBezTo>
                  <a:lnTo>
                    <a:pt x="30830" y="143126"/>
                  </a:lnTo>
                  <a:lnTo>
                    <a:pt x="43477" y="155772"/>
                  </a:lnTo>
                  <a:cubicBezTo>
                    <a:pt x="44662" y="156957"/>
                    <a:pt x="45339" y="158577"/>
                    <a:pt x="45339" y="160270"/>
                  </a:cubicBezTo>
                  <a:lnTo>
                    <a:pt x="45339" y="257065"/>
                  </a:lnTo>
                  <a:lnTo>
                    <a:pt x="78587" y="290313"/>
                  </a:lnTo>
                  <a:cubicBezTo>
                    <a:pt x="79772" y="291498"/>
                    <a:pt x="80425" y="293118"/>
                    <a:pt x="80425" y="294811"/>
                  </a:cubicBezTo>
                  <a:lnTo>
                    <a:pt x="80425" y="329051"/>
                  </a:lnTo>
                  <a:lnTo>
                    <a:pt x="140369" y="329051"/>
                  </a:lnTo>
                  <a:cubicBezTo>
                    <a:pt x="140804" y="329051"/>
                    <a:pt x="141215" y="329099"/>
                    <a:pt x="141626" y="329172"/>
                  </a:cubicBezTo>
                  <a:cubicBezTo>
                    <a:pt x="142835" y="329414"/>
                    <a:pt x="143996" y="330018"/>
                    <a:pt x="144867" y="330913"/>
                  </a:cubicBezTo>
                  <a:lnTo>
                    <a:pt x="176011" y="362033"/>
                  </a:lnTo>
                  <a:lnTo>
                    <a:pt x="197435" y="340609"/>
                  </a:lnTo>
                  <a:lnTo>
                    <a:pt x="197435" y="340609"/>
                  </a:lnTo>
                  <a:lnTo>
                    <a:pt x="204448" y="333597"/>
                  </a:lnTo>
                  <a:lnTo>
                    <a:pt x="185925" y="315050"/>
                  </a:lnTo>
                  <a:cubicBezTo>
                    <a:pt x="184716" y="313865"/>
                    <a:pt x="184064" y="312245"/>
                    <a:pt x="184064" y="310553"/>
                  </a:cubicBezTo>
                  <a:lnTo>
                    <a:pt x="184064" y="282551"/>
                  </a:lnTo>
                  <a:cubicBezTo>
                    <a:pt x="184064" y="282140"/>
                    <a:pt x="184088" y="281729"/>
                    <a:pt x="184184" y="281318"/>
                  </a:cubicBezTo>
                  <a:cubicBezTo>
                    <a:pt x="184426" y="280085"/>
                    <a:pt x="185007" y="278949"/>
                    <a:pt x="185925" y="278054"/>
                  </a:cubicBezTo>
                  <a:lnTo>
                    <a:pt x="214580" y="249400"/>
                  </a:lnTo>
                  <a:lnTo>
                    <a:pt x="211097" y="245918"/>
                  </a:lnTo>
                  <a:cubicBezTo>
                    <a:pt x="210155" y="244975"/>
                    <a:pt x="209574" y="243838"/>
                    <a:pt x="209332" y="242629"/>
                  </a:cubicBezTo>
                  <a:cubicBezTo>
                    <a:pt x="209260" y="242242"/>
                    <a:pt x="209236" y="241831"/>
                    <a:pt x="209236" y="241420"/>
                  </a:cubicBezTo>
                  <a:cubicBezTo>
                    <a:pt x="209236" y="239800"/>
                    <a:pt x="209840" y="238180"/>
                    <a:pt x="211097" y="236922"/>
                  </a:cubicBezTo>
                  <a:lnTo>
                    <a:pt x="263497" y="184523"/>
                  </a:lnTo>
                  <a:lnTo>
                    <a:pt x="263497" y="169192"/>
                  </a:lnTo>
                  <a:cubicBezTo>
                    <a:pt x="263497" y="168781"/>
                    <a:pt x="263521" y="168346"/>
                    <a:pt x="263618" y="167959"/>
                  </a:cubicBezTo>
                  <a:cubicBezTo>
                    <a:pt x="263860" y="166726"/>
                    <a:pt x="264464" y="165614"/>
                    <a:pt x="265335" y="164719"/>
                  </a:cubicBezTo>
                  <a:lnTo>
                    <a:pt x="291329" y="138725"/>
                  </a:lnTo>
                  <a:cubicBezTo>
                    <a:pt x="292538" y="137540"/>
                    <a:pt x="294134" y="136863"/>
                    <a:pt x="295827" y="136863"/>
                  </a:cubicBezTo>
                  <a:lnTo>
                    <a:pt x="302428" y="136863"/>
                  </a:lnTo>
                  <a:lnTo>
                    <a:pt x="217675" y="52109"/>
                  </a:lnTo>
                  <a:lnTo>
                    <a:pt x="188827" y="52109"/>
                  </a:lnTo>
                  <a:cubicBezTo>
                    <a:pt x="187159" y="52109"/>
                    <a:pt x="185538" y="51432"/>
                    <a:pt x="184330" y="50247"/>
                  </a:cubicBezTo>
                  <a:lnTo>
                    <a:pt x="134106" y="0"/>
                  </a:lnTo>
                  <a:lnTo>
                    <a:pt x="20650" y="0"/>
                  </a:lnTo>
                  <a:lnTo>
                    <a:pt x="0" y="20674"/>
                  </a:lnTo>
                  <a:lnTo>
                    <a:pt x="0" y="47394"/>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orma Livre: Forma 31">
              <a:extLst>
                <a:ext uri="{FF2B5EF4-FFF2-40B4-BE49-F238E27FC236}">
                  <a16:creationId xmlns:a16="http://schemas.microsoft.com/office/drawing/2014/main" id="{DB20D37E-85EC-7E04-40A8-B0D6216D3507}"/>
                </a:ext>
              </a:extLst>
            </p:cNvPr>
            <p:cNvSpPr/>
            <p:nvPr/>
          </p:nvSpPr>
          <p:spPr>
            <a:xfrm>
              <a:off x="5129845" y="1269399"/>
              <a:ext cx="411168" cy="606959"/>
            </a:xfrm>
            <a:custGeom>
              <a:avLst/>
              <a:gdLst>
                <a:gd name="connsiteX0" fmla="*/ 280617 w 411168"/>
                <a:gd name="connsiteY0" fmla="*/ 37891 h 606959"/>
                <a:gd name="connsiteX1" fmla="*/ 272637 w 411168"/>
                <a:gd name="connsiteY1" fmla="*/ 37891 h 606959"/>
                <a:gd name="connsiteX2" fmla="*/ 248602 w 411168"/>
                <a:gd name="connsiteY2" fmla="*/ 61951 h 606959"/>
                <a:gd name="connsiteX3" fmla="*/ 248602 w 411168"/>
                <a:gd name="connsiteY3" fmla="*/ 175963 h 606959"/>
                <a:gd name="connsiteX4" fmla="*/ 246764 w 411168"/>
                <a:gd name="connsiteY4" fmla="*/ 180461 h 606959"/>
                <a:gd name="connsiteX5" fmla="*/ 227299 w 411168"/>
                <a:gd name="connsiteY5" fmla="*/ 199902 h 606959"/>
                <a:gd name="connsiteX6" fmla="*/ 227299 w 411168"/>
                <a:gd name="connsiteY6" fmla="*/ 231288 h 606959"/>
                <a:gd name="connsiteX7" fmla="*/ 257815 w 411168"/>
                <a:gd name="connsiteY7" fmla="*/ 261804 h 606959"/>
                <a:gd name="connsiteX8" fmla="*/ 259677 w 411168"/>
                <a:gd name="connsiteY8" fmla="*/ 266302 h 606959"/>
                <a:gd name="connsiteX9" fmla="*/ 257815 w 411168"/>
                <a:gd name="connsiteY9" fmla="*/ 270800 h 606959"/>
                <a:gd name="connsiteX10" fmla="*/ 228169 w 411168"/>
                <a:gd name="connsiteY10" fmla="*/ 300469 h 606959"/>
                <a:gd name="connsiteX11" fmla="*/ 223647 w 411168"/>
                <a:gd name="connsiteY11" fmla="*/ 302331 h 606959"/>
                <a:gd name="connsiteX12" fmla="*/ 190399 w 411168"/>
                <a:gd name="connsiteY12" fmla="*/ 302331 h 606959"/>
                <a:gd name="connsiteX13" fmla="*/ 185877 w 411168"/>
                <a:gd name="connsiteY13" fmla="*/ 300469 h 606959"/>
                <a:gd name="connsiteX14" fmla="*/ 174343 w 411168"/>
                <a:gd name="connsiteY14" fmla="*/ 288911 h 606959"/>
                <a:gd name="connsiteX15" fmla="*/ 155216 w 411168"/>
                <a:gd name="connsiteY15" fmla="*/ 288911 h 606959"/>
                <a:gd name="connsiteX16" fmla="*/ 88743 w 411168"/>
                <a:gd name="connsiteY16" fmla="*/ 355384 h 606959"/>
                <a:gd name="connsiteX17" fmla="*/ 85527 w 411168"/>
                <a:gd name="connsiteY17" fmla="*/ 357125 h 606959"/>
                <a:gd name="connsiteX18" fmla="*/ 84246 w 411168"/>
                <a:gd name="connsiteY18" fmla="*/ 357246 h 606959"/>
                <a:gd name="connsiteX19" fmla="*/ 45895 w 411168"/>
                <a:gd name="connsiteY19" fmla="*/ 357246 h 606959"/>
                <a:gd name="connsiteX20" fmla="*/ 34192 w 411168"/>
                <a:gd name="connsiteY20" fmla="*/ 368973 h 606959"/>
                <a:gd name="connsiteX21" fmla="*/ 34192 w 411168"/>
                <a:gd name="connsiteY21" fmla="*/ 418955 h 606959"/>
                <a:gd name="connsiteX22" fmla="*/ 32330 w 411168"/>
                <a:gd name="connsiteY22" fmla="*/ 423452 h 606959"/>
                <a:gd name="connsiteX23" fmla="*/ 0 w 411168"/>
                <a:gd name="connsiteY23" fmla="*/ 455758 h 606959"/>
                <a:gd name="connsiteX24" fmla="*/ 19465 w 411168"/>
                <a:gd name="connsiteY24" fmla="*/ 475223 h 606959"/>
                <a:gd name="connsiteX25" fmla="*/ 21352 w 411168"/>
                <a:gd name="connsiteY25" fmla="*/ 479721 h 606959"/>
                <a:gd name="connsiteX26" fmla="*/ 21352 w 411168"/>
                <a:gd name="connsiteY26" fmla="*/ 552070 h 606959"/>
                <a:gd name="connsiteX27" fmla="*/ 76242 w 411168"/>
                <a:gd name="connsiteY27" fmla="*/ 606960 h 606959"/>
                <a:gd name="connsiteX28" fmla="*/ 97956 w 411168"/>
                <a:gd name="connsiteY28" fmla="*/ 585246 h 606959"/>
                <a:gd name="connsiteX29" fmla="*/ 102454 w 411168"/>
                <a:gd name="connsiteY29" fmla="*/ 583384 h 606959"/>
                <a:gd name="connsiteX30" fmla="*/ 134808 w 411168"/>
                <a:gd name="connsiteY30" fmla="*/ 583384 h 606959"/>
                <a:gd name="connsiteX31" fmla="*/ 181742 w 411168"/>
                <a:gd name="connsiteY31" fmla="*/ 536449 h 606959"/>
                <a:gd name="connsiteX32" fmla="*/ 159496 w 411168"/>
                <a:gd name="connsiteY32" fmla="*/ 514203 h 606959"/>
                <a:gd name="connsiteX33" fmla="*/ 157634 w 411168"/>
                <a:gd name="connsiteY33" fmla="*/ 509705 h 606959"/>
                <a:gd name="connsiteX34" fmla="*/ 159496 w 411168"/>
                <a:gd name="connsiteY34" fmla="*/ 505207 h 606959"/>
                <a:gd name="connsiteX35" fmla="*/ 199781 w 411168"/>
                <a:gd name="connsiteY35" fmla="*/ 464922 h 606959"/>
                <a:gd name="connsiteX36" fmla="*/ 206697 w 411168"/>
                <a:gd name="connsiteY36" fmla="*/ 463520 h 606959"/>
                <a:gd name="connsiteX37" fmla="*/ 208800 w 411168"/>
                <a:gd name="connsiteY37" fmla="*/ 464922 h 606959"/>
                <a:gd name="connsiteX38" fmla="*/ 251044 w 411168"/>
                <a:gd name="connsiteY38" fmla="*/ 507166 h 606959"/>
                <a:gd name="connsiteX39" fmla="*/ 282140 w 411168"/>
                <a:gd name="connsiteY39" fmla="*/ 476070 h 606959"/>
                <a:gd name="connsiteX40" fmla="*/ 286662 w 411168"/>
                <a:gd name="connsiteY40" fmla="*/ 474208 h 606959"/>
                <a:gd name="connsiteX41" fmla="*/ 303395 w 411168"/>
                <a:gd name="connsiteY41" fmla="*/ 474208 h 606959"/>
                <a:gd name="connsiteX42" fmla="*/ 349822 w 411168"/>
                <a:gd name="connsiteY42" fmla="*/ 427805 h 606959"/>
                <a:gd name="connsiteX43" fmla="*/ 401738 w 411168"/>
                <a:gd name="connsiteY43" fmla="*/ 375889 h 606959"/>
                <a:gd name="connsiteX44" fmla="*/ 395475 w 411168"/>
                <a:gd name="connsiteY44" fmla="*/ 369626 h 606959"/>
                <a:gd name="connsiteX45" fmla="*/ 393734 w 411168"/>
                <a:gd name="connsiteY45" fmla="*/ 366362 h 606959"/>
                <a:gd name="connsiteX46" fmla="*/ 393589 w 411168"/>
                <a:gd name="connsiteY46" fmla="*/ 365104 h 606959"/>
                <a:gd name="connsiteX47" fmla="*/ 393589 w 411168"/>
                <a:gd name="connsiteY47" fmla="*/ 335483 h 606959"/>
                <a:gd name="connsiteX48" fmla="*/ 399973 w 411168"/>
                <a:gd name="connsiteY48" fmla="*/ 329099 h 606959"/>
                <a:gd name="connsiteX49" fmla="*/ 411169 w 411168"/>
                <a:gd name="connsiteY49" fmla="*/ 329099 h 606959"/>
                <a:gd name="connsiteX50" fmla="*/ 411169 w 411168"/>
                <a:gd name="connsiteY50" fmla="*/ 297495 h 606959"/>
                <a:gd name="connsiteX51" fmla="*/ 377920 w 411168"/>
                <a:gd name="connsiteY51" fmla="*/ 264247 h 606959"/>
                <a:gd name="connsiteX52" fmla="*/ 376034 w 411168"/>
                <a:gd name="connsiteY52" fmla="*/ 259749 h 606959"/>
                <a:gd name="connsiteX53" fmla="*/ 376034 w 411168"/>
                <a:gd name="connsiteY53" fmla="*/ 162954 h 606959"/>
                <a:gd name="connsiteX54" fmla="*/ 363412 w 411168"/>
                <a:gd name="connsiteY54" fmla="*/ 150307 h 606959"/>
                <a:gd name="connsiteX55" fmla="*/ 361550 w 411168"/>
                <a:gd name="connsiteY55" fmla="*/ 145810 h 606959"/>
                <a:gd name="connsiteX56" fmla="*/ 361550 w 411168"/>
                <a:gd name="connsiteY56" fmla="*/ 83544 h 606959"/>
                <a:gd name="connsiteX57" fmla="*/ 332581 w 411168"/>
                <a:gd name="connsiteY57" fmla="*/ 54576 h 606959"/>
                <a:gd name="connsiteX58" fmla="*/ 330720 w 411168"/>
                <a:gd name="connsiteY58" fmla="*/ 50054 h 606959"/>
                <a:gd name="connsiteX59" fmla="*/ 330720 w 411168"/>
                <a:gd name="connsiteY59" fmla="*/ 18063 h 606959"/>
                <a:gd name="connsiteX60" fmla="*/ 330840 w 411168"/>
                <a:gd name="connsiteY60" fmla="*/ 16806 h 606959"/>
                <a:gd name="connsiteX61" fmla="*/ 332581 w 411168"/>
                <a:gd name="connsiteY61" fmla="*/ 13565 h 606959"/>
                <a:gd name="connsiteX62" fmla="*/ 346147 w 411168"/>
                <a:gd name="connsiteY62" fmla="*/ 0 h 606959"/>
                <a:gd name="connsiteX63" fmla="*/ 321168 w 411168"/>
                <a:gd name="connsiteY63" fmla="*/ 0 h 606959"/>
                <a:gd name="connsiteX64" fmla="*/ 285115 w 411168"/>
                <a:gd name="connsiteY64" fmla="*/ 36053 h 606959"/>
                <a:gd name="connsiteX65" fmla="*/ 280617 w 411168"/>
                <a:gd name="connsiteY65" fmla="*/ 37891 h 60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411168" h="606959">
                  <a:moveTo>
                    <a:pt x="280617" y="37891"/>
                  </a:moveTo>
                  <a:lnTo>
                    <a:pt x="272637" y="37891"/>
                  </a:lnTo>
                  <a:lnTo>
                    <a:pt x="248602" y="61951"/>
                  </a:lnTo>
                  <a:lnTo>
                    <a:pt x="248602" y="175963"/>
                  </a:lnTo>
                  <a:cubicBezTo>
                    <a:pt x="248602" y="177631"/>
                    <a:pt x="247949" y="179252"/>
                    <a:pt x="246764" y="180461"/>
                  </a:cubicBezTo>
                  <a:lnTo>
                    <a:pt x="227299" y="199902"/>
                  </a:lnTo>
                  <a:lnTo>
                    <a:pt x="227299" y="231288"/>
                  </a:lnTo>
                  <a:lnTo>
                    <a:pt x="257815" y="261804"/>
                  </a:lnTo>
                  <a:cubicBezTo>
                    <a:pt x="259072" y="263038"/>
                    <a:pt x="259677" y="264682"/>
                    <a:pt x="259677" y="266302"/>
                  </a:cubicBezTo>
                  <a:cubicBezTo>
                    <a:pt x="259677" y="267922"/>
                    <a:pt x="259072" y="269542"/>
                    <a:pt x="257815" y="270800"/>
                  </a:cubicBezTo>
                  <a:lnTo>
                    <a:pt x="228169" y="300469"/>
                  </a:lnTo>
                  <a:cubicBezTo>
                    <a:pt x="226960" y="301654"/>
                    <a:pt x="225364" y="302331"/>
                    <a:pt x="223647" y="302331"/>
                  </a:cubicBezTo>
                  <a:lnTo>
                    <a:pt x="190399" y="302331"/>
                  </a:lnTo>
                  <a:cubicBezTo>
                    <a:pt x="188706" y="302331"/>
                    <a:pt x="187086" y="301654"/>
                    <a:pt x="185877" y="300469"/>
                  </a:cubicBezTo>
                  <a:lnTo>
                    <a:pt x="174343" y="288911"/>
                  </a:lnTo>
                  <a:lnTo>
                    <a:pt x="155216" y="288911"/>
                  </a:lnTo>
                  <a:lnTo>
                    <a:pt x="88743" y="355384"/>
                  </a:lnTo>
                  <a:cubicBezTo>
                    <a:pt x="87873" y="356278"/>
                    <a:pt x="86736" y="356883"/>
                    <a:pt x="85527" y="357125"/>
                  </a:cubicBezTo>
                  <a:cubicBezTo>
                    <a:pt x="85092" y="357197"/>
                    <a:pt x="84681" y="357246"/>
                    <a:pt x="84246" y="357246"/>
                  </a:cubicBezTo>
                  <a:lnTo>
                    <a:pt x="45895" y="357246"/>
                  </a:lnTo>
                  <a:lnTo>
                    <a:pt x="34192" y="368973"/>
                  </a:lnTo>
                  <a:lnTo>
                    <a:pt x="34192" y="418955"/>
                  </a:lnTo>
                  <a:cubicBezTo>
                    <a:pt x="34192" y="420623"/>
                    <a:pt x="33514" y="422268"/>
                    <a:pt x="32330" y="423452"/>
                  </a:cubicBezTo>
                  <a:lnTo>
                    <a:pt x="0" y="455758"/>
                  </a:lnTo>
                  <a:lnTo>
                    <a:pt x="19465" y="475223"/>
                  </a:lnTo>
                  <a:cubicBezTo>
                    <a:pt x="20675" y="476408"/>
                    <a:pt x="21352" y="478028"/>
                    <a:pt x="21352" y="479721"/>
                  </a:cubicBezTo>
                  <a:lnTo>
                    <a:pt x="21352" y="552070"/>
                  </a:lnTo>
                  <a:lnTo>
                    <a:pt x="76242" y="606960"/>
                  </a:lnTo>
                  <a:lnTo>
                    <a:pt x="97956" y="585246"/>
                  </a:lnTo>
                  <a:cubicBezTo>
                    <a:pt x="99141" y="584061"/>
                    <a:pt x="100761" y="583384"/>
                    <a:pt x="102454" y="583384"/>
                  </a:cubicBezTo>
                  <a:lnTo>
                    <a:pt x="134808" y="583384"/>
                  </a:lnTo>
                  <a:lnTo>
                    <a:pt x="181742" y="536449"/>
                  </a:lnTo>
                  <a:lnTo>
                    <a:pt x="159496" y="514203"/>
                  </a:lnTo>
                  <a:cubicBezTo>
                    <a:pt x="158287" y="513018"/>
                    <a:pt x="157634" y="511398"/>
                    <a:pt x="157634" y="509705"/>
                  </a:cubicBezTo>
                  <a:cubicBezTo>
                    <a:pt x="157634" y="508012"/>
                    <a:pt x="158287" y="506392"/>
                    <a:pt x="159496" y="505207"/>
                  </a:cubicBezTo>
                  <a:lnTo>
                    <a:pt x="199781" y="464922"/>
                  </a:lnTo>
                  <a:cubicBezTo>
                    <a:pt x="201667" y="463036"/>
                    <a:pt x="204375" y="462577"/>
                    <a:pt x="206697" y="463520"/>
                  </a:cubicBezTo>
                  <a:cubicBezTo>
                    <a:pt x="207422" y="463834"/>
                    <a:pt x="208172" y="464294"/>
                    <a:pt x="208800" y="464922"/>
                  </a:cubicBezTo>
                  <a:lnTo>
                    <a:pt x="251044" y="507166"/>
                  </a:lnTo>
                  <a:lnTo>
                    <a:pt x="282140" y="476070"/>
                  </a:lnTo>
                  <a:cubicBezTo>
                    <a:pt x="283350" y="474885"/>
                    <a:pt x="284970" y="474208"/>
                    <a:pt x="286662" y="474208"/>
                  </a:cubicBezTo>
                  <a:lnTo>
                    <a:pt x="303395" y="474208"/>
                  </a:lnTo>
                  <a:lnTo>
                    <a:pt x="349822" y="427805"/>
                  </a:lnTo>
                  <a:lnTo>
                    <a:pt x="401738" y="375889"/>
                  </a:lnTo>
                  <a:lnTo>
                    <a:pt x="395475" y="369626"/>
                  </a:lnTo>
                  <a:cubicBezTo>
                    <a:pt x="394557" y="368731"/>
                    <a:pt x="393952" y="367595"/>
                    <a:pt x="393734" y="366362"/>
                  </a:cubicBezTo>
                  <a:cubicBezTo>
                    <a:pt x="393638" y="365951"/>
                    <a:pt x="393589" y="365540"/>
                    <a:pt x="393589" y="365104"/>
                  </a:cubicBezTo>
                  <a:lnTo>
                    <a:pt x="393589" y="335483"/>
                  </a:lnTo>
                  <a:cubicBezTo>
                    <a:pt x="393589" y="331953"/>
                    <a:pt x="396443" y="329099"/>
                    <a:pt x="399973" y="329099"/>
                  </a:cubicBezTo>
                  <a:lnTo>
                    <a:pt x="411169" y="329099"/>
                  </a:lnTo>
                  <a:lnTo>
                    <a:pt x="411169" y="297495"/>
                  </a:lnTo>
                  <a:lnTo>
                    <a:pt x="377920" y="264247"/>
                  </a:lnTo>
                  <a:cubicBezTo>
                    <a:pt x="376735" y="263038"/>
                    <a:pt x="376034" y="261442"/>
                    <a:pt x="376034" y="259749"/>
                  </a:cubicBezTo>
                  <a:lnTo>
                    <a:pt x="376034" y="162954"/>
                  </a:lnTo>
                  <a:lnTo>
                    <a:pt x="363412" y="150307"/>
                  </a:lnTo>
                  <a:cubicBezTo>
                    <a:pt x="362203" y="149122"/>
                    <a:pt x="361550" y="147502"/>
                    <a:pt x="361550" y="145810"/>
                  </a:cubicBezTo>
                  <a:lnTo>
                    <a:pt x="361550" y="83544"/>
                  </a:lnTo>
                  <a:lnTo>
                    <a:pt x="332581" y="54576"/>
                  </a:lnTo>
                  <a:cubicBezTo>
                    <a:pt x="331397" y="53367"/>
                    <a:pt x="330720" y="51747"/>
                    <a:pt x="330720" y="50054"/>
                  </a:cubicBezTo>
                  <a:lnTo>
                    <a:pt x="330720" y="18063"/>
                  </a:lnTo>
                  <a:cubicBezTo>
                    <a:pt x="330720" y="17628"/>
                    <a:pt x="330768" y="17217"/>
                    <a:pt x="330840" y="16806"/>
                  </a:cubicBezTo>
                  <a:cubicBezTo>
                    <a:pt x="331082" y="15597"/>
                    <a:pt x="331711" y="14436"/>
                    <a:pt x="332581" y="13565"/>
                  </a:cubicBezTo>
                  <a:lnTo>
                    <a:pt x="346147" y="0"/>
                  </a:lnTo>
                  <a:lnTo>
                    <a:pt x="321168" y="0"/>
                  </a:lnTo>
                  <a:lnTo>
                    <a:pt x="285115" y="36053"/>
                  </a:lnTo>
                  <a:cubicBezTo>
                    <a:pt x="283930" y="37238"/>
                    <a:pt x="282286" y="37891"/>
                    <a:pt x="280617" y="37891"/>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orma Livre: Forma 32">
              <a:extLst>
                <a:ext uri="{FF2B5EF4-FFF2-40B4-BE49-F238E27FC236}">
                  <a16:creationId xmlns:a16="http://schemas.microsoft.com/office/drawing/2014/main" id="{DEFFA0FB-5473-CD93-EB34-F7780F3035EA}"/>
                </a:ext>
              </a:extLst>
            </p:cNvPr>
            <p:cNvSpPr/>
            <p:nvPr/>
          </p:nvSpPr>
          <p:spPr>
            <a:xfrm>
              <a:off x="4797506" y="1447949"/>
              <a:ext cx="320128" cy="607467"/>
            </a:xfrm>
            <a:custGeom>
              <a:avLst/>
              <a:gdLst>
                <a:gd name="connsiteX0" fmla="*/ 320128 w 320128"/>
                <a:gd name="connsiteY0" fmla="*/ 394411 h 607467"/>
                <a:gd name="connsiteX1" fmla="*/ 269591 w 320128"/>
                <a:gd name="connsiteY1" fmla="*/ 343898 h 607467"/>
                <a:gd name="connsiteX2" fmla="*/ 267753 w 320128"/>
                <a:gd name="connsiteY2" fmla="*/ 339400 h 607467"/>
                <a:gd name="connsiteX3" fmla="*/ 269591 w 320128"/>
                <a:gd name="connsiteY3" fmla="*/ 334903 h 607467"/>
                <a:gd name="connsiteX4" fmla="*/ 279166 w 320128"/>
                <a:gd name="connsiteY4" fmla="*/ 325327 h 607467"/>
                <a:gd name="connsiteX5" fmla="*/ 239752 w 320128"/>
                <a:gd name="connsiteY5" fmla="*/ 285888 h 607467"/>
                <a:gd name="connsiteX6" fmla="*/ 239752 w 320128"/>
                <a:gd name="connsiteY6" fmla="*/ 276893 h 607467"/>
                <a:gd name="connsiteX7" fmla="*/ 301896 w 320128"/>
                <a:gd name="connsiteY7" fmla="*/ 214749 h 607467"/>
                <a:gd name="connsiteX8" fmla="*/ 280883 w 320128"/>
                <a:gd name="connsiteY8" fmla="*/ 193760 h 607467"/>
                <a:gd name="connsiteX9" fmla="*/ 266133 w 320128"/>
                <a:gd name="connsiteY9" fmla="*/ 208534 h 607467"/>
                <a:gd name="connsiteX10" fmla="*/ 257137 w 320128"/>
                <a:gd name="connsiteY10" fmla="*/ 208534 h 607467"/>
                <a:gd name="connsiteX11" fmla="*/ 195718 w 320128"/>
                <a:gd name="connsiteY11" fmla="*/ 147091 h 607467"/>
                <a:gd name="connsiteX12" fmla="*/ 194921 w 320128"/>
                <a:gd name="connsiteY12" fmla="*/ 146100 h 607467"/>
                <a:gd name="connsiteX13" fmla="*/ 194534 w 320128"/>
                <a:gd name="connsiteY13" fmla="*/ 145399 h 607467"/>
                <a:gd name="connsiteX14" fmla="*/ 194316 w 320128"/>
                <a:gd name="connsiteY14" fmla="*/ 145012 h 607467"/>
                <a:gd name="connsiteX15" fmla="*/ 194074 w 320128"/>
                <a:gd name="connsiteY15" fmla="*/ 144165 h 607467"/>
                <a:gd name="connsiteX16" fmla="*/ 193953 w 320128"/>
                <a:gd name="connsiteY16" fmla="*/ 143803 h 607467"/>
                <a:gd name="connsiteX17" fmla="*/ 193832 w 320128"/>
                <a:gd name="connsiteY17" fmla="*/ 142569 h 607467"/>
                <a:gd name="connsiteX18" fmla="*/ 193832 w 320128"/>
                <a:gd name="connsiteY18" fmla="*/ 142569 h 607467"/>
                <a:gd name="connsiteX19" fmla="*/ 193953 w 320128"/>
                <a:gd name="connsiteY19" fmla="*/ 141336 h 607467"/>
                <a:gd name="connsiteX20" fmla="*/ 194074 w 320128"/>
                <a:gd name="connsiteY20" fmla="*/ 140973 h 607467"/>
                <a:gd name="connsiteX21" fmla="*/ 194316 w 320128"/>
                <a:gd name="connsiteY21" fmla="*/ 140151 h 607467"/>
                <a:gd name="connsiteX22" fmla="*/ 194558 w 320128"/>
                <a:gd name="connsiteY22" fmla="*/ 139716 h 607467"/>
                <a:gd name="connsiteX23" fmla="*/ 194921 w 320128"/>
                <a:gd name="connsiteY23" fmla="*/ 139063 h 607467"/>
                <a:gd name="connsiteX24" fmla="*/ 195718 w 320128"/>
                <a:gd name="connsiteY24" fmla="*/ 138072 h 607467"/>
                <a:gd name="connsiteX25" fmla="*/ 214120 w 320128"/>
                <a:gd name="connsiteY25" fmla="*/ 119670 h 607467"/>
                <a:gd name="connsiteX26" fmla="*/ 214120 w 320128"/>
                <a:gd name="connsiteY26" fmla="*/ 30879 h 607467"/>
                <a:gd name="connsiteX27" fmla="*/ 183241 w 320128"/>
                <a:gd name="connsiteY27" fmla="*/ 0 h 607467"/>
                <a:gd name="connsiteX28" fmla="*/ 157900 w 320128"/>
                <a:gd name="connsiteY28" fmla="*/ 0 h 607467"/>
                <a:gd name="connsiteX29" fmla="*/ 187570 w 320128"/>
                <a:gd name="connsiteY29" fmla="*/ 29670 h 607467"/>
                <a:gd name="connsiteX30" fmla="*/ 189311 w 320128"/>
                <a:gd name="connsiteY30" fmla="*/ 32910 h 607467"/>
                <a:gd name="connsiteX31" fmla="*/ 189432 w 320128"/>
                <a:gd name="connsiteY31" fmla="*/ 34167 h 607467"/>
                <a:gd name="connsiteX32" fmla="*/ 187570 w 320128"/>
                <a:gd name="connsiteY32" fmla="*/ 38665 h 607467"/>
                <a:gd name="connsiteX33" fmla="*/ 104315 w 320128"/>
                <a:gd name="connsiteY33" fmla="*/ 121943 h 607467"/>
                <a:gd name="connsiteX34" fmla="*/ 104315 w 320128"/>
                <a:gd name="connsiteY34" fmla="*/ 153838 h 607467"/>
                <a:gd name="connsiteX35" fmla="*/ 103904 w 320128"/>
                <a:gd name="connsiteY35" fmla="*/ 155990 h 607467"/>
                <a:gd name="connsiteX36" fmla="*/ 103808 w 320128"/>
                <a:gd name="connsiteY36" fmla="*/ 156256 h 607467"/>
                <a:gd name="connsiteX37" fmla="*/ 103711 w 320128"/>
                <a:gd name="connsiteY37" fmla="*/ 156473 h 607467"/>
                <a:gd name="connsiteX38" fmla="*/ 102429 w 320128"/>
                <a:gd name="connsiteY38" fmla="*/ 158311 h 607467"/>
                <a:gd name="connsiteX39" fmla="*/ 85721 w 320128"/>
                <a:gd name="connsiteY39" fmla="*/ 175020 h 607467"/>
                <a:gd name="connsiteX40" fmla="*/ 94691 w 320128"/>
                <a:gd name="connsiteY40" fmla="*/ 183991 h 607467"/>
                <a:gd name="connsiteX41" fmla="*/ 96433 w 320128"/>
                <a:gd name="connsiteY41" fmla="*/ 187231 h 607467"/>
                <a:gd name="connsiteX42" fmla="*/ 96553 w 320128"/>
                <a:gd name="connsiteY42" fmla="*/ 188489 h 607467"/>
                <a:gd name="connsiteX43" fmla="*/ 96553 w 320128"/>
                <a:gd name="connsiteY43" fmla="*/ 240598 h 607467"/>
                <a:gd name="connsiteX44" fmla="*/ 94691 w 320128"/>
                <a:gd name="connsiteY44" fmla="*/ 245096 h 607467"/>
                <a:gd name="connsiteX45" fmla="*/ 23383 w 320128"/>
                <a:gd name="connsiteY45" fmla="*/ 316429 h 607467"/>
                <a:gd name="connsiteX46" fmla="*/ 23383 w 320128"/>
                <a:gd name="connsiteY46" fmla="*/ 336281 h 607467"/>
                <a:gd name="connsiteX47" fmla="*/ 23383 w 320128"/>
                <a:gd name="connsiteY47" fmla="*/ 366507 h 607467"/>
                <a:gd name="connsiteX48" fmla="*/ 23262 w 320128"/>
                <a:gd name="connsiteY48" fmla="*/ 367764 h 607467"/>
                <a:gd name="connsiteX49" fmla="*/ 21545 w 320128"/>
                <a:gd name="connsiteY49" fmla="*/ 371004 h 607467"/>
                <a:gd name="connsiteX50" fmla="*/ 0 w 320128"/>
                <a:gd name="connsiteY50" fmla="*/ 392525 h 607467"/>
                <a:gd name="connsiteX51" fmla="*/ 0 w 320128"/>
                <a:gd name="connsiteY51" fmla="*/ 532943 h 607467"/>
                <a:gd name="connsiteX52" fmla="*/ 74549 w 320128"/>
                <a:gd name="connsiteY52" fmla="*/ 607468 h 607467"/>
                <a:gd name="connsiteX53" fmla="*/ 74549 w 320128"/>
                <a:gd name="connsiteY53" fmla="*/ 587083 h 607467"/>
                <a:gd name="connsiteX54" fmla="*/ 80908 w 320128"/>
                <a:gd name="connsiteY54" fmla="*/ 580724 h 607467"/>
                <a:gd name="connsiteX55" fmla="*/ 139160 w 320128"/>
                <a:gd name="connsiteY55" fmla="*/ 580724 h 607467"/>
                <a:gd name="connsiteX56" fmla="*/ 145519 w 320128"/>
                <a:gd name="connsiteY56" fmla="*/ 587083 h 607467"/>
                <a:gd name="connsiteX57" fmla="*/ 145519 w 320128"/>
                <a:gd name="connsiteY57" fmla="*/ 603744 h 607467"/>
                <a:gd name="connsiteX58" fmla="*/ 254671 w 320128"/>
                <a:gd name="connsiteY58" fmla="*/ 603744 h 607467"/>
                <a:gd name="connsiteX59" fmla="*/ 277038 w 320128"/>
                <a:gd name="connsiteY59" fmla="*/ 581377 h 607467"/>
                <a:gd name="connsiteX60" fmla="*/ 281584 w 320128"/>
                <a:gd name="connsiteY60" fmla="*/ 579491 h 607467"/>
                <a:gd name="connsiteX61" fmla="*/ 304266 w 320128"/>
                <a:gd name="connsiteY61" fmla="*/ 579491 h 607467"/>
                <a:gd name="connsiteX62" fmla="*/ 304266 w 320128"/>
                <a:gd name="connsiteY62" fmla="*/ 491255 h 607467"/>
                <a:gd name="connsiteX63" fmla="*/ 268309 w 320128"/>
                <a:gd name="connsiteY63" fmla="*/ 455274 h 607467"/>
                <a:gd name="connsiteX64" fmla="*/ 268309 w 320128"/>
                <a:gd name="connsiteY64" fmla="*/ 446255 h 607467"/>
                <a:gd name="connsiteX65" fmla="*/ 320128 w 320128"/>
                <a:gd name="connsiteY65" fmla="*/ 394411 h 60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20128" h="607467">
                  <a:moveTo>
                    <a:pt x="320128" y="394411"/>
                  </a:moveTo>
                  <a:lnTo>
                    <a:pt x="269591" y="343898"/>
                  </a:lnTo>
                  <a:cubicBezTo>
                    <a:pt x="268406" y="342713"/>
                    <a:pt x="267753" y="341093"/>
                    <a:pt x="267753" y="339400"/>
                  </a:cubicBezTo>
                  <a:cubicBezTo>
                    <a:pt x="267753" y="337708"/>
                    <a:pt x="268406" y="336112"/>
                    <a:pt x="269591" y="334903"/>
                  </a:cubicBezTo>
                  <a:lnTo>
                    <a:pt x="279166" y="325327"/>
                  </a:lnTo>
                  <a:lnTo>
                    <a:pt x="239752" y="285888"/>
                  </a:lnTo>
                  <a:cubicBezTo>
                    <a:pt x="237261" y="283398"/>
                    <a:pt x="237261" y="279384"/>
                    <a:pt x="239752" y="276893"/>
                  </a:cubicBezTo>
                  <a:lnTo>
                    <a:pt x="301896" y="214749"/>
                  </a:lnTo>
                  <a:lnTo>
                    <a:pt x="280883" y="193760"/>
                  </a:lnTo>
                  <a:lnTo>
                    <a:pt x="266133" y="208534"/>
                  </a:lnTo>
                  <a:cubicBezTo>
                    <a:pt x="263642" y="211025"/>
                    <a:pt x="259604" y="211025"/>
                    <a:pt x="257137" y="208534"/>
                  </a:cubicBezTo>
                  <a:lnTo>
                    <a:pt x="195718" y="147091"/>
                  </a:lnTo>
                  <a:cubicBezTo>
                    <a:pt x="195404" y="146801"/>
                    <a:pt x="195138" y="146462"/>
                    <a:pt x="194921" y="146100"/>
                  </a:cubicBezTo>
                  <a:cubicBezTo>
                    <a:pt x="194775" y="145882"/>
                    <a:pt x="194655" y="145640"/>
                    <a:pt x="194534" y="145399"/>
                  </a:cubicBezTo>
                  <a:cubicBezTo>
                    <a:pt x="194461" y="145253"/>
                    <a:pt x="194389" y="145133"/>
                    <a:pt x="194316" y="145012"/>
                  </a:cubicBezTo>
                  <a:cubicBezTo>
                    <a:pt x="194195" y="144721"/>
                    <a:pt x="194123" y="144455"/>
                    <a:pt x="194074" y="144165"/>
                  </a:cubicBezTo>
                  <a:cubicBezTo>
                    <a:pt x="194026" y="144044"/>
                    <a:pt x="193978" y="143948"/>
                    <a:pt x="193953" y="143803"/>
                  </a:cubicBezTo>
                  <a:cubicBezTo>
                    <a:pt x="193881" y="143392"/>
                    <a:pt x="193832" y="142980"/>
                    <a:pt x="193832" y="142569"/>
                  </a:cubicBezTo>
                  <a:lnTo>
                    <a:pt x="193832" y="142569"/>
                  </a:lnTo>
                  <a:cubicBezTo>
                    <a:pt x="193832" y="142158"/>
                    <a:pt x="193881" y="141747"/>
                    <a:pt x="193953" y="141336"/>
                  </a:cubicBezTo>
                  <a:cubicBezTo>
                    <a:pt x="193978" y="141215"/>
                    <a:pt x="194050" y="141119"/>
                    <a:pt x="194074" y="140973"/>
                  </a:cubicBezTo>
                  <a:cubicBezTo>
                    <a:pt x="194123" y="140708"/>
                    <a:pt x="194195" y="140417"/>
                    <a:pt x="194316" y="140151"/>
                  </a:cubicBezTo>
                  <a:cubicBezTo>
                    <a:pt x="194389" y="140006"/>
                    <a:pt x="194461" y="139861"/>
                    <a:pt x="194558" y="139716"/>
                  </a:cubicBezTo>
                  <a:cubicBezTo>
                    <a:pt x="194679" y="139498"/>
                    <a:pt x="194775" y="139257"/>
                    <a:pt x="194921" y="139063"/>
                  </a:cubicBezTo>
                  <a:cubicBezTo>
                    <a:pt x="195138" y="138701"/>
                    <a:pt x="195428" y="138386"/>
                    <a:pt x="195718" y="138072"/>
                  </a:cubicBezTo>
                  <a:lnTo>
                    <a:pt x="214120" y="119670"/>
                  </a:lnTo>
                  <a:lnTo>
                    <a:pt x="214120" y="30879"/>
                  </a:lnTo>
                  <a:lnTo>
                    <a:pt x="183241" y="0"/>
                  </a:lnTo>
                  <a:lnTo>
                    <a:pt x="157900" y="0"/>
                  </a:lnTo>
                  <a:lnTo>
                    <a:pt x="187570" y="29670"/>
                  </a:lnTo>
                  <a:cubicBezTo>
                    <a:pt x="188464" y="30564"/>
                    <a:pt x="189093" y="31701"/>
                    <a:pt x="189311" y="32910"/>
                  </a:cubicBezTo>
                  <a:cubicBezTo>
                    <a:pt x="189407" y="33321"/>
                    <a:pt x="189432" y="33756"/>
                    <a:pt x="189432" y="34167"/>
                  </a:cubicBezTo>
                  <a:cubicBezTo>
                    <a:pt x="189432" y="35860"/>
                    <a:pt x="188779" y="37480"/>
                    <a:pt x="187570" y="38665"/>
                  </a:cubicBezTo>
                  <a:lnTo>
                    <a:pt x="104315" y="121943"/>
                  </a:lnTo>
                  <a:lnTo>
                    <a:pt x="104315" y="153838"/>
                  </a:lnTo>
                  <a:cubicBezTo>
                    <a:pt x="104315" y="154587"/>
                    <a:pt x="104146" y="155313"/>
                    <a:pt x="103904" y="155990"/>
                  </a:cubicBezTo>
                  <a:cubicBezTo>
                    <a:pt x="103856" y="156086"/>
                    <a:pt x="103856" y="156159"/>
                    <a:pt x="103808" y="156256"/>
                  </a:cubicBezTo>
                  <a:cubicBezTo>
                    <a:pt x="103784" y="156328"/>
                    <a:pt x="103735" y="156401"/>
                    <a:pt x="103711" y="156473"/>
                  </a:cubicBezTo>
                  <a:cubicBezTo>
                    <a:pt x="103397" y="157150"/>
                    <a:pt x="102985" y="157779"/>
                    <a:pt x="102429" y="158311"/>
                  </a:cubicBezTo>
                  <a:lnTo>
                    <a:pt x="85721" y="175020"/>
                  </a:lnTo>
                  <a:lnTo>
                    <a:pt x="94691" y="183991"/>
                  </a:lnTo>
                  <a:cubicBezTo>
                    <a:pt x="95610" y="184886"/>
                    <a:pt x="96215" y="186022"/>
                    <a:pt x="96433" y="187231"/>
                  </a:cubicBezTo>
                  <a:cubicBezTo>
                    <a:pt x="96505" y="187642"/>
                    <a:pt x="96553" y="188053"/>
                    <a:pt x="96553" y="188489"/>
                  </a:cubicBezTo>
                  <a:lnTo>
                    <a:pt x="96553" y="240598"/>
                  </a:lnTo>
                  <a:cubicBezTo>
                    <a:pt x="96553" y="242266"/>
                    <a:pt x="95901" y="243887"/>
                    <a:pt x="94691" y="245096"/>
                  </a:cubicBezTo>
                  <a:lnTo>
                    <a:pt x="23383" y="316429"/>
                  </a:lnTo>
                  <a:lnTo>
                    <a:pt x="23383" y="336281"/>
                  </a:lnTo>
                  <a:lnTo>
                    <a:pt x="23383" y="366507"/>
                  </a:lnTo>
                  <a:cubicBezTo>
                    <a:pt x="23383" y="366918"/>
                    <a:pt x="23358" y="367353"/>
                    <a:pt x="23262" y="367764"/>
                  </a:cubicBezTo>
                  <a:cubicBezTo>
                    <a:pt x="22996" y="368973"/>
                    <a:pt x="22415" y="370110"/>
                    <a:pt x="21545" y="371004"/>
                  </a:cubicBezTo>
                  <a:lnTo>
                    <a:pt x="0" y="392525"/>
                  </a:lnTo>
                  <a:lnTo>
                    <a:pt x="0" y="532943"/>
                  </a:lnTo>
                  <a:lnTo>
                    <a:pt x="74549" y="607468"/>
                  </a:lnTo>
                  <a:lnTo>
                    <a:pt x="74549" y="587083"/>
                  </a:lnTo>
                  <a:cubicBezTo>
                    <a:pt x="74549" y="583553"/>
                    <a:pt x="77378" y="580724"/>
                    <a:pt x="80908" y="580724"/>
                  </a:cubicBezTo>
                  <a:lnTo>
                    <a:pt x="139160" y="580724"/>
                  </a:lnTo>
                  <a:cubicBezTo>
                    <a:pt x="142666" y="580724"/>
                    <a:pt x="145519" y="583577"/>
                    <a:pt x="145519" y="587083"/>
                  </a:cubicBezTo>
                  <a:lnTo>
                    <a:pt x="145519" y="603744"/>
                  </a:lnTo>
                  <a:lnTo>
                    <a:pt x="254671" y="603744"/>
                  </a:lnTo>
                  <a:lnTo>
                    <a:pt x="277038" y="581377"/>
                  </a:lnTo>
                  <a:cubicBezTo>
                    <a:pt x="278247" y="580168"/>
                    <a:pt x="279843" y="579491"/>
                    <a:pt x="281584" y="579491"/>
                  </a:cubicBezTo>
                  <a:lnTo>
                    <a:pt x="304266" y="579491"/>
                  </a:lnTo>
                  <a:lnTo>
                    <a:pt x="304266" y="491255"/>
                  </a:lnTo>
                  <a:lnTo>
                    <a:pt x="268309" y="455274"/>
                  </a:lnTo>
                  <a:cubicBezTo>
                    <a:pt x="265794" y="452784"/>
                    <a:pt x="265794" y="448745"/>
                    <a:pt x="268309" y="446255"/>
                  </a:cubicBezTo>
                  <a:lnTo>
                    <a:pt x="320128" y="39441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orma Livre: Forma 34">
              <a:extLst>
                <a:ext uri="{FF2B5EF4-FFF2-40B4-BE49-F238E27FC236}">
                  <a16:creationId xmlns:a16="http://schemas.microsoft.com/office/drawing/2014/main" id="{126633DF-61B5-090E-6388-8F980B6CD236}"/>
                </a:ext>
              </a:extLst>
            </p:cNvPr>
            <p:cNvSpPr/>
            <p:nvPr/>
          </p:nvSpPr>
          <p:spPr>
            <a:xfrm>
              <a:off x="4760291" y="2134125"/>
              <a:ext cx="820717" cy="661076"/>
            </a:xfrm>
            <a:custGeom>
              <a:avLst/>
              <a:gdLst>
                <a:gd name="connsiteX0" fmla="*/ 480809 w 820717"/>
                <a:gd name="connsiteY0" fmla="*/ 24 h 661076"/>
                <a:gd name="connsiteX1" fmla="*/ 402730 w 820717"/>
                <a:gd name="connsiteY1" fmla="*/ 78104 h 661076"/>
                <a:gd name="connsiteX2" fmla="*/ 398232 w 820717"/>
                <a:gd name="connsiteY2" fmla="*/ 79941 h 661076"/>
                <a:gd name="connsiteX3" fmla="*/ 368707 w 820717"/>
                <a:gd name="connsiteY3" fmla="*/ 79941 h 661076"/>
                <a:gd name="connsiteX4" fmla="*/ 362324 w 820717"/>
                <a:gd name="connsiteY4" fmla="*/ 73582 h 661076"/>
                <a:gd name="connsiteX5" fmla="*/ 362324 w 820717"/>
                <a:gd name="connsiteY5" fmla="*/ 43598 h 661076"/>
                <a:gd name="connsiteX6" fmla="*/ 333839 w 820717"/>
                <a:gd name="connsiteY6" fmla="*/ 43598 h 661076"/>
                <a:gd name="connsiteX7" fmla="*/ 333839 w 820717"/>
                <a:gd name="connsiteY7" fmla="*/ 62676 h 661076"/>
                <a:gd name="connsiteX8" fmla="*/ 333694 w 820717"/>
                <a:gd name="connsiteY8" fmla="*/ 63958 h 661076"/>
                <a:gd name="connsiteX9" fmla="*/ 327479 w 820717"/>
                <a:gd name="connsiteY9" fmla="*/ 69036 h 661076"/>
                <a:gd name="connsiteX10" fmla="*/ 303516 w 820717"/>
                <a:gd name="connsiteY10" fmla="*/ 69036 h 661076"/>
                <a:gd name="connsiteX11" fmla="*/ 303516 w 820717"/>
                <a:gd name="connsiteY11" fmla="*/ 134348 h 661076"/>
                <a:gd name="connsiteX12" fmla="*/ 303419 w 820717"/>
                <a:gd name="connsiteY12" fmla="*/ 135629 h 661076"/>
                <a:gd name="connsiteX13" fmla="*/ 297157 w 820717"/>
                <a:gd name="connsiteY13" fmla="*/ 140707 h 661076"/>
                <a:gd name="connsiteX14" fmla="*/ 275225 w 820717"/>
                <a:gd name="connsiteY14" fmla="*/ 140707 h 661076"/>
                <a:gd name="connsiteX15" fmla="*/ 275225 w 820717"/>
                <a:gd name="connsiteY15" fmla="*/ 195501 h 661076"/>
                <a:gd name="connsiteX16" fmla="*/ 291885 w 820717"/>
                <a:gd name="connsiteY16" fmla="*/ 212161 h 661076"/>
                <a:gd name="connsiteX17" fmla="*/ 293747 w 820717"/>
                <a:gd name="connsiteY17" fmla="*/ 216659 h 661076"/>
                <a:gd name="connsiteX18" fmla="*/ 291885 w 820717"/>
                <a:gd name="connsiteY18" fmla="*/ 221205 h 661076"/>
                <a:gd name="connsiteX19" fmla="*/ 261006 w 820717"/>
                <a:gd name="connsiteY19" fmla="*/ 252035 h 661076"/>
                <a:gd name="connsiteX20" fmla="*/ 267946 w 820717"/>
                <a:gd name="connsiteY20" fmla="*/ 252035 h 661076"/>
                <a:gd name="connsiteX21" fmla="*/ 274185 w 820717"/>
                <a:gd name="connsiteY21" fmla="*/ 257138 h 661076"/>
                <a:gd name="connsiteX22" fmla="*/ 274306 w 820717"/>
                <a:gd name="connsiteY22" fmla="*/ 258419 h 661076"/>
                <a:gd name="connsiteX23" fmla="*/ 274306 w 820717"/>
                <a:gd name="connsiteY23" fmla="*/ 288234 h 661076"/>
                <a:gd name="connsiteX24" fmla="*/ 272444 w 820717"/>
                <a:gd name="connsiteY24" fmla="*/ 292780 h 661076"/>
                <a:gd name="connsiteX25" fmla="*/ 222293 w 820717"/>
                <a:gd name="connsiteY25" fmla="*/ 342931 h 661076"/>
                <a:gd name="connsiteX26" fmla="*/ 221302 w 820717"/>
                <a:gd name="connsiteY26" fmla="*/ 343753 h 661076"/>
                <a:gd name="connsiteX27" fmla="*/ 217796 w 820717"/>
                <a:gd name="connsiteY27" fmla="*/ 344793 h 661076"/>
                <a:gd name="connsiteX28" fmla="*/ 213274 w 820717"/>
                <a:gd name="connsiteY28" fmla="*/ 342931 h 661076"/>
                <a:gd name="connsiteX29" fmla="*/ 199999 w 820717"/>
                <a:gd name="connsiteY29" fmla="*/ 329655 h 661076"/>
                <a:gd name="connsiteX30" fmla="*/ 142594 w 820717"/>
                <a:gd name="connsiteY30" fmla="*/ 329655 h 661076"/>
                <a:gd name="connsiteX31" fmla="*/ 124531 w 820717"/>
                <a:gd name="connsiteY31" fmla="*/ 347719 h 661076"/>
                <a:gd name="connsiteX32" fmla="*/ 120009 w 820717"/>
                <a:gd name="connsiteY32" fmla="*/ 349580 h 661076"/>
                <a:gd name="connsiteX33" fmla="*/ 57744 w 820717"/>
                <a:gd name="connsiteY33" fmla="*/ 349580 h 661076"/>
                <a:gd name="connsiteX34" fmla="*/ 0 w 820717"/>
                <a:gd name="connsiteY34" fmla="*/ 407324 h 661076"/>
                <a:gd name="connsiteX35" fmla="*/ 0 w 820717"/>
                <a:gd name="connsiteY35" fmla="*/ 439073 h 661076"/>
                <a:gd name="connsiteX36" fmla="*/ 7012 w 820717"/>
                <a:gd name="connsiteY36" fmla="*/ 432061 h 661076"/>
                <a:gd name="connsiteX37" fmla="*/ 11558 w 820717"/>
                <a:gd name="connsiteY37" fmla="*/ 430223 h 661076"/>
                <a:gd name="connsiteX38" fmla="*/ 104122 w 820717"/>
                <a:gd name="connsiteY38" fmla="*/ 430223 h 661076"/>
                <a:gd name="connsiteX39" fmla="*/ 105380 w 820717"/>
                <a:gd name="connsiteY39" fmla="*/ 430320 h 661076"/>
                <a:gd name="connsiteX40" fmla="*/ 108644 w 820717"/>
                <a:gd name="connsiteY40" fmla="*/ 432061 h 661076"/>
                <a:gd name="connsiteX41" fmla="*/ 135944 w 820717"/>
                <a:gd name="connsiteY41" fmla="*/ 459385 h 661076"/>
                <a:gd name="connsiteX42" fmla="*/ 147986 w 820717"/>
                <a:gd name="connsiteY42" fmla="*/ 447343 h 661076"/>
                <a:gd name="connsiteX43" fmla="*/ 152508 w 820717"/>
                <a:gd name="connsiteY43" fmla="*/ 445481 h 661076"/>
                <a:gd name="connsiteX44" fmla="*/ 213540 w 820717"/>
                <a:gd name="connsiteY44" fmla="*/ 445481 h 661076"/>
                <a:gd name="connsiteX45" fmla="*/ 221834 w 820717"/>
                <a:gd name="connsiteY45" fmla="*/ 437211 h 661076"/>
                <a:gd name="connsiteX46" fmla="*/ 226331 w 820717"/>
                <a:gd name="connsiteY46" fmla="*/ 435325 h 661076"/>
                <a:gd name="connsiteX47" fmla="*/ 254744 w 820717"/>
                <a:gd name="connsiteY47" fmla="*/ 435325 h 661076"/>
                <a:gd name="connsiteX48" fmla="*/ 259241 w 820717"/>
                <a:gd name="connsiteY48" fmla="*/ 437211 h 661076"/>
                <a:gd name="connsiteX49" fmla="*/ 279287 w 820717"/>
                <a:gd name="connsiteY49" fmla="*/ 457233 h 661076"/>
                <a:gd name="connsiteX50" fmla="*/ 281173 w 820717"/>
                <a:gd name="connsiteY50" fmla="*/ 461730 h 661076"/>
                <a:gd name="connsiteX51" fmla="*/ 281173 w 820717"/>
                <a:gd name="connsiteY51" fmla="*/ 482961 h 661076"/>
                <a:gd name="connsiteX52" fmla="*/ 288984 w 820717"/>
                <a:gd name="connsiteY52" fmla="*/ 490772 h 661076"/>
                <a:gd name="connsiteX53" fmla="*/ 290821 w 820717"/>
                <a:gd name="connsiteY53" fmla="*/ 495293 h 661076"/>
                <a:gd name="connsiteX54" fmla="*/ 288984 w 820717"/>
                <a:gd name="connsiteY54" fmla="*/ 499791 h 661076"/>
                <a:gd name="connsiteX55" fmla="*/ 278465 w 820717"/>
                <a:gd name="connsiteY55" fmla="*/ 510310 h 661076"/>
                <a:gd name="connsiteX56" fmla="*/ 278465 w 820717"/>
                <a:gd name="connsiteY56" fmla="*/ 550232 h 661076"/>
                <a:gd name="connsiteX57" fmla="*/ 328761 w 820717"/>
                <a:gd name="connsiteY57" fmla="*/ 550232 h 661076"/>
                <a:gd name="connsiteX58" fmla="*/ 329728 w 820717"/>
                <a:gd name="connsiteY58" fmla="*/ 550304 h 661076"/>
                <a:gd name="connsiteX59" fmla="*/ 334661 w 820717"/>
                <a:gd name="connsiteY59" fmla="*/ 554149 h 661076"/>
                <a:gd name="connsiteX60" fmla="*/ 333258 w 820717"/>
                <a:gd name="connsiteY60" fmla="*/ 561065 h 661076"/>
                <a:gd name="connsiteX61" fmla="*/ 313745 w 820717"/>
                <a:gd name="connsiteY61" fmla="*/ 580603 h 661076"/>
                <a:gd name="connsiteX62" fmla="*/ 313745 w 820717"/>
                <a:gd name="connsiteY62" fmla="*/ 613295 h 661076"/>
                <a:gd name="connsiteX63" fmla="*/ 339618 w 820717"/>
                <a:gd name="connsiteY63" fmla="*/ 639193 h 661076"/>
                <a:gd name="connsiteX64" fmla="*/ 341480 w 820717"/>
                <a:gd name="connsiteY64" fmla="*/ 643690 h 661076"/>
                <a:gd name="connsiteX65" fmla="*/ 341480 w 820717"/>
                <a:gd name="connsiteY65" fmla="*/ 661076 h 661076"/>
                <a:gd name="connsiteX66" fmla="*/ 371488 w 820717"/>
                <a:gd name="connsiteY66" fmla="*/ 661076 h 661076"/>
                <a:gd name="connsiteX67" fmla="*/ 389672 w 820717"/>
                <a:gd name="connsiteY67" fmla="*/ 642844 h 661076"/>
                <a:gd name="connsiteX68" fmla="*/ 394170 w 820717"/>
                <a:gd name="connsiteY68" fmla="*/ 641006 h 661076"/>
                <a:gd name="connsiteX69" fmla="*/ 436703 w 820717"/>
                <a:gd name="connsiteY69" fmla="*/ 641006 h 661076"/>
                <a:gd name="connsiteX70" fmla="*/ 453823 w 820717"/>
                <a:gd name="connsiteY70" fmla="*/ 623910 h 661076"/>
                <a:gd name="connsiteX71" fmla="*/ 462819 w 820717"/>
                <a:gd name="connsiteY71" fmla="*/ 623910 h 661076"/>
                <a:gd name="connsiteX72" fmla="*/ 466276 w 820717"/>
                <a:gd name="connsiteY72" fmla="*/ 627368 h 661076"/>
                <a:gd name="connsiteX73" fmla="*/ 480761 w 820717"/>
                <a:gd name="connsiteY73" fmla="*/ 612908 h 661076"/>
                <a:gd name="connsiteX74" fmla="*/ 485258 w 820717"/>
                <a:gd name="connsiteY74" fmla="*/ 611022 h 661076"/>
                <a:gd name="connsiteX75" fmla="*/ 535820 w 820717"/>
                <a:gd name="connsiteY75" fmla="*/ 611022 h 661076"/>
                <a:gd name="connsiteX76" fmla="*/ 545347 w 820717"/>
                <a:gd name="connsiteY76" fmla="*/ 601495 h 661076"/>
                <a:gd name="connsiteX77" fmla="*/ 549845 w 820717"/>
                <a:gd name="connsiteY77" fmla="*/ 599633 h 661076"/>
                <a:gd name="connsiteX78" fmla="*/ 596731 w 820717"/>
                <a:gd name="connsiteY78" fmla="*/ 599633 h 661076"/>
                <a:gd name="connsiteX79" fmla="*/ 643158 w 820717"/>
                <a:gd name="connsiteY79" fmla="*/ 553230 h 661076"/>
                <a:gd name="connsiteX80" fmla="*/ 643158 w 820717"/>
                <a:gd name="connsiteY80" fmla="*/ 540777 h 661076"/>
                <a:gd name="connsiteX81" fmla="*/ 644996 w 820717"/>
                <a:gd name="connsiteY81" fmla="*/ 536255 h 661076"/>
                <a:gd name="connsiteX82" fmla="*/ 675657 w 820717"/>
                <a:gd name="connsiteY82" fmla="*/ 505594 h 661076"/>
                <a:gd name="connsiteX83" fmla="*/ 675657 w 820717"/>
                <a:gd name="connsiteY83" fmla="*/ 466301 h 661076"/>
                <a:gd name="connsiteX84" fmla="*/ 682041 w 820717"/>
                <a:gd name="connsiteY84" fmla="*/ 459917 h 661076"/>
                <a:gd name="connsiteX85" fmla="*/ 706512 w 820717"/>
                <a:gd name="connsiteY85" fmla="*/ 459917 h 661076"/>
                <a:gd name="connsiteX86" fmla="*/ 727646 w 820717"/>
                <a:gd name="connsiteY86" fmla="*/ 438759 h 661076"/>
                <a:gd name="connsiteX87" fmla="*/ 727646 w 820717"/>
                <a:gd name="connsiteY87" fmla="*/ 418616 h 661076"/>
                <a:gd name="connsiteX88" fmla="*/ 729508 w 820717"/>
                <a:gd name="connsiteY88" fmla="*/ 414119 h 661076"/>
                <a:gd name="connsiteX89" fmla="*/ 747329 w 820717"/>
                <a:gd name="connsiteY89" fmla="*/ 396297 h 661076"/>
                <a:gd name="connsiteX90" fmla="*/ 747329 w 820717"/>
                <a:gd name="connsiteY90" fmla="*/ 378138 h 661076"/>
                <a:gd name="connsiteX91" fmla="*/ 727283 w 820717"/>
                <a:gd name="connsiteY91" fmla="*/ 358092 h 661076"/>
                <a:gd name="connsiteX92" fmla="*/ 725397 w 820717"/>
                <a:gd name="connsiteY92" fmla="*/ 353594 h 661076"/>
                <a:gd name="connsiteX93" fmla="*/ 727283 w 820717"/>
                <a:gd name="connsiteY93" fmla="*/ 349073 h 661076"/>
                <a:gd name="connsiteX94" fmla="*/ 737028 w 820717"/>
                <a:gd name="connsiteY94" fmla="*/ 339328 h 661076"/>
                <a:gd name="connsiteX95" fmla="*/ 720392 w 820717"/>
                <a:gd name="connsiteY95" fmla="*/ 322691 h 661076"/>
                <a:gd name="connsiteX96" fmla="*/ 718530 w 820717"/>
                <a:gd name="connsiteY96" fmla="*/ 318194 h 661076"/>
                <a:gd name="connsiteX97" fmla="*/ 720392 w 820717"/>
                <a:gd name="connsiteY97" fmla="*/ 313672 h 661076"/>
                <a:gd name="connsiteX98" fmla="*/ 756542 w 820717"/>
                <a:gd name="connsiteY98" fmla="*/ 277522 h 661076"/>
                <a:gd name="connsiteX99" fmla="*/ 761039 w 820717"/>
                <a:gd name="connsiteY99" fmla="*/ 275684 h 661076"/>
                <a:gd name="connsiteX100" fmla="*/ 793441 w 820717"/>
                <a:gd name="connsiteY100" fmla="*/ 275684 h 661076"/>
                <a:gd name="connsiteX101" fmla="*/ 793441 w 820717"/>
                <a:gd name="connsiteY101" fmla="*/ 268527 h 661076"/>
                <a:gd name="connsiteX102" fmla="*/ 772573 w 820717"/>
                <a:gd name="connsiteY102" fmla="*/ 247635 h 661076"/>
                <a:gd name="connsiteX103" fmla="*/ 770712 w 820717"/>
                <a:gd name="connsiteY103" fmla="*/ 243137 h 661076"/>
                <a:gd name="connsiteX104" fmla="*/ 770712 w 820717"/>
                <a:gd name="connsiteY104" fmla="*/ 205439 h 661076"/>
                <a:gd name="connsiteX105" fmla="*/ 777095 w 820717"/>
                <a:gd name="connsiteY105" fmla="*/ 199080 h 661076"/>
                <a:gd name="connsiteX106" fmla="*/ 793272 w 820717"/>
                <a:gd name="connsiteY106" fmla="*/ 199080 h 661076"/>
                <a:gd name="connsiteX107" fmla="*/ 793272 w 820717"/>
                <a:gd name="connsiteY107" fmla="*/ 175890 h 661076"/>
                <a:gd name="connsiteX108" fmla="*/ 795134 w 820717"/>
                <a:gd name="connsiteY108" fmla="*/ 171393 h 661076"/>
                <a:gd name="connsiteX109" fmla="*/ 820717 w 820717"/>
                <a:gd name="connsiteY109" fmla="*/ 145810 h 661076"/>
                <a:gd name="connsiteX110" fmla="*/ 797213 w 820717"/>
                <a:gd name="connsiteY110" fmla="*/ 122306 h 661076"/>
                <a:gd name="connsiteX111" fmla="*/ 705907 w 820717"/>
                <a:gd name="connsiteY111" fmla="*/ 122306 h 661076"/>
                <a:gd name="connsiteX112" fmla="*/ 699644 w 820717"/>
                <a:gd name="connsiteY112" fmla="*/ 117228 h 661076"/>
                <a:gd name="connsiteX113" fmla="*/ 699524 w 820717"/>
                <a:gd name="connsiteY113" fmla="*/ 115922 h 661076"/>
                <a:gd name="connsiteX114" fmla="*/ 699524 w 820717"/>
                <a:gd name="connsiteY114" fmla="*/ 102042 h 661076"/>
                <a:gd name="connsiteX115" fmla="*/ 668258 w 820717"/>
                <a:gd name="connsiteY115" fmla="*/ 70753 h 661076"/>
                <a:gd name="connsiteX116" fmla="*/ 644924 w 820717"/>
                <a:gd name="connsiteY116" fmla="*/ 94087 h 661076"/>
                <a:gd name="connsiteX117" fmla="*/ 635904 w 820717"/>
                <a:gd name="connsiteY117" fmla="*/ 94087 h 661076"/>
                <a:gd name="connsiteX118" fmla="*/ 582876 w 820717"/>
                <a:gd name="connsiteY118" fmla="*/ 41035 h 661076"/>
                <a:gd name="connsiteX119" fmla="*/ 565248 w 820717"/>
                <a:gd name="connsiteY119" fmla="*/ 58662 h 661076"/>
                <a:gd name="connsiteX120" fmla="*/ 556253 w 820717"/>
                <a:gd name="connsiteY120" fmla="*/ 58662 h 661076"/>
                <a:gd name="connsiteX121" fmla="*/ 533983 w 820717"/>
                <a:gd name="connsiteY121" fmla="*/ 36392 h 661076"/>
                <a:gd name="connsiteX122" fmla="*/ 532096 w 820717"/>
                <a:gd name="connsiteY122" fmla="*/ 31894 h 661076"/>
                <a:gd name="connsiteX123" fmla="*/ 532096 w 820717"/>
                <a:gd name="connsiteY123" fmla="*/ 0 h 661076"/>
                <a:gd name="connsiteX124" fmla="*/ 480809 w 820717"/>
                <a:gd name="connsiteY124" fmla="*/ 0 h 66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820717" h="661076">
                  <a:moveTo>
                    <a:pt x="480809" y="24"/>
                  </a:moveTo>
                  <a:lnTo>
                    <a:pt x="402730" y="78104"/>
                  </a:lnTo>
                  <a:cubicBezTo>
                    <a:pt x="401545" y="79289"/>
                    <a:pt x="399925" y="79941"/>
                    <a:pt x="398232" y="79941"/>
                  </a:cubicBezTo>
                  <a:lnTo>
                    <a:pt x="368707" y="79941"/>
                  </a:lnTo>
                  <a:cubicBezTo>
                    <a:pt x="365177" y="79941"/>
                    <a:pt x="362324" y="77088"/>
                    <a:pt x="362324" y="73582"/>
                  </a:cubicBezTo>
                  <a:lnTo>
                    <a:pt x="362324" y="43598"/>
                  </a:lnTo>
                  <a:lnTo>
                    <a:pt x="333839" y="43598"/>
                  </a:lnTo>
                  <a:lnTo>
                    <a:pt x="333839" y="62676"/>
                  </a:lnTo>
                  <a:cubicBezTo>
                    <a:pt x="333839" y="63136"/>
                    <a:pt x="333790" y="63547"/>
                    <a:pt x="333694" y="63958"/>
                  </a:cubicBezTo>
                  <a:cubicBezTo>
                    <a:pt x="333113" y="66860"/>
                    <a:pt x="330526" y="69036"/>
                    <a:pt x="327479" y="69036"/>
                  </a:cubicBezTo>
                  <a:lnTo>
                    <a:pt x="303516" y="69036"/>
                  </a:lnTo>
                  <a:lnTo>
                    <a:pt x="303516" y="134348"/>
                  </a:lnTo>
                  <a:cubicBezTo>
                    <a:pt x="303516" y="134783"/>
                    <a:pt x="303492" y="135194"/>
                    <a:pt x="303419" y="135629"/>
                  </a:cubicBezTo>
                  <a:cubicBezTo>
                    <a:pt x="302815" y="138531"/>
                    <a:pt x="300252" y="140707"/>
                    <a:pt x="297157" y="140707"/>
                  </a:cubicBezTo>
                  <a:lnTo>
                    <a:pt x="275225" y="140707"/>
                  </a:lnTo>
                  <a:lnTo>
                    <a:pt x="275225" y="195501"/>
                  </a:lnTo>
                  <a:lnTo>
                    <a:pt x="291885" y="212161"/>
                  </a:lnTo>
                  <a:cubicBezTo>
                    <a:pt x="293094" y="213371"/>
                    <a:pt x="293747" y="214967"/>
                    <a:pt x="293747" y="216659"/>
                  </a:cubicBezTo>
                  <a:cubicBezTo>
                    <a:pt x="293747" y="218376"/>
                    <a:pt x="293094" y="219996"/>
                    <a:pt x="291885" y="221205"/>
                  </a:cubicBezTo>
                  <a:lnTo>
                    <a:pt x="261006" y="252035"/>
                  </a:lnTo>
                  <a:lnTo>
                    <a:pt x="267946" y="252035"/>
                  </a:lnTo>
                  <a:cubicBezTo>
                    <a:pt x="271017" y="252035"/>
                    <a:pt x="273580" y="254236"/>
                    <a:pt x="274185" y="257138"/>
                  </a:cubicBezTo>
                  <a:cubicBezTo>
                    <a:pt x="274257" y="257549"/>
                    <a:pt x="274306" y="257984"/>
                    <a:pt x="274306" y="258419"/>
                  </a:cubicBezTo>
                  <a:lnTo>
                    <a:pt x="274306" y="288234"/>
                  </a:lnTo>
                  <a:cubicBezTo>
                    <a:pt x="274306" y="289927"/>
                    <a:pt x="273653" y="291571"/>
                    <a:pt x="272444" y="292780"/>
                  </a:cubicBezTo>
                  <a:lnTo>
                    <a:pt x="222293" y="342931"/>
                  </a:lnTo>
                  <a:cubicBezTo>
                    <a:pt x="221979" y="343245"/>
                    <a:pt x="221665" y="343487"/>
                    <a:pt x="221302" y="343753"/>
                  </a:cubicBezTo>
                  <a:cubicBezTo>
                    <a:pt x="220238" y="344430"/>
                    <a:pt x="219005" y="344793"/>
                    <a:pt x="217796" y="344793"/>
                  </a:cubicBezTo>
                  <a:cubicBezTo>
                    <a:pt x="216151" y="344793"/>
                    <a:pt x="214531" y="344164"/>
                    <a:pt x="213274" y="342931"/>
                  </a:cubicBezTo>
                  <a:lnTo>
                    <a:pt x="199999" y="329655"/>
                  </a:lnTo>
                  <a:lnTo>
                    <a:pt x="142594" y="329655"/>
                  </a:lnTo>
                  <a:lnTo>
                    <a:pt x="124531" y="347719"/>
                  </a:lnTo>
                  <a:cubicBezTo>
                    <a:pt x="123322" y="348927"/>
                    <a:pt x="121726" y="349580"/>
                    <a:pt x="120009" y="349580"/>
                  </a:cubicBezTo>
                  <a:lnTo>
                    <a:pt x="57744" y="349580"/>
                  </a:lnTo>
                  <a:lnTo>
                    <a:pt x="0" y="407324"/>
                  </a:lnTo>
                  <a:lnTo>
                    <a:pt x="0" y="439073"/>
                  </a:lnTo>
                  <a:lnTo>
                    <a:pt x="7012" y="432061"/>
                  </a:lnTo>
                  <a:cubicBezTo>
                    <a:pt x="8221" y="430876"/>
                    <a:pt x="9817" y="430223"/>
                    <a:pt x="11558" y="430223"/>
                  </a:cubicBezTo>
                  <a:lnTo>
                    <a:pt x="104122" y="430223"/>
                  </a:lnTo>
                  <a:cubicBezTo>
                    <a:pt x="104557" y="430223"/>
                    <a:pt x="104944" y="430247"/>
                    <a:pt x="105380" y="430320"/>
                  </a:cubicBezTo>
                  <a:cubicBezTo>
                    <a:pt x="106588" y="430586"/>
                    <a:pt x="107725" y="431190"/>
                    <a:pt x="108644" y="432061"/>
                  </a:cubicBezTo>
                  <a:lnTo>
                    <a:pt x="135944" y="459385"/>
                  </a:lnTo>
                  <a:lnTo>
                    <a:pt x="147986" y="447343"/>
                  </a:lnTo>
                  <a:cubicBezTo>
                    <a:pt x="149171" y="446134"/>
                    <a:pt x="150791" y="445481"/>
                    <a:pt x="152508" y="445481"/>
                  </a:cubicBezTo>
                  <a:lnTo>
                    <a:pt x="213540" y="445481"/>
                  </a:lnTo>
                  <a:lnTo>
                    <a:pt x="221834" y="437211"/>
                  </a:lnTo>
                  <a:cubicBezTo>
                    <a:pt x="223043" y="436002"/>
                    <a:pt x="224639" y="435325"/>
                    <a:pt x="226331" y="435325"/>
                  </a:cubicBezTo>
                  <a:lnTo>
                    <a:pt x="254744" y="435325"/>
                  </a:lnTo>
                  <a:cubicBezTo>
                    <a:pt x="256412" y="435325"/>
                    <a:pt x="258056" y="436002"/>
                    <a:pt x="259241" y="437211"/>
                  </a:cubicBezTo>
                  <a:lnTo>
                    <a:pt x="279287" y="457233"/>
                  </a:lnTo>
                  <a:cubicBezTo>
                    <a:pt x="280496" y="458442"/>
                    <a:pt x="281173" y="460038"/>
                    <a:pt x="281173" y="461730"/>
                  </a:cubicBezTo>
                  <a:lnTo>
                    <a:pt x="281173" y="482961"/>
                  </a:lnTo>
                  <a:lnTo>
                    <a:pt x="288984" y="490772"/>
                  </a:lnTo>
                  <a:cubicBezTo>
                    <a:pt x="290168" y="491956"/>
                    <a:pt x="290821" y="493576"/>
                    <a:pt x="290821" y="495293"/>
                  </a:cubicBezTo>
                  <a:cubicBezTo>
                    <a:pt x="290821" y="496962"/>
                    <a:pt x="290168" y="498582"/>
                    <a:pt x="288984" y="499791"/>
                  </a:cubicBezTo>
                  <a:lnTo>
                    <a:pt x="278465" y="510310"/>
                  </a:lnTo>
                  <a:lnTo>
                    <a:pt x="278465" y="550232"/>
                  </a:lnTo>
                  <a:lnTo>
                    <a:pt x="328761" y="550232"/>
                  </a:lnTo>
                  <a:cubicBezTo>
                    <a:pt x="329099" y="550232"/>
                    <a:pt x="329390" y="550256"/>
                    <a:pt x="329728" y="550304"/>
                  </a:cubicBezTo>
                  <a:cubicBezTo>
                    <a:pt x="331904" y="550643"/>
                    <a:pt x="333790" y="552070"/>
                    <a:pt x="334661" y="554149"/>
                  </a:cubicBezTo>
                  <a:cubicBezTo>
                    <a:pt x="335628" y="556519"/>
                    <a:pt x="335072" y="559251"/>
                    <a:pt x="333258" y="561065"/>
                  </a:cubicBezTo>
                  <a:lnTo>
                    <a:pt x="313745" y="580603"/>
                  </a:lnTo>
                  <a:lnTo>
                    <a:pt x="313745" y="613295"/>
                  </a:lnTo>
                  <a:lnTo>
                    <a:pt x="339618" y="639193"/>
                  </a:lnTo>
                  <a:cubicBezTo>
                    <a:pt x="340803" y="640377"/>
                    <a:pt x="341480" y="641998"/>
                    <a:pt x="341480" y="643690"/>
                  </a:cubicBezTo>
                  <a:lnTo>
                    <a:pt x="341480" y="661076"/>
                  </a:lnTo>
                  <a:lnTo>
                    <a:pt x="371488" y="661076"/>
                  </a:lnTo>
                  <a:lnTo>
                    <a:pt x="389672" y="642844"/>
                  </a:lnTo>
                  <a:cubicBezTo>
                    <a:pt x="390881" y="641659"/>
                    <a:pt x="392477" y="641006"/>
                    <a:pt x="394170" y="641006"/>
                  </a:cubicBezTo>
                  <a:lnTo>
                    <a:pt x="436703" y="641006"/>
                  </a:lnTo>
                  <a:lnTo>
                    <a:pt x="453823" y="623910"/>
                  </a:lnTo>
                  <a:cubicBezTo>
                    <a:pt x="456314" y="621420"/>
                    <a:pt x="460352" y="621420"/>
                    <a:pt x="462819" y="623910"/>
                  </a:cubicBezTo>
                  <a:lnTo>
                    <a:pt x="466276" y="627368"/>
                  </a:lnTo>
                  <a:lnTo>
                    <a:pt x="480761" y="612908"/>
                  </a:lnTo>
                  <a:cubicBezTo>
                    <a:pt x="481970" y="611699"/>
                    <a:pt x="483566" y="611022"/>
                    <a:pt x="485258" y="611022"/>
                  </a:cubicBezTo>
                  <a:lnTo>
                    <a:pt x="535820" y="611022"/>
                  </a:lnTo>
                  <a:lnTo>
                    <a:pt x="545347" y="601495"/>
                  </a:lnTo>
                  <a:cubicBezTo>
                    <a:pt x="546532" y="600286"/>
                    <a:pt x="548152" y="599633"/>
                    <a:pt x="549845" y="599633"/>
                  </a:cubicBezTo>
                  <a:lnTo>
                    <a:pt x="596731" y="599633"/>
                  </a:lnTo>
                  <a:lnTo>
                    <a:pt x="643158" y="553230"/>
                  </a:lnTo>
                  <a:lnTo>
                    <a:pt x="643158" y="540777"/>
                  </a:lnTo>
                  <a:cubicBezTo>
                    <a:pt x="643158" y="539085"/>
                    <a:pt x="643811" y="537464"/>
                    <a:pt x="644996" y="536255"/>
                  </a:cubicBezTo>
                  <a:lnTo>
                    <a:pt x="675657" y="505594"/>
                  </a:lnTo>
                  <a:lnTo>
                    <a:pt x="675657" y="466301"/>
                  </a:lnTo>
                  <a:cubicBezTo>
                    <a:pt x="675657" y="462770"/>
                    <a:pt x="678511" y="459917"/>
                    <a:pt x="682041" y="459917"/>
                  </a:cubicBezTo>
                  <a:lnTo>
                    <a:pt x="706512" y="459917"/>
                  </a:lnTo>
                  <a:lnTo>
                    <a:pt x="727646" y="438759"/>
                  </a:lnTo>
                  <a:lnTo>
                    <a:pt x="727646" y="418616"/>
                  </a:lnTo>
                  <a:cubicBezTo>
                    <a:pt x="727646" y="416924"/>
                    <a:pt x="728299" y="415304"/>
                    <a:pt x="729508" y="414119"/>
                  </a:cubicBezTo>
                  <a:lnTo>
                    <a:pt x="747329" y="396297"/>
                  </a:lnTo>
                  <a:lnTo>
                    <a:pt x="747329" y="378138"/>
                  </a:lnTo>
                  <a:lnTo>
                    <a:pt x="727283" y="358092"/>
                  </a:lnTo>
                  <a:cubicBezTo>
                    <a:pt x="726098" y="356883"/>
                    <a:pt x="725397" y="355287"/>
                    <a:pt x="725397" y="353594"/>
                  </a:cubicBezTo>
                  <a:cubicBezTo>
                    <a:pt x="725397" y="351902"/>
                    <a:pt x="726098" y="350282"/>
                    <a:pt x="727283" y="349073"/>
                  </a:cubicBezTo>
                  <a:lnTo>
                    <a:pt x="737028" y="339328"/>
                  </a:lnTo>
                  <a:lnTo>
                    <a:pt x="720392" y="322691"/>
                  </a:lnTo>
                  <a:cubicBezTo>
                    <a:pt x="719182" y="321482"/>
                    <a:pt x="718530" y="319886"/>
                    <a:pt x="718530" y="318194"/>
                  </a:cubicBezTo>
                  <a:cubicBezTo>
                    <a:pt x="718530" y="316501"/>
                    <a:pt x="719182" y="314881"/>
                    <a:pt x="720392" y="313672"/>
                  </a:cubicBezTo>
                  <a:lnTo>
                    <a:pt x="756542" y="277522"/>
                  </a:lnTo>
                  <a:cubicBezTo>
                    <a:pt x="757727" y="276337"/>
                    <a:pt x="759347" y="275684"/>
                    <a:pt x="761039" y="275684"/>
                  </a:cubicBezTo>
                  <a:lnTo>
                    <a:pt x="793441" y="275684"/>
                  </a:lnTo>
                  <a:lnTo>
                    <a:pt x="793441" y="268527"/>
                  </a:lnTo>
                  <a:lnTo>
                    <a:pt x="772573" y="247635"/>
                  </a:lnTo>
                  <a:cubicBezTo>
                    <a:pt x="771389" y="246425"/>
                    <a:pt x="770712" y="244830"/>
                    <a:pt x="770712" y="243137"/>
                  </a:cubicBezTo>
                  <a:lnTo>
                    <a:pt x="770712" y="205439"/>
                  </a:lnTo>
                  <a:cubicBezTo>
                    <a:pt x="770712" y="201909"/>
                    <a:pt x="773565" y="199080"/>
                    <a:pt x="777095" y="199080"/>
                  </a:cubicBezTo>
                  <a:lnTo>
                    <a:pt x="793272" y="199080"/>
                  </a:lnTo>
                  <a:lnTo>
                    <a:pt x="793272" y="175890"/>
                  </a:lnTo>
                  <a:cubicBezTo>
                    <a:pt x="793272" y="174222"/>
                    <a:pt x="793925" y="172602"/>
                    <a:pt x="795134" y="171393"/>
                  </a:cubicBezTo>
                  <a:lnTo>
                    <a:pt x="820717" y="145810"/>
                  </a:lnTo>
                  <a:lnTo>
                    <a:pt x="797213" y="122306"/>
                  </a:lnTo>
                  <a:lnTo>
                    <a:pt x="705907" y="122306"/>
                  </a:lnTo>
                  <a:cubicBezTo>
                    <a:pt x="702812" y="122306"/>
                    <a:pt x="700273" y="120130"/>
                    <a:pt x="699644" y="117228"/>
                  </a:cubicBezTo>
                  <a:cubicBezTo>
                    <a:pt x="699572" y="116793"/>
                    <a:pt x="699524" y="116382"/>
                    <a:pt x="699524" y="115922"/>
                  </a:cubicBezTo>
                  <a:lnTo>
                    <a:pt x="699524" y="102042"/>
                  </a:lnTo>
                  <a:lnTo>
                    <a:pt x="668258" y="70753"/>
                  </a:lnTo>
                  <a:lnTo>
                    <a:pt x="644924" y="94087"/>
                  </a:lnTo>
                  <a:cubicBezTo>
                    <a:pt x="642409" y="96578"/>
                    <a:pt x="638371" y="96578"/>
                    <a:pt x="635904" y="94087"/>
                  </a:cubicBezTo>
                  <a:lnTo>
                    <a:pt x="582876" y="41035"/>
                  </a:lnTo>
                  <a:lnTo>
                    <a:pt x="565248" y="58662"/>
                  </a:lnTo>
                  <a:cubicBezTo>
                    <a:pt x="562830" y="61080"/>
                    <a:pt x="558623" y="61080"/>
                    <a:pt x="556253" y="58662"/>
                  </a:cubicBezTo>
                  <a:lnTo>
                    <a:pt x="533983" y="36392"/>
                  </a:lnTo>
                  <a:cubicBezTo>
                    <a:pt x="532773" y="35183"/>
                    <a:pt x="532096" y="33587"/>
                    <a:pt x="532096" y="31894"/>
                  </a:cubicBezTo>
                  <a:lnTo>
                    <a:pt x="532096" y="0"/>
                  </a:lnTo>
                  <a:lnTo>
                    <a:pt x="480809" y="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orma Livre: Forma 35">
              <a:extLst>
                <a:ext uri="{FF2B5EF4-FFF2-40B4-BE49-F238E27FC236}">
                  <a16:creationId xmlns:a16="http://schemas.microsoft.com/office/drawing/2014/main" id="{7E936362-2360-9857-A206-45EC0562B579}"/>
                </a:ext>
              </a:extLst>
            </p:cNvPr>
            <p:cNvSpPr/>
            <p:nvPr/>
          </p:nvSpPr>
          <p:spPr>
            <a:xfrm>
              <a:off x="4970277" y="2230630"/>
              <a:ext cx="52568" cy="31483"/>
            </a:xfrm>
            <a:custGeom>
              <a:avLst/>
              <a:gdLst>
                <a:gd name="connsiteX0" fmla="*/ 0 w 52568"/>
                <a:gd name="connsiteY0" fmla="*/ 0 h 31483"/>
                <a:gd name="connsiteX1" fmla="*/ 52569 w 52568"/>
                <a:gd name="connsiteY1" fmla="*/ 0 h 31483"/>
                <a:gd name="connsiteX2" fmla="*/ 52569 w 52568"/>
                <a:gd name="connsiteY2" fmla="*/ 31483 h 31483"/>
                <a:gd name="connsiteX3" fmla="*/ 0 w 52568"/>
                <a:gd name="connsiteY3" fmla="*/ 31483 h 31483"/>
              </a:gdLst>
              <a:ahLst/>
              <a:cxnLst>
                <a:cxn ang="0">
                  <a:pos x="connsiteX0" y="connsiteY0"/>
                </a:cxn>
                <a:cxn ang="0">
                  <a:pos x="connsiteX1" y="connsiteY1"/>
                </a:cxn>
                <a:cxn ang="0">
                  <a:pos x="connsiteX2" y="connsiteY2"/>
                </a:cxn>
                <a:cxn ang="0">
                  <a:pos x="connsiteX3" y="connsiteY3"/>
                </a:cxn>
              </a:cxnLst>
              <a:rect l="l" t="t" r="r" b="b"/>
              <a:pathLst>
                <a:path w="52568" h="31483">
                  <a:moveTo>
                    <a:pt x="0" y="0"/>
                  </a:moveTo>
                  <a:lnTo>
                    <a:pt x="52569" y="0"/>
                  </a:lnTo>
                  <a:lnTo>
                    <a:pt x="52569" y="31483"/>
                  </a:lnTo>
                  <a:lnTo>
                    <a:pt x="0" y="31483"/>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orma Livre: Forma 36">
              <a:extLst>
                <a:ext uri="{FF2B5EF4-FFF2-40B4-BE49-F238E27FC236}">
                  <a16:creationId xmlns:a16="http://schemas.microsoft.com/office/drawing/2014/main" id="{815367E5-98BC-AEEB-EFDD-BE6F2A1F1C9B}"/>
                </a:ext>
              </a:extLst>
            </p:cNvPr>
            <p:cNvSpPr/>
            <p:nvPr/>
          </p:nvSpPr>
          <p:spPr>
            <a:xfrm>
              <a:off x="4605873" y="1998882"/>
              <a:ext cx="516814" cy="519570"/>
            </a:xfrm>
            <a:custGeom>
              <a:avLst/>
              <a:gdLst>
                <a:gd name="connsiteX0" fmla="*/ 495874 w 516814"/>
                <a:gd name="connsiteY0" fmla="*/ 120952 h 519570"/>
                <a:gd name="connsiteX1" fmla="*/ 495874 w 516814"/>
                <a:gd name="connsiteY1" fmla="*/ 41276 h 519570"/>
                <a:gd name="connsiteX2" fmla="*/ 475804 w 516814"/>
                <a:gd name="connsiteY2" fmla="*/ 41276 h 519570"/>
                <a:gd name="connsiteX3" fmla="*/ 453412 w 516814"/>
                <a:gd name="connsiteY3" fmla="*/ 63644 h 519570"/>
                <a:gd name="connsiteX4" fmla="*/ 448915 w 516814"/>
                <a:gd name="connsiteY4" fmla="*/ 65530 h 519570"/>
                <a:gd name="connsiteX5" fmla="*/ 330768 w 516814"/>
                <a:gd name="connsiteY5" fmla="*/ 65530 h 519570"/>
                <a:gd name="connsiteX6" fmla="*/ 324384 w 516814"/>
                <a:gd name="connsiteY6" fmla="*/ 59146 h 519570"/>
                <a:gd name="connsiteX7" fmla="*/ 324384 w 516814"/>
                <a:gd name="connsiteY7" fmla="*/ 42485 h 519570"/>
                <a:gd name="connsiteX8" fmla="*/ 278852 w 516814"/>
                <a:gd name="connsiteY8" fmla="*/ 42485 h 519570"/>
                <a:gd name="connsiteX9" fmla="*/ 278852 w 516814"/>
                <a:gd name="connsiteY9" fmla="*/ 71865 h 519570"/>
                <a:gd name="connsiteX10" fmla="*/ 274935 w 516814"/>
                <a:gd name="connsiteY10" fmla="*/ 77741 h 519570"/>
                <a:gd name="connsiteX11" fmla="*/ 273846 w 516814"/>
                <a:gd name="connsiteY11" fmla="*/ 78079 h 519570"/>
                <a:gd name="connsiteX12" fmla="*/ 273508 w 516814"/>
                <a:gd name="connsiteY12" fmla="*/ 78128 h 519570"/>
                <a:gd name="connsiteX13" fmla="*/ 272686 w 516814"/>
                <a:gd name="connsiteY13" fmla="*/ 78200 h 519570"/>
                <a:gd name="connsiteX14" fmla="*/ 272492 w 516814"/>
                <a:gd name="connsiteY14" fmla="*/ 78224 h 519570"/>
                <a:gd name="connsiteX15" fmla="*/ 272371 w 516814"/>
                <a:gd name="connsiteY15" fmla="*/ 78224 h 519570"/>
                <a:gd name="connsiteX16" fmla="*/ 271259 w 516814"/>
                <a:gd name="connsiteY16" fmla="*/ 78104 h 519570"/>
                <a:gd name="connsiteX17" fmla="*/ 271259 w 516814"/>
                <a:gd name="connsiteY17" fmla="*/ 78104 h 519570"/>
                <a:gd name="connsiteX18" fmla="*/ 270195 w 516814"/>
                <a:gd name="connsiteY18" fmla="*/ 77789 h 519570"/>
                <a:gd name="connsiteX19" fmla="*/ 269881 w 516814"/>
                <a:gd name="connsiteY19" fmla="*/ 77668 h 519570"/>
                <a:gd name="connsiteX20" fmla="*/ 269155 w 516814"/>
                <a:gd name="connsiteY20" fmla="*/ 77282 h 519570"/>
                <a:gd name="connsiteX21" fmla="*/ 268865 w 516814"/>
                <a:gd name="connsiteY21" fmla="*/ 77112 h 519570"/>
                <a:gd name="connsiteX22" fmla="*/ 267995 w 516814"/>
                <a:gd name="connsiteY22" fmla="*/ 76387 h 519570"/>
                <a:gd name="connsiteX23" fmla="*/ 191584 w 516814"/>
                <a:gd name="connsiteY23" fmla="*/ 0 h 519570"/>
                <a:gd name="connsiteX24" fmla="*/ 191584 w 516814"/>
                <a:gd name="connsiteY24" fmla="*/ 69399 h 519570"/>
                <a:gd name="connsiteX25" fmla="*/ 189746 w 516814"/>
                <a:gd name="connsiteY25" fmla="*/ 73896 h 519570"/>
                <a:gd name="connsiteX26" fmla="*/ 163050 w 516814"/>
                <a:gd name="connsiteY26" fmla="*/ 100592 h 519570"/>
                <a:gd name="connsiteX27" fmla="*/ 163050 w 516814"/>
                <a:gd name="connsiteY27" fmla="*/ 147067 h 519570"/>
                <a:gd name="connsiteX28" fmla="*/ 161164 w 516814"/>
                <a:gd name="connsiteY28" fmla="*/ 151589 h 519570"/>
                <a:gd name="connsiteX29" fmla="*/ 101245 w 516814"/>
                <a:gd name="connsiteY29" fmla="*/ 211509 h 519570"/>
                <a:gd name="connsiteX30" fmla="*/ 101245 w 516814"/>
                <a:gd name="connsiteY30" fmla="*/ 243330 h 519570"/>
                <a:gd name="connsiteX31" fmla="*/ 99407 w 516814"/>
                <a:gd name="connsiteY31" fmla="*/ 247828 h 519570"/>
                <a:gd name="connsiteX32" fmla="*/ 0 w 516814"/>
                <a:gd name="connsiteY32" fmla="*/ 347235 h 519570"/>
                <a:gd name="connsiteX33" fmla="*/ 0 w 516814"/>
                <a:gd name="connsiteY33" fmla="*/ 424202 h 519570"/>
                <a:gd name="connsiteX34" fmla="*/ 0 w 516814"/>
                <a:gd name="connsiteY34" fmla="*/ 451405 h 519570"/>
                <a:gd name="connsiteX35" fmla="*/ 15984 w 516814"/>
                <a:gd name="connsiteY35" fmla="*/ 467389 h 519570"/>
                <a:gd name="connsiteX36" fmla="*/ 39753 w 516814"/>
                <a:gd name="connsiteY36" fmla="*/ 467389 h 519570"/>
                <a:gd name="connsiteX37" fmla="*/ 44251 w 516814"/>
                <a:gd name="connsiteY37" fmla="*/ 469251 h 519570"/>
                <a:gd name="connsiteX38" fmla="*/ 94571 w 516814"/>
                <a:gd name="connsiteY38" fmla="*/ 519571 h 519570"/>
                <a:gd name="connsiteX39" fmla="*/ 159472 w 516814"/>
                <a:gd name="connsiteY39" fmla="*/ 519571 h 519570"/>
                <a:gd name="connsiteX40" fmla="*/ 205077 w 516814"/>
                <a:gd name="connsiteY40" fmla="*/ 473966 h 519570"/>
                <a:gd name="connsiteX41" fmla="*/ 209598 w 516814"/>
                <a:gd name="connsiteY41" fmla="*/ 472104 h 519570"/>
                <a:gd name="connsiteX42" fmla="*/ 271864 w 516814"/>
                <a:gd name="connsiteY42" fmla="*/ 472104 h 519570"/>
                <a:gd name="connsiteX43" fmla="*/ 289927 w 516814"/>
                <a:gd name="connsiteY43" fmla="*/ 454041 h 519570"/>
                <a:gd name="connsiteX44" fmla="*/ 294424 w 516814"/>
                <a:gd name="connsiteY44" fmla="*/ 452179 h 519570"/>
                <a:gd name="connsiteX45" fmla="*/ 357101 w 516814"/>
                <a:gd name="connsiteY45" fmla="*/ 452179 h 519570"/>
                <a:gd name="connsiteX46" fmla="*/ 361622 w 516814"/>
                <a:gd name="connsiteY46" fmla="*/ 454041 h 519570"/>
                <a:gd name="connsiteX47" fmla="*/ 372262 w 516814"/>
                <a:gd name="connsiteY47" fmla="*/ 464656 h 519570"/>
                <a:gd name="connsiteX48" fmla="*/ 416077 w 516814"/>
                <a:gd name="connsiteY48" fmla="*/ 420841 h 519570"/>
                <a:gd name="connsiteX49" fmla="*/ 416077 w 516814"/>
                <a:gd name="connsiteY49" fmla="*/ 399997 h 519570"/>
                <a:gd name="connsiteX50" fmla="*/ 400166 w 516814"/>
                <a:gd name="connsiteY50" fmla="*/ 399997 h 519570"/>
                <a:gd name="connsiteX51" fmla="*/ 394266 w 516814"/>
                <a:gd name="connsiteY51" fmla="*/ 396104 h 519570"/>
                <a:gd name="connsiteX52" fmla="*/ 395669 w 516814"/>
                <a:gd name="connsiteY52" fmla="*/ 389140 h 519570"/>
                <a:gd name="connsiteX53" fmla="*/ 432883 w 516814"/>
                <a:gd name="connsiteY53" fmla="*/ 351902 h 519570"/>
                <a:gd name="connsiteX54" fmla="*/ 418858 w 516814"/>
                <a:gd name="connsiteY54" fmla="*/ 337877 h 519570"/>
                <a:gd name="connsiteX55" fmla="*/ 416996 w 516814"/>
                <a:gd name="connsiteY55" fmla="*/ 333379 h 519570"/>
                <a:gd name="connsiteX56" fmla="*/ 416996 w 516814"/>
                <a:gd name="connsiteY56" fmla="*/ 275950 h 519570"/>
                <a:gd name="connsiteX57" fmla="*/ 358044 w 516814"/>
                <a:gd name="connsiteY57" fmla="*/ 275950 h 519570"/>
                <a:gd name="connsiteX58" fmla="*/ 351684 w 516814"/>
                <a:gd name="connsiteY58" fmla="*/ 269591 h 519570"/>
                <a:gd name="connsiteX59" fmla="*/ 351684 w 516814"/>
                <a:gd name="connsiteY59" fmla="*/ 225388 h 519570"/>
                <a:gd name="connsiteX60" fmla="*/ 358044 w 516814"/>
                <a:gd name="connsiteY60" fmla="*/ 219029 h 519570"/>
                <a:gd name="connsiteX61" fmla="*/ 423331 w 516814"/>
                <a:gd name="connsiteY61" fmla="*/ 219029 h 519570"/>
                <a:gd name="connsiteX62" fmla="*/ 429594 w 516814"/>
                <a:gd name="connsiteY62" fmla="*/ 224107 h 519570"/>
                <a:gd name="connsiteX63" fmla="*/ 429715 w 516814"/>
                <a:gd name="connsiteY63" fmla="*/ 225388 h 519570"/>
                <a:gd name="connsiteX64" fmla="*/ 429715 w 516814"/>
                <a:gd name="connsiteY64" fmla="*/ 263231 h 519570"/>
                <a:gd name="connsiteX65" fmla="*/ 445312 w 516814"/>
                <a:gd name="connsiteY65" fmla="*/ 263231 h 519570"/>
                <a:gd name="connsiteX66" fmla="*/ 445312 w 516814"/>
                <a:gd name="connsiteY66" fmla="*/ 197919 h 519570"/>
                <a:gd name="connsiteX67" fmla="*/ 451671 w 516814"/>
                <a:gd name="connsiteY67" fmla="*/ 191559 h 519570"/>
                <a:gd name="connsiteX68" fmla="*/ 475610 w 516814"/>
                <a:gd name="connsiteY68" fmla="*/ 191559 h 519570"/>
                <a:gd name="connsiteX69" fmla="*/ 475610 w 516814"/>
                <a:gd name="connsiteY69" fmla="*/ 172481 h 519570"/>
                <a:gd name="connsiteX70" fmla="*/ 481994 w 516814"/>
                <a:gd name="connsiteY70" fmla="*/ 166097 h 519570"/>
                <a:gd name="connsiteX71" fmla="*/ 516814 w 516814"/>
                <a:gd name="connsiteY71" fmla="*/ 166097 h 519570"/>
                <a:gd name="connsiteX72" fmla="*/ 516814 w 516814"/>
                <a:gd name="connsiteY72" fmla="*/ 144504 h 519570"/>
                <a:gd name="connsiteX73" fmla="*/ 497760 w 516814"/>
                <a:gd name="connsiteY73" fmla="*/ 125449 h 519570"/>
                <a:gd name="connsiteX74" fmla="*/ 495874 w 516814"/>
                <a:gd name="connsiteY74" fmla="*/ 120952 h 51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16814" h="519570">
                  <a:moveTo>
                    <a:pt x="495874" y="120952"/>
                  </a:moveTo>
                  <a:lnTo>
                    <a:pt x="495874" y="41276"/>
                  </a:lnTo>
                  <a:lnTo>
                    <a:pt x="475804" y="41276"/>
                  </a:lnTo>
                  <a:lnTo>
                    <a:pt x="453412" y="63644"/>
                  </a:lnTo>
                  <a:cubicBezTo>
                    <a:pt x="452227" y="64828"/>
                    <a:pt x="450607" y="65530"/>
                    <a:pt x="448915" y="65530"/>
                  </a:cubicBezTo>
                  <a:lnTo>
                    <a:pt x="330768" y="65530"/>
                  </a:lnTo>
                  <a:cubicBezTo>
                    <a:pt x="327237" y="65530"/>
                    <a:pt x="324384" y="62676"/>
                    <a:pt x="324384" y="59146"/>
                  </a:cubicBezTo>
                  <a:lnTo>
                    <a:pt x="324384" y="42485"/>
                  </a:lnTo>
                  <a:lnTo>
                    <a:pt x="278852" y="42485"/>
                  </a:lnTo>
                  <a:lnTo>
                    <a:pt x="278852" y="71865"/>
                  </a:lnTo>
                  <a:cubicBezTo>
                    <a:pt x="278852" y="74428"/>
                    <a:pt x="277329" y="76750"/>
                    <a:pt x="274935" y="77741"/>
                  </a:cubicBezTo>
                  <a:cubicBezTo>
                    <a:pt x="274572" y="77886"/>
                    <a:pt x="274209" y="78007"/>
                    <a:pt x="273846" y="78079"/>
                  </a:cubicBezTo>
                  <a:cubicBezTo>
                    <a:pt x="273750" y="78079"/>
                    <a:pt x="273629" y="78104"/>
                    <a:pt x="273508" y="78128"/>
                  </a:cubicBezTo>
                  <a:cubicBezTo>
                    <a:pt x="273242" y="78176"/>
                    <a:pt x="272976" y="78200"/>
                    <a:pt x="272686" y="78200"/>
                  </a:cubicBezTo>
                  <a:cubicBezTo>
                    <a:pt x="272637" y="78200"/>
                    <a:pt x="272565" y="78224"/>
                    <a:pt x="272492" y="78224"/>
                  </a:cubicBezTo>
                  <a:cubicBezTo>
                    <a:pt x="272444" y="78224"/>
                    <a:pt x="272396" y="78224"/>
                    <a:pt x="272371" y="78224"/>
                  </a:cubicBezTo>
                  <a:cubicBezTo>
                    <a:pt x="271985" y="78224"/>
                    <a:pt x="271646" y="78200"/>
                    <a:pt x="271259" y="78104"/>
                  </a:cubicBezTo>
                  <a:lnTo>
                    <a:pt x="271259" y="78104"/>
                  </a:lnTo>
                  <a:cubicBezTo>
                    <a:pt x="270897" y="78055"/>
                    <a:pt x="270558" y="77910"/>
                    <a:pt x="270195" y="77789"/>
                  </a:cubicBezTo>
                  <a:cubicBezTo>
                    <a:pt x="270098" y="77765"/>
                    <a:pt x="269978" y="77717"/>
                    <a:pt x="269881" y="77668"/>
                  </a:cubicBezTo>
                  <a:cubicBezTo>
                    <a:pt x="269615" y="77572"/>
                    <a:pt x="269373" y="77427"/>
                    <a:pt x="269155" y="77282"/>
                  </a:cubicBezTo>
                  <a:cubicBezTo>
                    <a:pt x="269059" y="77233"/>
                    <a:pt x="268962" y="77185"/>
                    <a:pt x="268865" y="77112"/>
                  </a:cubicBezTo>
                  <a:cubicBezTo>
                    <a:pt x="268551" y="76895"/>
                    <a:pt x="268261" y="76653"/>
                    <a:pt x="267995" y="76387"/>
                  </a:cubicBezTo>
                  <a:lnTo>
                    <a:pt x="191584" y="0"/>
                  </a:lnTo>
                  <a:lnTo>
                    <a:pt x="191584" y="69399"/>
                  </a:lnTo>
                  <a:cubicBezTo>
                    <a:pt x="191584" y="71091"/>
                    <a:pt x="190931" y="72711"/>
                    <a:pt x="189746" y="73896"/>
                  </a:cubicBezTo>
                  <a:lnTo>
                    <a:pt x="163050" y="100592"/>
                  </a:lnTo>
                  <a:lnTo>
                    <a:pt x="163050" y="147067"/>
                  </a:lnTo>
                  <a:cubicBezTo>
                    <a:pt x="163050" y="148760"/>
                    <a:pt x="162373" y="150380"/>
                    <a:pt x="161164" y="151589"/>
                  </a:cubicBezTo>
                  <a:lnTo>
                    <a:pt x="101245" y="211509"/>
                  </a:lnTo>
                  <a:lnTo>
                    <a:pt x="101245" y="243330"/>
                  </a:lnTo>
                  <a:cubicBezTo>
                    <a:pt x="101245" y="244999"/>
                    <a:pt x="100592" y="246643"/>
                    <a:pt x="99407" y="247828"/>
                  </a:cubicBezTo>
                  <a:lnTo>
                    <a:pt x="0" y="347235"/>
                  </a:lnTo>
                  <a:lnTo>
                    <a:pt x="0" y="424202"/>
                  </a:lnTo>
                  <a:lnTo>
                    <a:pt x="0" y="451405"/>
                  </a:lnTo>
                  <a:lnTo>
                    <a:pt x="15984" y="467389"/>
                  </a:lnTo>
                  <a:lnTo>
                    <a:pt x="39753" y="467389"/>
                  </a:lnTo>
                  <a:cubicBezTo>
                    <a:pt x="41421" y="467389"/>
                    <a:pt x="43066" y="468042"/>
                    <a:pt x="44251" y="469251"/>
                  </a:cubicBezTo>
                  <a:lnTo>
                    <a:pt x="94571" y="519571"/>
                  </a:lnTo>
                  <a:lnTo>
                    <a:pt x="159472" y="519571"/>
                  </a:lnTo>
                  <a:lnTo>
                    <a:pt x="205077" y="473966"/>
                  </a:lnTo>
                  <a:cubicBezTo>
                    <a:pt x="206286" y="472757"/>
                    <a:pt x="207882" y="472104"/>
                    <a:pt x="209598" y="472104"/>
                  </a:cubicBezTo>
                  <a:lnTo>
                    <a:pt x="271864" y="472104"/>
                  </a:lnTo>
                  <a:lnTo>
                    <a:pt x="289927" y="454041"/>
                  </a:lnTo>
                  <a:cubicBezTo>
                    <a:pt x="291112" y="452832"/>
                    <a:pt x="292732" y="452179"/>
                    <a:pt x="294424" y="452179"/>
                  </a:cubicBezTo>
                  <a:lnTo>
                    <a:pt x="357101" y="452179"/>
                  </a:lnTo>
                  <a:cubicBezTo>
                    <a:pt x="358793" y="452179"/>
                    <a:pt x="360438" y="452832"/>
                    <a:pt x="361622" y="454041"/>
                  </a:cubicBezTo>
                  <a:lnTo>
                    <a:pt x="372262" y="464656"/>
                  </a:lnTo>
                  <a:lnTo>
                    <a:pt x="416077" y="420841"/>
                  </a:lnTo>
                  <a:lnTo>
                    <a:pt x="416077" y="399997"/>
                  </a:lnTo>
                  <a:lnTo>
                    <a:pt x="400166" y="399997"/>
                  </a:lnTo>
                  <a:cubicBezTo>
                    <a:pt x="397579" y="399997"/>
                    <a:pt x="395282" y="398474"/>
                    <a:pt x="394266" y="396104"/>
                  </a:cubicBezTo>
                  <a:cubicBezTo>
                    <a:pt x="393299" y="393686"/>
                    <a:pt x="393831" y="390978"/>
                    <a:pt x="395669" y="389140"/>
                  </a:cubicBezTo>
                  <a:lnTo>
                    <a:pt x="432883" y="351902"/>
                  </a:lnTo>
                  <a:lnTo>
                    <a:pt x="418858" y="337877"/>
                  </a:lnTo>
                  <a:cubicBezTo>
                    <a:pt x="417649" y="336668"/>
                    <a:pt x="416996" y="335072"/>
                    <a:pt x="416996" y="333379"/>
                  </a:cubicBezTo>
                  <a:lnTo>
                    <a:pt x="416996" y="275950"/>
                  </a:lnTo>
                  <a:lnTo>
                    <a:pt x="358044" y="275950"/>
                  </a:lnTo>
                  <a:cubicBezTo>
                    <a:pt x="354538" y="275950"/>
                    <a:pt x="351684" y="273121"/>
                    <a:pt x="351684" y="269591"/>
                  </a:cubicBezTo>
                  <a:lnTo>
                    <a:pt x="351684" y="225388"/>
                  </a:lnTo>
                  <a:cubicBezTo>
                    <a:pt x="351684" y="221882"/>
                    <a:pt x="354538" y="219029"/>
                    <a:pt x="358044" y="219029"/>
                  </a:cubicBezTo>
                  <a:lnTo>
                    <a:pt x="423331" y="219029"/>
                  </a:lnTo>
                  <a:cubicBezTo>
                    <a:pt x="426427" y="219029"/>
                    <a:pt x="428966" y="221229"/>
                    <a:pt x="429594" y="224107"/>
                  </a:cubicBezTo>
                  <a:cubicBezTo>
                    <a:pt x="429667" y="224542"/>
                    <a:pt x="429715" y="224977"/>
                    <a:pt x="429715" y="225388"/>
                  </a:cubicBezTo>
                  <a:lnTo>
                    <a:pt x="429715" y="263231"/>
                  </a:lnTo>
                  <a:lnTo>
                    <a:pt x="445312" y="263231"/>
                  </a:lnTo>
                  <a:lnTo>
                    <a:pt x="445312" y="197919"/>
                  </a:lnTo>
                  <a:cubicBezTo>
                    <a:pt x="445312" y="194389"/>
                    <a:pt x="448141" y="191559"/>
                    <a:pt x="451671" y="191559"/>
                  </a:cubicBezTo>
                  <a:lnTo>
                    <a:pt x="475610" y="191559"/>
                  </a:lnTo>
                  <a:lnTo>
                    <a:pt x="475610" y="172481"/>
                  </a:lnTo>
                  <a:cubicBezTo>
                    <a:pt x="475610" y="168951"/>
                    <a:pt x="478464" y="166097"/>
                    <a:pt x="481994" y="166097"/>
                  </a:cubicBezTo>
                  <a:lnTo>
                    <a:pt x="516814" y="166097"/>
                  </a:lnTo>
                  <a:lnTo>
                    <a:pt x="516814" y="144504"/>
                  </a:lnTo>
                  <a:lnTo>
                    <a:pt x="497760" y="125449"/>
                  </a:lnTo>
                  <a:cubicBezTo>
                    <a:pt x="496551" y="124289"/>
                    <a:pt x="495874" y="122669"/>
                    <a:pt x="495874" y="120952"/>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orma Livre: Forma 37">
              <a:extLst>
                <a:ext uri="{FF2B5EF4-FFF2-40B4-BE49-F238E27FC236}">
                  <a16:creationId xmlns:a16="http://schemas.microsoft.com/office/drawing/2014/main" id="{526DE908-4AA0-CB84-89E3-03985D043FF3}"/>
                </a:ext>
              </a:extLst>
            </p:cNvPr>
            <p:cNvSpPr/>
            <p:nvPr/>
          </p:nvSpPr>
          <p:spPr>
            <a:xfrm>
              <a:off x="4955381" y="1140564"/>
              <a:ext cx="484025" cy="692801"/>
            </a:xfrm>
            <a:custGeom>
              <a:avLst/>
              <a:gdLst>
                <a:gd name="connsiteX0" fmla="*/ 116527 w 484025"/>
                <a:gd name="connsiteY0" fmla="*/ 192575 h 692801"/>
                <a:gd name="connsiteX1" fmla="*/ 114665 w 484025"/>
                <a:gd name="connsiteY1" fmla="*/ 197097 h 692801"/>
                <a:gd name="connsiteX2" fmla="*/ 55519 w 484025"/>
                <a:gd name="connsiteY2" fmla="*/ 256243 h 692801"/>
                <a:gd name="connsiteX3" fmla="*/ 51021 w 484025"/>
                <a:gd name="connsiteY3" fmla="*/ 258129 h 692801"/>
                <a:gd name="connsiteX4" fmla="*/ 36561 w 484025"/>
                <a:gd name="connsiteY4" fmla="*/ 258129 h 692801"/>
                <a:gd name="connsiteX5" fmla="*/ 0 w 484025"/>
                <a:gd name="connsiteY5" fmla="*/ 294690 h 692801"/>
                <a:gd name="connsiteX6" fmla="*/ 28001 w 484025"/>
                <a:gd name="connsiteY6" fmla="*/ 294690 h 692801"/>
                <a:gd name="connsiteX7" fmla="*/ 32499 w 484025"/>
                <a:gd name="connsiteY7" fmla="*/ 296576 h 692801"/>
                <a:gd name="connsiteX8" fmla="*/ 67101 w 484025"/>
                <a:gd name="connsiteY8" fmla="*/ 331179 h 692801"/>
                <a:gd name="connsiteX9" fmla="*/ 68987 w 484025"/>
                <a:gd name="connsiteY9" fmla="*/ 335676 h 692801"/>
                <a:gd name="connsiteX10" fmla="*/ 68987 w 484025"/>
                <a:gd name="connsiteY10" fmla="*/ 429764 h 692801"/>
                <a:gd name="connsiteX11" fmla="*/ 68842 w 484025"/>
                <a:gd name="connsiteY11" fmla="*/ 430997 h 692801"/>
                <a:gd name="connsiteX12" fmla="*/ 67101 w 484025"/>
                <a:gd name="connsiteY12" fmla="*/ 434237 h 692801"/>
                <a:gd name="connsiteX13" fmla="*/ 51360 w 484025"/>
                <a:gd name="connsiteY13" fmla="*/ 450003 h 692801"/>
                <a:gd name="connsiteX14" fmla="*/ 103808 w 484025"/>
                <a:gd name="connsiteY14" fmla="*/ 502427 h 692801"/>
                <a:gd name="connsiteX15" fmla="*/ 118558 w 484025"/>
                <a:gd name="connsiteY15" fmla="*/ 487652 h 692801"/>
                <a:gd name="connsiteX16" fmla="*/ 127577 w 484025"/>
                <a:gd name="connsiteY16" fmla="*/ 487652 h 692801"/>
                <a:gd name="connsiteX17" fmla="*/ 157537 w 484025"/>
                <a:gd name="connsiteY17" fmla="*/ 517636 h 692801"/>
                <a:gd name="connsiteX18" fmla="*/ 157537 w 484025"/>
                <a:gd name="connsiteY18" fmla="*/ 526631 h 692801"/>
                <a:gd name="connsiteX19" fmla="*/ 95393 w 484025"/>
                <a:gd name="connsiteY19" fmla="*/ 588800 h 692801"/>
                <a:gd name="connsiteX20" fmla="*/ 134832 w 484025"/>
                <a:gd name="connsiteY20" fmla="*/ 628215 h 692801"/>
                <a:gd name="connsiteX21" fmla="*/ 136548 w 484025"/>
                <a:gd name="connsiteY21" fmla="*/ 631455 h 692801"/>
                <a:gd name="connsiteX22" fmla="*/ 136694 w 484025"/>
                <a:gd name="connsiteY22" fmla="*/ 632712 h 692801"/>
                <a:gd name="connsiteX23" fmla="*/ 134832 w 484025"/>
                <a:gd name="connsiteY23" fmla="*/ 637210 h 692801"/>
                <a:gd name="connsiteX24" fmla="*/ 125256 w 484025"/>
                <a:gd name="connsiteY24" fmla="*/ 646785 h 692801"/>
                <a:gd name="connsiteX25" fmla="*/ 171248 w 484025"/>
                <a:gd name="connsiteY25" fmla="*/ 692801 h 692801"/>
                <a:gd name="connsiteX26" fmla="*/ 181452 w 484025"/>
                <a:gd name="connsiteY26" fmla="*/ 682645 h 692801"/>
                <a:gd name="connsiteX27" fmla="*/ 183145 w 484025"/>
                <a:gd name="connsiteY27" fmla="*/ 680929 h 692801"/>
                <a:gd name="connsiteX28" fmla="*/ 183145 w 484025"/>
                <a:gd name="connsiteY28" fmla="*/ 611216 h 692801"/>
                <a:gd name="connsiteX29" fmla="*/ 161043 w 484025"/>
                <a:gd name="connsiteY29" fmla="*/ 589114 h 692801"/>
                <a:gd name="connsiteX30" fmla="*/ 161043 w 484025"/>
                <a:gd name="connsiteY30" fmla="*/ 580095 h 692801"/>
                <a:gd name="connsiteX31" fmla="*/ 195960 w 484025"/>
                <a:gd name="connsiteY31" fmla="*/ 545154 h 692801"/>
                <a:gd name="connsiteX32" fmla="*/ 195960 w 484025"/>
                <a:gd name="connsiteY32" fmla="*/ 495172 h 692801"/>
                <a:gd name="connsiteX33" fmla="*/ 196106 w 484025"/>
                <a:gd name="connsiteY33" fmla="*/ 493915 h 692801"/>
                <a:gd name="connsiteX34" fmla="*/ 197847 w 484025"/>
                <a:gd name="connsiteY34" fmla="*/ 490675 h 692801"/>
                <a:gd name="connsiteX35" fmla="*/ 213322 w 484025"/>
                <a:gd name="connsiteY35" fmla="*/ 475223 h 692801"/>
                <a:gd name="connsiteX36" fmla="*/ 216562 w 484025"/>
                <a:gd name="connsiteY36" fmla="*/ 473482 h 692801"/>
                <a:gd name="connsiteX37" fmla="*/ 217820 w 484025"/>
                <a:gd name="connsiteY37" fmla="*/ 473337 h 692801"/>
                <a:gd name="connsiteX38" fmla="*/ 256170 w 484025"/>
                <a:gd name="connsiteY38" fmla="*/ 473337 h 692801"/>
                <a:gd name="connsiteX39" fmla="*/ 322619 w 484025"/>
                <a:gd name="connsiteY39" fmla="*/ 406889 h 692801"/>
                <a:gd name="connsiteX40" fmla="*/ 327117 w 484025"/>
                <a:gd name="connsiteY40" fmla="*/ 405027 h 692801"/>
                <a:gd name="connsiteX41" fmla="*/ 351515 w 484025"/>
                <a:gd name="connsiteY41" fmla="*/ 405027 h 692801"/>
                <a:gd name="connsiteX42" fmla="*/ 356037 w 484025"/>
                <a:gd name="connsiteY42" fmla="*/ 406889 h 692801"/>
                <a:gd name="connsiteX43" fmla="*/ 367571 w 484025"/>
                <a:gd name="connsiteY43" fmla="*/ 418447 h 692801"/>
                <a:gd name="connsiteX44" fmla="*/ 395548 w 484025"/>
                <a:gd name="connsiteY44" fmla="*/ 418447 h 692801"/>
                <a:gd name="connsiteX45" fmla="*/ 418834 w 484025"/>
                <a:gd name="connsiteY45" fmla="*/ 395161 h 692801"/>
                <a:gd name="connsiteX46" fmla="*/ 390978 w 484025"/>
                <a:gd name="connsiteY46" fmla="*/ 367281 h 692801"/>
                <a:gd name="connsiteX47" fmla="*/ 389116 w 484025"/>
                <a:gd name="connsiteY47" fmla="*/ 362783 h 692801"/>
                <a:gd name="connsiteX48" fmla="*/ 389116 w 484025"/>
                <a:gd name="connsiteY48" fmla="*/ 326125 h 692801"/>
                <a:gd name="connsiteX49" fmla="*/ 389237 w 484025"/>
                <a:gd name="connsiteY49" fmla="*/ 324868 h 692801"/>
                <a:gd name="connsiteX50" fmla="*/ 390978 w 484025"/>
                <a:gd name="connsiteY50" fmla="*/ 321603 h 692801"/>
                <a:gd name="connsiteX51" fmla="*/ 410419 w 484025"/>
                <a:gd name="connsiteY51" fmla="*/ 302162 h 692801"/>
                <a:gd name="connsiteX52" fmla="*/ 410419 w 484025"/>
                <a:gd name="connsiteY52" fmla="*/ 188150 h 692801"/>
                <a:gd name="connsiteX53" fmla="*/ 410564 w 484025"/>
                <a:gd name="connsiteY53" fmla="*/ 186917 h 692801"/>
                <a:gd name="connsiteX54" fmla="*/ 412305 w 484025"/>
                <a:gd name="connsiteY54" fmla="*/ 183652 h 692801"/>
                <a:gd name="connsiteX55" fmla="*/ 440065 w 484025"/>
                <a:gd name="connsiteY55" fmla="*/ 155893 h 692801"/>
                <a:gd name="connsiteX56" fmla="*/ 444562 w 484025"/>
                <a:gd name="connsiteY56" fmla="*/ 154031 h 692801"/>
                <a:gd name="connsiteX57" fmla="*/ 452518 w 484025"/>
                <a:gd name="connsiteY57" fmla="*/ 154031 h 692801"/>
                <a:gd name="connsiteX58" fmla="*/ 484025 w 484025"/>
                <a:gd name="connsiteY58" fmla="*/ 122524 h 692801"/>
                <a:gd name="connsiteX59" fmla="*/ 476456 w 484025"/>
                <a:gd name="connsiteY59" fmla="*/ 114955 h 692801"/>
                <a:gd name="connsiteX60" fmla="*/ 428530 w 484025"/>
                <a:gd name="connsiteY60" fmla="*/ 114955 h 692801"/>
                <a:gd name="connsiteX61" fmla="*/ 424033 w 484025"/>
                <a:gd name="connsiteY61" fmla="*/ 113093 h 692801"/>
                <a:gd name="connsiteX62" fmla="*/ 399513 w 484025"/>
                <a:gd name="connsiteY62" fmla="*/ 88598 h 692801"/>
                <a:gd name="connsiteX63" fmla="*/ 291547 w 484025"/>
                <a:gd name="connsiteY63" fmla="*/ 88598 h 692801"/>
                <a:gd name="connsiteX64" fmla="*/ 287049 w 484025"/>
                <a:gd name="connsiteY64" fmla="*/ 86736 h 692801"/>
                <a:gd name="connsiteX65" fmla="*/ 200289 w 484025"/>
                <a:gd name="connsiteY65" fmla="*/ 0 h 692801"/>
                <a:gd name="connsiteX66" fmla="*/ 168515 w 484025"/>
                <a:gd name="connsiteY66" fmla="*/ 0 h 692801"/>
                <a:gd name="connsiteX67" fmla="*/ 168515 w 484025"/>
                <a:gd name="connsiteY67" fmla="*/ 67682 h 692801"/>
                <a:gd name="connsiteX68" fmla="*/ 168394 w 484025"/>
                <a:gd name="connsiteY68" fmla="*/ 68939 h 692801"/>
                <a:gd name="connsiteX69" fmla="*/ 166653 w 484025"/>
                <a:gd name="connsiteY69" fmla="*/ 72204 h 692801"/>
                <a:gd name="connsiteX70" fmla="*/ 116599 w 484025"/>
                <a:gd name="connsiteY70" fmla="*/ 122282 h 692801"/>
                <a:gd name="connsiteX71" fmla="*/ 116599 w 484025"/>
                <a:gd name="connsiteY71" fmla="*/ 192575 h 69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484025" h="692801">
                  <a:moveTo>
                    <a:pt x="116527" y="192575"/>
                  </a:moveTo>
                  <a:cubicBezTo>
                    <a:pt x="116527" y="194268"/>
                    <a:pt x="115874" y="195888"/>
                    <a:pt x="114665" y="197097"/>
                  </a:cubicBezTo>
                  <a:lnTo>
                    <a:pt x="55519" y="256243"/>
                  </a:lnTo>
                  <a:cubicBezTo>
                    <a:pt x="54310" y="257428"/>
                    <a:pt x="52714" y="258129"/>
                    <a:pt x="51021" y="258129"/>
                  </a:cubicBezTo>
                  <a:lnTo>
                    <a:pt x="36561" y="258129"/>
                  </a:lnTo>
                  <a:lnTo>
                    <a:pt x="0" y="294690"/>
                  </a:lnTo>
                  <a:lnTo>
                    <a:pt x="28001" y="294690"/>
                  </a:lnTo>
                  <a:cubicBezTo>
                    <a:pt x="29670" y="294690"/>
                    <a:pt x="31290" y="295367"/>
                    <a:pt x="32499" y="296576"/>
                  </a:cubicBezTo>
                  <a:lnTo>
                    <a:pt x="67101" y="331179"/>
                  </a:lnTo>
                  <a:cubicBezTo>
                    <a:pt x="68310" y="332364"/>
                    <a:pt x="68987" y="333984"/>
                    <a:pt x="68987" y="335676"/>
                  </a:cubicBezTo>
                  <a:lnTo>
                    <a:pt x="68987" y="429764"/>
                  </a:lnTo>
                  <a:cubicBezTo>
                    <a:pt x="68987" y="430175"/>
                    <a:pt x="68939" y="430586"/>
                    <a:pt x="68842" y="430997"/>
                  </a:cubicBezTo>
                  <a:cubicBezTo>
                    <a:pt x="68601" y="432230"/>
                    <a:pt x="68020" y="433342"/>
                    <a:pt x="67101" y="434237"/>
                  </a:cubicBezTo>
                  <a:lnTo>
                    <a:pt x="51360" y="450003"/>
                  </a:lnTo>
                  <a:lnTo>
                    <a:pt x="103808" y="502427"/>
                  </a:lnTo>
                  <a:lnTo>
                    <a:pt x="118558" y="487652"/>
                  </a:lnTo>
                  <a:cubicBezTo>
                    <a:pt x="120952" y="485258"/>
                    <a:pt x="125159" y="485258"/>
                    <a:pt x="127577" y="487652"/>
                  </a:cubicBezTo>
                  <a:lnTo>
                    <a:pt x="157537" y="517636"/>
                  </a:lnTo>
                  <a:cubicBezTo>
                    <a:pt x="160052" y="520127"/>
                    <a:pt x="160052" y="524141"/>
                    <a:pt x="157537" y="526631"/>
                  </a:cubicBezTo>
                  <a:lnTo>
                    <a:pt x="95393" y="588800"/>
                  </a:lnTo>
                  <a:lnTo>
                    <a:pt x="134832" y="628215"/>
                  </a:lnTo>
                  <a:cubicBezTo>
                    <a:pt x="135726" y="629109"/>
                    <a:pt x="136331" y="630246"/>
                    <a:pt x="136548" y="631455"/>
                  </a:cubicBezTo>
                  <a:cubicBezTo>
                    <a:pt x="136645" y="631866"/>
                    <a:pt x="136694" y="632301"/>
                    <a:pt x="136694" y="632712"/>
                  </a:cubicBezTo>
                  <a:cubicBezTo>
                    <a:pt x="136694" y="634405"/>
                    <a:pt x="136041" y="636025"/>
                    <a:pt x="134832" y="637210"/>
                  </a:cubicBezTo>
                  <a:lnTo>
                    <a:pt x="125256" y="646785"/>
                  </a:lnTo>
                  <a:lnTo>
                    <a:pt x="171248" y="692801"/>
                  </a:lnTo>
                  <a:lnTo>
                    <a:pt x="181452" y="682645"/>
                  </a:lnTo>
                  <a:lnTo>
                    <a:pt x="183145" y="680929"/>
                  </a:lnTo>
                  <a:lnTo>
                    <a:pt x="183145" y="611216"/>
                  </a:lnTo>
                  <a:lnTo>
                    <a:pt x="161043" y="589114"/>
                  </a:lnTo>
                  <a:cubicBezTo>
                    <a:pt x="158529" y="586624"/>
                    <a:pt x="158529" y="582586"/>
                    <a:pt x="161043" y="580095"/>
                  </a:cubicBezTo>
                  <a:lnTo>
                    <a:pt x="195960" y="545154"/>
                  </a:lnTo>
                  <a:lnTo>
                    <a:pt x="195960" y="495172"/>
                  </a:lnTo>
                  <a:cubicBezTo>
                    <a:pt x="195960" y="494737"/>
                    <a:pt x="196009" y="494326"/>
                    <a:pt x="196106" y="493915"/>
                  </a:cubicBezTo>
                  <a:cubicBezTo>
                    <a:pt x="196347" y="492682"/>
                    <a:pt x="196952" y="491545"/>
                    <a:pt x="197847" y="490675"/>
                  </a:cubicBezTo>
                  <a:lnTo>
                    <a:pt x="213322" y="475223"/>
                  </a:lnTo>
                  <a:cubicBezTo>
                    <a:pt x="214193" y="474329"/>
                    <a:pt x="215329" y="473724"/>
                    <a:pt x="216562" y="473482"/>
                  </a:cubicBezTo>
                  <a:cubicBezTo>
                    <a:pt x="216973" y="473386"/>
                    <a:pt x="217384" y="473337"/>
                    <a:pt x="217820" y="473337"/>
                  </a:cubicBezTo>
                  <a:lnTo>
                    <a:pt x="256170" y="473337"/>
                  </a:lnTo>
                  <a:lnTo>
                    <a:pt x="322619" y="406889"/>
                  </a:lnTo>
                  <a:cubicBezTo>
                    <a:pt x="323828" y="405704"/>
                    <a:pt x="325424" y="405027"/>
                    <a:pt x="327117" y="405027"/>
                  </a:cubicBezTo>
                  <a:lnTo>
                    <a:pt x="351515" y="405027"/>
                  </a:lnTo>
                  <a:cubicBezTo>
                    <a:pt x="353207" y="405027"/>
                    <a:pt x="354828" y="405680"/>
                    <a:pt x="356037" y="406889"/>
                  </a:cubicBezTo>
                  <a:lnTo>
                    <a:pt x="367571" y="418447"/>
                  </a:lnTo>
                  <a:lnTo>
                    <a:pt x="395548" y="418447"/>
                  </a:lnTo>
                  <a:lnTo>
                    <a:pt x="418834" y="395161"/>
                  </a:lnTo>
                  <a:lnTo>
                    <a:pt x="390978" y="367281"/>
                  </a:lnTo>
                  <a:cubicBezTo>
                    <a:pt x="389793" y="366096"/>
                    <a:pt x="389116" y="364476"/>
                    <a:pt x="389116" y="362783"/>
                  </a:cubicBezTo>
                  <a:lnTo>
                    <a:pt x="389116" y="326125"/>
                  </a:lnTo>
                  <a:cubicBezTo>
                    <a:pt x="389116" y="325690"/>
                    <a:pt x="389164" y="325279"/>
                    <a:pt x="389237" y="324868"/>
                  </a:cubicBezTo>
                  <a:cubicBezTo>
                    <a:pt x="389478" y="323659"/>
                    <a:pt x="390107" y="322498"/>
                    <a:pt x="390978" y="321603"/>
                  </a:cubicBezTo>
                  <a:lnTo>
                    <a:pt x="410419" y="302162"/>
                  </a:lnTo>
                  <a:lnTo>
                    <a:pt x="410419" y="188150"/>
                  </a:lnTo>
                  <a:cubicBezTo>
                    <a:pt x="410419" y="187715"/>
                    <a:pt x="410467" y="187304"/>
                    <a:pt x="410564" y="186917"/>
                  </a:cubicBezTo>
                  <a:cubicBezTo>
                    <a:pt x="410806" y="185684"/>
                    <a:pt x="411386" y="184547"/>
                    <a:pt x="412305" y="183652"/>
                  </a:cubicBezTo>
                  <a:lnTo>
                    <a:pt x="440065" y="155893"/>
                  </a:lnTo>
                  <a:cubicBezTo>
                    <a:pt x="441249" y="154684"/>
                    <a:pt x="442869" y="154031"/>
                    <a:pt x="444562" y="154031"/>
                  </a:cubicBezTo>
                  <a:lnTo>
                    <a:pt x="452518" y="154031"/>
                  </a:lnTo>
                  <a:lnTo>
                    <a:pt x="484025" y="122524"/>
                  </a:lnTo>
                  <a:lnTo>
                    <a:pt x="476456" y="114955"/>
                  </a:lnTo>
                  <a:lnTo>
                    <a:pt x="428530" y="114955"/>
                  </a:lnTo>
                  <a:cubicBezTo>
                    <a:pt x="426862" y="114955"/>
                    <a:pt x="425218" y="114278"/>
                    <a:pt x="424033" y="113093"/>
                  </a:cubicBezTo>
                  <a:lnTo>
                    <a:pt x="399513" y="88598"/>
                  </a:lnTo>
                  <a:lnTo>
                    <a:pt x="291547" y="88598"/>
                  </a:lnTo>
                  <a:cubicBezTo>
                    <a:pt x="289878" y="88598"/>
                    <a:pt x="288234" y="87921"/>
                    <a:pt x="287049" y="86736"/>
                  </a:cubicBezTo>
                  <a:lnTo>
                    <a:pt x="200289" y="0"/>
                  </a:lnTo>
                  <a:lnTo>
                    <a:pt x="168515" y="0"/>
                  </a:lnTo>
                  <a:lnTo>
                    <a:pt x="168515" y="67682"/>
                  </a:lnTo>
                  <a:cubicBezTo>
                    <a:pt x="168515" y="68117"/>
                    <a:pt x="168467" y="68528"/>
                    <a:pt x="168394" y="68939"/>
                  </a:cubicBezTo>
                  <a:cubicBezTo>
                    <a:pt x="168152" y="70172"/>
                    <a:pt x="167548" y="71309"/>
                    <a:pt x="166653" y="72204"/>
                  </a:cubicBezTo>
                  <a:lnTo>
                    <a:pt x="116599" y="122282"/>
                  </a:lnTo>
                  <a:lnTo>
                    <a:pt x="116599" y="192575"/>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orma Livre: Forma 38">
              <a:extLst>
                <a:ext uri="{FF2B5EF4-FFF2-40B4-BE49-F238E27FC236}">
                  <a16:creationId xmlns:a16="http://schemas.microsoft.com/office/drawing/2014/main" id="{AB4230AB-0442-042D-F247-DFC6E88AC415}"/>
                </a:ext>
              </a:extLst>
            </p:cNvPr>
            <p:cNvSpPr/>
            <p:nvPr/>
          </p:nvSpPr>
          <p:spPr>
            <a:xfrm>
              <a:off x="4486082" y="721295"/>
              <a:ext cx="333427" cy="392138"/>
            </a:xfrm>
            <a:custGeom>
              <a:avLst/>
              <a:gdLst>
                <a:gd name="connsiteX0" fmla="*/ 32499 w 333427"/>
                <a:gd name="connsiteY0" fmla="*/ 177752 h 392138"/>
                <a:gd name="connsiteX1" fmla="*/ 53052 w 333427"/>
                <a:gd name="connsiteY1" fmla="*/ 198306 h 392138"/>
                <a:gd name="connsiteX2" fmla="*/ 69665 w 333427"/>
                <a:gd name="connsiteY2" fmla="*/ 198306 h 392138"/>
                <a:gd name="connsiteX3" fmla="*/ 74186 w 333427"/>
                <a:gd name="connsiteY3" fmla="*/ 200168 h 392138"/>
                <a:gd name="connsiteX4" fmla="*/ 84028 w 333427"/>
                <a:gd name="connsiteY4" fmla="*/ 210034 h 392138"/>
                <a:gd name="connsiteX5" fmla="*/ 93918 w 333427"/>
                <a:gd name="connsiteY5" fmla="*/ 219899 h 392138"/>
                <a:gd name="connsiteX6" fmla="*/ 95635 w 333427"/>
                <a:gd name="connsiteY6" fmla="*/ 223140 h 392138"/>
                <a:gd name="connsiteX7" fmla="*/ 95756 w 333427"/>
                <a:gd name="connsiteY7" fmla="*/ 224397 h 392138"/>
                <a:gd name="connsiteX8" fmla="*/ 95756 w 333427"/>
                <a:gd name="connsiteY8" fmla="*/ 239607 h 392138"/>
                <a:gd name="connsiteX9" fmla="*/ 116454 w 333427"/>
                <a:gd name="connsiteY9" fmla="*/ 260305 h 392138"/>
                <a:gd name="connsiteX10" fmla="*/ 118316 w 333427"/>
                <a:gd name="connsiteY10" fmla="*/ 264803 h 392138"/>
                <a:gd name="connsiteX11" fmla="*/ 118316 w 333427"/>
                <a:gd name="connsiteY11" fmla="*/ 305257 h 392138"/>
                <a:gd name="connsiteX12" fmla="*/ 156111 w 333427"/>
                <a:gd name="connsiteY12" fmla="*/ 343052 h 392138"/>
                <a:gd name="connsiteX13" fmla="*/ 157973 w 333427"/>
                <a:gd name="connsiteY13" fmla="*/ 347549 h 392138"/>
                <a:gd name="connsiteX14" fmla="*/ 157973 w 333427"/>
                <a:gd name="connsiteY14" fmla="*/ 355771 h 392138"/>
                <a:gd name="connsiteX15" fmla="*/ 174923 w 333427"/>
                <a:gd name="connsiteY15" fmla="*/ 372746 h 392138"/>
                <a:gd name="connsiteX16" fmla="*/ 176809 w 333427"/>
                <a:gd name="connsiteY16" fmla="*/ 377243 h 392138"/>
                <a:gd name="connsiteX17" fmla="*/ 176809 w 333427"/>
                <a:gd name="connsiteY17" fmla="*/ 392138 h 392138"/>
                <a:gd name="connsiteX18" fmla="*/ 211605 w 333427"/>
                <a:gd name="connsiteY18" fmla="*/ 392138 h 392138"/>
                <a:gd name="connsiteX19" fmla="*/ 211605 w 333427"/>
                <a:gd name="connsiteY19" fmla="*/ 372625 h 392138"/>
                <a:gd name="connsiteX20" fmla="*/ 213467 w 333427"/>
                <a:gd name="connsiteY20" fmla="*/ 368103 h 392138"/>
                <a:gd name="connsiteX21" fmla="*/ 249811 w 333427"/>
                <a:gd name="connsiteY21" fmla="*/ 331759 h 392138"/>
                <a:gd name="connsiteX22" fmla="*/ 249811 w 333427"/>
                <a:gd name="connsiteY22" fmla="*/ 318000 h 392138"/>
                <a:gd name="connsiteX23" fmla="*/ 249956 w 333427"/>
                <a:gd name="connsiteY23" fmla="*/ 316767 h 392138"/>
                <a:gd name="connsiteX24" fmla="*/ 251697 w 333427"/>
                <a:gd name="connsiteY24" fmla="*/ 313503 h 392138"/>
                <a:gd name="connsiteX25" fmla="*/ 309150 w 333427"/>
                <a:gd name="connsiteY25" fmla="*/ 256049 h 392138"/>
                <a:gd name="connsiteX26" fmla="*/ 312415 w 333427"/>
                <a:gd name="connsiteY26" fmla="*/ 254308 h 392138"/>
                <a:gd name="connsiteX27" fmla="*/ 313648 w 333427"/>
                <a:gd name="connsiteY27" fmla="*/ 254188 h 392138"/>
                <a:gd name="connsiteX28" fmla="*/ 333428 w 333427"/>
                <a:gd name="connsiteY28" fmla="*/ 254188 h 392138"/>
                <a:gd name="connsiteX29" fmla="*/ 333428 w 333427"/>
                <a:gd name="connsiteY29" fmla="*/ 250464 h 392138"/>
                <a:gd name="connsiteX30" fmla="*/ 333428 w 333427"/>
                <a:gd name="connsiteY30" fmla="*/ 188658 h 392138"/>
                <a:gd name="connsiteX31" fmla="*/ 315171 w 333427"/>
                <a:gd name="connsiteY31" fmla="*/ 188658 h 392138"/>
                <a:gd name="connsiteX32" fmla="*/ 310674 w 333427"/>
                <a:gd name="connsiteY32" fmla="*/ 186796 h 392138"/>
                <a:gd name="connsiteX33" fmla="*/ 251939 w 333427"/>
                <a:gd name="connsiteY33" fmla="*/ 128085 h 392138"/>
                <a:gd name="connsiteX34" fmla="*/ 250077 w 333427"/>
                <a:gd name="connsiteY34" fmla="*/ 123588 h 392138"/>
                <a:gd name="connsiteX35" fmla="*/ 250077 w 333427"/>
                <a:gd name="connsiteY35" fmla="*/ 19514 h 392138"/>
                <a:gd name="connsiteX36" fmla="*/ 230587 w 333427"/>
                <a:gd name="connsiteY36" fmla="*/ 0 h 392138"/>
                <a:gd name="connsiteX37" fmla="*/ 205367 w 333427"/>
                <a:gd name="connsiteY37" fmla="*/ 25196 h 392138"/>
                <a:gd name="connsiteX38" fmla="*/ 205367 w 333427"/>
                <a:gd name="connsiteY38" fmla="*/ 44662 h 392138"/>
                <a:gd name="connsiteX39" fmla="*/ 203505 w 333427"/>
                <a:gd name="connsiteY39" fmla="*/ 49159 h 392138"/>
                <a:gd name="connsiteX40" fmla="*/ 172239 w 333427"/>
                <a:gd name="connsiteY40" fmla="*/ 80425 h 392138"/>
                <a:gd name="connsiteX41" fmla="*/ 172239 w 333427"/>
                <a:gd name="connsiteY41" fmla="*/ 119767 h 392138"/>
                <a:gd name="connsiteX42" fmla="*/ 170377 w 333427"/>
                <a:gd name="connsiteY42" fmla="*/ 124265 h 392138"/>
                <a:gd name="connsiteX43" fmla="*/ 140248 w 333427"/>
                <a:gd name="connsiteY43" fmla="*/ 154418 h 392138"/>
                <a:gd name="connsiteX44" fmla="*/ 135726 w 333427"/>
                <a:gd name="connsiteY44" fmla="*/ 156280 h 392138"/>
                <a:gd name="connsiteX45" fmla="*/ 17845 w 333427"/>
                <a:gd name="connsiteY45" fmla="*/ 156280 h 392138"/>
                <a:gd name="connsiteX46" fmla="*/ 13348 w 333427"/>
                <a:gd name="connsiteY46" fmla="*/ 154418 h 392138"/>
                <a:gd name="connsiteX47" fmla="*/ 0 w 333427"/>
                <a:gd name="connsiteY47" fmla="*/ 141046 h 392138"/>
                <a:gd name="connsiteX48" fmla="*/ 0 w 333427"/>
                <a:gd name="connsiteY48" fmla="*/ 175890 h 392138"/>
                <a:gd name="connsiteX49" fmla="*/ 27953 w 333427"/>
                <a:gd name="connsiteY49" fmla="*/ 175890 h 392138"/>
                <a:gd name="connsiteX50" fmla="*/ 32499 w 333427"/>
                <a:gd name="connsiteY50" fmla="*/ 177752 h 3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33427" h="392138">
                  <a:moveTo>
                    <a:pt x="32499" y="177752"/>
                  </a:moveTo>
                  <a:lnTo>
                    <a:pt x="53052" y="198306"/>
                  </a:lnTo>
                  <a:lnTo>
                    <a:pt x="69665" y="198306"/>
                  </a:lnTo>
                  <a:cubicBezTo>
                    <a:pt x="71357" y="198306"/>
                    <a:pt x="73002" y="198983"/>
                    <a:pt x="74186" y="200168"/>
                  </a:cubicBezTo>
                  <a:lnTo>
                    <a:pt x="84028" y="210034"/>
                  </a:lnTo>
                  <a:lnTo>
                    <a:pt x="93918" y="219899"/>
                  </a:lnTo>
                  <a:cubicBezTo>
                    <a:pt x="94788" y="220794"/>
                    <a:pt x="95393" y="221930"/>
                    <a:pt x="95635" y="223140"/>
                  </a:cubicBezTo>
                  <a:cubicBezTo>
                    <a:pt x="95707" y="223551"/>
                    <a:pt x="95756" y="223986"/>
                    <a:pt x="95756" y="224397"/>
                  </a:cubicBezTo>
                  <a:lnTo>
                    <a:pt x="95756" y="239607"/>
                  </a:lnTo>
                  <a:lnTo>
                    <a:pt x="116454" y="260305"/>
                  </a:lnTo>
                  <a:cubicBezTo>
                    <a:pt x="117639" y="261490"/>
                    <a:pt x="118316" y="263110"/>
                    <a:pt x="118316" y="264803"/>
                  </a:cubicBezTo>
                  <a:lnTo>
                    <a:pt x="118316" y="305257"/>
                  </a:lnTo>
                  <a:lnTo>
                    <a:pt x="156111" y="343052"/>
                  </a:lnTo>
                  <a:cubicBezTo>
                    <a:pt x="157296" y="344236"/>
                    <a:pt x="157973" y="345857"/>
                    <a:pt x="157973" y="347549"/>
                  </a:cubicBezTo>
                  <a:lnTo>
                    <a:pt x="157973" y="355771"/>
                  </a:lnTo>
                  <a:lnTo>
                    <a:pt x="174923" y="372746"/>
                  </a:lnTo>
                  <a:cubicBezTo>
                    <a:pt x="176108" y="373930"/>
                    <a:pt x="176809" y="375550"/>
                    <a:pt x="176809" y="377243"/>
                  </a:cubicBezTo>
                  <a:lnTo>
                    <a:pt x="176809" y="392138"/>
                  </a:lnTo>
                  <a:lnTo>
                    <a:pt x="211605" y="392138"/>
                  </a:lnTo>
                  <a:lnTo>
                    <a:pt x="211605" y="372625"/>
                  </a:lnTo>
                  <a:cubicBezTo>
                    <a:pt x="211605" y="370932"/>
                    <a:pt x="212258" y="369312"/>
                    <a:pt x="213467" y="368103"/>
                  </a:cubicBezTo>
                  <a:lnTo>
                    <a:pt x="249811" y="331759"/>
                  </a:lnTo>
                  <a:lnTo>
                    <a:pt x="249811" y="318000"/>
                  </a:lnTo>
                  <a:cubicBezTo>
                    <a:pt x="249811" y="317565"/>
                    <a:pt x="249859" y="317154"/>
                    <a:pt x="249956" y="316767"/>
                  </a:cubicBezTo>
                  <a:cubicBezTo>
                    <a:pt x="250198" y="315534"/>
                    <a:pt x="250802" y="314397"/>
                    <a:pt x="251697" y="313503"/>
                  </a:cubicBezTo>
                  <a:lnTo>
                    <a:pt x="309150" y="256049"/>
                  </a:lnTo>
                  <a:cubicBezTo>
                    <a:pt x="310045" y="255155"/>
                    <a:pt x="311182" y="254550"/>
                    <a:pt x="312415" y="254308"/>
                  </a:cubicBezTo>
                  <a:cubicBezTo>
                    <a:pt x="312826" y="254212"/>
                    <a:pt x="313213" y="254188"/>
                    <a:pt x="313648" y="254188"/>
                  </a:cubicBezTo>
                  <a:lnTo>
                    <a:pt x="333428" y="254188"/>
                  </a:lnTo>
                  <a:lnTo>
                    <a:pt x="333428" y="250464"/>
                  </a:lnTo>
                  <a:lnTo>
                    <a:pt x="333428" y="188658"/>
                  </a:lnTo>
                  <a:lnTo>
                    <a:pt x="315171" y="188658"/>
                  </a:lnTo>
                  <a:cubicBezTo>
                    <a:pt x="313503" y="188658"/>
                    <a:pt x="311859" y="188005"/>
                    <a:pt x="310674" y="186796"/>
                  </a:cubicBezTo>
                  <a:lnTo>
                    <a:pt x="251939" y="128085"/>
                  </a:lnTo>
                  <a:cubicBezTo>
                    <a:pt x="250754" y="126900"/>
                    <a:pt x="250077" y="125280"/>
                    <a:pt x="250077" y="123588"/>
                  </a:cubicBezTo>
                  <a:lnTo>
                    <a:pt x="250077" y="19514"/>
                  </a:lnTo>
                  <a:lnTo>
                    <a:pt x="230587" y="0"/>
                  </a:lnTo>
                  <a:lnTo>
                    <a:pt x="205367" y="25196"/>
                  </a:lnTo>
                  <a:lnTo>
                    <a:pt x="205367" y="44662"/>
                  </a:lnTo>
                  <a:cubicBezTo>
                    <a:pt x="205367" y="46354"/>
                    <a:pt x="204714" y="47975"/>
                    <a:pt x="203505" y="49159"/>
                  </a:cubicBezTo>
                  <a:lnTo>
                    <a:pt x="172239" y="80425"/>
                  </a:lnTo>
                  <a:lnTo>
                    <a:pt x="172239" y="119767"/>
                  </a:lnTo>
                  <a:cubicBezTo>
                    <a:pt x="172239" y="121460"/>
                    <a:pt x="171562" y="123056"/>
                    <a:pt x="170377" y="124265"/>
                  </a:cubicBezTo>
                  <a:lnTo>
                    <a:pt x="140248" y="154418"/>
                  </a:lnTo>
                  <a:cubicBezTo>
                    <a:pt x="139039" y="155603"/>
                    <a:pt x="137443" y="156280"/>
                    <a:pt x="135726" y="156280"/>
                  </a:cubicBezTo>
                  <a:lnTo>
                    <a:pt x="17845" y="156280"/>
                  </a:lnTo>
                  <a:cubicBezTo>
                    <a:pt x="16177" y="156280"/>
                    <a:pt x="14533" y="155627"/>
                    <a:pt x="13348" y="154418"/>
                  </a:cubicBezTo>
                  <a:lnTo>
                    <a:pt x="0" y="141046"/>
                  </a:lnTo>
                  <a:lnTo>
                    <a:pt x="0" y="175890"/>
                  </a:lnTo>
                  <a:lnTo>
                    <a:pt x="27953" y="175890"/>
                  </a:lnTo>
                  <a:cubicBezTo>
                    <a:pt x="29694" y="175866"/>
                    <a:pt x="31314" y="176543"/>
                    <a:pt x="32499" y="177752"/>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orma Livre: Forma 39">
              <a:extLst>
                <a:ext uri="{FF2B5EF4-FFF2-40B4-BE49-F238E27FC236}">
                  <a16:creationId xmlns:a16="http://schemas.microsoft.com/office/drawing/2014/main" id="{A7D8E71A-47F1-41B8-11F8-289CFACA1D62}"/>
                </a:ext>
              </a:extLst>
            </p:cNvPr>
            <p:cNvSpPr/>
            <p:nvPr/>
          </p:nvSpPr>
          <p:spPr>
            <a:xfrm>
              <a:off x="4177101" y="865436"/>
              <a:ext cx="934076" cy="912434"/>
            </a:xfrm>
            <a:custGeom>
              <a:avLst/>
              <a:gdLst>
                <a:gd name="connsiteX0" fmla="*/ 123322 w 934076"/>
                <a:gd name="connsiteY0" fmla="*/ 301292 h 912434"/>
                <a:gd name="connsiteX1" fmla="*/ 124579 w 934076"/>
                <a:gd name="connsiteY1" fmla="*/ 301412 h 912434"/>
                <a:gd name="connsiteX2" fmla="*/ 127819 w 934076"/>
                <a:gd name="connsiteY2" fmla="*/ 303153 h 912434"/>
                <a:gd name="connsiteX3" fmla="*/ 156522 w 934076"/>
                <a:gd name="connsiteY3" fmla="*/ 331856 h 912434"/>
                <a:gd name="connsiteX4" fmla="*/ 197822 w 934076"/>
                <a:gd name="connsiteY4" fmla="*/ 331856 h 912434"/>
                <a:gd name="connsiteX5" fmla="*/ 198790 w 934076"/>
                <a:gd name="connsiteY5" fmla="*/ 331904 h 912434"/>
                <a:gd name="connsiteX6" fmla="*/ 203723 w 934076"/>
                <a:gd name="connsiteY6" fmla="*/ 335773 h 912434"/>
                <a:gd name="connsiteX7" fmla="*/ 203456 w 934076"/>
                <a:gd name="connsiteY7" fmla="*/ 341190 h 912434"/>
                <a:gd name="connsiteX8" fmla="*/ 202344 w 934076"/>
                <a:gd name="connsiteY8" fmla="*/ 342713 h 912434"/>
                <a:gd name="connsiteX9" fmla="*/ 148663 w 934076"/>
                <a:gd name="connsiteY9" fmla="*/ 396394 h 912434"/>
                <a:gd name="connsiteX10" fmla="*/ 148663 w 934076"/>
                <a:gd name="connsiteY10" fmla="*/ 447730 h 912434"/>
                <a:gd name="connsiteX11" fmla="*/ 146777 w 934076"/>
                <a:gd name="connsiteY11" fmla="*/ 452227 h 912434"/>
                <a:gd name="connsiteX12" fmla="*/ 113770 w 934076"/>
                <a:gd name="connsiteY12" fmla="*/ 485234 h 912434"/>
                <a:gd name="connsiteX13" fmla="*/ 113770 w 934076"/>
                <a:gd name="connsiteY13" fmla="*/ 534176 h 912434"/>
                <a:gd name="connsiteX14" fmla="*/ 113649 w 934076"/>
                <a:gd name="connsiteY14" fmla="*/ 535433 h 912434"/>
                <a:gd name="connsiteX15" fmla="*/ 111908 w 934076"/>
                <a:gd name="connsiteY15" fmla="*/ 538698 h 912434"/>
                <a:gd name="connsiteX16" fmla="*/ 73558 w 934076"/>
                <a:gd name="connsiteY16" fmla="*/ 577048 h 912434"/>
                <a:gd name="connsiteX17" fmla="*/ 73558 w 934076"/>
                <a:gd name="connsiteY17" fmla="*/ 625700 h 912434"/>
                <a:gd name="connsiteX18" fmla="*/ 73437 w 934076"/>
                <a:gd name="connsiteY18" fmla="*/ 626933 h 912434"/>
                <a:gd name="connsiteX19" fmla="*/ 71696 w 934076"/>
                <a:gd name="connsiteY19" fmla="*/ 630197 h 912434"/>
                <a:gd name="connsiteX20" fmla="*/ 15137 w 934076"/>
                <a:gd name="connsiteY20" fmla="*/ 686780 h 912434"/>
                <a:gd name="connsiteX21" fmla="*/ 64587 w 934076"/>
                <a:gd name="connsiteY21" fmla="*/ 736230 h 912434"/>
                <a:gd name="connsiteX22" fmla="*/ 100737 w 934076"/>
                <a:gd name="connsiteY22" fmla="*/ 772380 h 912434"/>
                <a:gd name="connsiteX23" fmla="*/ 102599 w 934076"/>
                <a:gd name="connsiteY23" fmla="*/ 776878 h 912434"/>
                <a:gd name="connsiteX24" fmla="*/ 102599 w 934076"/>
                <a:gd name="connsiteY24" fmla="*/ 842722 h 912434"/>
                <a:gd name="connsiteX25" fmla="*/ 172312 w 934076"/>
                <a:gd name="connsiteY25" fmla="*/ 912435 h 912434"/>
                <a:gd name="connsiteX26" fmla="*/ 631092 w 934076"/>
                <a:gd name="connsiteY26" fmla="*/ 912435 h 912434"/>
                <a:gd name="connsiteX27" fmla="*/ 631092 w 934076"/>
                <a:gd name="connsiteY27" fmla="*/ 896282 h 912434"/>
                <a:gd name="connsiteX28" fmla="*/ 631237 w 934076"/>
                <a:gd name="connsiteY28" fmla="*/ 895049 h 912434"/>
                <a:gd name="connsiteX29" fmla="*/ 632954 w 934076"/>
                <a:gd name="connsiteY29" fmla="*/ 891784 h 912434"/>
                <a:gd name="connsiteX30" fmla="*/ 704287 w 934076"/>
                <a:gd name="connsiteY30" fmla="*/ 820475 h 912434"/>
                <a:gd name="connsiteX31" fmla="*/ 704287 w 934076"/>
                <a:gd name="connsiteY31" fmla="*/ 773637 h 912434"/>
                <a:gd name="connsiteX32" fmla="*/ 692681 w 934076"/>
                <a:gd name="connsiteY32" fmla="*/ 762031 h 912434"/>
                <a:gd name="connsiteX33" fmla="*/ 690819 w 934076"/>
                <a:gd name="connsiteY33" fmla="*/ 757533 h 912434"/>
                <a:gd name="connsiteX34" fmla="*/ 692681 w 934076"/>
                <a:gd name="connsiteY34" fmla="*/ 753011 h 912434"/>
                <a:gd name="connsiteX35" fmla="*/ 712025 w 934076"/>
                <a:gd name="connsiteY35" fmla="*/ 733691 h 912434"/>
                <a:gd name="connsiteX36" fmla="*/ 712025 w 934076"/>
                <a:gd name="connsiteY36" fmla="*/ 701796 h 912434"/>
                <a:gd name="connsiteX37" fmla="*/ 712170 w 934076"/>
                <a:gd name="connsiteY37" fmla="*/ 700539 h 912434"/>
                <a:gd name="connsiteX38" fmla="*/ 713887 w 934076"/>
                <a:gd name="connsiteY38" fmla="*/ 697275 h 912434"/>
                <a:gd name="connsiteX39" fmla="*/ 794530 w 934076"/>
                <a:gd name="connsiteY39" fmla="*/ 616656 h 912434"/>
                <a:gd name="connsiteX40" fmla="*/ 758500 w 934076"/>
                <a:gd name="connsiteY40" fmla="*/ 580627 h 912434"/>
                <a:gd name="connsiteX41" fmla="*/ 758307 w 934076"/>
                <a:gd name="connsiteY41" fmla="*/ 580409 h 912434"/>
                <a:gd name="connsiteX42" fmla="*/ 757968 w 934076"/>
                <a:gd name="connsiteY42" fmla="*/ 580022 h 912434"/>
                <a:gd name="connsiteX43" fmla="*/ 757775 w 934076"/>
                <a:gd name="connsiteY43" fmla="*/ 579732 h 912434"/>
                <a:gd name="connsiteX44" fmla="*/ 757606 w 934076"/>
                <a:gd name="connsiteY44" fmla="*/ 579515 h 912434"/>
                <a:gd name="connsiteX45" fmla="*/ 757461 w 934076"/>
                <a:gd name="connsiteY45" fmla="*/ 579249 h 912434"/>
                <a:gd name="connsiteX46" fmla="*/ 757219 w 934076"/>
                <a:gd name="connsiteY46" fmla="*/ 578813 h 912434"/>
                <a:gd name="connsiteX47" fmla="*/ 757098 w 934076"/>
                <a:gd name="connsiteY47" fmla="*/ 578547 h 912434"/>
                <a:gd name="connsiteX48" fmla="*/ 757098 w 934076"/>
                <a:gd name="connsiteY48" fmla="*/ 578547 h 912434"/>
                <a:gd name="connsiteX49" fmla="*/ 757049 w 934076"/>
                <a:gd name="connsiteY49" fmla="*/ 578402 h 912434"/>
                <a:gd name="connsiteX50" fmla="*/ 756880 w 934076"/>
                <a:gd name="connsiteY50" fmla="*/ 577943 h 912434"/>
                <a:gd name="connsiteX51" fmla="*/ 756759 w 934076"/>
                <a:gd name="connsiteY51" fmla="*/ 577508 h 912434"/>
                <a:gd name="connsiteX52" fmla="*/ 756735 w 934076"/>
                <a:gd name="connsiteY52" fmla="*/ 577363 h 912434"/>
                <a:gd name="connsiteX53" fmla="*/ 756711 w 934076"/>
                <a:gd name="connsiteY53" fmla="*/ 577266 h 912434"/>
                <a:gd name="connsiteX54" fmla="*/ 756687 w 934076"/>
                <a:gd name="connsiteY54" fmla="*/ 577072 h 912434"/>
                <a:gd name="connsiteX55" fmla="*/ 756614 w 934076"/>
                <a:gd name="connsiteY55" fmla="*/ 576613 h 912434"/>
                <a:gd name="connsiteX56" fmla="*/ 756614 w 934076"/>
                <a:gd name="connsiteY56" fmla="*/ 576275 h 912434"/>
                <a:gd name="connsiteX57" fmla="*/ 756614 w 934076"/>
                <a:gd name="connsiteY57" fmla="*/ 576008 h 912434"/>
                <a:gd name="connsiteX58" fmla="*/ 756614 w 934076"/>
                <a:gd name="connsiteY58" fmla="*/ 575670 h 912434"/>
                <a:gd name="connsiteX59" fmla="*/ 756687 w 934076"/>
                <a:gd name="connsiteY59" fmla="*/ 575211 h 912434"/>
                <a:gd name="connsiteX60" fmla="*/ 756711 w 934076"/>
                <a:gd name="connsiteY60" fmla="*/ 575017 h 912434"/>
                <a:gd name="connsiteX61" fmla="*/ 756735 w 934076"/>
                <a:gd name="connsiteY61" fmla="*/ 574920 h 912434"/>
                <a:gd name="connsiteX62" fmla="*/ 756759 w 934076"/>
                <a:gd name="connsiteY62" fmla="*/ 574775 h 912434"/>
                <a:gd name="connsiteX63" fmla="*/ 756880 w 934076"/>
                <a:gd name="connsiteY63" fmla="*/ 574340 h 912434"/>
                <a:gd name="connsiteX64" fmla="*/ 757049 w 934076"/>
                <a:gd name="connsiteY64" fmla="*/ 573881 h 912434"/>
                <a:gd name="connsiteX65" fmla="*/ 757098 w 934076"/>
                <a:gd name="connsiteY65" fmla="*/ 573735 h 912434"/>
                <a:gd name="connsiteX66" fmla="*/ 757098 w 934076"/>
                <a:gd name="connsiteY66" fmla="*/ 573735 h 912434"/>
                <a:gd name="connsiteX67" fmla="*/ 757219 w 934076"/>
                <a:gd name="connsiteY67" fmla="*/ 573470 h 912434"/>
                <a:gd name="connsiteX68" fmla="*/ 757461 w 934076"/>
                <a:gd name="connsiteY68" fmla="*/ 573034 h 912434"/>
                <a:gd name="connsiteX69" fmla="*/ 757606 w 934076"/>
                <a:gd name="connsiteY69" fmla="*/ 572744 h 912434"/>
                <a:gd name="connsiteX70" fmla="*/ 757775 w 934076"/>
                <a:gd name="connsiteY70" fmla="*/ 572551 h 912434"/>
                <a:gd name="connsiteX71" fmla="*/ 757968 w 934076"/>
                <a:gd name="connsiteY71" fmla="*/ 572261 h 912434"/>
                <a:gd name="connsiteX72" fmla="*/ 758307 w 934076"/>
                <a:gd name="connsiteY72" fmla="*/ 571874 h 912434"/>
                <a:gd name="connsiteX73" fmla="*/ 758500 w 934076"/>
                <a:gd name="connsiteY73" fmla="*/ 571680 h 912434"/>
                <a:gd name="connsiteX74" fmla="*/ 807805 w 934076"/>
                <a:gd name="connsiteY74" fmla="*/ 522376 h 912434"/>
                <a:gd name="connsiteX75" fmla="*/ 812302 w 934076"/>
                <a:gd name="connsiteY75" fmla="*/ 520514 h 912434"/>
                <a:gd name="connsiteX76" fmla="*/ 826738 w 934076"/>
                <a:gd name="connsiteY76" fmla="*/ 520514 h 912434"/>
                <a:gd name="connsiteX77" fmla="*/ 882160 w 934076"/>
                <a:gd name="connsiteY77" fmla="*/ 465092 h 912434"/>
                <a:gd name="connsiteX78" fmla="*/ 882160 w 934076"/>
                <a:gd name="connsiteY78" fmla="*/ 394726 h 912434"/>
                <a:gd name="connsiteX79" fmla="*/ 882281 w 934076"/>
                <a:gd name="connsiteY79" fmla="*/ 393468 h 912434"/>
                <a:gd name="connsiteX80" fmla="*/ 883998 w 934076"/>
                <a:gd name="connsiteY80" fmla="*/ 390204 h 912434"/>
                <a:gd name="connsiteX81" fmla="*/ 934077 w 934076"/>
                <a:gd name="connsiteY81" fmla="*/ 340126 h 912434"/>
                <a:gd name="connsiteX82" fmla="*/ 934077 w 934076"/>
                <a:gd name="connsiteY82" fmla="*/ 271356 h 912434"/>
                <a:gd name="connsiteX83" fmla="*/ 908977 w 934076"/>
                <a:gd name="connsiteY83" fmla="*/ 246232 h 912434"/>
                <a:gd name="connsiteX84" fmla="*/ 829374 w 934076"/>
                <a:gd name="connsiteY84" fmla="*/ 246232 h 912434"/>
                <a:gd name="connsiteX85" fmla="*/ 824852 w 934076"/>
                <a:gd name="connsiteY85" fmla="*/ 244370 h 912434"/>
                <a:gd name="connsiteX86" fmla="*/ 803791 w 934076"/>
                <a:gd name="connsiteY86" fmla="*/ 223285 h 912434"/>
                <a:gd name="connsiteX87" fmla="*/ 759516 w 934076"/>
                <a:gd name="connsiteY87" fmla="*/ 223285 h 912434"/>
                <a:gd name="connsiteX88" fmla="*/ 755018 w 934076"/>
                <a:gd name="connsiteY88" fmla="*/ 221423 h 912434"/>
                <a:gd name="connsiteX89" fmla="*/ 653822 w 934076"/>
                <a:gd name="connsiteY89" fmla="*/ 120251 h 912434"/>
                <a:gd name="connsiteX90" fmla="*/ 653604 w 934076"/>
                <a:gd name="connsiteY90" fmla="*/ 120492 h 912434"/>
                <a:gd name="connsiteX91" fmla="*/ 653024 w 934076"/>
                <a:gd name="connsiteY91" fmla="*/ 121073 h 912434"/>
                <a:gd name="connsiteX92" fmla="*/ 652637 w 934076"/>
                <a:gd name="connsiteY92" fmla="*/ 121411 h 912434"/>
                <a:gd name="connsiteX93" fmla="*/ 651936 w 934076"/>
                <a:gd name="connsiteY93" fmla="*/ 121847 h 912434"/>
                <a:gd name="connsiteX94" fmla="*/ 651477 w 934076"/>
                <a:gd name="connsiteY94" fmla="*/ 122113 h 912434"/>
                <a:gd name="connsiteX95" fmla="*/ 650630 w 934076"/>
                <a:gd name="connsiteY95" fmla="*/ 122403 h 912434"/>
                <a:gd name="connsiteX96" fmla="*/ 650195 w 934076"/>
                <a:gd name="connsiteY96" fmla="*/ 122548 h 912434"/>
                <a:gd name="connsiteX97" fmla="*/ 648793 w 934076"/>
                <a:gd name="connsiteY97" fmla="*/ 122717 h 912434"/>
                <a:gd name="connsiteX98" fmla="*/ 625289 w 934076"/>
                <a:gd name="connsiteY98" fmla="*/ 122717 h 912434"/>
                <a:gd name="connsiteX99" fmla="*/ 571535 w 934076"/>
                <a:gd name="connsiteY99" fmla="*/ 176447 h 912434"/>
                <a:gd name="connsiteX100" fmla="*/ 571535 w 934076"/>
                <a:gd name="connsiteY100" fmla="*/ 190205 h 912434"/>
                <a:gd name="connsiteX101" fmla="*/ 569698 w 934076"/>
                <a:gd name="connsiteY101" fmla="*/ 194703 h 912434"/>
                <a:gd name="connsiteX102" fmla="*/ 533330 w 934076"/>
                <a:gd name="connsiteY102" fmla="*/ 231071 h 912434"/>
                <a:gd name="connsiteX103" fmla="*/ 533330 w 934076"/>
                <a:gd name="connsiteY103" fmla="*/ 254333 h 912434"/>
                <a:gd name="connsiteX104" fmla="*/ 526946 w 934076"/>
                <a:gd name="connsiteY104" fmla="*/ 260692 h 912434"/>
                <a:gd name="connsiteX105" fmla="*/ 479407 w 934076"/>
                <a:gd name="connsiteY105" fmla="*/ 260692 h 912434"/>
                <a:gd name="connsiteX106" fmla="*/ 473023 w 934076"/>
                <a:gd name="connsiteY106" fmla="*/ 254333 h 912434"/>
                <a:gd name="connsiteX107" fmla="*/ 473023 w 934076"/>
                <a:gd name="connsiteY107" fmla="*/ 235689 h 912434"/>
                <a:gd name="connsiteX108" fmla="*/ 456048 w 934076"/>
                <a:gd name="connsiteY108" fmla="*/ 218714 h 912434"/>
                <a:gd name="connsiteX109" fmla="*/ 454210 w 934076"/>
                <a:gd name="connsiteY109" fmla="*/ 214217 h 912434"/>
                <a:gd name="connsiteX110" fmla="*/ 454210 w 934076"/>
                <a:gd name="connsiteY110" fmla="*/ 205995 h 912434"/>
                <a:gd name="connsiteX111" fmla="*/ 416416 w 934076"/>
                <a:gd name="connsiteY111" fmla="*/ 168201 h 912434"/>
                <a:gd name="connsiteX112" fmla="*/ 414578 w 934076"/>
                <a:gd name="connsiteY112" fmla="*/ 163703 h 912434"/>
                <a:gd name="connsiteX113" fmla="*/ 414578 w 934076"/>
                <a:gd name="connsiteY113" fmla="*/ 123249 h 912434"/>
                <a:gd name="connsiteX114" fmla="*/ 393880 w 934076"/>
                <a:gd name="connsiteY114" fmla="*/ 102550 h 912434"/>
                <a:gd name="connsiteX115" fmla="*/ 392139 w 934076"/>
                <a:gd name="connsiteY115" fmla="*/ 99310 h 912434"/>
                <a:gd name="connsiteX116" fmla="*/ 392018 w 934076"/>
                <a:gd name="connsiteY116" fmla="*/ 98077 h 912434"/>
                <a:gd name="connsiteX117" fmla="*/ 392018 w 934076"/>
                <a:gd name="connsiteY117" fmla="*/ 82891 h 912434"/>
                <a:gd name="connsiteX118" fmla="*/ 376010 w 934076"/>
                <a:gd name="connsiteY118" fmla="*/ 66884 h 912434"/>
                <a:gd name="connsiteX119" fmla="*/ 359398 w 934076"/>
                <a:gd name="connsiteY119" fmla="*/ 66884 h 912434"/>
                <a:gd name="connsiteX120" fmla="*/ 358141 w 934076"/>
                <a:gd name="connsiteY120" fmla="*/ 66763 h 912434"/>
                <a:gd name="connsiteX121" fmla="*/ 354900 w 934076"/>
                <a:gd name="connsiteY121" fmla="*/ 65022 h 912434"/>
                <a:gd name="connsiteX122" fmla="*/ 334347 w 934076"/>
                <a:gd name="connsiteY122" fmla="*/ 44468 h 912434"/>
                <a:gd name="connsiteX123" fmla="*/ 302670 w 934076"/>
                <a:gd name="connsiteY123" fmla="*/ 44468 h 912434"/>
                <a:gd name="connsiteX124" fmla="*/ 296310 w 934076"/>
                <a:gd name="connsiteY124" fmla="*/ 38109 h 912434"/>
                <a:gd name="connsiteX125" fmla="*/ 296310 w 934076"/>
                <a:gd name="connsiteY125" fmla="*/ 0 h 912434"/>
                <a:gd name="connsiteX126" fmla="*/ 215861 w 934076"/>
                <a:gd name="connsiteY126" fmla="*/ 0 h 912434"/>
                <a:gd name="connsiteX127" fmla="*/ 215861 w 934076"/>
                <a:gd name="connsiteY127" fmla="*/ 31773 h 912434"/>
                <a:gd name="connsiteX128" fmla="*/ 209502 w 934076"/>
                <a:gd name="connsiteY128" fmla="*/ 38133 h 912434"/>
                <a:gd name="connsiteX129" fmla="*/ 106734 w 934076"/>
                <a:gd name="connsiteY129" fmla="*/ 38133 h 912434"/>
                <a:gd name="connsiteX130" fmla="*/ 72615 w 934076"/>
                <a:gd name="connsiteY130" fmla="*/ 72252 h 912434"/>
                <a:gd name="connsiteX131" fmla="*/ 68117 w 934076"/>
                <a:gd name="connsiteY131" fmla="*/ 74114 h 912434"/>
                <a:gd name="connsiteX132" fmla="*/ 15210 w 934076"/>
                <a:gd name="connsiteY132" fmla="*/ 74114 h 912434"/>
                <a:gd name="connsiteX133" fmla="*/ 0 w 934076"/>
                <a:gd name="connsiteY133" fmla="*/ 89324 h 912434"/>
                <a:gd name="connsiteX134" fmla="*/ 0 w 934076"/>
                <a:gd name="connsiteY134" fmla="*/ 162543 h 912434"/>
                <a:gd name="connsiteX135" fmla="*/ 0 w 934076"/>
                <a:gd name="connsiteY135" fmla="*/ 203263 h 912434"/>
                <a:gd name="connsiteX136" fmla="*/ 98029 w 934076"/>
                <a:gd name="connsiteY136" fmla="*/ 301292 h 912434"/>
                <a:gd name="connsiteX137" fmla="*/ 123322 w 934076"/>
                <a:gd name="connsiteY137" fmla="*/ 301292 h 912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934076" h="912434">
                  <a:moveTo>
                    <a:pt x="123322" y="301292"/>
                  </a:moveTo>
                  <a:cubicBezTo>
                    <a:pt x="123733" y="301292"/>
                    <a:pt x="124168" y="301340"/>
                    <a:pt x="124579" y="301412"/>
                  </a:cubicBezTo>
                  <a:cubicBezTo>
                    <a:pt x="125788" y="301654"/>
                    <a:pt x="126925" y="302259"/>
                    <a:pt x="127819" y="303153"/>
                  </a:cubicBezTo>
                  <a:lnTo>
                    <a:pt x="156522" y="331856"/>
                  </a:lnTo>
                  <a:lnTo>
                    <a:pt x="197822" y="331856"/>
                  </a:lnTo>
                  <a:cubicBezTo>
                    <a:pt x="198137" y="331856"/>
                    <a:pt x="198451" y="331856"/>
                    <a:pt x="198790" y="331904"/>
                  </a:cubicBezTo>
                  <a:cubicBezTo>
                    <a:pt x="200966" y="332243"/>
                    <a:pt x="202852" y="333694"/>
                    <a:pt x="203723" y="335773"/>
                  </a:cubicBezTo>
                  <a:cubicBezTo>
                    <a:pt x="204472" y="337563"/>
                    <a:pt x="204327" y="339545"/>
                    <a:pt x="203456" y="341190"/>
                  </a:cubicBezTo>
                  <a:cubicBezTo>
                    <a:pt x="203166" y="341722"/>
                    <a:pt x="202779" y="342254"/>
                    <a:pt x="202344" y="342713"/>
                  </a:cubicBezTo>
                  <a:lnTo>
                    <a:pt x="148663" y="396394"/>
                  </a:lnTo>
                  <a:lnTo>
                    <a:pt x="148663" y="447730"/>
                  </a:lnTo>
                  <a:cubicBezTo>
                    <a:pt x="148663" y="449422"/>
                    <a:pt x="147986" y="451043"/>
                    <a:pt x="146777" y="452227"/>
                  </a:cubicBezTo>
                  <a:lnTo>
                    <a:pt x="113770" y="485234"/>
                  </a:lnTo>
                  <a:lnTo>
                    <a:pt x="113770" y="534176"/>
                  </a:lnTo>
                  <a:cubicBezTo>
                    <a:pt x="113770" y="534611"/>
                    <a:pt x="113746" y="535022"/>
                    <a:pt x="113649" y="535433"/>
                  </a:cubicBezTo>
                  <a:cubicBezTo>
                    <a:pt x="113408" y="536667"/>
                    <a:pt x="112803" y="537803"/>
                    <a:pt x="111908" y="538698"/>
                  </a:cubicBezTo>
                  <a:lnTo>
                    <a:pt x="73558" y="577048"/>
                  </a:lnTo>
                  <a:lnTo>
                    <a:pt x="73558" y="625700"/>
                  </a:lnTo>
                  <a:cubicBezTo>
                    <a:pt x="73558" y="626135"/>
                    <a:pt x="73534" y="626546"/>
                    <a:pt x="73437" y="626933"/>
                  </a:cubicBezTo>
                  <a:cubicBezTo>
                    <a:pt x="73195" y="628166"/>
                    <a:pt x="72591" y="629303"/>
                    <a:pt x="71696" y="630197"/>
                  </a:cubicBezTo>
                  <a:lnTo>
                    <a:pt x="15137" y="686780"/>
                  </a:lnTo>
                  <a:lnTo>
                    <a:pt x="64587" y="736230"/>
                  </a:lnTo>
                  <a:lnTo>
                    <a:pt x="100737" y="772380"/>
                  </a:lnTo>
                  <a:cubicBezTo>
                    <a:pt x="101946" y="773565"/>
                    <a:pt x="102599" y="775185"/>
                    <a:pt x="102599" y="776878"/>
                  </a:cubicBezTo>
                  <a:lnTo>
                    <a:pt x="102599" y="842722"/>
                  </a:lnTo>
                  <a:lnTo>
                    <a:pt x="172312" y="912435"/>
                  </a:lnTo>
                  <a:lnTo>
                    <a:pt x="631092" y="912435"/>
                  </a:lnTo>
                  <a:lnTo>
                    <a:pt x="631092" y="896282"/>
                  </a:lnTo>
                  <a:cubicBezTo>
                    <a:pt x="631092" y="895871"/>
                    <a:pt x="631141" y="895460"/>
                    <a:pt x="631237" y="895049"/>
                  </a:cubicBezTo>
                  <a:cubicBezTo>
                    <a:pt x="631479" y="893815"/>
                    <a:pt x="632084" y="892679"/>
                    <a:pt x="632954" y="891784"/>
                  </a:cubicBezTo>
                  <a:lnTo>
                    <a:pt x="704287" y="820475"/>
                  </a:lnTo>
                  <a:lnTo>
                    <a:pt x="704287" y="773637"/>
                  </a:lnTo>
                  <a:lnTo>
                    <a:pt x="692681" y="762031"/>
                  </a:lnTo>
                  <a:cubicBezTo>
                    <a:pt x="691471" y="760846"/>
                    <a:pt x="690819" y="759201"/>
                    <a:pt x="690819" y="757533"/>
                  </a:cubicBezTo>
                  <a:cubicBezTo>
                    <a:pt x="690819" y="755840"/>
                    <a:pt x="691471" y="754220"/>
                    <a:pt x="692681" y="753011"/>
                  </a:cubicBezTo>
                  <a:lnTo>
                    <a:pt x="712025" y="733691"/>
                  </a:lnTo>
                  <a:lnTo>
                    <a:pt x="712025" y="701796"/>
                  </a:lnTo>
                  <a:cubicBezTo>
                    <a:pt x="712025" y="701361"/>
                    <a:pt x="712073" y="700950"/>
                    <a:pt x="712170" y="700539"/>
                  </a:cubicBezTo>
                  <a:cubicBezTo>
                    <a:pt x="712412" y="699330"/>
                    <a:pt x="712992" y="698169"/>
                    <a:pt x="713887" y="697275"/>
                  </a:cubicBezTo>
                  <a:lnTo>
                    <a:pt x="794530" y="616656"/>
                  </a:lnTo>
                  <a:lnTo>
                    <a:pt x="758500" y="580627"/>
                  </a:lnTo>
                  <a:cubicBezTo>
                    <a:pt x="758428" y="580554"/>
                    <a:pt x="758379" y="580482"/>
                    <a:pt x="758307" y="580409"/>
                  </a:cubicBezTo>
                  <a:cubicBezTo>
                    <a:pt x="758210" y="580288"/>
                    <a:pt x="758089" y="580168"/>
                    <a:pt x="757968" y="580022"/>
                  </a:cubicBezTo>
                  <a:cubicBezTo>
                    <a:pt x="757896" y="579926"/>
                    <a:pt x="757848" y="579829"/>
                    <a:pt x="757775" y="579732"/>
                  </a:cubicBezTo>
                  <a:cubicBezTo>
                    <a:pt x="757702" y="579660"/>
                    <a:pt x="757654" y="579611"/>
                    <a:pt x="757606" y="579515"/>
                  </a:cubicBezTo>
                  <a:cubicBezTo>
                    <a:pt x="757557" y="579418"/>
                    <a:pt x="757485" y="579345"/>
                    <a:pt x="757461" y="579249"/>
                  </a:cubicBezTo>
                  <a:cubicBezTo>
                    <a:pt x="757364" y="579104"/>
                    <a:pt x="757291" y="578958"/>
                    <a:pt x="757219" y="578813"/>
                  </a:cubicBezTo>
                  <a:cubicBezTo>
                    <a:pt x="757170" y="578741"/>
                    <a:pt x="757146" y="578644"/>
                    <a:pt x="757098" y="578547"/>
                  </a:cubicBezTo>
                  <a:lnTo>
                    <a:pt x="757098" y="578547"/>
                  </a:lnTo>
                  <a:cubicBezTo>
                    <a:pt x="757074" y="578499"/>
                    <a:pt x="757074" y="578451"/>
                    <a:pt x="757049" y="578402"/>
                  </a:cubicBezTo>
                  <a:cubicBezTo>
                    <a:pt x="756977" y="578257"/>
                    <a:pt x="756929" y="578112"/>
                    <a:pt x="756880" y="577943"/>
                  </a:cubicBezTo>
                  <a:cubicBezTo>
                    <a:pt x="756832" y="577798"/>
                    <a:pt x="756784" y="577653"/>
                    <a:pt x="756759" y="577508"/>
                  </a:cubicBezTo>
                  <a:cubicBezTo>
                    <a:pt x="756759" y="577459"/>
                    <a:pt x="756735" y="577411"/>
                    <a:pt x="756735" y="577363"/>
                  </a:cubicBezTo>
                  <a:cubicBezTo>
                    <a:pt x="756711" y="577338"/>
                    <a:pt x="756711" y="577314"/>
                    <a:pt x="756711" y="577266"/>
                  </a:cubicBezTo>
                  <a:cubicBezTo>
                    <a:pt x="756711" y="577193"/>
                    <a:pt x="756687" y="577145"/>
                    <a:pt x="756687" y="577072"/>
                  </a:cubicBezTo>
                  <a:cubicBezTo>
                    <a:pt x="756663" y="576927"/>
                    <a:pt x="756638" y="576782"/>
                    <a:pt x="756614" y="576613"/>
                  </a:cubicBezTo>
                  <a:cubicBezTo>
                    <a:pt x="756614" y="576492"/>
                    <a:pt x="756614" y="576395"/>
                    <a:pt x="756614" y="576275"/>
                  </a:cubicBezTo>
                  <a:cubicBezTo>
                    <a:pt x="756614" y="576202"/>
                    <a:pt x="756614" y="576105"/>
                    <a:pt x="756614" y="576008"/>
                  </a:cubicBezTo>
                  <a:cubicBezTo>
                    <a:pt x="756614" y="575912"/>
                    <a:pt x="756614" y="575791"/>
                    <a:pt x="756614" y="575670"/>
                  </a:cubicBezTo>
                  <a:cubicBezTo>
                    <a:pt x="756638" y="575525"/>
                    <a:pt x="756663" y="575356"/>
                    <a:pt x="756687" y="575211"/>
                  </a:cubicBezTo>
                  <a:cubicBezTo>
                    <a:pt x="756687" y="575162"/>
                    <a:pt x="756711" y="575090"/>
                    <a:pt x="756711" y="575017"/>
                  </a:cubicBezTo>
                  <a:cubicBezTo>
                    <a:pt x="756711" y="574993"/>
                    <a:pt x="756711" y="574945"/>
                    <a:pt x="756735" y="574920"/>
                  </a:cubicBezTo>
                  <a:cubicBezTo>
                    <a:pt x="756735" y="574872"/>
                    <a:pt x="756759" y="574824"/>
                    <a:pt x="756759" y="574775"/>
                  </a:cubicBezTo>
                  <a:cubicBezTo>
                    <a:pt x="756784" y="574630"/>
                    <a:pt x="756832" y="574485"/>
                    <a:pt x="756880" y="574340"/>
                  </a:cubicBezTo>
                  <a:cubicBezTo>
                    <a:pt x="756929" y="574195"/>
                    <a:pt x="756977" y="574026"/>
                    <a:pt x="757049" y="573881"/>
                  </a:cubicBezTo>
                  <a:cubicBezTo>
                    <a:pt x="757074" y="573832"/>
                    <a:pt x="757074" y="573784"/>
                    <a:pt x="757098" y="573735"/>
                  </a:cubicBezTo>
                  <a:lnTo>
                    <a:pt x="757098" y="573735"/>
                  </a:lnTo>
                  <a:cubicBezTo>
                    <a:pt x="757146" y="573639"/>
                    <a:pt x="757170" y="573566"/>
                    <a:pt x="757219" y="573470"/>
                  </a:cubicBezTo>
                  <a:cubicBezTo>
                    <a:pt x="757291" y="573324"/>
                    <a:pt x="757364" y="573179"/>
                    <a:pt x="757461" y="573034"/>
                  </a:cubicBezTo>
                  <a:cubicBezTo>
                    <a:pt x="757485" y="572938"/>
                    <a:pt x="757557" y="572865"/>
                    <a:pt x="757606" y="572744"/>
                  </a:cubicBezTo>
                  <a:cubicBezTo>
                    <a:pt x="757654" y="572696"/>
                    <a:pt x="757702" y="572623"/>
                    <a:pt x="757775" y="572551"/>
                  </a:cubicBezTo>
                  <a:cubicBezTo>
                    <a:pt x="757848" y="572454"/>
                    <a:pt x="757896" y="572357"/>
                    <a:pt x="757968" y="572261"/>
                  </a:cubicBezTo>
                  <a:cubicBezTo>
                    <a:pt x="758089" y="572115"/>
                    <a:pt x="758210" y="571994"/>
                    <a:pt x="758307" y="571874"/>
                  </a:cubicBezTo>
                  <a:cubicBezTo>
                    <a:pt x="758379" y="571801"/>
                    <a:pt x="758428" y="571728"/>
                    <a:pt x="758500" y="571680"/>
                  </a:cubicBezTo>
                  <a:lnTo>
                    <a:pt x="807805" y="522376"/>
                  </a:lnTo>
                  <a:cubicBezTo>
                    <a:pt x="808990" y="521191"/>
                    <a:pt x="810610" y="520514"/>
                    <a:pt x="812302" y="520514"/>
                  </a:cubicBezTo>
                  <a:lnTo>
                    <a:pt x="826738" y="520514"/>
                  </a:lnTo>
                  <a:lnTo>
                    <a:pt x="882160" y="465092"/>
                  </a:lnTo>
                  <a:lnTo>
                    <a:pt x="882160" y="394726"/>
                  </a:lnTo>
                  <a:cubicBezTo>
                    <a:pt x="882160" y="394291"/>
                    <a:pt x="882209" y="393879"/>
                    <a:pt x="882281" y="393468"/>
                  </a:cubicBezTo>
                  <a:cubicBezTo>
                    <a:pt x="882547" y="392259"/>
                    <a:pt x="883128" y="391099"/>
                    <a:pt x="883998" y="390204"/>
                  </a:cubicBezTo>
                  <a:lnTo>
                    <a:pt x="934077" y="340126"/>
                  </a:lnTo>
                  <a:lnTo>
                    <a:pt x="934077" y="271356"/>
                  </a:lnTo>
                  <a:lnTo>
                    <a:pt x="908977" y="246232"/>
                  </a:lnTo>
                  <a:lnTo>
                    <a:pt x="829374" y="246232"/>
                  </a:lnTo>
                  <a:cubicBezTo>
                    <a:pt x="827681" y="246232"/>
                    <a:pt x="826061" y="245555"/>
                    <a:pt x="824852" y="244370"/>
                  </a:cubicBezTo>
                  <a:lnTo>
                    <a:pt x="803791" y="223285"/>
                  </a:lnTo>
                  <a:lnTo>
                    <a:pt x="759516" y="223285"/>
                  </a:lnTo>
                  <a:cubicBezTo>
                    <a:pt x="757848" y="223285"/>
                    <a:pt x="756203" y="222608"/>
                    <a:pt x="755018" y="221423"/>
                  </a:cubicBezTo>
                  <a:lnTo>
                    <a:pt x="653822" y="120251"/>
                  </a:lnTo>
                  <a:cubicBezTo>
                    <a:pt x="653750" y="120347"/>
                    <a:pt x="653677" y="120396"/>
                    <a:pt x="653604" y="120492"/>
                  </a:cubicBezTo>
                  <a:cubicBezTo>
                    <a:pt x="653411" y="120686"/>
                    <a:pt x="653218" y="120903"/>
                    <a:pt x="653024" y="121073"/>
                  </a:cubicBezTo>
                  <a:cubicBezTo>
                    <a:pt x="652903" y="121194"/>
                    <a:pt x="652758" y="121290"/>
                    <a:pt x="652637" y="121411"/>
                  </a:cubicBezTo>
                  <a:cubicBezTo>
                    <a:pt x="652395" y="121581"/>
                    <a:pt x="652178" y="121726"/>
                    <a:pt x="651936" y="121847"/>
                  </a:cubicBezTo>
                  <a:cubicBezTo>
                    <a:pt x="651791" y="121943"/>
                    <a:pt x="651622" y="122016"/>
                    <a:pt x="651477" y="122113"/>
                  </a:cubicBezTo>
                  <a:cubicBezTo>
                    <a:pt x="651211" y="122233"/>
                    <a:pt x="650920" y="122330"/>
                    <a:pt x="650630" y="122403"/>
                  </a:cubicBezTo>
                  <a:cubicBezTo>
                    <a:pt x="650485" y="122451"/>
                    <a:pt x="650340" y="122499"/>
                    <a:pt x="650195" y="122548"/>
                  </a:cubicBezTo>
                  <a:cubicBezTo>
                    <a:pt x="649736" y="122645"/>
                    <a:pt x="649300" y="122717"/>
                    <a:pt x="648793" y="122717"/>
                  </a:cubicBezTo>
                  <a:lnTo>
                    <a:pt x="625289" y="122717"/>
                  </a:lnTo>
                  <a:lnTo>
                    <a:pt x="571535" y="176447"/>
                  </a:lnTo>
                  <a:lnTo>
                    <a:pt x="571535" y="190205"/>
                  </a:lnTo>
                  <a:cubicBezTo>
                    <a:pt x="571535" y="191874"/>
                    <a:pt x="570882" y="193494"/>
                    <a:pt x="569698" y="194703"/>
                  </a:cubicBezTo>
                  <a:lnTo>
                    <a:pt x="533330" y="231071"/>
                  </a:lnTo>
                  <a:lnTo>
                    <a:pt x="533330" y="254333"/>
                  </a:lnTo>
                  <a:cubicBezTo>
                    <a:pt x="533330" y="257839"/>
                    <a:pt x="530476" y="260692"/>
                    <a:pt x="526946" y="260692"/>
                  </a:cubicBezTo>
                  <a:lnTo>
                    <a:pt x="479407" y="260692"/>
                  </a:lnTo>
                  <a:cubicBezTo>
                    <a:pt x="475876" y="260692"/>
                    <a:pt x="473023" y="257839"/>
                    <a:pt x="473023" y="254333"/>
                  </a:cubicBezTo>
                  <a:lnTo>
                    <a:pt x="473023" y="235689"/>
                  </a:lnTo>
                  <a:lnTo>
                    <a:pt x="456048" y="218714"/>
                  </a:lnTo>
                  <a:cubicBezTo>
                    <a:pt x="454863" y="217505"/>
                    <a:pt x="454210" y="215885"/>
                    <a:pt x="454210" y="214217"/>
                  </a:cubicBezTo>
                  <a:lnTo>
                    <a:pt x="454210" y="205995"/>
                  </a:lnTo>
                  <a:lnTo>
                    <a:pt x="416416" y="168201"/>
                  </a:lnTo>
                  <a:cubicBezTo>
                    <a:pt x="415231" y="166992"/>
                    <a:pt x="414578" y="165396"/>
                    <a:pt x="414578" y="163703"/>
                  </a:cubicBezTo>
                  <a:lnTo>
                    <a:pt x="414578" y="123249"/>
                  </a:lnTo>
                  <a:lnTo>
                    <a:pt x="393880" y="102550"/>
                  </a:lnTo>
                  <a:cubicBezTo>
                    <a:pt x="393009" y="101656"/>
                    <a:pt x="392380" y="100543"/>
                    <a:pt x="392139" y="99310"/>
                  </a:cubicBezTo>
                  <a:cubicBezTo>
                    <a:pt x="392066" y="98899"/>
                    <a:pt x="392018" y="98488"/>
                    <a:pt x="392018" y="98077"/>
                  </a:cubicBezTo>
                  <a:lnTo>
                    <a:pt x="392018" y="82891"/>
                  </a:lnTo>
                  <a:lnTo>
                    <a:pt x="376010" y="66884"/>
                  </a:lnTo>
                  <a:lnTo>
                    <a:pt x="359398" y="66884"/>
                  </a:lnTo>
                  <a:cubicBezTo>
                    <a:pt x="358987" y="66884"/>
                    <a:pt x="358576" y="66835"/>
                    <a:pt x="358141" y="66763"/>
                  </a:cubicBezTo>
                  <a:cubicBezTo>
                    <a:pt x="356907" y="66521"/>
                    <a:pt x="355771" y="65917"/>
                    <a:pt x="354900" y="65022"/>
                  </a:cubicBezTo>
                  <a:lnTo>
                    <a:pt x="334347" y="44468"/>
                  </a:lnTo>
                  <a:lnTo>
                    <a:pt x="302670" y="44468"/>
                  </a:lnTo>
                  <a:cubicBezTo>
                    <a:pt x="299140" y="44468"/>
                    <a:pt x="296310" y="41615"/>
                    <a:pt x="296310" y="38109"/>
                  </a:cubicBezTo>
                  <a:lnTo>
                    <a:pt x="296310" y="0"/>
                  </a:lnTo>
                  <a:lnTo>
                    <a:pt x="215861" y="0"/>
                  </a:lnTo>
                  <a:lnTo>
                    <a:pt x="215861" y="31773"/>
                  </a:lnTo>
                  <a:cubicBezTo>
                    <a:pt x="215861" y="35304"/>
                    <a:pt x="213008" y="38133"/>
                    <a:pt x="209502" y="38133"/>
                  </a:cubicBezTo>
                  <a:lnTo>
                    <a:pt x="106734" y="38133"/>
                  </a:lnTo>
                  <a:lnTo>
                    <a:pt x="72615" y="72252"/>
                  </a:lnTo>
                  <a:cubicBezTo>
                    <a:pt x="71430" y="73461"/>
                    <a:pt x="69810" y="74114"/>
                    <a:pt x="68117" y="74114"/>
                  </a:cubicBezTo>
                  <a:lnTo>
                    <a:pt x="15210" y="74114"/>
                  </a:lnTo>
                  <a:lnTo>
                    <a:pt x="0" y="89324"/>
                  </a:lnTo>
                  <a:lnTo>
                    <a:pt x="0" y="162543"/>
                  </a:lnTo>
                  <a:lnTo>
                    <a:pt x="0" y="203263"/>
                  </a:lnTo>
                  <a:lnTo>
                    <a:pt x="98029" y="301292"/>
                  </a:lnTo>
                  <a:lnTo>
                    <a:pt x="123322" y="301292"/>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orma Livre: Forma 40">
              <a:extLst>
                <a:ext uri="{FF2B5EF4-FFF2-40B4-BE49-F238E27FC236}">
                  <a16:creationId xmlns:a16="http://schemas.microsoft.com/office/drawing/2014/main" id="{132F58F9-5FE1-4F1C-0D11-E8EA1CEB1E7E}"/>
                </a:ext>
              </a:extLst>
            </p:cNvPr>
            <p:cNvSpPr/>
            <p:nvPr/>
          </p:nvSpPr>
          <p:spPr>
            <a:xfrm>
              <a:off x="3751206" y="652549"/>
              <a:ext cx="413127" cy="498364"/>
            </a:xfrm>
            <a:custGeom>
              <a:avLst/>
              <a:gdLst>
                <a:gd name="connsiteX0" fmla="*/ 27614 w 413127"/>
                <a:gd name="connsiteY0" fmla="*/ 107386 h 498364"/>
                <a:gd name="connsiteX1" fmla="*/ 27614 w 413127"/>
                <a:gd name="connsiteY1" fmla="*/ 145471 h 498364"/>
                <a:gd name="connsiteX2" fmla="*/ 42461 w 413127"/>
                <a:gd name="connsiteY2" fmla="*/ 160342 h 498364"/>
                <a:gd name="connsiteX3" fmla="*/ 44323 w 413127"/>
                <a:gd name="connsiteY3" fmla="*/ 164864 h 498364"/>
                <a:gd name="connsiteX4" fmla="*/ 44323 w 413127"/>
                <a:gd name="connsiteY4" fmla="*/ 188464 h 498364"/>
                <a:gd name="connsiteX5" fmla="*/ 76774 w 413127"/>
                <a:gd name="connsiteY5" fmla="*/ 188464 h 498364"/>
                <a:gd name="connsiteX6" fmla="*/ 81271 w 413127"/>
                <a:gd name="connsiteY6" fmla="*/ 190350 h 498364"/>
                <a:gd name="connsiteX7" fmla="*/ 109224 w 413127"/>
                <a:gd name="connsiteY7" fmla="*/ 218303 h 498364"/>
                <a:gd name="connsiteX8" fmla="*/ 109224 w 413127"/>
                <a:gd name="connsiteY8" fmla="*/ 218303 h 498364"/>
                <a:gd name="connsiteX9" fmla="*/ 127650 w 413127"/>
                <a:gd name="connsiteY9" fmla="*/ 236753 h 498364"/>
                <a:gd name="connsiteX10" fmla="*/ 129512 w 413127"/>
                <a:gd name="connsiteY10" fmla="*/ 241251 h 498364"/>
                <a:gd name="connsiteX11" fmla="*/ 129512 w 413127"/>
                <a:gd name="connsiteY11" fmla="*/ 264803 h 498364"/>
                <a:gd name="connsiteX12" fmla="*/ 157779 w 413127"/>
                <a:gd name="connsiteY12" fmla="*/ 293070 h 498364"/>
                <a:gd name="connsiteX13" fmla="*/ 159520 w 413127"/>
                <a:gd name="connsiteY13" fmla="*/ 296310 h 498364"/>
                <a:gd name="connsiteX14" fmla="*/ 159641 w 413127"/>
                <a:gd name="connsiteY14" fmla="*/ 297544 h 498364"/>
                <a:gd name="connsiteX15" fmla="*/ 159641 w 413127"/>
                <a:gd name="connsiteY15" fmla="*/ 405003 h 498364"/>
                <a:gd name="connsiteX16" fmla="*/ 159520 w 413127"/>
                <a:gd name="connsiteY16" fmla="*/ 406260 h 498364"/>
                <a:gd name="connsiteX17" fmla="*/ 157779 w 413127"/>
                <a:gd name="connsiteY17" fmla="*/ 409500 h 498364"/>
                <a:gd name="connsiteX18" fmla="*/ 131108 w 413127"/>
                <a:gd name="connsiteY18" fmla="*/ 436171 h 498364"/>
                <a:gd name="connsiteX19" fmla="*/ 193301 w 413127"/>
                <a:gd name="connsiteY19" fmla="*/ 498364 h 498364"/>
                <a:gd name="connsiteX20" fmla="*/ 193301 w 413127"/>
                <a:gd name="connsiteY20" fmla="*/ 446811 h 498364"/>
                <a:gd name="connsiteX21" fmla="*/ 195162 w 413127"/>
                <a:gd name="connsiteY21" fmla="*/ 442313 h 498364"/>
                <a:gd name="connsiteX22" fmla="*/ 234456 w 413127"/>
                <a:gd name="connsiteY22" fmla="*/ 403020 h 498364"/>
                <a:gd name="connsiteX23" fmla="*/ 243451 w 413127"/>
                <a:gd name="connsiteY23" fmla="*/ 403020 h 498364"/>
                <a:gd name="connsiteX24" fmla="*/ 287871 w 413127"/>
                <a:gd name="connsiteY24" fmla="*/ 447440 h 498364"/>
                <a:gd name="connsiteX25" fmla="*/ 305378 w 413127"/>
                <a:gd name="connsiteY25" fmla="*/ 429933 h 498364"/>
                <a:gd name="connsiteX26" fmla="*/ 305378 w 413127"/>
                <a:gd name="connsiteY26" fmla="*/ 404978 h 498364"/>
                <a:gd name="connsiteX27" fmla="*/ 307240 w 413127"/>
                <a:gd name="connsiteY27" fmla="*/ 400481 h 498364"/>
                <a:gd name="connsiteX28" fmla="*/ 336813 w 413127"/>
                <a:gd name="connsiteY28" fmla="*/ 370908 h 498364"/>
                <a:gd name="connsiteX29" fmla="*/ 341311 w 413127"/>
                <a:gd name="connsiteY29" fmla="*/ 369046 h 498364"/>
                <a:gd name="connsiteX30" fmla="*/ 413127 w 413127"/>
                <a:gd name="connsiteY30" fmla="*/ 369046 h 498364"/>
                <a:gd name="connsiteX31" fmla="*/ 413127 w 413127"/>
                <a:gd name="connsiteY31" fmla="*/ 302186 h 498364"/>
                <a:gd name="connsiteX32" fmla="*/ 344938 w 413127"/>
                <a:gd name="connsiteY32" fmla="*/ 233997 h 498364"/>
                <a:gd name="connsiteX33" fmla="*/ 343052 w 413127"/>
                <a:gd name="connsiteY33" fmla="*/ 229475 h 498364"/>
                <a:gd name="connsiteX34" fmla="*/ 343052 w 413127"/>
                <a:gd name="connsiteY34" fmla="*/ 206165 h 498364"/>
                <a:gd name="connsiteX35" fmla="*/ 318436 w 413127"/>
                <a:gd name="connsiteY35" fmla="*/ 181549 h 498364"/>
                <a:gd name="connsiteX36" fmla="*/ 316574 w 413127"/>
                <a:gd name="connsiteY36" fmla="*/ 177051 h 498364"/>
                <a:gd name="connsiteX37" fmla="*/ 316574 w 413127"/>
                <a:gd name="connsiteY37" fmla="*/ 113383 h 498364"/>
                <a:gd name="connsiteX38" fmla="*/ 318436 w 413127"/>
                <a:gd name="connsiteY38" fmla="*/ 108886 h 498364"/>
                <a:gd name="connsiteX39" fmla="*/ 348637 w 413127"/>
                <a:gd name="connsiteY39" fmla="*/ 78684 h 498364"/>
                <a:gd name="connsiteX40" fmla="*/ 314639 w 413127"/>
                <a:gd name="connsiteY40" fmla="*/ 44686 h 498364"/>
                <a:gd name="connsiteX41" fmla="*/ 312777 w 413127"/>
                <a:gd name="connsiteY41" fmla="*/ 40164 h 498364"/>
                <a:gd name="connsiteX42" fmla="*/ 312777 w 413127"/>
                <a:gd name="connsiteY42" fmla="*/ 0 h 498364"/>
                <a:gd name="connsiteX43" fmla="*/ 265262 w 413127"/>
                <a:gd name="connsiteY43" fmla="*/ 47539 h 498364"/>
                <a:gd name="connsiteX44" fmla="*/ 260741 w 413127"/>
                <a:gd name="connsiteY44" fmla="*/ 49401 h 498364"/>
                <a:gd name="connsiteX45" fmla="*/ 223309 w 413127"/>
                <a:gd name="connsiteY45" fmla="*/ 49401 h 498364"/>
                <a:gd name="connsiteX46" fmla="*/ 186820 w 413127"/>
                <a:gd name="connsiteY46" fmla="*/ 85866 h 498364"/>
                <a:gd name="connsiteX47" fmla="*/ 182323 w 413127"/>
                <a:gd name="connsiteY47" fmla="*/ 87728 h 498364"/>
                <a:gd name="connsiteX48" fmla="*/ 136137 w 413127"/>
                <a:gd name="connsiteY48" fmla="*/ 87728 h 498364"/>
                <a:gd name="connsiteX49" fmla="*/ 136137 w 413127"/>
                <a:gd name="connsiteY49" fmla="*/ 98875 h 498364"/>
                <a:gd name="connsiteX50" fmla="*/ 134275 w 413127"/>
                <a:gd name="connsiteY50" fmla="*/ 103372 h 498364"/>
                <a:gd name="connsiteX51" fmla="*/ 120106 w 413127"/>
                <a:gd name="connsiteY51" fmla="*/ 117567 h 498364"/>
                <a:gd name="connsiteX52" fmla="*/ 111110 w 413127"/>
                <a:gd name="connsiteY52" fmla="*/ 117567 h 498364"/>
                <a:gd name="connsiteX53" fmla="*/ 87389 w 413127"/>
                <a:gd name="connsiteY53" fmla="*/ 93845 h 498364"/>
                <a:gd name="connsiteX54" fmla="*/ 41470 w 413127"/>
                <a:gd name="connsiteY54" fmla="*/ 93845 h 498364"/>
                <a:gd name="connsiteX55" fmla="*/ 36948 w 413127"/>
                <a:gd name="connsiteY55" fmla="*/ 91983 h 498364"/>
                <a:gd name="connsiteX56" fmla="*/ 22101 w 413127"/>
                <a:gd name="connsiteY56" fmla="*/ 77136 h 498364"/>
                <a:gd name="connsiteX57" fmla="*/ 0 w 413127"/>
                <a:gd name="connsiteY57" fmla="*/ 77136 h 498364"/>
                <a:gd name="connsiteX58" fmla="*/ 25728 w 413127"/>
                <a:gd name="connsiteY58" fmla="*/ 102889 h 498364"/>
                <a:gd name="connsiteX59" fmla="*/ 27614 w 413127"/>
                <a:gd name="connsiteY59" fmla="*/ 107386 h 49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13127" h="498364">
                  <a:moveTo>
                    <a:pt x="27614" y="107386"/>
                  </a:moveTo>
                  <a:lnTo>
                    <a:pt x="27614" y="145471"/>
                  </a:lnTo>
                  <a:lnTo>
                    <a:pt x="42461" y="160342"/>
                  </a:lnTo>
                  <a:cubicBezTo>
                    <a:pt x="43646" y="161527"/>
                    <a:pt x="44323" y="163147"/>
                    <a:pt x="44323" y="164864"/>
                  </a:cubicBezTo>
                  <a:lnTo>
                    <a:pt x="44323" y="188464"/>
                  </a:lnTo>
                  <a:lnTo>
                    <a:pt x="76774" y="188464"/>
                  </a:lnTo>
                  <a:cubicBezTo>
                    <a:pt x="78466" y="188464"/>
                    <a:pt x="80062" y="189141"/>
                    <a:pt x="81271" y="190350"/>
                  </a:cubicBezTo>
                  <a:lnTo>
                    <a:pt x="109224" y="218303"/>
                  </a:lnTo>
                  <a:lnTo>
                    <a:pt x="109224" y="218303"/>
                  </a:lnTo>
                  <a:lnTo>
                    <a:pt x="127650" y="236753"/>
                  </a:lnTo>
                  <a:cubicBezTo>
                    <a:pt x="128835" y="237938"/>
                    <a:pt x="129512" y="239558"/>
                    <a:pt x="129512" y="241251"/>
                  </a:cubicBezTo>
                  <a:lnTo>
                    <a:pt x="129512" y="264803"/>
                  </a:lnTo>
                  <a:lnTo>
                    <a:pt x="157779" y="293070"/>
                  </a:lnTo>
                  <a:cubicBezTo>
                    <a:pt x="158674" y="293965"/>
                    <a:pt x="159278" y="295077"/>
                    <a:pt x="159520" y="296310"/>
                  </a:cubicBezTo>
                  <a:cubicBezTo>
                    <a:pt x="159593" y="296721"/>
                    <a:pt x="159641" y="297132"/>
                    <a:pt x="159641" y="297544"/>
                  </a:cubicBezTo>
                  <a:lnTo>
                    <a:pt x="159641" y="405003"/>
                  </a:lnTo>
                  <a:cubicBezTo>
                    <a:pt x="159641" y="405414"/>
                    <a:pt x="159617" y="405849"/>
                    <a:pt x="159520" y="406260"/>
                  </a:cubicBezTo>
                  <a:cubicBezTo>
                    <a:pt x="159278" y="407493"/>
                    <a:pt x="158674" y="408605"/>
                    <a:pt x="157779" y="409500"/>
                  </a:cubicBezTo>
                  <a:lnTo>
                    <a:pt x="131108" y="436171"/>
                  </a:lnTo>
                  <a:lnTo>
                    <a:pt x="193301" y="498364"/>
                  </a:lnTo>
                  <a:lnTo>
                    <a:pt x="193301" y="446811"/>
                  </a:lnTo>
                  <a:cubicBezTo>
                    <a:pt x="193301" y="445118"/>
                    <a:pt x="193953" y="443498"/>
                    <a:pt x="195162" y="442313"/>
                  </a:cubicBezTo>
                  <a:lnTo>
                    <a:pt x="234456" y="403020"/>
                  </a:lnTo>
                  <a:cubicBezTo>
                    <a:pt x="236826" y="400626"/>
                    <a:pt x="241057" y="400626"/>
                    <a:pt x="243451" y="403020"/>
                  </a:cubicBezTo>
                  <a:lnTo>
                    <a:pt x="287871" y="447440"/>
                  </a:lnTo>
                  <a:lnTo>
                    <a:pt x="305378" y="429933"/>
                  </a:lnTo>
                  <a:lnTo>
                    <a:pt x="305378" y="404978"/>
                  </a:lnTo>
                  <a:cubicBezTo>
                    <a:pt x="305378" y="403286"/>
                    <a:pt x="306031" y="401666"/>
                    <a:pt x="307240" y="400481"/>
                  </a:cubicBezTo>
                  <a:lnTo>
                    <a:pt x="336813" y="370908"/>
                  </a:lnTo>
                  <a:cubicBezTo>
                    <a:pt x="337998" y="369723"/>
                    <a:pt x="339618" y="369046"/>
                    <a:pt x="341311" y="369046"/>
                  </a:cubicBezTo>
                  <a:lnTo>
                    <a:pt x="413127" y="369046"/>
                  </a:lnTo>
                  <a:lnTo>
                    <a:pt x="413127" y="302186"/>
                  </a:lnTo>
                  <a:lnTo>
                    <a:pt x="344938" y="233997"/>
                  </a:lnTo>
                  <a:cubicBezTo>
                    <a:pt x="343753" y="232812"/>
                    <a:pt x="343052" y="231167"/>
                    <a:pt x="343052" y="229475"/>
                  </a:cubicBezTo>
                  <a:lnTo>
                    <a:pt x="343052" y="206165"/>
                  </a:lnTo>
                  <a:lnTo>
                    <a:pt x="318436" y="181549"/>
                  </a:lnTo>
                  <a:cubicBezTo>
                    <a:pt x="317251" y="180364"/>
                    <a:pt x="316574" y="178744"/>
                    <a:pt x="316574" y="177051"/>
                  </a:cubicBezTo>
                  <a:lnTo>
                    <a:pt x="316574" y="113383"/>
                  </a:lnTo>
                  <a:cubicBezTo>
                    <a:pt x="316574" y="111715"/>
                    <a:pt x="317251" y="110071"/>
                    <a:pt x="318436" y="108886"/>
                  </a:cubicBezTo>
                  <a:lnTo>
                    <a:pt x="348637" y="78684"/>
                  </a:lnTo>
                  <a:lnTo>
                    <a:pt x="314639" y="44686"/>
                  </a:lnTo>
                  <a:cubicBezTo>
                    <a:pt x="313455" y="43501"/>
                    <a:pt x="312777" y="41881"/>
                    <a:pt x="312777" y="40164"/>
                  </a:cubicBezTo>
                  <a:lnTo>
                    <a:pt x="312777" y="0"/>
                  </a:lnTo>
                  <a:lnTo>
                    <a:pt x="265262" y="47539"/>
                  </a:lnTo>
                  <a:cubicBezTo>
                    <a:pt x="264078" y="48724"/>
                    <a:pt x="262457" y="49401"/>
                    <a:pt x="260741" y="49401"/>
                  </a:cubicBezTo>
                  <a:lnTo>
                    <a:pt x="223309" y="49401"/>
                  </a:lnTo>
                  <a:lnTo>
                    <a:pt x="186820" y="85866"/>
                  </a:lnTo>
                  <a:cubicBezTo>
                    <a:pt x="185635" y="87051"/>
                    <a:pt x="184015" y="87728"/>
                    <a:pt x="182323" y="87728"/>
                  </a:cubicBezTo>
                  <a:lnTo>
                    <a:pt x="136137" y="87728"/>
                  </a:lnTo>
                  <a:lnTo>
                    <a:pt x="136137" y="98875"/>
                  </a:lnTo>
                  <a:cubicBezTo>
                    <a:pt x="136137" y="100568"/>
                    <a:pt x="135485" y="102163"/>
                    <a:pt x="134275" y="103372"/>
                  </a:cubicBezTo>
                  <a:lnTo>
                    <a:pt x="120106" y="117567"/>
                  </a:lnTo>
                  <a:cubicBezTo>
                    <a:pt x="117712" y="119960"/>
                    <a:pt x="113504" y="119960"/>
                    <a:pt x="111110" y="117567"/>
                  </a:cubicBezTo>
                  <a:lnTo>
                    <a:pt x="87389" y="93845"/>
                  </a:lnTo>
                  <a:lnTo>
                    <a:pt x="41470" y="93845"/>
                  </a:lnTo>
                  <a:cubicBezTo>
                    <a:pt x="39777" y="93845"/>
                    <a:pt x="38157" y="93168"/>
                    <a:pt x="36948" y="91983"/>
                  </a:cubicBezTo>
                  <a:lnTo>
                    <a:pt x="22101" y="77136"/>
                  </a:lnTo>
                  <a:lnTo>
                    <a:pt x="0" y="77136"/>
                  </a:lnTo>
                  <a:lnTo>
                    <a:pt x="25728" y="102889"/>
                  </a:lnTo>
                  <a:cubicBezTo>
                    <a:pt x="26937" y="104074"/>
                    <a:pt x="27614" y="105694"/>
                    <a:pt x="27614" y="107386"/>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orma Livre: Forma 42">
              <a:extLst>
                <a:ext uri="{FF2B5EF4-FFF2-40B4-BE49-F238E27FC236}">
                  <a16:creationId xmlns:a16="http://schemas.microsoft.com/office/drawing/2014/main" id="{D387FADE-7E0A-BF90-0B2D-1C26A4882617}"/>
                </a:ext>
              </a:extLst>
            </p:cNvPr>
            <p:cNvSpPr/>
            <p:nvPr/>
          </p:nvSpPr>
          <p:spPr>
            <a:xfrm>
              <a:off x="3068706" y="872158"/>
              <a:ext cx="1290910" cy="914852"/>
            </a:xfrm>
            <a:custGeom>
              <a:avLst/>
              <a:gdLst>
                <a:gd name="connsiteX0" fmla="*/ 547572 w 1290910"/>
                <a:gd name="connsiteY0" fmla="*/ 880927 h 914852"/>
                <a:gd name="connsiteX1" fmla="*/ 548805 w 1290910"/>
                <a:gd name="connsiteY1" fmla="*/ 880806 h 914852"/>
                <a:gd name="connsiteX2" fmla="*/ 634550 w 1290910"/>
                <a:gd name="connsiteY2" fmla="*/ 880806 h 914852"/>
                <a:gd name="connsiteX3" fmla="*/ 634550 w 1290910"/>
                <a:gd name="connsiteY3" fmla="*/ 862308 h 914852"/>
                <a:gd name="connsiteX4" fmla="*/ 640910 w 1290910"/>
                <a:gd name="connsiteY4" fmla="*/ 855948 h 914852"/>
                <a:gd name="connsiteX5" fmla="*/ 680082 w 1290910"/>
                <a:gd name="connsiteY5" fmla="*/ 855948 h 914852"/>
                <a:gd name="connsiteX6" fmla="*/ 754583 w 1290910"/>
                <a:gd name="connsiteY6" fmla="*/ 781472 h 914852"/>
                <a:gd name="connsiteX7" fmla="*/ 759081 w 1290910"/>
                <a:gd name="connsiteY7" fmla="*/ 779610 h 914852"/>
                <a:gd name="connsiteX8" fmla="*/ 805749 w 1290910"/>
                <a:gd name="connsiteY8" fmla="*/ 779610 h 914852"/>
                <a:gd name="connsiteX9" fmla="*/ 810247 w 1290910"/>
                <a:gd name="connsiteY9" fmla="*/ 781472 h 914852"/>
                <a:gd name="connsiteX10" fmla="*/ 868015 w 1290910"/>
                <a:gd name="connsiteY10" fmla="*/ 839240 h 914852"/>
                <a:gd name="connsiteX11" fmla="*/ 883708 w 1290910"/>
                <a:gd name="connsiteY11" fmla="*/ 823546 h 914852"/>
                <a:gd name="connsiteX12" fmla="*/ 888206 w 1290910"/>
                <a:gd name="connsiteY12" fmla="*/ 821684 h 914852"/>
                <a:gd name="connsiteX13" fmla="*/ 888206 w 1290910"/>
                <a:gd name="connsiteY13" fmla="*/ 821684 h 914852"/>
                <a:gd name="connsiteX14" fmla="*/ 892727 w 1290910"/>
                <a:gd name="connsiteY14" fmla="*/ 823546 h 914852"/>
                <a:gd name="connsiteX15" fmla="*/ 905253 w 1290910"/>
                <a:gd name="connsiteY15" fmla="*/ 836072 h 914852"/>
                <a:gd name="connsiteX16" fmla="*/ 1125999 w 1290910"/>
                <a:gd name="connsiteY16" fmla="*/ 836072 h 914852"/>
                <a:gd name="connsiteX17" fmla="*/ 1125999 w 1290910"/>
                <a:gd name="connsiteY17" fmla="*/ 770155 h 914852"/>
                <a:gd name="connsiteX18" fmla="*/ 1127861 w 1290910"/>
                <a:gd name="connsiteY18" fmla="*/ 765658 h 914852"/>
                <a:gd name="connsiteX19" fmla="*/ 1159513 w 1290910"/>
                <a:gd name="connsiteY19" fmla="*/ 734029 h 914852"/>
                <a:gd name="connsiteX20" fmla="*/ 1110064 w 1290910"/>
                <a:gd name="connsiteY20" fmla="*/ 684556 h 914852"/>
                <a:gd name="connsiteX21" fmla="*/ 1109242 w 1290910"/>
                <a:gd name="connsiteY21" fmla="*/ 683564 h 914852"/>
                <a:gd name="connsiteX22" fmla="*/ 1108177 w 1290910"/>
                <a:gd name="connsiteY22" fmla="*/ 680058 h 914852"/>
                <a:gd name="connsiteX23" fmla="*/ 1110064 w 1290910"/>
                <a:gd name="connsiteY23" fmla="*/ 675560 h 914852"/>
                <a:gd name="connsiteX24" fmla="*/ 1169282 w 1290910"/>
                <a:gd name="connsiteY24" fmla="*/ 616342 h 914852"/>
                <a:gd name="connsiteX25" fmla="*/ 1169282 w 1290910"/>
                <a:gd name="connsiteY25" fmla="*/ 567666 h 914852"/>
                <a:gd name="connsiteX26" fmla="*/ 1171144 w 1290910"/>
                <a:gd name="connsiteY26" fmla="*/ 563168 h 914852"/>
                <a:gd name="connsiteX27" fmla="*/ 1209495 w 1290910"/>
                <a:gd name="connsiteY27" fmla="*/ 524818 h 914852"/>
                <a:gd name="connsiteX28" fmla="*/ 1209495 w 1290910"/>
                <a:gd name="connsiteY28" fmla="*/ 475852 h 914852"/>
                <a:gd name="connsiteX29" fmla="*/ 1211357 w 1290910"/>
                <a:gd name="connsiteY29" fmla="*/ 471354 h 914852"/>
                <a:gd name="connsiteX30" fmla="*/ 1244363 w 1290910"/>
                <a:gd name="connsiteY30" fmla="*/ 438348 h 914852"/>
                <a:gd name="connsiteX31" fmla="*/ 1244363 w 1290910"/>
                <a:gd name="connsiteY31" fmla="*/ 387012 h 914852"/>
                <a:gd name="connsiteX32" fmla="*/ 1246225 w 1290910"/>
                <a:gd name="connsiteY32" fmla="*/ 382514 h 914852"/>
                <a:gd name="connsiteX33" fmla="*/ 1290911 w 1290910"/>
                <a:gd name="connsiteY33" fmla="*/ 337829 h 914852"/>
                <a:gd name="connsiteX34" fmla="*/ 1262281 w 1290910"/>
                <a:gd name="connsiteY34" fmla="*/ 337829 h 914852"/>
                <a:gd name="connsiteX35" fmla="*/ 1257784 w 1290910"/>
                <a:gd name="connsiteY35" fmla="*/ 335967 h 914852"/>
                <a:gd name="connsiteX36" fmla="*/ 1229081 w 1290910"/>
                <a:gd name="connsiteY36" fmla="*/ 307264 h 914852"/>
                <a:gd name="connsiteX37" fmla="*/ 1203788 w 1290910"/>
                <a:gd name="connsiteY37" fmla="*/ 307264 h 914852"/>
                <a:gd name="connsiteX38" fmla="*/ 1199290 w 1290910"/>
                <a:gd name="connsiteY38" fmla="*/ 305402 h 914852"/>
                <a:gd name="connsiteX39" fmla="*/ 1097538 w 1290910"/>
                <a:gd name="connsiteY39" fmla="*/ 203626 h 914852"/>
                <a:gd name="connsiteX40" fmla="*/ 1095676 w 1290910"/>
                <a:gd name="connsiteY40" fmla="*/ 199128 h 914852"/>
                <a:gd name="connsiteX41" fmla="*/ 1095676 w 1290910"/>
                <a:gd name="connsiteY41" fmla="*/ 162132 h 914852"/>
                <a:gd name="connsiteX42" fmla="*/ 1026495 w 1290910"/>
                <a:gd name="connsiteY42" fmla="*/ 162132 h 914852"/>
                <a:gd name="connsiteX43" fmla="*/ 1000646 w 1290910"/>
                <a:gd name="connsiteY43" fmla="*/ 188029 h 914852"/>
                <a:gd name="connsiteX44" fmla="*/ 1000646 w 1290910"/>
                <a:gd name="connsiteY44" fmla="*/ 212984 h 914852"/>
                <a:gd name="connsiteX45" fmla="*/ 998784 w 1290910"/>
                <a:gd name="connsiteY45" fmla="*/ 217481 h 914852"/>
                <a:gd name="connsiteX46" fmla="*/ 974918 w 1290910"/>
                <a:gd name="connsiteY46" fmla="*/ 241348 h 914852"/>
                <a:gd name="connsiteX47" fmla="*/ 965898 w 1290910"/>
                <a:gd name="connsiteY47" fmla="*/ 241348 h 914852"/>
                <a:gd name="connsiteX48" fmla="*/ 921478 w 1290910"/>
                <a:gd name="connsiteY48" fmla="*/ 196928 h 914852"/>
                <a:gd name="connsiteX49" fmla="*/ 888544 w 1290910"/>
                <a:gd name="connsiteY49" fmla="*/ 229862 h 914852"/>
                <a:gd name="connsiteX50" fmla="*/ 888544 w 1290910"/>
                <a:gd name="connsiteY50" fmla="*/ 294134 h 914852"/>
                <a:gd name="connsiteX51" fmla="*/ 884627 w 1290910"/>
                <a:gd name="connsiteY51" fmla="*/ 300010 h 914852"/>
                <a:gd name="connsiteX52" fmla="*/ 883539 w 1290910"/>
                <a:gd name="connsiteY52" fmla="*/ 300349 h 914852"/>
                <a:gd name="connsiteX53" fmla="*/ 883224 w 1290910"/>
                <a:gd name="connsiteY53" fmla="*/ 300397 h 914852"/>
                <a:gd name="connsiteX54" fmla="*/ 882402 w 1290910"/>
                <a:gd name="connsiteY54" fmla="*/ 300469 h 914852"/>
                <a:gd name="connsiteX55" fmla="*/ 882209 w 1290910"/>
                <a:gd name="connsiteY55" fmla="*/ 300494 h 914852"/>
                <a:gd name="connsiteX56" fmla="*/ 882088 w 1290910"/>
                <a:gd name="connsiteY56" fmla="*/ 300494 h 914852"/>
                <a:gd name="connsiteX57" fmla="*/ 880976 w 1290910"/>
                <a:gd name="connsiteY57" fmla="*/ 300397 h 914852"/>
                <a:gd name="connsiteX58" fmla="*/ 880976 w 1290910"/>
                <a:gd name="connsiteY58" fmla="*/ 300397 h 914852"/>
                <a:gd name="connsiteX59" fmla="*/ 879912 w 1290910"/>
                <a:gd name="connsiteY59" fmla="*/ 300058 h 914852"/>
                <a:gd name="connsiteX60" fmla="*/ 879621 w 1290910"/>
                <a:gd name="connsiteY60" fmla="*/ 299937 h 914852"/>
                <a:gd name="connsiteX61" fmla="*/ 878872 w 1290910"/>
                <a:gd name="connsiteY61" fmla="*/ 299526 h 914852"/>
                <a:gd name="connsiteX62" fmla="*/ 878582 w 1290910"/>
                <a:gd name="connsiteY62" fmla="*/ 299357 h 914852"/>
                <a:gd name="connsiteX63" fmla="*/ 877687 w 1290910"/>
                <a:gd name="connsiteY63" fmla="*/ 298632 h 914852"/>
                <a:gd name="connsiteX64" fmla="*/ 800140 w 1290910"/>
                <a:gd name="connsiteY64" fmla="*/ 221060 h 914852"/>
                <a:gd name="connsiteX65" fmla="*/ 800140 w 1290910"/>
                <a:gd name="connsiteY65" fmla="*/ 212065 h 914852"/>
                <a:gd name="connsiteX66" fmla="*/ 829446 w 1290910"/>
                <a:gd name="connsiteY66" fmla="*/ 182782 h 914852"/>
                <a:gd name="connsiteX67" fmla="*/ 829446 w 1290910"/>
                <a:gd name="connsiteY67" fmla="*/ 80594 h 914852"/>
                <a:gd name="connsiteX68" fmla="*/ 801179 w 1290910"/>
                <a:gd name="connsiteY68" fmla="*/ 52327 h 914852"/>
                <a:gd name="connsiteX69" fmla="*/ 799317 w 1290910"/>
                <a:gd name="connsiteY69" fmla="*/ 47829 h 914852"/>
                <a:gd name="connsiteX70" fmla="*/ 799317 w 1290910"/>
                <a:gd name="connsiteY70" fmla="*/ 24253 h 914852"/>
                <a:gd name="connsiteX71" fmla="*/ 784615 w 1290910"/>
                <a:gd name="connsiteY71" fmla="*/ 9551 h 914852"/>
                <a:gd name="connsiteX72" fmla="*/ 746603 w 1290910"/>
                <a:gd name="connsiteY72" fmla="*/ 9551 h 914852"/>
                <a:gd name="connsiteX73" fmla="*/ 689706 w 1290910"/>
                <a:gd name="connsiteY73" fmla="*/ 66449 h 914852"/>
                <a:gd name="connsiteX74" fmla="*/ 680711 w 1290910"/>
                <a:gd name="connsiteY74" fmla="*/ 66449 h 914852"/>
                <a:gd name="connsiteX75" fmla="*/ 671232 w 1290910"/>
                <a:gd name="connsiteY75" fmla="*/ 56994 h 914852"/>
                <a:gd name="connsiteX76" fmla="*/ 613634 w 1290910"/>
                <a:gd name="connsiteY76" fmla="*/ 114592 h 914852"/>
                <a:gd name="connsiteX77" fmla="*/ 604614 w 1290910"/>
                <a:gd name="connsiteY77" fmla="*/ 114592 h 914852"/>
                <a:gd name="connsiteX78" fmla="*/ 584278 w 1290910"/>
                <a:gd name="connsiteY78" fmla="*/ 94232 h 914852"/>
                <a:gd name="connsiteX79" fmla="*/ 566070 w 1290910"/>
                <a:gd name="connsiteY79" fmla="*/ 112464 h 914852"/>
                <a:gd name="connsiteX80" fmla="*/ 561573 w 1290910"/>
                <a:gd name="connsiteY80" fmla="*/ 114326 h 914852"/>
                <a:gd name="connsiteX81" fmla="*/ 533982 w 1290910"/>
                <a:gd name="connsiteY81" fmla="*/ 114326 h 914852"/>
                <a:gd name="connsiteX82" fmla="*/ 529485 w 1290910"/>
                <a:gd name="connsiteY82" fmla="*/ 112464 h 914852"/>
                <a:gd name="connsiteX83" fmla="*/ 504990 w 1290910"/>
                <a:gd name="connsiteY83" fmla="*/ 87969 h 914852"/>
                <a:gd name="connsiteX84" fmla="*/ 479286 w 1290910"/>
                <a:gd name="connsiteY84" fmla="*/ 87969 h 914852"/>
                <a:gd name="connsiteX85" fmla="*/ 472926 w 1290910"/>
                <a:gd name="connsiteY85" fmla="*/ 81610 h 914852"/>
                <a:gd name="connsiteX86" fmla="*/ 472926 w 1290910"/>
                <a:gd name="connsiteY86" fmla="*/ 26526 h 914852"/>
                <a:gd name="connsiteX87" fmla="*/ 446424 w 1290910"/>
                <a:gd name="connsiteY87" fmla="*/ 0 h 914852"/>
                <a:gd name="connsiteX88" fmla="*/ 403648 w 1290910"/>
                <a:gd name="connsiteY88" fmla="*/ 42776 h 914852"/>
                <a:gd name="connsiteX89" fmla="*/ 399127 w 1290910"/>
                <a:gd name="connsiteY89" fmla="*/ 44638 h 914852"/>
                <a:gd name="connsiteX90" fmla="*/ 288282 w 1290910"/>
                <a:gd name="connsiteY90" fmla="*/ 44638 h 914852"/>
                <a:gd name="connsiteX91" fmla="*/ 288282 w 1290910"/>
                <a:gd name="connsiteY91" fmla="*/ 75250 h 914852"/>
                <a:gd name="connsiteX92" fmla="*/ 319475 w 1290910"/>
                <a:gd name="connsiteY92" fmla="*/ 75250 h 914852"/>
                <a:gd name="connsiteX93" fmla="*/ 323973 w 1290910"/>
                <a:gd name="connsiteY93" fmla="*/ 77112 h 914852"/>
                <a:gd name="connsiteX94" fmla="*/ 338216 w 1290910"/>
                <a:gd name="connsiteY94" fmla="*/ 91355 h 914852"/>
                <a:gd name="connsiteX95" fmla="*/ 340077 w 1290910"/>
                <a:gd name="connsiteY95" fmla="*/ 95852 h 914852"/>
                <a:gd name="connsiteX96" fmla="*/ 340077 w 1290910"/>
                <a:gd name="connsiteY96" fmla="*/ 126151 h 914852"/>
                <a:gd name="connsiteX97" fmla="*/ 333718 w 1290910"/>
                <a:gd name="connsiteY97" fmla="*/ 132510 h 914852"/>
                <a:gd name="connsiteX98" fmla="*/ 272831 w 1290910"/>
                <a:gd name="connsiteY98" fmla="*/ 132510 h 914852"/>
                <a:gd name="connsiteX99" fmla="*/ 272831 w 1290910"/>
                <a:gd name="connsiteY99" fmla="*/ 173811 h 914852"/>
                <a:gd name="connsiteX100" fmla="*/ 321700 w 1290910"/>
                <a:gd name="connsiteY100" fmla="*/ 222680 h 914852"/>
                <a:gd name="connsiteX101" fmla="*/ 323562 w 1290910"/>
                <a:gd name="connsiteY101" fmla="*/ 227202 h 914852"/>
                <a:gd name="connsiteX102" fmla="*/ 323562 w 1290910"/>
                <a:gd name="connsiteY102" fmla="*/ 286203 h 914852"/>
                <a:gd name="connsiteX103" fmla="*/ 321700 w 1290910"/>
                <a:gd name="connsiteY103" fmla="*/ 290700 h 914852"/>
                <a:gd name="connsiteX104" fmla="*/ 302428 w 1290910"/>
                <a:gd name="connsiteY104" fmla="*/ 309972 h 914852"/>
                <a:gd name="connsiteX105" fmla="*/ 302428 w 1290910"/>
                <a:gd name="connsiteY105" fmla="*/ 380822 h 914852"/>
                <a:gd name="connsiteX106" fmla="*/ 300566 w 1290910"/>
                <a:gd name="connsiteY106" fmla="*/ 385344 h 914852"/>
                <a:gd name="connsiteX107" fmla="*/ 285792 w 1290910"/>
                <a:gd name="connsiteY107" fmla="*/ 400094 h 914852"/>
                <a:gd name="connsiteX108" fmla="*/ 285792 w 1290910"/>
                <a:gd name="connsiteY108" fmla="*/ 501725 h 914852"/>
                <a:gd name="connsiteX109" fmla="*/ 279432 w 1290910"/>
                <a:gd name="connsiteY109" fmla="*/ 508085 h 914852"/>
                <a:gd name="connsiteX110" fmla="*/ 244419 w 1290910"/>
                <a:gd name="connsiteY110" fmla="*/ 508085 h 914852"/>
                <a:gd name="connsiteX111" fmla="*/ 239921 w 1290910"/>
                <a:gd name="connsiteY111" fmla="*/ 506223 h 914852"/>
                <a:gd name="connsiteX112" fmla="*/ 223381 w 1290910"/>
                <a:gd name="connsiteY112" fmla="*/ 489708 h 914852"/>
                <a:gd name="connsiteX113" fmla="*/ 179469 w 1290910"/>
                <a:gd name="connsiteY113" fmla="*/ 533620 h 914852"/>
                <a:gd name="connsiteX114" fmla="*/ 174947 w 1290910"/>
                <a:gd name="connsiteY114" fmla="*/ 535482 h 914852"/>
                <a:gd name="connsiteX115" fmla="*/ 113577 w 1290910"/>
                <a:gd name="connsiteY115" fmla="*/ 535482 h 914852"/>
                <a:gd name="connsiteX116" fmla="*/ 59315 w 1290910"/>
                <a:gd name="connsiteY116" fmla="*/ 589743 h 914852"/>
                <a:gd name="connsiteX117" fmla="*/ 59315 w 1290910"/>
                <a:gd name="connsiteY117" fmla="*/ 606911 h 914852"/>
                <a:gd name="connsiteX118" fmla="*/ 57453 w 1290910"/>
                <a:gd name="connsiteY118" fmla="*/ 611433 h 914852"/>
                <a:gd name="connsiteX119" fmla="*/ 33466 w 1290910"/>
                <a:gd name="connsiteY119" fmla="*/ 635396 h 914852"/>
                <a:gd name="connsiteX120" fmla="*/ 41615 w 1290910"/>
                <a:gd name="connsiteY120" fmla="*/ 643545 h 914852"/>
                <a:gd name="connsiteX121" fmla="*/ 41615 w 1290910"/>
                <a:gd name="connsiteY121" fmla="*/ 652540 h 914852"/>
                <a:gd name="connsiteX122" fmla="*/ 0 w 1290910"/>
                <a:gd name="connsiteY122" fmla="*/ 694155 h 914852"/>
                <a:gd name="connsiteX123" fmla="*/ 0 w 1290910"/>
                <a:gd name="connsiteY123" fmla="*/ 716232 h 914852"/>
                <a:gd name="connsiteX124" fmla="*/ 24084 w 1290910"/>
                <a:gd name="connsiteY124" fmla="*/ 716232 h 914852"/>
                <a:gd name="connsiteX125" fmla="*/ 28582 w 1290910"/>
                <a:gd name="connsiteY125" fmla="*/ 718094 h 914852"/>
                <a:gd name="connsiteX126" fmla="*/ 54503 w 1290910"/>
                <a:gd name="connsiteY126" fmla="*/ 744040 h 914852"/>
                <a:gd name="connsiteX127" fmla="*/ 76798 w 1290910"/>
                <a:gd name="connsiteY127" fmla="*/ 744040 h 914852"/>
                <a:gd name="connsiteX128" fmla="*/ 79240 w 1290910"/>
                <a:gd name="connsiteY128" fmla="*/ 744524 h 914852"/>
                <a:gd name="connsiteX129" fmla="*/ 81296 w 1290910"/>
                <a:gd name="connsiteY129" fmla="*/ 745902 h 914852"/>
                <a:gd name="connsiteX130" fmla="*/ 105138 w 1290910"/>
                <a:gd name="connsiteY130" fmla="*/ 769744 h 914852"/>
                <a:gd name="connsiteX131" fmla="*/ 202223 w 1290910"/>
                <a:gd name="connsiteY131" fmla="*/ 769744 h 914852"/>
                <a:gd name="connsiteX132" fmla="*/ 206721 w 1290910"/>
                <a:gd name="connsiteY132" fmla="*/ 771606 h 914852"/>
                <a:gd name="connsiteX133" fmla="*/ 223164 w 1290910"/>
                <a:gd name="connsiteY133" fmla="*/ 788049 h 914852"/>
                <a:gd name="connsiteX134" fmla="*/ 240864 w 1290910"/>
                <a:gd name="connsiteY134" fmla="*/ 788049 h 914852"/>
                <a:gd name="connsiteX135" fmla="*/ 245362 w 1290910"/>
                <a:gd name="connsiteY135" fmla="*/ 789935 h 914852"/>
                <a:gd name="connsiteX136" fmla="*/ 279384 w 1290910"/>
                <a:gd name="connsiteY136" fmla="*/ 823957 h 914852"/>
                <a:gd name="connsiteX137" fmla="*/ 316139 w 1290910"/>
                <a:gd name="connsiteY137" fmla="*/ 823957 h 914852"/>
                <a:gd name="connsiteX138" fmla="*/ 320636 w 1290910"/>
                <a:gd name="connsiteY138" fmla="*/ 825819 h 914852"/>
                <a:gd name="connsiteX139" fmla="*/ 352385 w 1290910"/>
                <a:gd name="connsiteY139" fmla="*/ 857593 h 914852"/>
                <a:gd name="connsiteX140" fmla="*/ 391872 w 1290910"/>
                <a:gd name="connsiteY140" fmla="*/ 857593 h 914852"/>
                <a:gd name="connsiteX141" fmla="*/ 396370 w 1290910"/>
                <a:gd name="connsiteY141" fmla="*/ 859455 h 914852"/>
                <a:gd name="connsiteX142" fmla="*/ 438275 w 1290910"/>
                <a:gd name="connsiteY142" fmla="*/ 901384 h 914852"/>
                <a:gd name="connsiteX143" fmla="*/ 462142 w 1290910"/>
                <a:gd name="connsiteY143" fmla="*/ 901384 h 914852"/>
                <a:gd name="connsiteX144" fmla="*/ 463399 w 1290910"/>
                <a:gd name="connsiteY144" fmla="*/ 901505 h 914852"/>
                <a:gd name="connsiteX145" fmla="*/ 466639 w 1290910"/>
                <a:gd name="connsiteY145" fmla="*/ 903246 h 914852"/>
                <a:gd name="connsiteX146" fmla="*/ 478246 w 1290910"/>
                <a:gd name="connsiteY146" fmla="*/ 914853 h 914852"/>
                <a:gd name="connsiteX147" fmla="*/ 512220 w 1290910"/>
                <a:gd name="connsiteY147" fmla="*/ 914853 h 914852"/>
                <a:gd name="connsiteX148" fmla="*/ 544283 w 1290910"/>
                <a:gd name="connsiteY148" fmla="*/ 882789 h 914852"/>
                <a:gd name="connsiteX149" fmla="*/ 547572 w 1290910"/>
                <a:gd name="connsiteY149" fmla="*/ 880927 h 9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290910" h="914852">
                  <a:moveTo>
                    <a:pt x="547572" y="880927"/>
                  </a:moveTo>
                  <a:cubicBezTo>
                    <a:pt x="547983" y="880855"/>
                    <a:pt x="548394" y="880806"/>
                    <a:pt x="548805" y="880806"/>
                  </a:cubicBezTo>
                  <a:lnTo>
                    <a:pt x="634550" y="880806"/>
                  </a:lnTo>
                  <a:lnTo>
                    <a:pt x="634550" y="862308"/>
                  </a:lnTo>
                  <a:cubicBezTo>
                    <a:pt x="634550" y="858802"/>
                    <a:pt x="637403" y="855948"/>
                    <a:pt x="640910" y="855948"/>
                  </a:cubicBezTo>
                  <a:lnTo>
                    <a:pt x="680082" y="855948"/>
                  </a:lnTo>
                  <a:lnTo>
                    <a:pt x="754583" y="781472"/>
                  </a:lnTo>
                  <a:cubicBezTo>
                    <a:pt x="755768" y="780287"/>
                    <a:pt x="757388" y="779610"/>
                    <a:pt x="759081" y="779610"/>
                  </a:cubicBezTo>
                  <a:lnTo>
                    <a:pt x="805749" y="779610"/>
                  </a:lnTo>
                  <a:cubicBezTo>
                    <a:pt x="807442" y="779610"/>
                    <a:pt x="809062" y="780287"/>
                    <a:pt x="810247" y="781472"/>
                  </a:cubicBezTo>
                  <a:lnTo>
                    <a:pt x="868015" y="839240"/>
                  </a:lnTo>
                  <a:lnTo>
                    <a:pt x="883708" y="823546"/>
                  </a:lnTo>
                  <a:cubicBezTo>
                    <a:pt x="884893" y="822361"/>
                    <a:pt x="886513" y="821684"/>
                    <a:pt x="888206" y="821684"/>
                  </a:cubicBezTo>
                  <a:lnTo>
                    <a:pt x="888206" y="821684"/>
                  </a:lnTo>
                  <a:cubicBezTo>
                    <a:pt x="889898" y="821684"/>
                    <a:pt x="891518" y="822361"/>
                    <a:pt x="892727" y="823546"/>
                  </a:cubicBezTo>
                  <a:lnTo>
                    <a:pt x="905253" y="836072"/>
                  </a:lnTo>
                  <a:lnTo>
                    <a:pt x="1125999" y="836072"/>
                  </a:lnTo>
                  <a:lnTo>
                    <a:pt x="1125999" y="770155"/>
                  </a:lnTo>
                  <a:cubicBezTo>
                    <a:pt x="1125999" y="768463"/>
                    <a:pt x="1126652" y="766843"/>
                    <a:pt x="1127861" y="765658"/>
                  </a:cubicBezTo>
                  <a:lnTo>
                    <a:pt x="1159513" y="734029"/>
                  </a:lnTo>
                  <a:lnTo>
                    <a:pt x="1110064" y="684556"/>
                  </a:lnTo>
                  <a:cubicBezTo>
                    <a:pt x="1109749" y="684266"/>
                    <a:pt x="1109483" y="683927"/>
                    <a:pt x="1109242" y="683564"/>
                  </a:cubicBezTo>
                  <a:cubicBezTo>
                    <a:pt x="1108540" y="682524"/>
                    <a:pt x="1108177" y="681291"/>
                    <a:pt x="1108177" y="680058"/>
                  </a:cubicBezTo>
                  <a:cubicBezTo>
                    <a:pt x="1108177" y="678438"/>
                    <a:pt x="1108806" y="676794"/>
                    <a:pt x="1110064" y="675560"/>
                  </a:cubicBezTo>
                  <a:lnTo>
                    <a:pt x="1169282" y="616342"/>
                  </a:lnTo>
                  <a:lnTo>
                    <a:pt x="1169282" y="567666"/>
                  </a:lnTo>
                  <a:cubicBezTo>
                    <a:pt x="1169282" y="565998"/>
                    <a:pt x="1169935" y="564378"/>
                    <a:pt x="1171144" y="563168"/>
                  </a:cubicBezTo>
                  <a:lnTo>
                    <a:pt x="1209495" y="524818"/>
                  </a:lnTo>
                  <a:lnTo>
                    <a:pt x="1209495" y="475852"/>
                  </a:lnTo>
                  <a:cubicBezTo>
                    <a:pt x="1209495" y="474184"/>
                    <a:pt x="1210172" y="472539"/>
                    <a:pt x="1211357" y="471354"/>
                  </a:cubicBezTo>
                  <a:lnTo>
                    <a:pt x="1244363" y="438348"/>
                  </a:lnTo>
                  <a:lnTo>
                    <a:pt x="1244363" y="387012"/>
                  </a:lnTo>
                  <a:cubicBezTo>
                    <a:pt x="1244363" y="385344"/>
                    <a:pt x="1245040" y="383724"/>
                    <a:pt x="1246225" y="382514"/>
                  </a:cubicBezTo>
                  <a:lnTo>
                    <a:pt x="1290911" y="337829"/>
                  </a:lnTo>
                  <a:lnTo>
                    <a:pt x="1262281" y="337829"/>
                  </a:lnTo>
                  <a:cubicBezTo>
                    <a:pt x="1260613" y="337829"/>
                    <a:pt x="1258993" y="337176"/>
                    <a:pt x="1257784" y="335967"/>
                  </a:cubicBezTo>
                  <a:lnTo>
                    <a:pt x="1229081" y="307264"/>
                  </a:lnTo>
                  <a:lnTo>
                    <a:pt x="1203788" y="307264"/>
                  </a:lnTo>
                  <a:cubicBezTo>
                    <a:pt x="1202095" y="307264"/>
                    <a:pt x="1200475" y="306587"/>
                    <a:pt x="1199290" y="305402"/>
                  </a:cubicBezTo>
                  <a:lnTo>
                    <a:pt x="1097538" y="203626"/>
                  </a:lnTo>
                  <a:cubicBezTo>
                    <a:pt x="1096353" y="202441"/>
                    <a:pt x="1095676" y="200821"/>
                    <a:pt x="1095676" y="199128"/>
                  </a:cubicBezTo>
                  <a:lnTo>
                    <a:pt x="1095676" y="162132"/>
                  </a:lnTo>
                  <a:lnTo>
                    <a:pt x="1026495" y="162132"/>
                  </a:lnTo>
                  <a:lnTo>
                    <a:pt x="1000646" y="188029"/>
                  </a:lnTo>
                  <a:lnTo>
                    <a:pt x="1000646" y="212984"/>
                  </a:lnTo>
                  <a:cubicBezTo>
                    <a:pt x="1000646" y="214652"/>
                    <a:pt x="999993" y="216272"/>
                    <a:pt x="998784" y="217481"/>
                  </a:cubicBezTo>
                  <a:lnTo>
                    <a:pt x="974918" y="241348"/>
                  </a:lnTo>
                  <a:cubicBezTo>
                    <a:pt x="972524" y="243741"/>
                    <a:pt x="968316" y="243741"/>
                    <a:pt x="965898" y="241348"/>
                  </a:cubicBezTo>
                  <a:lnTo>
                    <a:pt x="921478" y="196928"/>
                  </a:lnTo>
                  <a:lnTo>
                    <a:pt x="888544" y="229862"/>
                  </a:lnTo>
                  <a:lnTo>
                    <a:pt x="888544" y="294134"/>
                  </a:lnTo>
                  <a:cubicBezTo>
                    <a:pt x="888544" y="296697"/>
                    <a:pt x="886997" y="299019"/>
                    <a:pt x="884627" y="300010"/>
                  </a:cubicBezTo>
                  <a:cubicBezTo>
                    <a:pt x="884264" y="300155"/>
                    <a:pt x="883901" y="300252"/>
                    <a:pt x="883539" y="300349"/>
                  </a:cubicBezTo>
                  <a:cubicBezTo>
                    <a:pt x="883442" y="300373"/>
                    <a:pt x="883345" y="300397"/>
                    <a:pt x="883224" y="300397"/>
                  </a:cubicBezTo>
                  <a:cubicBezTo>
                    <a:pt x="882958" y="300445"/>
                    <a:pt x="882668" y="300469"/>
                    <a:pt x="882402" y="300469"/>
                  </a:cubicBezTo>
                  <a:cubicBezTo>
                    <a:pt x="882330" y="300469"/>
                    <a:pt x="882281" y="300494"/>
                    <a:pt x="882209" y="300494"/>
                  </a:cubicBezTo>
                  <a:cubicBezTo>
                    <a:pt x="882160" y="300494"/>
                    <a:pt x="882136" y="300494"/>
                    <a:pt x="882088" y="300494"/>
                  </a:cubicBezTo>
                  <a:cubicBezTo>
                    <a:pt x="881701" y="300494"/>
                    <a:pt x="881338" y="300469"/>
                    <a:pt x="880976" y="300397"/>
                  </a:cubicBezTo>
                  <a:lnTo>
                    <a:pt x="880976" y="300397"/>
                  </a:lnTo>
                  <a:cubicBezTo>
                    <a:pt x="880589" y="300324"/>
                    <a:pt x="880250" y="300203"/>
                    <a:pt x="879912" y="300058"/>
                  </a:cubicBezTo>
                  <a:cubicBezTo>
                    <a:pt x="879815" y="300034"/>
                    <a:pt x="879718" y="299986"/>
                    <a:pt x="879621" y="299937"/>
                  </a:cubicBezTo>
                  <a:cubicBezTo>
                    <a:pt x="879355" y="299816"/>
                    <a:pt x="879114" y="299696"/>
                    <a:pt x="878872" y="299526"/>
                  </a:cubicBezTo>
                  <a:cubicBezTo>
                    <a:pt x="878775" y="299478"/>
                    <a:pt x="878678" y="299430"/>
                    <a:pt x="878582" y="299357"/>
                  </a:cubicBezTo>
                  <a:cubicBezTo>
                    <a:pt x="878267" y="299139"/>
                    <a:pt x="877977" y="298922"/>
                    <a:pt x="877687" y="298632"/>
                  </a:cubicBezTo>
                  <a:lnTo>
                    <a:pt x="800140" y="221060"/>
                  </a:lnTo>
                  <a:cubicBezTo>
                    <a:pt x="797649" y="218569"/>
                    <a:pt x="797649" y="214555"/>
                    <a:pt x="800140" y="212065"/>
                  </a:cubicBezTo>
                  <a:lnTo>
                    <a:pt x="829446" y="182782"/>
                  </a:lnTo>
                  <a:lnTo>
                    <a:pt x="829446" y="80594"/>
                  </a:lnTo>
                  <a:lnTo>
                    <a:pt x="801179" y="52327"/>
                  </a:lnTo>
                  <a:cubicBezTo>
                    <a:pt x="799994" y="51142"/>
                    <a:pt x="799317" y="49522"/>
                    <a:pt x="799317" y="47829"/>
                  </a:cubicBezTo>
                  <a:lnTo>
                    <a:pt x="799317" y="24253"/>
                  </a:lnTo>
                  <a:lnTo>
                    <a:pt x="784615" y="9551"/>
                  </a:lnTo>
                  <a:lnTo>
                    <a:pt x="746603" y="9551"/>
                  </a:lnTo>
                  <a:lnTo>
                    <a:pt x="689706" y="66449"/>
                  </a:lnTo>
                  <a:cubicBezTo>
                    <a:pt x="687216" y="68939"/>
                    <a:pt x="683177" y="68939"/>
                    <a:pt x="680711" y="66449"/>
                  </a:cubicBezTo>
                  <a:lnTo>
                    <a:pt x="671232" y="56994"/>
                  </a:lnTo>
                  <a:lnTo>
                    <a:pt x="613634" y="114592"/>
                  </a:lnTo>
                  <a:cubicBezTo>
                    <a:pt x="611143" y="117083"/>
                    <a:pt x="607105" y="117083"/>
                    <a:pt x="604614" y="114592"/>
                  </a:cubicBezTo>
                  <a:lnTo>
                    <a:pt x="584278" y="94232"/>
                  </a:lnTo>
                  <a:lnTo>
                    <a:pt x="566070" y="112464"/>
                  </a:lnTo>
                  <a:cubicBezTo>
                    <a:pt x="564885" y="113649"/>
                    <a:pt x="563265" y="114326"/>
                    <a:pt x="561573" y="114326"/>
                  </a:cubicBezTo>
                  <a:lnTo>
                    <a:pt x="533982" y="114326"/>
                  </a:lnTo>
                  <a:cubicBezTo>
                    <a:pt x="532314" y="114326"/>
                    <a:pt x="530670" y="113649"/>
                    <a:pt x="529485" y="112464"/>
                  </a:cubicBezTo>
                  <a:lnTo>
                    <a:pt x="504990" y="87969"/>
                  </a:lnTo>
                  <a:lnTo>
                    <a:pt x="479286" y="87969"/>
                  </a:lnTo>
                  <a:cubicBezTo>
                    <a:pt x="475780" y="87969"/>
                    <a:pt x="472926" y="85116"/>
                    <a:pt x="472926" y="81610"/>
                  </a:cubicBezTo>
                  <a:lnTo>
                    <a:pt x="472926" y="26526"/>
                  </a:lnTo>
                  <a:lnTo>
                    <a:pt x="446424" y="0"/>
                  </a:lnTo>
                  <a:lnTo>
                    <a:pt x="403648" y="42776"/>
                  </a:lnTo>
                  <a:cubicBezTo>
                    <a:pt x="402464" y="43961"/>
                    <a:pt x="400844" y="44638"/>
                    <a:pt x="399127" y="44638"/>
                  </a:cubicBezTo>
                  <a:lnTo>
                    <a:pt x="288282" y="44638"/>
                  </a:lnTo>
                  <a:lnTo>
                    <a:pt x="288282" y="75250"/>
                  </a:lnTo>
                  <a:lnTo>
                    <a:pt x="319475" y="75250"/>
                  </a:lnTo>
                  <a:cubicBezTo>
                    <a:pt x="321168" y="75250"/>
                    <a:pt x="322788" y="75927"/>
                    <a:pt x="323973" y="77112"/>
                  </a:cubicBezTo>
                  <a:lnTo>
                    <a:pt x="338216" y="91355"/>
                  </a:lnTo>
                  <a:cubicBezTo>
                    <a:pt x="339400" y="92540"/>
                    <a:pt x="340077" y="94160"/>
                    <a:pt x="340077" y="95852"/>
                  </a:cubicBezTo>
                  <a:lnTo>
                    <a:pt x="340077" y="126151"/>
                  </a:lnTo>
                  <a:cubicBezTo>
                    <a:pt x="340077" y="129681"/>
                    <a:pt x="337224" y="132510"/>
                    <a:pt x="333718" y="132510"/>
                  </a:cubicBezTo>
                  <a:lnTo>
                    <a:pt x="272831" y="132510"/>
                  </a:lnTo>
                  <a:lnTo>
                    <a:pt x="272831" y="173811"/>
                  </a:lnTo>
                  <a:lnTo>
                    <a:pt x="321700" y="222680"/>
                  </a:lnTo>
                  <a:cubicBezTo>
                    <a:pt x="322885" y="223865"/>
                    <a:pt x="323562" y="225485"/>
                    <a:pt x="323562" y="227202"/>
                  </a:cubicBezTo>
                  <a:lnTo>
                    <a:pt x="323562" y="286203"/>
                  </a:lnTo>
                  <a:cubicBezTo>
                    <a:pt x="323562" y="287871"/>
                    <a:pt x="322885" y="289491"/>
                    <a:pt x="321700" y="290700"/>
                  </a:cubicBezTo>
                  <a:lnTo>
                    <a:pt x="302428" y="309972"/>
                  </a:lnTo>
                  <a:lnTo>
                    <a:pt x="302428" y="380822"/>
                  </a:lnTo>
                  <a:cubicBezTo>
                    <a:pt x="302428" y="382514"/>
                    <a:pt x="301751" y="384135"/>
                    <a:pt x="300566" y="385344"/>
                  </a:cubicBezTo>
                  <a:lnTo>
                    <a:pt x="285792" y="400094"/>
                  </a:lnTo>
                  <a:lnTo>
                    <a:pt x="285792" y="501725"/>
                  </a:lnTo>
                  <a:cubicBezTo>
                    <a:pt x="285792" y="505232"/>
                    <a:pt x="282938" y="508085"/>
                    <a:pt x="279432" y="508085"/>
                  </a:cubicBezTo>
                  <a:lnTo>
                    <a:pt x="244419" y="508085"/>
                  </a:lnTo>
                  <a:cubicBezTo>
                    <a:pt x="242726" y="508085"/>
                    <a:pt x="241106" y="507432"/>
                    <a:pt x="239921" y="506223"/>
                  </a:cubicBezTo>
                  <a:lnTo>
                    <a:pt x="223381" y="489708"/>
                  </a:lnTo>
                  <a:lnTo>
                    <a:pt x="179469" y="533620"/>
                  </a:lnTo>
                  <a:cubicBezTo>
                    <a:pt x="178284" y="534805"/>
                    <a:pt x="176664" y="535482"/>
                    <a:pt x="174947" y="535482"/>
                  </a:cubicBezTo>
                  <a:lnTo>
                    <a:pt x="113577" y="535482"/>
                  </a:lnTo>
                  <a:lnTo>
                    <a:pt x="59315" y="589743"/>
                  </a:lnTo>
                  <a:lnTo>
                    <a:pt x="59315" y="606911"/>
                  </a:lnTo>
                  <a:cubicBezTo>
                    <a:pt x="59315" y="608604"/>
                    <a:pt x="58638" y="610224"/>
                    <a:pt x="57453" y="611433"/>
                  </a:cubicBezTo>
                  <a:lnTo>
                    <a:pt x="33466" y="635396"/>
                  </a:lnTo>
                  <a:lnTo>
                    <a:pt x="41615" y="643545"/>
                  </a:lnTo>
                  <a:cubicBezTo>
                    <a:pt x="44106" y="646036"/>
                    <a:pt x="44106" y="650074"/>
                    <a:pt x="41615" y="652540"/>
                  </a:cubicBezTo>
                  <a:lnTo>
                    <a:pt x="0" y="694155"/>
                  </a:lnTo>
                  <a:lnTo>
                    <a:pt x="0" y="716232"/>
                  </a:lnTo>
                  <a:lnTo>
                    <a:pt x="24084" y="716232"/>
                  </a:lnTo>
                  <a:cubicBezTo>
                    <a:pt x="25777" y="716232"/>
                    <a:pt x="27397" y="716885"/>
                    <a:pt x="28582" y="718094"/>
                  </a:cubicBezTo>
                  <a:lnTo>
                    <a:pt x="54503" y="744040"/>
                  </a:lnTo>
                  <a:lnTo>
                    <a:pt x="76798" y="744040"/>
                  </a:lnTo>
                  <a:cubicBezTo>
                    <a:pt x="77644" y="744040"/>
                    <a:pt x="78466" y="744209"/>
                    <a:pt x="79240" y="744524"/>
                  </a:cubicBezTo>
                  <a:cubicBezTo>
                    <a:pt x="80014" y="744838"/>
                    <a:pt x="80715" y="745322"/>
                    <a:pt x="81296" y="745902"/>
                  </a:cubicBezTo>
                  <a:lnTo>
                    <a:pt x="105138" y="769744"/>
                  </a:lnTo>
                  <a:lnTo>
                    <a:pt x="202223" y="769744"/>
                  </a:lnTo>
                  <a:cubicBezTo>
                    <a:pt x="203916" y="769744"/>
                    <a:pt x="205536" y="770421"/>
                    <a:pt x="206721" y="771606"/>
                  </a:cubicBezTo>
                  <a:lnTo>
                    <a:pt x="223164" y="788049"/>
                  </a:lnTo>
                  <a:lnTo>
                    <a:pt x="240864" y="788049"/>
                  </a:lnTo>
                  <a:cubicBezTo>
                    <a:pt x="242557" y="788049"/>
                    <a:pt x="244177" y="788726"/>
                    <a:pt x="245362" y="789935"/>
                  </a:cubicBezTo>
                  <a:lnTo>
                    <a:pt x="279384" y="823957"/>
                  </a:lnTo>
                  <a:lnTo>
                    <a:pt x="316139" y="823957"/>
                  </a:lnTo>
                  <a:cubicBezTo>
                    <a:pt x="317831" y="823957"/>
                    <a:pt x="319451" y="824634"/>
                    <a:pt x="320636" y="825819"/>
                  </a:cubicBezTo>
                  <a:lnTo>
                    <a:pt x="352385" y="857593"/>
                  </a:lnTo>
                  <a:lnTo>
                    <a:pt x="391872" y="857593"/>
                  </a:lnTo>
                  <a:cubicBezTo>
                    <a:pt x="393565" y="857593"/>
                    <a:pt x="395185" y="858270"/>
                    <a:pt x="396370" y="859455"/>
                  </a:cubicBezTo>
                  <a:lnTo>
                    <a:pt x="438275" y="901384"/>
                  </a:lnTo>
                  <a:lnTo>
                    <a:pt x="462142" y="901384"/>
                  </a:lnTo>
                  <a:cubicBezTo>
                    <a:pt x="462553" y="901384"/>
                    <a:pt x="462988" y="901408"/>
                    <a:pt x="463399" y="901505"/>
                  </a:cubicBezTo>
                  <a:cubicBezTo>
                    <a:pt x="464608" y="901747"/>
                    <a:pt x="465745" y="902351"/>
                    <a:pt x="466639" y="903246"/>
                  </a:cubicBezTo>
                  <a:lnTo>
                    <a:pt x="478246" y="914853"/>
                  </a:lnTo>
                  <a:lnTo>
                    <a:pt x="512220" y="914853"/>
                  </a:lnTo>
                  <a:lnTo>
                    <a:pt x="544283" y="882789"/>
                  </a:lnTo>
                  <a:cubicBezTo>
                    <a:pt x="545227" y="881773"/>
                    <a:pt x="546363" y="881169"/>
                    <a:pt x="547572" y="880927"/>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orma Livre: Forma 45">
              <a:extLst>
                <a:ext uri="{FF2B5EF4-FFF2-40B4-BE49-F238E27FC236}">
                  <a16:creationId xmlns:a16="http://schemas.microsoft.com/office/drawing/2014/main" id="{10A0917C-BAAD-DE8A-DCB7-32B999C676D3}"/>
                </a:ext>
              </a:extLst>
            </p:cNvPr>
            <p:cNvSpPr/>
            <p:nvPr/>
          </p:nvSpPr>
          <p:spPr>
            <a:xfrm>
              <a:off x="3048926" y="1601037"/>
              <a:ext cx="519328" cy="283010"/>
            </a:xfrm>
            <a:custGeom>
              <a:avLst/>
              <a:gdLst>
                <a:gd name="connsiteX0" fmla="*/ 490941 w 519328"/>
                <a:gd name="connsiteY0" fmla="*/ 196710 h 283010"/>
                <a:gd name="connsiteX1" fmla="*/ 479334 w 519328"/>
                <a:gd name="connsiteY1" fmla="*/ 185103 h 283010"/>
                <a:gd name="connsiteX2" fmla="*/ 455444 w 519328"/>
                <a:gd name="connsiteY2" fmla="*/ 185103 h 283010"/>
                <a:gd name="connsiteX3" fmla="*/ 450946 w 519328"/>
                <a:gd name="connsiteY3" fmla="*/ 183217 h 283010"/>
                <a:gd name="connsiteX4" fmla="*/ 409017 w 519328"/>
                <a:gd name="connsiteY4" fmla="*/ 141312 h 283010"/>
                <a:gd name="connsiteX5" fmla="*/ 369554 w 519328"/>
                <a:gd name="connsiteY5" fmla="*/ 141312 h 283010"/>
                <a:gd name="connsiteX6" fmla="*/ 365056 w 519328"/>
                <a:gd name="connsiteY6" fmla="*/ 139426 h 283010"/>
                <a:gd name="connsiteX7" fmla="*/ 333307 w 519328"/>
                <a:gd name="connsiteY7" fmla="*/ 107677 h 283010"/>
                <a:gd name="connsiteX8" fmla="*/ 296552 w 519328"/>
                <a:gd name="connsiteY8" fmla="*/ 107677 h 283010"/>
                <a:gd name="connsiteX9" fmla="*/ 292030 w 519328"/>
                <a:gd name="connsiteY9" fmla="*/ 105791 h 283010"/>
                <a:gd name="connsiteX10" fmla="*/ 258032 w 519328"/>
                <a:gd name="connsiteY10" fmla="*/ 71817 h 283010"/>
                <a:gd name="connsiteX11" fmla="*/ 240332 w 519328"/>
                <a:gd name="connsiteY11" fmla="*/ 71817 h 283010"/>
                <a:gd name="connsiteX12" fmla="*/ 239075 w 519328"/>
                <a:gd name="connsiteY12" fmla="*/ 71696 h 283010"/>
                <a:gd name="connsiteX13" fmla="*/ 235810 w 519328"/>
                <a:gd name="connsiteY13" fmla="*/ 69955 h 283010"/>
                <a:gd name="connsiteX14" fmla="*/ 219367 w 519328"/>
                <a:gd name="connsiteY14" fmla="*/ 53512 h 283010"/>
                <a:gd name="connsiteX15" fmla="*/ 122306 w 519328"/>
                <a:gd name="connsiteY15" fmla="*/ 53512 h 283010"/>
                <a:gd name="connsiteX16" fmla="*/ 117808 w 519328"/>
                <a:gd name="connsiteY16" fmla="*/ 51626 h 283010"/>
                <a:gd name="connsiteX17" fmla="*/ 93966 w 519328"/>
                <a:gd name="connsiteY17" fmla="*/ 27784 h 283010"/>
                <a:gd name="connsiteX18" fmla="*/ 71672 w 519328"/>
                <a:gd name="connsiteY18" fmla="*/ 27784 h 283010"/>
                <a:gd name="connsiteX19" fmla="*/ 67174 w 519328"/>
                <a:gd name="connsiteY19" fmla="*/ 25922 h 283010"/>
                <a:gd name="connsiteX20" fmla="*/ 41252 w 519328"/>
                <a:gd name="connsiteY20" fmla="*/ 0 h 283010"/>
                <a:gd name="connsiteX21" fmla="*/ 16056 w 519328"/>
                <a:gd name="connsiteY21" fmla="*/ 0 h 283010"/>
                <a:gd name="connsiteX22" fmla="*/ 0 w 519328"/>
                <a:gd name="connsiteY22" fmla="*/ 16032 h 283010"/>
                <a:gd name="connsiteX23" fmla="*/ 16564 w 519328"/>
                <a:gd name="connsiteY23" fmla="*/ 32596 h 283010"/>
                <a:gd name="connsiteX24" fmla="*/ 18450 w 519328"/>
                <a:gd name="connsiteY24" fmla="*/ 37093 h 283010"/>
                <a:gd name="connsiteX25" fmla="*/ 18450 w 519328"/>
                <a:gd name="connsiteY25" fmla="*/ 62048 h 283010"/>
                <a:gd name="connsiteX26" fmla="*/ 86253 w 519328"/>
                <a:gd name="connsiteY26" fmla="*/ 129850 h 283010"/>
                <a:gd name="connsiteX27" fmla="*/ 86253 w 519328"/>
                <a:gd name="connsiteY27" fmla="*/ 138846 h 283010"/>
                <a:gd name="connsiteX28" fmla="*/ 68939 w 519328"/>
                <a:gd name="connsiteY28" fmla="*/ 156159 h 283010"/>
                <a:gd name="connsiteX29" fmla="*/ 128109 w 519328"/>
                <a:gd name="connsiteY29" fmla="*/ 156159 h 283010"/>
                <a:gd name="connsiteX30" fmla="*/ 134469 w 519328"/>
                <a:gd name="connsiteY30" fmla="*/ 162519 h 283010"/>
                <a:gd name="connsiteX31" fmla="*/ 134469 w 519328"/>
                <a:gd name="connsiteY31" fmla="*/ 197242 h 283010"/>
                <a:gd name="connsiteX32" fmla="*/ 198064 w 519328"/>
                <a:gd name="connsiteY32" fmla="*/ 197242 h 283010"/>
                <a:gd name="connsiteX33" fmla="*/ 242968 w 519328"/>
                <a:gd name="connsiteY33" fmla="*/ 152338 h 283010"/>
                <a:gd name="connsiteX34" fmla="*/ 249908 w 519328"/>
                <a:gd name="connsiteY34" fmla="*/ 150960 h 283010"/>
                <a:gd name="connsiteX35" fmla="*/ 253825 w 519328"/>
                <a:gd name="connsiteY35" fmla="*/ 156836 h 283010"/>
                <a:gd name="connsiteX36" fmla="*/ 253825 w 519328"/>
                <a:gd name="connsiteY36" fmla="*/ 283011 h 283010"/>
                <a:gd name="connsiteX37" fmla="*/ 387592 w 519328"/>
                <a:gd name="connsiteY37" fmla="*/ 283011 h 283010"/>
                <a:gd name="connsiteX38" fmla="*/ 421711 w 519328"/>
                <a:gd name="connsiteY38" fmla="*/ 248892 h 283010"/>
                <a:gd name="connsiteX39" fmla="*/ 426209 w 519328"/>
                <a:gd name="connsiteY39" fmla="*/ 247030 h 283010"/>
                <a:gd name="connsiteX40" fmla="*/ 454621 w 519328"/>
                <a:gd name="connsiteY40" fmla="*/ 247030 h 283010"/>
                <a:gd name="connsiteX41" fmla="*/ 477472 w 519328"/>
                <a:gd name="connsiteY41" fmla="*/ 224179 h 283010"/>
                <a:gd name="connsiteX42" fmla="*/ 481970 w 519328"/>
                <a:gd name="connsiteY42" fmla="*/ 222317 h 283010"/>
                <a:gd name="connsiteX43" fmla="*/ 495584 w 519328"/>
                <a:gd name="connsiteY43" fmla="*/ 222317 h 283010"/>
                <a:gd name="connsiteX44" fmla="*/ 519329 w 519328"/>
                <a:gd name="connsiteY44" fmla="*/ 198572 h 283010"/>
                <a:gd name="connsiteX45" fmla="*/ 495463 w 519328"/>
                <a:gd name="connsiteY45" fmla="*/ 198572 h 283010"/>
                <a:gd name="connsiteX46" fmla="*/ 490941 w 519328"/>
                <a:gd name="connsiteY46" fmla="*/ 196710 h 28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19328" h="283010">
                  <a:moveTo>
                    <a:pt x="490941" y="196710"/>
                  </a:moveTo>
                  <a:lnTo>
                    <a:pt x="479334" y="185103"/>
                  </a:lnTo>
                  <a:lnTo>
                    <a:pt x="455444" y="185103"/>
                  </a:lnTo>
                  <a:cubicBezTo>
                    <a:pt x="453775" y="185103"/>
                    <a:pt x="452155" y="184426"/>
                    <a:pt x="450946" y="183217"/>
                  </a:cubicBezTo>
                  <a:lnTo>
                    <a:pt x="409017" y="141312"/>
                  </a:lnTo>
                  <a:lnTo>
                    <a:pt x="369554" y="141312"/>
                  </a:lnTo>
                  <a:cubicBezTo>
                    <a:pt x="367861" y="141312"/>
                    <a:pt x="366241" y="140635"/>
                    <a:pt x="365056" y="139426"/>
                  </a:cubicBezTo>
                  <a:lnTo>
                    <a:pt x="333307" y="107677"/>
                  </a:lnTo>
                  <a:lnTo>
                    <a:pt x="296552" y="107677"/>
                  </a:lnTo>
                  <a:cubicBezTo>
                    <a:pt x="294860" y="107677"/>
                    <a:pt x="293239" y="107000"/>
                    <a:pt x="292030" y="105791"/>
                  </a:cubicBezTo>
                  <a:lnTo>
                    <a:pt x="258032" y="71817"/>
                  </a:lnTo>
                  <a:lnTo>
                    <a:pt x="240332" y="71817"/>
                  </a:lnTo>
                  <a:cubicBezTo>
                    <a:pt x="239897" y="71817"/>
                    <a:pt x="239486" y="71793"/>
                    <a:pt x="239075" y="71696"/>
                  </a:cubicBezTo>
                  <a:cubicBezTo>
                    <a:pt x="237866" y="71454"/>
                    <a:pt x="236705" y="70849"/>
                    <a:pt x="235810" y="69955"/>
                  </a:cubicBezTo>
                  <a:lnTo>
                    <a:pt x="219367" y="53512"/>
                  </a:lnTo>
                  <a:lnTo>
                    <a:pt x="122306" y="53512"/>
                  </a:lnTo>
                  <a:cubicBezTo>
                    <a:pt x="120638" y="53512"/>
                    <a:pt x="119017" y="52835"/>
                    <a:pt x="117808" y="51626"/>
                  </a:cubicBezTo>
                  <a:lnTo>
                    <a:pt x="93966" y="27784"/>
                  </a:lnTo>
                  <a:lnTo>
                    <a:pt x="71672" y="27784"/>
                  </a:lnTo>
                  <a:cubicBezTo>
                    <a:pt x="70003" y="27784"/>
                    <a:pt x="68359" y="27107"/>
                    <a:pt x="67174" y="25922"/>
                  </a:cubicBezTo>
                  <a:lnTo>
                    <a:pt x="41252" y="0"/>
                  </a:lnTo>
                  <a:lnTo>
                    <a:pt x="16056" y="0"/>
                  </a:lnTo>
                  <a:lnTo>
                    <a:pt x="0" y="16032"/>
                  </a:lnTo>
                  <a:lnTo>
                    <a:pt x="16564" y="32596"/>
                  </a:lnTo>
                  <a:cubicBezTo>
                    <a:pt x="17773" y="33780"/>
                    <a:pt x="18450" y="35401"/>
                    <a:pt x="18450" y="37093"/>
                  </a:cubicBezTo>
                  <a:lnTo>
                    <a:pt x="18450" y="62048"/>
                  </a:lnTo>
                  <a:lnTo>
                    <a:pt x="86253" y="129850"/>
                  </a:lnTo>
                  <a:cubicBezTo>
                    <a:pt x="88743" y="132341"/>
                    <a:pt x="88743" y="136355"/>
                    <a:pt x="86253" y="138846"/>
                  </a:cubicBezTo>
                  <a:lnTo>
                    <a:pt x="68939" y="156159"/>
                  </a:lnTo>
                  <a:lnTo>
                    <a:pt x="128109" y="156159"/>
                  </a:lnTo>
                  <a:cubicBezTo>
                    <a:pt x="131616" y="156159"/>
                    <a:pt x="134469" y="159012"/>
                    <a:pt x="134469" y="162519"/>
                  </a:cubicBezTo>
                  <a:lnTo>
                    <a:pt x="134469" y="197242"/>
                  </a:lnTo>
                  <a:lnTo>
                    <a:pt x="198064" y="197242"/>
                  </a:lnTo>
                  <a:lnTo>
                    <a:pt x="242968" y="152338"/>
                  </a:lnTo>
                  <a:cubicBezTo>
                    <a:pt x="244805" y="150525"/>
                    <a:pt x="247514" y="149969"/>
                    <a:pt x="249908" y="150960"/>
                  </a:cubicBezTo>
                  <a:cubicBezTo>
                    <a:pt x="252277" y="151952"/>
                    <a:pt x="253825" y="154273"/>
                    <a:pt x="253825" y="156836"/>
                  </a:cubicBezTo>
                  <a:lnTo>
                    <a:pt x="253825" y="283011"/>
                  </a:lnTo>
                  <a:lnTo>
                    <a:pt x="387592" y="283011"/>
                  </a:lnTo>
                  <a:lnTo>
                    <a:pt x="421711" y="248892"/>
                  </a:lnTo>
                  <a:cubicBezTo>
                    <a:pt x="422896" y="247707"/>
                    <a:pt x="424516" y="247030"/>
                    <a:pt x="426209" y="247030"/>
                  </a:cubicBezTo>
                  <a:lnTo>
                    <a:pt x="454621" y="247030"/>
                  </a:lnTo>
                  <a:lnTo>
                    <a:pt x="477472" y="224179"/>
                  </a:lnTo>
                  <a:cubicBezTo>
                    <a:pt x="478657" y="222994"/>
                    <a:pt x="480277" y="222317"/>
                    <a:pt x="481970" y="222317"/>
                  </a:cubicBezTo>
                  <a:lnTo>
                    <a:pt x="495584" y="222317"/>
                  </a:lnTo>
                  <a:lnTo>
                    <a:pt x="519329" y="198572"/>
                  </a:lnTo>
                  <a:lnTo>
                    <a:pt x="495463" y="198572"/>
                  </a:lnTo>
                  <a:cubicBezTo>
                    <a:pt x="493746" y="198596"/>
                    <a:pt x="492150" y="197895"/>
                    <a:pt x="490941" y="196710"/>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orma Livre: Forma 48">
              <a:extLst>
                <a:ext uri="{FF2B5EF4-FFF2-40B4-BE49-F238E27FC236}">
                  <a16:creationId xmlns:a16="http://schemas.microsoft.com/office/drawing/2014/main" id="{8A5A7A88-FF9F-C13E-ACB2-3B3CC1278BF0}"/>
                </a:ext>
              </a:extLst>
            </p:cNvPr>
            <p:cNvSpPr/>
            <p:nvPr/>
          </p:nvSpPr>
          <p:spPr>
            <a:xfrm>
              <a:off x="3592581" y="1664487"/>
              <a:ext cx="515145" cy="412353"/>
            </a:xfrm>
            <a:custGeom>
              <a:avLst/>
              <a:gdLst>
                <a:gd name="connsiteX0" fmla="*/ 465720 w 515145"/>
                <a:gd name="connsiteY0" fmla="*/ 266036 h 412353"/>
                <a:gd name="connsiteX1" fmla="*/ 465720 w 515145"/>
                <a:gd name="connsiteY1" fmla="*/ 257041 h 412353"/>
                <a:gd name="connsiteX2" fmla="*/ 500952 w 515145"/>
                <a:gd name="connsiteY2" fmla="*/ 221810 h 412353"/>
                <a:gd name="connsiteX3" fmla="*/ 378718 w 515145"/>
                <a:gd name="connsiteY3" fmla="*/ 221810 h 412353"/>
                <a:gd name="connsiteX4" fmla="*/ 372359 w 515145"/>
                <a:gd name="connsiteY4" fmla="*/ 215450 h 412353"/>
                <a:gd name="connsiteX5" fmla="*/ 372359 w 515145"/>
                <a:gd name="connsiteY5" fmla="*/ 52714 h 412353"/>
                <a:gd name="connsiteX6" fmla="*/ 364331 w 515145"/>
                <a:gd name="connsiteY6" fmla="*/ 44686 h 412353"/>
                <a:gd name="connsiteX7" fmla="*/ 348613 w 515145"/>
                <a:gd name="connsiteY7" fmla="*/ 60403 h 412353"/>
                <a:gd name="connsiteX8" fmla="*/ 339618 w 515145"/>
                <a:gd name="connsiteY8" fmla="*/ 60403 h 412353"/>
                <a:gd name="connsiteX9" fmla="*/ 279215 w 515145"/>
                <a:gd name="connsiteY9" fmla="*/ 0 h 412353"/>
                <a:gd name="connsiteX10" fmla="*/ 237817 w 515145"/>
                <a:gd name="connsiteY10" fmla="*/ 0 h 412353"/>
                <a:gd name="connsiteX11" fmla="*/ 163341 w 515145"/>
                <a:gd name="connsiteY11" fmla="*/ 74501 h 412353"/>
                <a:gd name="connsiteX12" fmla="*/ 158843 w 515145"/>
                <a:gd name="connsiteY12" fmla="*/ 76363 h 412353"/>
                <a:gd name="connsiteX13" fmla="*/ 123394 w 515145"/>
                <a:gd name="connsiteY13" fmla="*/ 76363 h 412353"/>
                <a:gd name="connsiteX14" fmla="*/ 123394 w 515145"/>
                <a:gd name="connsiteY14" fmla="*/ 94837 h 412353"/>
                <a:gd name="connsiteX15" fmla="*/ 117035 w 515145"/>
                <a:gd name="connsiteY15" fmla="*/ 101196 h 412353"/>
                <a:gd name="connsiteX16" fmla="*/ 27566 w 515145"/>
                <a:gd name="connsiteY16" fmla="*/ 101196 h 412353"/>
                <a:gd name="connsiteX17" fmla="*/ 0 w 515145"/>
                <a:gd name="connsiteY17" fmla="*/ 128786 h 412353"/>
                <a:gd name="connsiteX18" fmla="*/ 15379 w 515145"/>
                <a:gd name="connsiteY18" fmla="*/ 144190 h 412353"/>
                <a:gd name="connsiteX19" fmla="*/ 95562 w 515145"/>
                <a:gd name="connsiteY19" fmla="*/ 144190 h 412353"/>
                <a:gd name="connsiteX20" fmla="*/ 101922 w 515145"/>
                <a:gd name="connsiteY20" fmla="*/ 150549 h 412353"/>
                <a:gd name="connsiteX21" fmla="*/ 101922 w 515145"/>
                <a:gd name="connsiteY21" fmla="*/ 257307 h 412353"/>
                <a:gd name="connsiteX22" fmla="*/ 166919 w 515145"/>
                <a:gd name="connsiteY22" fmla="*/ 322305 h 412353"/>
                <a:gd name="connsiteX23" fmla="*/ 248578 w 515145"/>
                <a:gd name="connsiteY23" fmla="*/ 322305 h 412353"/>
                <a:gd name="connsiteX24" fmla="*/ 253075 w 515145"/>
                <a:gd name="connsiteY24" fmla="*/ 324167 h 412353"/>
                <a:gd name="connsiteX25" fmla="*/ 305064 w 515145"/>
                <a:gd name="connsiteY25" fmla="*/ 376155 h 412353"/>
                <a:gd name="connsiteX26" fmla="*/ 324384 w 515145"/>
                <a:gd name="connsiteY26" fmla="*/ 376155 h 412353"/>
                <a:gd name="connsiteX27" fmla="*/ 328906 w 515145"/>
                <a:gd name="connsiteY27" fmla="*/ 378017 h 412353"/>
                <a:gd name="connsiteX28" fmla="*/ 363243 w 515145"/>
                <a:gd name="connsiteY28" fmla="*/ 412354 h 412353"/>
                <a:gd name="connsiteX29" fmla="*/ 418326 w 515145"/>
                <a:gd name="connsiteY29" fmla="*/ 412354 h 412353"/>
                <a:gd name="connsiteX30" fmla="*/ 515146 w 515145"/>
                <a:gd name="connsiteY30" fmla="*/ 315534 h 412353"/>
                <a:gd name="connsiteX31" fmla="*/ 465720 w 515145"/>
                <a:gd name="connsiteY31" fmla="*/ 266036 h 412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5145" h="412353">
                  <a:moveTo>
                    <a:pt x="465720" y="266036"/>
                  </a:moveTo>
                  <a:cubicBezTo>
                    <a:pt x="463230" y="263546"/>
                    <a:pt x="463230" y="259507"/>
                    <a:pt x="465720" y="257041"/>
                  </a:cubicBezTo>
                  <a:lnTo>
                    <a:pt x="500952" y="221810"/>
                  </a:lnTo>
                  <a:lnTo>
                    <a:pt x="378718" y="221810"/>
                  </a:lnTo>
                  <a:cubicBezTo>
                    <a:pt x="375188" y="221810"/>
                    <a:pt x="372359" y="218956"/>
                    <a:pt x="372359" y="215450"/>
                  </a:cubicBezTo>
                  <a:lnTo>
                    <a:pt x="372359" y="52714"/>
                  </a:lnTo>
                  <a:lnTo>
                    <a:pt x="364331" y="44686"/>
                  </a:lnTo>
                  <a:lnTo>
                    <a:pt x="348613" y="60403"/>
                  </a:lnTo>
                  <a:cubicBezTo>
                    <a:pt x="346123" y="62894"/>
                    <a:pt x="342109" y="62894"/>
                    <a:pt x="339618" y="60403"/>
                  </a:cubicBezTo>
                  <a:lnTo>
                    <a:pt x="279215" y="0"/>
                  </a:lnTo>
                  <a:lnTo>
                    <a:pt x="237817" y="0"/>
                  </a:lnTo>
                  <a:lnTo>
                    <a:pt x="163341" y="74501"/>
                  </a:lnTo>
                  <a:cubicBezTo>
                    <a:pt x="162156" y="75686"/>
                    <a:pt x="160536" y="76363"/>
                    <a:pt x="158843" y="76363"/>
                  </a:cubicBezTo>
                  <a:lnTo>
                    <a:pt x="123394" y="76363"/>
                  </a:lnTo>
                  <a:lnTo>
                    <a:pt x="123394" y="94837"/>
                  </a:lnTo>
                  <a:cubicBezTo>
                    <a:pt x="123394" y="98367"/>
                    <a:pt x="120541" y="101196"/>
                    <a:pt x="117035" y="101196"/>
                  </a:cubicBezTo>
                  <a:lnTo>
                    <a:pt x="27566" y="101196"/>
                  </a:lnTo>
                  <a:lnTo>
                    <a:pt x="0" y="128786"/>
                  </a:lnTo>
                  <a:lnTo>
                    <a:pt x="15379" y="144190"/>
                  </a:lnTo>
                  <a:lnTo>
                    <a:pt x="95562" y="144190"/>
                  </a:lnTo>
                  <a:cubicBezTo>
                    <a:pt x="99068" y="144190"/>
                    <a:pt x="101922" y="147043"/>
                    <a:pt x="101922" y="150549"/>
                  </a:cubicBezTo>
                  <a:lnTo>
                    <a:pt x="101922" y="257307"/>
                  </a:lnTo>
                  <a:lnTo>
                    <a:pt x="166919" y="322305"/>
                  </a:lnTo>
                  <a:lnTo>
                    <a:pt x="248578" y="322305"/>
                  </a:lnTo>
                  <a:cubicBezTo>
                    <a:pt x="250270" y="322305"/>
                    <a:pt x="251890" y="322957"/>
                    <a:pt x="253075" y="324167"/>
                  </a:cubicBezTo>
                  <a:lnTo>
                    <a:pt x="305064" y="376155"/>
                  </a:lnTo>
                  <a:lnTo>
                    <a:pt x="324384" y="376155"/>
                  </a:lnTo>
                  <a:cubicBezTo>
                    <a:pt x="326077" y="376155"/>
                    <a:pt x="327697" y="376832"/>
                    <a:pt x="328906" y="378017"/>
                  </a:cubicBezTo>
                  <a:lnTo>
                    <a:pt x="363243" y="412354"/>
                  </a:lnTo>
                  <a:lnTo>
                    <a:pt x="418326" y="412354"/>
                  </a:lnTo>
                  <a:lnTo>
                    <a:pt x="515146" y="315534"/>
                  </a:lnTo>
                  <a:lnTo>
                    <a:pt x="465720" y="26603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orma Livre: Forma 50">
              <a:extLst>
                <a:ext uri="{FF2B5EF4-FFF2-40B4-BE49-F238E27FC236}">
                  <a16:creationId xmlns:a16="http://schemas.microsoft.com/office/drawing/2014/main" id="{C840FE33-73E7-8538-191B-B5E3B0167AC8}"/>
                </a:ext>
              </a:extLst>
            </p:cNvPr>
            <p:cNvSpPr/>
            <p:nvPr/>
          </p:nvSpPr>
          <p:spPr>
            <a:xfrm>
              <a:off x="3977635" y="1615183"/>
              <a:ext cx="830486" cy="801469"/>
            </a:xfrm>
            <a:custGeom>
              <a:avLst/>
              <a:gdLst>
                <a:gd name="connsiteX0" fmla="*/ 295827 w 830486"/>
                <a:gd name="connsiteY0" fmla="*/ 790926 h 801469"/>
                <a:gd name="connsiteX1" fmla="*/ 316356 w 830486"/>
                <a:gd name="connsiteY1" fmla="*/ 790926 h 801469"/>
                <a:gd name="connsiteX2" fmla="*/ 346630 w 830486"/>
                <a:gd name="connsiteY2" fmla="*/ 760652 h 801469"/>
                <a:gd name="connsiteX3" fmla="*/ 351128 w 830486"/>
                <a:gd name="connsiteY3" fmla="*/ 758790 h 801469"/>
                <a:gd name="connsiteX4" fmla="*/ 376445 w 830486"/>
                <a:gd name="connsiteY4" fmla="*/ 758790 h 801469"/>
                <a:gd name="connsiteX5" fmla="*/ 393783 w 830486"/>
                <a:gd name="connsiteY5" fmla="*/ 741429 h 801469"/>
                <a:gd name="connsiteX6" fmla="*/ 402778 w 830486"/>
                <a:gd name="connsiteY6" fmla="*/ 741429 h 801469"/>
                <a:gd name="connsiteX7" fmla="*/ 451647 w 830486"/>
                <a:gd name="connsiteY7" fmla="*/ 790298 h 801469"/>
                <a:gd name="connsiteX8" fmla="*/ 488208 w 830486"/>
                <a:gd name="connsiteY8" fmla="*/ 790298 h 801469"/>
                <a:gd name="connsiteX9" fmla="*/ 503853 w 830486"/>
                <a:gd name="connsiteY9" fmla="*/ 774653 h 801469"/>
                <a:gd name="connsiteX10" fmla="*/ 512849 w 830486"/>
                <a:gd name="connsiteY10" fmla="*/ 774653 h 801469"/>
                <a:gd name="connsiteX11" fmla="*/ 520562 w 830486"/>
                <a:gd name="connsiteY11" fmla="*/ 782367 h 801469"/>
                <a:gd name="connsiteX12" fmla="*/ 562080 w 830486"/>
                <a:gd name="connsiteY12" fmla="*/ 740824 h 801469"/>
                <a:gd name="connsiteX13" fmla="*/ 569020 w 830486"/>
                <a:gd name="connsiteY13" fmla="*/ 739446 h 801469"/>
                <a:gd name="connsiteX14" fmla="*/ 572938 w 830486"/>
                <a:gd name="connsiteY14" fmla="*/ 745322 h 801469"/>
                <a:gd name="connsiteX15" fmla="*/ 572938 w 830486"/>
                <a:gd name="connsiteY15" fmla="*/ 801469 h 801469"/>
                <a:gd name="connsiteX16" fmla="*/ 615520 w 830486"/>
                <a:gd name="connsiteY16" fmla="*/ 801469 h 801469"/>
                <a:gd name="connsiteX17" fmla="*/ 615520 w 830486"/>
                <a:gd name="connsiteY17" fmla="*/ 728226 h 801469"/>
                <a:gd name="connsiteX18" fmla="*/ 617406 w 830486"/>
                <a:gd name="connsiteY18" fmla="*/ 723728 h 801469"/>
                <a:gd name="connsiteX19" fmla="*/ 716789 w 830486"/>
                <a:gd name="connsiteY19" fmla="*/ 624321 h 801469"/>
                <a:gd name="connsiteX20" fmla="*/ 716789 w 830486"/>
                <a:gd name="connsiteY20" fmla="*/ 592500 h 801469"/>
                <a:gd name="connsiteX21" fmla="*/ 718650 w 830486"/>
                <a:gd name="connsiteY21" fmla="*/ 588002 h 801469"/>
                <a:gd name="connsiteX22" fmla="*/ 778570 w 830486"/>
                <a:gd name="connsiteY22" fmla="*/ 528082 h 801469"/>
                <a:gd name="connsiteX23" fmla="*/ 778570 w 830486"/>
                <a:gd name="connsiteY23" fmla="*/ 481607 h 801469"/>
                <a:gd name="connsiteX24" fmla="*/ 780432 w 830486"/>
                <a:gd name="connsiteY24" fmla="*/ 477109 h 801469"/>
                <a:gd name="connsiteX25" fmla="*/ 807104 w 830486"/>
                <a:gd name="connsiteY25" fmla="*/ 450414 h 801469"/>
                <a:gd name="connsiteX26" fmla="*/ 807104 w 830486"/>
                <a:gd name="connsiteY26" fmla="*/ 368296 h 801469"/>
                <a:gd name="connsiteX27" fmla="*/ 807104 w 830486"/>
                <a:gd name="connsiteY27" fmla="*/ 222632 h 801469"/>
                <a:gd name="connsiteX28" fmla="*/ 808965 w 830486"/>
                <a:gd name="connsiteY28" fmla="*/ 218110 h 801469"/>
                <a:gd name="connsiteX29" fmla="*/ 830486 w 830486"/>
                <a:gd name="connsiteY29" fmla="*/ 196613 h 801469"/>
                <a:gd name="connsiteX30" fmla="*/ 830486 w 830486"/>
                <a:gd name="connsiteY30" fmla="*/ 175431 h 801469"/>
                <a:gd name="connsiteX31" fmla="*/ 369094 w 830486"/>
                <a:gd name="connsiteY31" fmla="*/ 175431 h 801469"/>
                <a:gd name="connsiteX32" fmla="*/ 367837 w 830486"/>
                <a:gd name="connsiteY32" fmla="*/ 175310 h 801469"/>
                <a:gd name="connsiteX33" fmla="*/ 364597 w 830486"/>
                <a:gd name="connsiteY33" fmla="*/ 173569 h 801469"/>
                <a:gd name="connsiteX34" fmla="*/ 291136 w 830486"/>
                <a:gd name="connsiteY34" fmla="*/ 100108 h 801469"/>
                <a:gd name="connsiteX35" fmla="*/ 289395 w 830486"/>
                <a:gd name="connsiteY35" fmla="*/ 96868 h 801469"/>
                <a:gd name="connsiteX36" fmla="*/ 289274 w 830486"/>
                <a:gd name="connsiteY36" fmla="*/ 95610 h 801469"/>
                <a:gd name="connsiteX37" fmla="*/ 289274 w 830486"/>
                <a:gd name="connsiteY37" fmla="*/ 29766 h 801469"/>
                <a:gd name="connsiteX38" fmla="*/ 259507 w 830486"/>
                <a:gd name="connsiteY38" fmla="*/ 0 h 801469"/>
                <a:gd name="connsiteX39" fmla="*/ 229741 w 830486"/>
                <a:gd name="connsiteY39" fmla="*/ 29766 h 801469"/>
                <a:gd name="connsiteX40" fmla="*/ 229741 w 830486"/>
                <a:gd name="connsiteY40" fmla="*/ 99407 h 801469"/>
                <a:gd name="connsiteX41" fmla="*/ 223381 w 830486"/>
                <a:gd name="connsiteY41" fmla="*/ 105766 h 801469"/>
                <a:gd name="connsiteX42" fmla="*/ 0 w 830486"/>
                <a:gd name="connsiteY42" fmla="*/ 105766 h 801469"/>
                <a:gd name="connsiteX43" fmla="*/ 0 w 830486"/>
                <a:gd name="connsiteY43" fmla="*/ 258419 h 801469"/>
                <a:gd name="connsiteX44" fmla="*/ 131229 w 830486"/>
                <a:gd name="connsiteY44" fmla="*/ 258419 h 801469"/>
                <a:gd name="connsiteX45" fmla="*/ 137105 w 830486"/>
                <a:gd name="connsiteY45" fmla="*/ 262361 h 801469"/>
                <a:gd name="connsiteX46" fmla="*/ 136839 w 830486"/>
                <a:gd name="connsiteY46" fmla="*/ 267777 h 801469"/>
                <a:gd name="connsiteX47" fmla="*/ 135726 w 830486"/>
                <a:gd name="connsiteY47" fmla="*/ 269300 h 801469"/>
                <a:gd name="connsiteX48" fmla="*/ 94135 w 830486"/>
                <a:gd name="connsiteY48" fmla="*/ 310867 h 801469"/>
                <a:gd name="connsiteX49" fmla="*/ 143609 w 830486"/>
                <a:gd name="connsiteY49" fmla="*/ 360341 h 801469"/>
                <a:gd name="connsiteX50" fmla="*/ 145471 w 830486"/>
                <a:gd name="connsiteY50" fmla="*/ 364838 h 801469"/>
                <a:gd name="connsiteX51" fmla="*/ 143609 w 830486"/>
                <a:gd name="connsiteY51" fmla="*/ 369336 h 801469"/>
                <a:gd name="connsiteX52" fmla="*/ 44904 w 830486"/>
                <a:gd name="connsiteY52" fmla="*/ 468042 h 801469"/>
                <a:gd name="connsiteX53" fmla="*/ 90895 w 830486"/>
                <a:gd name="connsiteY53" fmla="*/ 514033 h 801469"/>
                <a:gd name="connsiteX54" fmla="*/ 92757 w 830486"/>
                <a:gd name="connsiteY54" fmla="*/ 518531 h 801469"/>
                <a:gd name="connsiteX55" fmla="*/ 92757 w 830486"/>
                <a:gd name="connsiteY55" fmla="*/ 589235 h 801469"/>
                <a:gd name="connsiteX56" fmla="*/ 86398 w 830486"/>
                <a:gd name="connsiteY56" fmla="*/ 595619 h 801469"/>
                <a:gd name="connsiteX57" fmla="*/ 81561 w 830486"/>
                <a:gd name="connsiteY57" fmla="*/ 595619 h 801469"/>
                <a:gd name="connsiteX58" fmla="*/ 99431 w 830486"/>
                <a:gd name="connsiteY58" fmla="*/ 613440 h 801469"/>
                <a:gd name="connsiteX59" fmla="*/ 101293 w 830486"/>
                <a:gd name="connsiteY59" fmla="*/ 617962 h 801469"/>
                <a:gd name="connsiteX60" fmla="*/ 101293 w 830486"/>
                <a:gd name="connsiteY60" fmla="*/ 671232 h 801469"/>
                <a:gd name="connsiteX61" fmla="*/ 203070 w 830486"/>
                <a:gd name="connsiteY61" fmla="*/ 671232 h 801469"/>
                <a:gd name="connsiteX62" fmla="*/ 223623 w 830486"/>
                <a:gd name="connsiteY62" fmla="*/ 650703 h 801469"/>
                <a:gd name="connsiteX63" fmla="*/ 230563 w 830486"/>
                <a:gd name="connsiteY63" fmla="*/ 649300 h 801469"/>
                <a:gd name="connsiteX64" fmla="*/ 234480 w 830486"/>
                <a:gd name="connsiteY64" fmla="*/ 655176 h 801469"/>
                <a:gd name="connsiteX65" fmla="*/ 234480 w 830486"/>
                <a:gd name="connsiteY65" fmla="*/ 729604 h 801469"/>
                <a:gd name="connsiteX66" fmla="*/ 295827 w 830486"/>
                <a:gd name="connsiteY66" fmla="*/ 790926 h 801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830486" h="801469">
                  <a:moveTo>
                    <a:pt x="295827" y="790926"/>
                  </a:moveTo>
                  <a:lnTo>
                    <a:pt x="316356" y="790926"/>
                  </a:lnTo>
                  <a:lnTo>
                    <a:pt x="346630" y="760652"/>
                  </a:lnTo>
                  <a:cubicBezTo>
                    <a:pt x="347815" y="759443"/>
                    <a:pt x="349435" y="758790"/>
                    <a:pt x="351128" y="758790"/>
                  </a:cubicBezTo>
                  <a:lnTo>
                    <a:pt x="376445" y="758790"/>
                  </a:lnTo>
                  <a:lnTo>
                    <a:pt x="393783" y="741429"/>
                  </a:lnTo>
                  <a:cubicBezTo>
                    <a:pt x="396177" y="739035"/>
                    <a:pt x="400384" y="739035"/>
                    <a:pt x="402778" y="741429"/>
                  </a:cubicBezTo>
                  <a:lnTo>
                    <a:pt x="451647" y="790298"/>
                  </a:lnTo>
                  <a:lnTo>
                    <a:pt x="488208" y="790298"/>
                  </a:lnTo>
                  <a:lnTo>
                    <a:pt x="503853" y="774653"/>
                  </a:lnTo>
                  <a:cubicBezTo>
                    <a:pt x="506344" y="772162"/>
                    <a:pt x="510358" y="772162"/>
                    <a:pt x="512849" y="774653"/>
                  </a:cubicBezTo>
                  <a:lnTo>
                    <a:pt x="520562" y="782367"/>
                  </a:lnTo>
                  <a:lnTo>
                    <a:pt x="562080" y="740824"/>
                  </a:lnTo>
                  <a:cubicBezTo>
                    <a:pt x="563894" y="739035"/>
                    <a:pt x="566626" y="738454"/>
                    <a:pt x="569020" y="739446"/>
                  </a:cubicBezTo>
                  <a:cubicBezTo>
                    <a:pt x="571414" y="740437"/>
                    <a:pt x="572938" y="742759"/>
                    <a:pt x="572938" y="745322"/>
                  </a:cubicBezTo>
                  <a:lnTo>
                    <a:pt x="572938" y="801469"/>
                  </a:lnTo>
                  <a:lnTo>
                    <a:pt x="615520" y="801469"/>
                  </a:lnTo>
                  <a:lnTo>
                    <a:pt x="615520" y="728226"/>
                  </a:lnTo>
                  <a:cubicBezTo>
                    <a:pt x="615520" y="726558"/>
                    <a:pt x="616197" y="724889"/>
                    <a:pt x="617406" y="723728"/>
                  </a:cubicBezTo>
                  <a:lnTo>
                    <a:pt x="716789" y="624321"/>
                  </a:lnTo>
                  <a:lnTo>
                    <a:pt x="716789" y="592500"/>
                  </a:lnTo>
                  <a:cubicBezTo>
                    <a:pt x="716789" y="590831"/>
                    <a:pt x="717442" y="589187"/>
                    <a:pt x="718650" y="588002"/>
                  </a:cubicBezTo>
                  <a:lnTo>
                    <a:pt x="778570" y="528082"/>
                  </a:lnTo>
                  <a:lnTo>
                    <a:pt x="778570" y="481607"/>
                  </a:lnTo>
                  <a:cubicBezTo>
                    <a:pt x="778570" y="479939"/>
                    <a:pt x="779223" y="478294"/>
                    <a:pt x="780432" y="477109"/>
                  </a:cubicBezTo>
                  <a:lnTo>
                    <a:pt x="807104" y="450414"/>
                  </a:lnTo>
                  <a:lnTo>
                    <a:pt x="807104" y="368296"/>
                  </a:lnTo>
                  <a:lnTo>
                    <a:pt x="807104" y="222632"/>
                  </a:lnTo>
                  <a:cubicBezTo>
                    <a:pt x="807104" y="220939"/>
                    <a:pt x="807781" y="219319"/>
                    <a:pt x="808965" y="218110"/>
                  </a:cubicBezTo>
                  <a:lnTo>
                    <a:pt x="830486" y="196613"/>
                  </a:lnTo>
                  <a:lnTo>
                    <a:pt x="830486" y="175431"/>
                  </a:lnTo>
                  <a:lnTo>
                    <a:pt x="369094" y="175431"/>
                  </a:lnTo>
                  <a:cubicBezTo>
                    <a:pt x="368659" y="175431"/>
                    <a:pt x="368248" y="175407"/>
                    <a:pt x="367837" y="175310"/>
                  </a:cubicBezTo>
                  <a:cubicBezTo>
                    <a:pt x="366628" y="175068"/>
                    <a:pt x="365491" y="174464"/>
                    <a:pt x="364597" y="173569"/>
                  </a:cubicBezTo>
                  <a:lnTo>
                    <a:pt x="291136" y="100108"/>
                  </a:lnTo>
                  <a:cubicBezTo>
                    <a:pt x="290241" y="99213"/>
                    <a:pt x="289636" y="98077"/>
                    <a:pt x="289395" y="96868"/>
                  </a:cubicBezTo>
                  <a:cubicBezTo>
                    <a:pt x="289298" y="96457"/>
                    <a:pt x="289274" y="96046"/>
                    <a:pt x="289274" y="95610"/>
                  </a:cubicBezTo>
                  <a:lnTo>
                    <a:pt x="289274" y="29766"/>
                  </a:lnTo>
                  <a:lnTo>
                    <a:pt x="259507" y="0"/>
                  </a:lnTo>
                  <a:lnTo>
                    <a:pt x="229741" y="29766"/>
                  </a:lnTo>
                  <a:lnTo>
                    <a:pt x="229741" y="99407"/>
                  </a:lnTo>
                  <a:cubicBezTo>
                    <a:pt x="229741" y="102937"/>
                    <a:pt x="226888" y="105766"/>
                    <a:pt x="223381" y="105766"/>
                  </a:cubicBezTo>
                  <a:lnTo>
                    <a:pt x="0" y="105766"/>
                  </a:lnTo>
                  <a:lnTo>
                    <a:pt x="0" y="258419"/>
                  </a:lnTo>
                  <a:lnTo>
                    <a:pt x="131229" y="258419"/>
                  </a:lnTo>
                  <a:cubicBezTo>
                    <a:pt x="133816" y="258419"/>
                    <a:pt x="136137" y="259967"/>
                    <a:pt x="137105" y="262361"/>
                  </a:cubicBezTo>
                  <a:cubicBezTo>
                    <a:pt x="137854" y="264150"/>
                    <a:pt x="137709" y="266133"/>
                    <a:pt x="136839" y="267777"/>
                  </a:cubicBezTo>
                  <a:cubicBezTo>
                    <a:pt x="136548" y="268333"/>
                    <a:pt x="136186" y="268841"/>
                    <a:pt x="135726" y="269300"/>
                  </a:cubicBezTo>
                  <a:lnTo>
                    <a:pt x="94135" y="310867"/>
                  </a:lnTo>
                  <a:lnTo>
                    <a:pt x="143609" y="360341"/>
                  </a:lnTo>
                  <a:cubicBezTo>
                    <a:pt x="144794" y="361526"/>
                    <a:pt x="145471" y="363146"/>
                    <a:pt x="145471" y="364838"/>
                  </a:cubicBezTo>
                  <a:cubicBezTo>
                    <a:pt x="145471" y="366531"/>
                    <a:pt x="144794" y="368151"/>
                    <a:pt x="143609" y="369336"/>
                  </a:cubicBezTo>
                  <a:lnTo>
                    <a:pt x="44904" y="468042"/>
                  </a:lnTo>
                  <a:lnTo>
                    <a:pt x="90895" y="514033"/>
                  </a:lnTo>
                  <a:cubicBezTo>
                    <a:pt x="92080" y="515218"/>
                    <a:pt x="92757" y="516838"/>
                    <a:pt x="92757" y="518531"/>
                  </a:cubicBezTo>
                  <a:lnTo>
                    <a:pt x="92757" y="589235"/>
                  </a:lnTo>
                  <a:cubicBezTo>
                    <a:pt x="92757" y="592766"/>
                    <a:pt x="89904" y="595619"/>
                    <a:pt x="86398" y="595619"/>
                  </a:cubicBezTo>
                  <a:lnTo>
                    <a:pt x="81561" y="595619"/>
                  </a:lnTo>
                  <a:lnTo>
                    <a:pt x="99431" y="613440"/>
                  </a:lnTo>
                  <a:cubicBezTo>
                    <a:pt x="100616" y="614649"/>
                    <a:pt x="101293" y="616245"/>
                    <a:pt x="101293" y="617962"/>
                  </a:cubicBezTo>
                  <a:lnTo>
                    <a:pt x="101293" y="671232"/>
                  </a:lnTo>
                  <a:lnTo>
                    <a:pt x="203070" y="671232"/>
                  </a:lnTo>
                  <a:lnTo>
                    <a:pt x="223623" y="650703"/>
                  </a:lnTo>
                  <a:cubicBezTo>
                    <a:pt x="225437" y="648865"/>
                    <a:pt x="228169" y="648333"/>
                    <a:pt x="230563" y="649300"/>
                  </a:cubicBezTo>
                  <a:cubicBezTo>
                    <a:pt x="232933" y="650292"/>
                    <a:pt x="234480" y="652613"/>
                    <a:pt x="234480" y="655176"/>
                  </a:cubicBezTo>
                  <a:lnTo>
                    <a:pt x="234480" y="729604"/>
                  </a:lnTo>
                  <a:lnTo>
                    <a:pt x="295827" y="790926"/>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Forma Livre: Forma 51">
              <a:extLst>
                <a:ext uri="{FF2B5EF4-FFF2-40B4-BE49-F238E27FC236}">
                  <a16:creationId xmlns:a16="http://schemas.microsoft.com/office/drawing/2014/main" id="{552693A2-A573-4E09-5E39-B7FE4F72A080}"/>
                </a:ext>
              </a:extLst>
            </p:cNvPr>
            <p:cNvSpPr/>
            <p:nvPr/>
          </p:nvSpPr>
          <p:spPr>
            <a:xfrm>
              <a:off x="4219055" y="2370104"/>
              <a:ext cx="533595" cy="516185"/>
            </a:xfrm>
            <a:custGeom>
              <a:avLst/>
              <a:gdLst>
                <a:gd name="connsiteX0" fmla="*/ 120928 w 533595"/>
                <a:gd name="connsiteY0" fmla="*/ 360437 h 516185"/>
                <a:gd name="connsiteX1" fmla="*/ 129923 w 533595"/>
                <a:gd name="connsiteY1" fmla="*/ 360437 h 516185"/>
                <a:gd name="connsiteX2" fmla="*/ 152532 w 533595"/>
                <a:gd name="connsiteY2" fmla="*/ 383047 h 516185"/>
                <a:gd name="connsiteX3" fmla="*/ 177607 w 533595"/>
                <a:gd name="connsiteY3" fmla="*/ 383047 h 516185"/>
                <a:gd name="connsiteX4" fmla="*/ 182105 w 533595"/>
                <a:gd name="connsiteY4" fmla="*/ 384908 h 516185"/>
                <a:gd name="connsiteX5" fmla="*/ 216514 w 533595"/>
                <a:gd name="connsiteY5" fmla="*/ 419318 h 516185"/>
                <a:gd name="connsiteX6" fmla="*/ 218376 w 533595"/>
                <a:gd name="connsiteY6" fmla="*/ 423815 h 516185"/>
                <a:gd name="connsiteX7" fmla="*/ 218376 w 533595"/>
                <a:gd name="connsiteY7" fmla="*/ 507480 h 516185"/>
                <a:gd name="connsiteX8" fmla="*/ 249085 w 533595"/>
                <a:gd name="connsiteY8" fmla="*/ 507480 h 516185"/>
                <a:gd name="connsiteX9" fmla="*/ 264295 w 533595"/>
                <a:gd name="connsiteY9" fmla="*/ 492271 h 516185"/>
                <a:gd name="connsiteX10" fmla="*/ 268793 w 533595"/>
                <a:gd name="connsiteY10" fmla="*/ 490409 h 516185"/>
                <a:gd name="connsiteX11" fmla="*/ 273315 w 533595"/>
                <a:gd name="connsiteY11" fmla="*/ 492271 h 516185"/>
                <a:gd name="connsiteX12" fmla="*/ 297229 w 533595"/>
                <a:gd name="connsiteY12" fmla="*/ 516185 h 516185"/>
                <a:gd name="connsiteX13" fmla="*/ 303927 w 533595"/>
                <a:gd name="connsiteY13" fmla="*/ 509512 h 516185"/>
                <a:gd name="connsiteX14" fmla="*/ 303927 w 533595"/>
                <a:gd name="connsiteY14" fmla="*/ 469468 h 516185"/>
                <a:gd name="connsiteX15" fmla="*/ 310311 w 533595"/>
                <a:gd name="connsiteY15" fmla="*/ 463109 h 516185"/>
                <a:gd name="connsiteX16" fmla="*/ 337224 w 533595"/>
                <a:gd name="connsiteY16" fmla="*/ 463109 h 516185"/>
                <a:gd name="connsiteX17" fmla="*/ 337224 w 533595"/>
                <a:gd name="connsiteY17" fmla="*/ 443329 h 516185"/>
                <a:gd name="connsiteX18" fmla="*/ 339086 w 533595"/>
                <a:gd name="connsiteY18" fmla="*/ 438831 h 516185"/>
                <a:gd name="connsiteX19" fmla="*/ 376034 w 533595"/>
                <a:gd name="connsiteY19" fmla="*/ 401883 h 516185"/>
                <a:gd name="connsiteX20" fmla="*/ 376034 w 533595"/>
                <a:gd name="connsiteY20" fmla="*/ 401883 h 516185"/>
                <a:gd name="connsiteX21" fmla="*/ 412402 w 533595"/>
                <a:gd name="connsiteY21" fmla="*/ 365515 h 516185"/>
                <a:gd name="connsiteX22" fmla="*/ 416924 w 533595"/>
                <a:gd name="connsiteY22" fmla="*/ 363629 h 516185"/>
                <a:gd name="connsiteX23" fmla="*/ 433729 w 533595"/>
                <a:gd name="connsiteY23" fmla="*/ 363629 h 516185"/>
                <a:gd name="connsiteX24" fmla="*/ 484872 w 533595"/>
                <a:gd name="connsiteY24" fmla="*/ 312511 h 516185"/>
                <a:gd name="connsiteX25" fmla="*/ 484872 w 533595"/>
                <a:gd name="connsiteY25" fmla="*/ 262917 h 516185"/>
                <a:gd name="connsiteX26" fmla="*/ 486709 w 533595"/>
                <a:gd name="connsiteY26" fmla="*/ 258419 h 516185"/>
                <a:gd name="connsiteX27" fmla="*/ 513477 w 533595"/>
                <a:gd name="connsiteY27" fmla="*/ 231675 h 516185"/>
                <a:gd name="connsiteX28" fmla="*/ 517975 w 533595"/>
                <a:gd name="connsiteY28" fmla="*/ 229813 h 516185"/>
                <a:gd name="connsiteX29" fmla="*/ 528590 w 533595"/>
                <a:gd name="connsiteY29" fmla="*/ 229813 h 516185"/>
                <a:gd name="connsiteX30" fmla="*/ 528590 w 533595"/>
                <a:gd name="connsiteY30" fmla="*/ 218424 h 516185"/>
                <a:gd name="connsiteX31" fmla="*/ 528590 w 533595"/>
                <a:gd name="connsiteY31" fmla="*/ 168685 h 516185"/>
                <a:gd name="connsiteX32" fmla="*/ 530476 w 533595"/>
                <a:gd name="connsiteY32" fmla="*/ 164163 h 516185"/>
                <a:gd name="connsiteX33" fmla="*/ 533596 w 533595"/>
                <a:gd name="connsiteY33" fmla="*/ 161019 h 516185"/>
                <a:gd name="connsiteX34" fmla="*/ 478802 w 533595"/>
                <a:gd name="connsiteY34" fmla="*/ 161019 h 516185"/>
                <a:gd name="connsiteX35" fmla="*/ 474280 w 533595"/>
                <a:gd name="connsiteY35" fmla="*/ 159157 h 516185"/>
                <a:gd name="connsiteX36" fmla="*/ 423985 w 533595"/>
                <a:gd name="connsiteY36" fmla="*/ 108837 h 516185"/>
                <a:gd name="connsiteX37" fmla="*/ 400215 w 533595"/>
                <a:gd name="connsiteY37" fmla="*/ 108837 h 516185"/>
                <a:gd name="connsiteX38" fmla="*/ 395693 w 533595"/>
                <a:gd name="connsiteY38" fmla="*/ 106976 h 516185"/>
                <a:gd name="connsiteX39" fmla="*/ 376010 w 533595"/>
                <a:gd name="connsiteY39" fmla="*/ 87268 h 516185"/>
                <a:gd name="connsiteX40" fmla="*/ 374124 w 533595"/>
                <a:gd name="connsiteY40" fmla="*/ 82771 h 516185"/>
                <a:gd name="connsiteX41" fmla="*/ 374124 w 533595"/>
                <a:gd name="connsiteY41" fmla="*/ 59291 h 516185"/>
                <a:gd name="connsiteX42" fmla="*/ 325182 w 533595"/>
                <a:gd name="connsiteY42" fmla="*/ 59291 h 516185"/>
                <a:gd name="connsiteX43" fmla="*/ 318823 w 533595"/>
                <a:gd name="connsiteY43" fmla="*/ 52907 h 516185"/>
                <a:gd name="connsiteX44" fmla="*/ 318823 w 533595"/>
                <a:gd name="connsiteY44" fmla="*/ 5755 h 516185"/>
                <a:gd name="connsiteX45" fmla="*/ 283664 w 533595"/>
                <a:gd name="connsiteY45" fmla="*/ 40914 h 516185"/>
                <a:gd name="connsiteX46" fmla="*/ 274669 w 533595"/>
                <a:gd name="connsiteY46" fmla="*/ 40914 h 516185"/>
                <a:gd name="connsiteX47" fmla="*/ 266955 w 533595"/>
                <a:gd name="connsiteY47" fmla="*/ 33224 h 516185"/>
                <a:gd name="connsiteX48" fmla="*/ 253946 w 533595"/>
                <a:gd name="connsiteY48" fmla="*/ 46234 h 516185"/>
                <a:gd name="connsiteX49" fmla="*/ 249448 w 533595"/>
                <a:gd name="connsiteY49" fmla="*/ 48095 h 516185"/>
                <a:gd name="connsiteX50" fmla="*/ 207616 w 533595"/>
                <a:gd name="connsiteY50" fmla="*/ 48095 h 516185"/>
                <a:gd name="connsiteX51" fmla="*/ 203094 w 533595"/>
                <a:gd name="connsiteY51" fmla="*/ 46234 h 516185"/>
                <a:gd name="connsiteX52" fmla="*/ 156860 w 533595"/>
                <a:gd name="connsiteY52" fmla="*/ 0 h 516185"/>
                <a:gd name="connsiteX53" fmla="*/ 142134 w 533595"/>
                <a:gd name="connsiteY53" fmla="*/ 14678 h 516185"/>
                <a:gd name="connsiteX54" fmla="*/ 137637 w 533595"/>
                <a:gd name="connsiteY54" fmla="*/ 16564 h 516185"/>
                <a:gd name="connsiteX55" fmla="*/ 112319 w 533595"/>
                <a:gd name="connsiteY55" fmla="*/ 16564 h 516185"/>
                <a:gd name="connsiteX56" fmla="*/ 82045 w 533595"/>
                <a:gd name="connsiteY56" fmla="*/ 46838 h 516185"/>
                <a:gd name="connsiteX57" fmla="*/ 77548 w 533595"/>
                <a:gd name="connsiteY57" fmla="*/ 48700 h 516185"/>
                <a:gd name="connsiteX58" fmla="*/ 54382 w 533595"/>
                <a:gd name="connsiteY58" fmla="*/ 48700 h 516185"/>
                <a:gd name="connsiteX59" fmla="*/ 47080 w 533595"/>
                <a:gd name="connsiteY59" fmla="*/ 56027 h 516185"/>
                <a:gd name="connsiteX60" fmla="*/ 61709 w 533595"/>
                <a:gd name="connsiteY60" fmla="*/ 70656 h 516185"/>
                <a:gd name="connsiteX61" fmla="*/ 63595 w 533595"/>
                <a:gd name="connsiteY61" fmla="*/ 75154 h 516185"/>
                <a:gd name="connsiteX62" fmla="*/ 61709 w 533595"/>
                <a:gd name="connsiteY62" fmla="*/ 79675 h 516185"/>
                <a:gd name="connsiteX63" fmla="*/ 48386 w 533595"/>
                <a:gd name="connsiteY63" fmla="*/ 93023 h 516185"/>
                <a:gd name="connsiteX64" fmla="*/ 48386 w 533595"/>
                <a:gd name="connsiteY64" fmla="*/ 153282 h 516185"/>
                <a:gd name="connsiteX65" fmla="*/ 46524 w 533595"/>
                <a:gd name="connsiteY65" fmla="*/ 157779 h 516185"/>
                <a:gd name="connsiteX66" fmla="*/ 13952 w 533595"/>
                <a:gd name="connsiteY66" fmla="*/ 190351 h 516185"/>
                <a:gd name="connsiteX67" fmla="*/ 25922 w 533595"/>
                <a:gd name="connsiteY67" fmla="*/ 202320 h 516185"/>
                <a:gd name="connsiteX68" fmla="*/ 27784 w 533595"/>
                <a:gd name="connsiteY68" fmla="*/ 206842 h 516185"/>
                <a:gd name="connsiteX69" fmla="*/ 25922 w 533595"/>
                <a:gd name="connsiteY69" fmla="*/ 211339 h 516185"/>
                <a:gd name="connsiteX70" fmla="*/ 0 w 533595"/>
                <a:gd name="connsiteY70" fmla="*/ 237261 h 516185"/>
                <a:gd name="connsiteX71" fmla="*/ 29839 w 533595"/>
                <a:gd name="connsiteY71" fmla="*/ 267124 h 516185"/>
                <a:gd name="connsiteX72" fmla="*/ 31701 w 533595"/>
                <a:gd name="connsiteY72" fmla="*/ 271622 h 516185"/>
                <a:gd name="connsiteX73" fmla="*/ 31701 w 533595"/>
                <a:gd name="connsiteY73" fmla="*/ 355142 h 516185"/>
                <a:gd name="connsiteX74" fmla="*/ 49522 w 533595"/>
                <a:gd name="connsiteY74" fmla="*/ 372963 h 516185"/>
                <a:gd name="connsiteX75" fmla="*/ 108378 w 533595"/>
                <a:gd name="connsiteY75" fmla="*/ 372963 h 516185"/>
                <a:gd name="connsiteX76" fmla="*/ 120928 w 533595"/>
                <a:gd name="connsiteY76" fmla="*/ 360437 h 5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533595" h="516185">
                  <a:moveTo>
                    <a:pt x="120928" y="360437"/>
                  </a:moveTo>
                  <a:cubicBezTo>
                    <a:pt x="123418" y="357947"/>
                    <a:pt x="127456" y="357947"/>
                    <a:pt x="129923" y="360437"/>
                  </a:cubicBezTo>
                  <a:lnTo>
                    <a:pt x="152532" y="383047"/>
                  </a:lnTo>
                  <a:lnTo>
                    <a:pt x="177607" y="383047"/>
                  </a:lnTo>
                  <a:cubicBezTo>
                    <a:pt x="179300" y="383047"/>
                    <a:pt x="180920" y="383699"/>
                    <a:pt x="182105" y="384908"/>
                  </a:cubicBezTo>
                  <a:lnTo>
                    <a:pt x="216514" y="419318"/>
                  </a:lnTo>
                  <a:cubicBezTo>
                    <a:pt x="217699" y="420527"/>
                    <a:pt x="218376" y="422123"/>
                    <a:pt x="218376" y="423815"/>
                  </a:cubicBezTo>
                  <a:lnTo>
                    <a:pt x="218376" y="507480"/>
                  </a:lnTo>
                  <a:lnTo>
                    <a:pt x="249085" y="507480"/>
                  </a:lnTo>
                  <a:lnTo>
                    <a:pt x="264295" y="492271"/>
                  </a:lnTo>
                  <a:cubicBezTo>
                    <a:pt x="265528" y="491037"/>
                    <a:pt x="267173" y="490409"/>
                    <a:pt x="268793" y="490409"/>
                  </a:cubicBezTo>
                  <a:cubicBezTo>
                    <a:pt x="270413" y="490409"/>
                    <a:pt x="272057" y="491037"/>
                    <a:pt x="273315" y="492271"/>
                  </a:cubicBezTo>
                  <a:lnTo>
                    <a:pt x="297229" y="516185"/>
                  </a:lnTo>
                  <a:lnTo>
                    <a:pt x="303927" y="509512"/>
                  </a:lnTo>
                  <a:lnTo>
                    <a:pt x="303927" y="469468"/>
                  </a:lnTo>
                  <a:cubicBezTo>
                    <a:pt x="303927" y="465938"/>
                    <a:pt x="306757" y="463109"/>
                    <a:pt x="310311" y="463109"/>
                  </a:cubicBezTo>
                  <a:lnTo>
                    <a:pt x="337224" y="463109"/>
                  </a:lnTo>
                  <a:lnTo>
                    <a:pt x="337224" y="443329"/>
                  </a:lnTo>
                  <a:cubicBezTo>
                    <a:pt x="337224" y="441660"/>
                    <a:pt x="337901" y="440016"/>
                    <a:pt x="339086" y="438831"/>
                  </a:cubicBezTo>
                  <a:lnTo>
                    <a:pt x="376034" y="401883"/>
                  </a:lnTo>
                  <a:lnTo>
                    <a:pt x="376034" y="401883"/>
                  </a:lnTo>
                  <a:lnTo>
                    <a:pt x="412402" y="365515"/>
                  </a:lnTo>
                  <a:cubicBezTo>
                    <a:pt x="413611" y="364306"/>
                    <a:pt x="415207" y="363629"/>
                    <a:pt x="416924" y="363629"/>
                  </a:cubicBezTo>
                  <a:lnTo>
                    <a:pt x="433729" y="363629"/>
                  </a:lnTo>
                  <a:lnTo>
                    <a:pt x="484872" y="312511"/>
                  </a:lnTo>
                  <a:lnTo>
                    <a:pt x="484872" y="262917"/>
                  </a:lnTo>
                  <a:cubicBezTo>
                    <a:pt x="484872" y="261248"/>
                    <a:pt x="485524" y="259628"/>
                    <a:pt x="486709" y="258419"/>
                  </a:cubicBezTo>
                  <a:lnTo>
                    <a:pt x="513477" y="231675"/>
                  </a:lnTo>
                  <a:cubicBezTo>
                    <a:pt x="514686" y="230466"/>
                    <a:pt x="516282" y="229813"/>
                    <a:pt x="517975" y="229813"/>
                  </a:cubicBezTo>
                  <a:lnTo>
                    <a:pt x="528590" y="229813"/>
                  </a:lnTo>
                  <a:lnTo>
                    <a:pt x="528590" y="218424"/>
                  </a:lnTo>
                  <a:lnTo>
                    <a:pt x="528590" y="168685"/>
                  </a:lnTo>
                  <a:cubicBezTo>
                    <a:pt x="528590" y="166992"/>
                    <a:pt x="529267" y="165372"/>
                    <a:pt x="530476" y="164163"/>
                  </a:cubicBezTo>
                  <a:lnTo>
                    <a:pt x="533596" y="161019"/>
                  </a:lnTo>
                  <a:lnTo>
                    <a:pt x="478802" y="161019"/>
                  </a:lnTo>
                  <a:cubicBezTo>
                    <a:pt x="477134" y="161019"/>
                    <a:pt x="475489" y="160367"/>
                    <a:pt x="474280" y="159157"/>
                  </a:cubicBezTo>
                  <a:lnTo>
                    <a:pt x="423985" y="108837"/>
                  </a:lnTo>
                  <a:lnTo>
                    <a:pt x="400215" y="108837"/>
                  </a:lnTo>
                  <a:cubicBezTo>
                    <a:pt x="398522" y="108837"/>
                    <a:pt x="396902" y="108160"/>
                    <a:pt x="395693" y="106976"/>
                  </a:cubicBezTo>
                  <a:lnTo>
                    <a:pt x="376010" y="87268"/>
                  </a:lnTo>
                  <a:cubicBezTo>
                    <a:pt x="374801" y="86083"/>
                    <a:pt x="374124" y="84463"/>
                    <a:pt x="374124" y="82771"/>
                  </a:cubicBezTo>
                  <a:lnTo>
                    <a:pt x="374124" y="59291"/>
                  </a:lnTo>
                  <a:lnTo>
                    <a:pt x="325182" y="59291"/>
                  </a:lnTo>
                  <a:cubicBezTo>
                    <a:pt x="321676" y="59291"/>
                    <a:pt x="318823" y="56438"/>
                    <a:pt x="318823" y="52907"/>
                  </a:cubicBezTo>
                  <a:lnTo>
                    <a:pt x="318823" y="5755"/>
                  </a:lnTo>
                  <a:lnTo>
                    <a:pt x="283664" y="40914"/>
                  </a:lnTo>
                  <a:cubicBezTo>
                    <a:pt x="281173" y="43428"/>
                    <a:pt x="277159" y="43428"/>
                    <a:pt x="274669" y="40914"/>
                  </a:cubicBezTo>
                  <a:lnTo>
                    <a:pt x="266955" y="33224"/>
                  </a:lnTo>
                  <a:lnTo>
                    <a:pt x="253946" y="46234"/>
                  </a:lnTo>
                  <a:cubicBezTo>
                    <a:pt x="252761" y="47442"/>
                    <a:pt x="251141" y="48095"/>
                    <a:pt x="249448" y="48095"/>
                  </a:cubicBezTo>
                  <a:lnTo>
                    <a:pt x="207616" y="48095"/>
                  </a:lnTo>
                  <a:cubicBezTo>
                    <a:pt x="205923" y="48095"/>
                    <a:pt x="204303" y="47442"/>
                    <a:pt x="203094" y="46234"/>
                  </a:cubicBezTo>
                  <a:lnTo>
                    <a:pt x="156860" y="0"/>
                  </a:lnTo>
                  <a:lnTo>
                    <a:pt x="142134" y="14678"/>
                  </a:lnTo>
                  <a:cubicBezTo>
                    <a:pt x="140949" y="15887"/>
                    <a:pt x="139329" y="16564"/>
                    <a:pt x="137637" y="16564"/>
                  </a:cubicBezTo>
                  <a:lnTo>
                    <a:pt x="112319" y="16564"/>
                  </a:lnTo>
                  <a:lnTo>
                    <a:pt x="82045" y="46838"/>
                  </a:lnTo>
                  <a:cubicBezTo>
                    <a:pt x="80860" y="48047"/>
                    <a:pt x="79240" y="48700"/>
                    <a:pt x="77548" y="48700"/>
                  </a:cubicBezTo>
                  <a:lnTo>
                    <a:pt x="54382" y="48700"/>
                  </a:lnTo>
                  <a:lnTo>
                    <a:pt x="47080" y="56027"/>
                  </a:lnTo>
                  <a:lnTo>
                    <a:pt x="61709" y="70656"/>
                  </a:lnTo>
                  <a:cubicBezTo>
                    <a:pt x="62918" y="71841"/>
                    <a:pt x="63595" y="73461"/>
                    <a:pt x="63595" y="75154"/>
                  </a:cubicBezTo>
                  <a:cubicBezTo>
                    <a:pt x="63595" y="76846"/>
                    <a:pt x="62918" y="78466"/>
                    <a:pt x="61709" y="79675"/>
                  </a:cubicBezTo>
                  <a:lnTo>
                    <a:pt x="48386" y="93023"/>
                  </a:lnTo>
                  <a:lnTo>
                    <a:pt x="48386" y="153282"/>
                  </a:lnTo>
                  <a:cubicBezTo>
                    <a:pt x="48386" y="154950"/>
                    <a:pt x="47709" y="156594"/>
                    <a:pt x="46524" y="157779"/>
                  </a:cubicBezTo>
                  <a:lnTo>
                    <a:pt x="13952" y="190351"/>
                  </a:lnTo>
                  <a:lnTo>
                    <a:pt x="25922" y="202320"/>
                  </a:lnTo>
                  <a:cubicBezTo>
                    <a:pt x="27131" y="203505"/>
                    <a:pt x="27784" y="205125"/>
                    <a:pt x="27784" y="206842"/>
                  </a:cubicBezTo>
                  <a:cubicBezTo>
                    <a:pt x="27784" y="208510"/>
                    <a:pt x="27131" y="210130"/>
                    <a:pt x="25922" y="211339"/>
                  </a:cubicBezTo>
                  <a:lnTo>
                    <a:pt x="0" y="237261"/>
                  </a:lnTo>
                  <a:lnTo>
                    <a:pt x="29839" y="267124"/>
                  </a:lnTo>
                  <a:cubicBezTo>
                    <a:pt x="31048" y="268309"/>
                    <a:pt x="31701" y="269929"/>
                    <a:pt x="31701" y="271622"/>
                  </a:cubicBezTo>
                  <a:lnTo>
                    <a:pt x="31701" y="355142"/>
                  </a:lnTo>
                  <a:lnTo>
                    <a:pt x="49522" y="372963"/>
                  </a:lnTo>
                  <a:lnTo>
                    <a:pt x="108378" y="372963"/>
                  </a:lnTo>
                  <a:lnTo>
                    <a:pt x="120928" y="36043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orma Livre: Forma 52">
              <a:extLst>
                <a:ext uri="{FF2B5EF4-FFF2-40B4-BE49-F238E27FC236}">
                  <a16:creationId xmlns:a16="http://schemas.microsoft.com/office/drawing/2014/main" id="{B0022FC5-A363-638A-5D14-9FB960EEEFF2}"/>
                </a:ext>
              </a:extLst>
            </p:cNvPr>
            <p:cNvSpPr/>
            <p:nvPr/>
          </p:nvSpPr>
          <p:spPr>
            <a:xfrm>
              <a:off x="4284101" y="3142919"/>
              <a:ext cx="543485" cy="493310"/>
            </a:xfrm>
            <a:custGeom>
              <a:avLst/>
              <a:gdLst>
                <a:gd name="connsiteX0" fmla="*/ 543485 w 543485"/>
                <a:gd name="connsiteY0" fmla="*/ 102429 h 493310"/>
                <a:gd name="connsiteX1" fmla="*/ 498219 w 543485"/>
                <a:gd name="connsiteY1" fmla="*/ 102429 h 493310"/>
                <a:gd name="connsiteX2" fmla="*/ 493722 w 543485"/>
                <a:gd name="connsiteY2" fmla="*/ 100568 h 493310"/>
                <a:gd name="connsiteX3" fmla="*/ 424976 w 543485"/>
                <a:gd name="connsiteY3" fmla="*/ 31822 h 493310"/>
                <a:gd name="connsiteX4" fmla="*/ 388342 w 543485"/>
                <a:gd name="connsiteY4" fmla="*/ 31822 h 493310"/>
                <a:gd name="connsiteX5" fmla="*/ 383845 w 543485"/>
                <a:gd name="connsiteY5" fmla="*/ 29960 h 493310"/>
                <a:gd name="connsiteX6" fmla="*/ 353885 w 543485"/>
                <a:gd name="connsiteY6" fmla="*/ 0 h 493310"/>
                <a:gd name="connsiteX7" fmla="*/ 273049 w 543485"/>
                <a:gd name="connsiteY7" fmla="*/ 0 h 493310"/>
                <a:gd name="connsiteX8" fmla="*/ 247828 w 543485"/>
                <a:gd name="connsiteY8" fmla="*/ 0 h 493310"/>
                <a:gd name="connsiteX9" fmla="*/ 217264 w 543485"/>
                <a:gd name="connsiteY9" fmla="*/ 30564 h 493310"/>
                <a:gd name="connsiteX10" fmla="*/ 212742 w 543485"/>
                <a:gd name="connsiteY10" fmla="*/ 32402 h 493310"/>
                <a:gd name="connsiteX11" fmla="*/ 185708 w 543485"/>
                <a:gd name="connsiteY11" fmla="*/ 32402 h 493310"/>
                <a:gd name="connsiteX12" fmla="*/ 0 w 543485"/>
                <a:gd name="connsiteY12" fmla="*/ 218110 h 493310"/>
                <a:gd name="connsiteX13" fmla="*/ 58179 w 543485"/>
                <a:gd name="connsiteY13" fmla="*/ 218110 h 493310"/>
                <a:gd name="connsiteX14" fmla="*/ 62701 w 543485"/>
                <a:gd name="connsiteY14" fmla="*/ 219972 h 493310"/>
                <a:gd name="connsiteX15" fmla="*/ 108547 w 543485"/>
                <a:gd name="connsiteY15" fmla="*/ 265819 h 493310"/>
                <a:gd name="connsiteX16" fmla="*/ 110409 w 543485"/>
                <a:gd name="connsiteY16" fmla="*/ 270316 h 493310"/>
                <a:gd name="connsiteX17" fmla="*/ 110409 w 543485"/>
                <a:gd name="connsiteY17" fmla="*/ 282697 h 493310"/>
                <a:gd name="connsiteX18" fmla="*/ 127287 w 543485"/>
                <a:gd name="connsiteY18" fmla="*/ 265843 h 493310"/>
                <a:gd name="connsiteX19" fmla="*/ 136282 w 543485"/>
                <a:gd name="connsiteY19" fmla="*/ 265843 h 493310"/>
                <a:gd name="connsiteX20" fmla="*/ 159955 w 543485"/>
                <a:gd name="connsiteY20" fmla="*/ 289516 h 493310"/>
                <a:gd name="connsiteX21" fmla="*/ 182806 w 543485"/>
                <a:gd name="connsiteY21" fmla="*/ 289516 h 493310"/>
                <a:gd name="connsiteX22" fmla="*/ 187304 w 543485"/>
                <a:gd name="connsiteY22" fmla="*/ 291378 h 493310"/>
                <a:gd name="connsiteX23" fmla="*/ 215426 w 543485"/>
                <a:gd name="connsiteY23" fmla="*/ 319500 h 493310"/>
                <a:gd name="connsiteX24" fmla="*/ 241904 w 543485"/>
                <a:gd name="connsiteY24" fmla="*/ 319500 h 493310"/>
                <a:gd name="connsiteX25" fmla="*/ 246401 w 543485"/>
                <a:gd name="connsiteY25" fmla="*/ 321362 h 493310"/>
                <a:gd name="connsiteX26" fmla="*/ 286420 w 543485"/>
                <a:gd name="connsiteY26" fmla="*/ 361381 h 493310"/>
                <a:gd name="connsiteX27" fmla="*/ 288282 w 543485"/>
                <a:gd name="connsiteY27" fmla="*/ 365878 h 493310"/>
                <a:gd name="connsiteX28" fmla="*/ 288282 w 543485"/>
                <a:gd name="connsiteY28" fmla="*/ 387858 h 493310"/>
                <a:gd name="connsiteX29" fmla="*/ 331276 w 543485"/>
                <a:gd name="connsiteY29" fmla="*/ 430828 h 493310"/>
                <a:gd name="connsiteX30" fmla="*/ 331276 w 543485"/>
                <a:gd name="connsiteY30" fmla="*/ 439799 h 493310"/>
                <a:gd name="connsiteX31" fmla="*/ 304145 w 543485"/>
                <a:gd name="connsiteY31" fmla="*/ 466929 h 493310"/>
                <a:gd name="connsiteX32" fmla="*/ 304145 w 543485"/>
                <a:gd name="connsiteY32" fmla="*/ 493310 h 493310"/>
                <a:gd name="connsiteX33" fmla="*/ 367063 w 543485"/>
                <a:gd name="connsiteY33" fmla="*/ 430417 h 493310"/>
                <a:gd name="connsiteX34" fmla="*/ 367063 w 543485"/>
                <a:gd name="connsiteY34" fmla="*/ 392622 h 493310"/>
                <a:gd name="connsiteX35" fmla="*/ 368901 w 543485"/>
                <a:gd name="connsiteY35" fmla="*/ 388100 h 493310"/>
                <a:gd name="connsiteX36" fmla="*/ 507819 w 543485"/>
                <a:gd name="connsiteY36" fmla="*/ 249182 h 493310"/>
                <a:gd name="connsiteX37" fmla="*/ 507819 w 543485"/>
                <a:gd name="connsiteY37" fmla="*/ 218884 h 493310"/>
                <a:gd name="connsiteX38" fmla="*/ 509681 w 543485"/>
                <a:gd name="connsiteY38" fmla="*/ 214362 h 493310"/>
                <a:gd name="connsiteX39" fmla="*/ 535022 w 543485"/>
                <a:gd name="connsiteY39" fmla="*/ 189021 h 493310"/>
                <a:gd name="connsiteX40" fmla="*/ 535022 w 543485"/>
                <a:gd name="connsiteY40" fmla="*/ 167451 h 493310"/>
                <a:gd name="connsiteX41" fmla="*/ 523609 w 543485"/>
                <a:gd name="connsiteY41" fmla="*/ 156014 h 493310"/>
                <a:gd name="connsiteX42" fmla="*/ 522811 w 543485"/>
                <a:gd name="connsiteY42" fmla="*/ 155047 h 493310"/>
                <a:gd name="connsiteX43" fmla="*/ 522424 w 543485"/>
                <a:gd name="connsiteY43" fmla="*/ 154321 h 493310"/>
                <a:gd name="connsiteX44" fmla="*/ 522206 w 543485"/>
                <a:gd name="connsiteY44" fmla="*/ 153934 h 493310"/>
                <a:gd name="connsiteX45" fmla="*/ 521940 w 543485"/>
                <a:gd name="connsiteY45" fmla="*/ 153112 h 493310"/>
                <a:gd name="connsiteX46" fmla="*/ 521868 w 543485"/>
                <a:gd name="connsiteY46" fmla="*/ 152774 h 493310"/>
                <a:gd name="connsiteX47" fmla="*/ 521868 w 543485"/>
                <a:gd name="connsiteY47" fmla="*/ 150283 h 493310"/>
                <a:gd name="connsiteX48" fmla="*/ 521940 w 543485"/>
                <a:gd name="connsiteY48" fmla="*/ 149920 h 493310"/>
                <a:gd name="connsiteX49" fmla="*/ 522206 w 543485"/>
                <a:gd name="connsiteY49" fmla="*/ 149074 h 493310"/>
                <a:gd name="connsiteX50" fmla="*/ 522424 w 543485"/>
                <a:gd name="connsiteY50" fmla="*/ 148687 h 493310"/>
                <a:gd name="connsiteX51" fmla="*/ 522811 w 543485"/>
                <a:gd name="connsiteY51" fmla="*/ 147986 h 493310"/>
                <a:gd name="connsiteX52" fmla="*/ 523609 w 543485"/>
                <a:gd name="connsiteY52" fmla="*/ 147019 h 493310"/>
                <a:gd name="connsiteX53" fmla="*/ 535530 w 543485"/>
                <a:gd name="connsiteY53" fmla="*/ 135073 h 493310"/>
                <a:gd name="connsiteX54" fmla="*/ 535530 w 543485"/>
                <a:gd name="connsiteY54" fmla="*/ 112972 h 493310"/>
                <a:gd name="connsiteX55" fmla="*/ 537416 w 543485"/>
                <a:gd name="connsiteY55" fmla="*/ 108475 h 493310"/>
                <a:gd name="connsiteX56" fmla="*/ 543485 w 543485"/>
                <a:gd name="connsiteY56" fmla="*/ 102429 h 49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543485" h="493310">
                  <a:moveTo>
                    <a:pt x="543485" y="102429"/>
                  </a:moveTo>
                  <a:lnTo>
                    <a:pt x="498219" y="102429"/>
                  </a:lnTo>
                  <a:cubicBezTo>
                    <a:pt x="496551" y="102429"/>
                    <a:pt x="494931" y="101752"/>
                    <a:pt x="493722" y="100568"/>
                  </a:cubicBezTo>
                  <a:lnTo>
                    <a:pt x="424976" y="31822"/>
                  </a:lnTo>
                  <a:lnTo>
                    <a:pt x="388342" y="31822"/>
                  </a:lnTo>
                  <a:cubicBezTo>
                    <a:pt x="386674" y="31822"/>
                    <a:pt x="385029" y="31169"/>
                    <a:pt x="383845" y="29960"/>
                  </a:cubicBezTo>
                  <a:lnTo>
                    <a:pt x="353885" y="0"/>
                  </a:lnTo>
                  <a:lnTo>
                    <a:pt x="273049" y="0"/>
                  </a:lnTo>
                  <a:lnTo>
                    <a:pt x="247828" y="0"/>
                  </a:lnTo>
                  <a:lnTo>
                    <a:pt x="217264" y="30564"/>
                  </a:lnTo>
                  <a:cubicBezTo>
                    <a:pt x="216079" y="31749"/>
                    <a:pt x="214459" y="32402"/>
                    <a:pt x="212742" y="32402"/>
                  </a:cubicBezTo>
                  <a:lnTo>
                    <a:pt x="185708" y="32402"/>
                  </a:lnTo>
                  <a:lnTo>
                    <a:pt x="0" y="218110"/>
                  </a:lnTo>
                  <a:lnTo>
                    <a:pt x="58179" y="218110"/>
                  </a:lnTo>
                  <a:cubicBezTo>
                    <a:pt x="59871" y="218110"/>
                    <a:pt x="61492" y="218787"/>
                    <a:pt x="62701" y="219972"/>
                  </a:cubicBezTo>
                  <a:lnTo>
                    <a:pt x="108547" y="265819"/>
                  </a:lnTo>
                  <a:cubicBezTo>
                    <a:pt x="109732" y="267003"/>
                    <a:pt x="110409" y="268623"/>
                    <a:pt x="110409" y="270316"/>
                  </a:cubicBezTo>
                  <a:lnTo>
                    <a:pt x="110409" y="282697"/>
                  </a:lnTo>
                  <a:lnTo>
                    <a:pt x="127287" y="265843"/>
                  </a:lnTo>
                  <a:cubicBezTo>
                    <a:pt x="129681" y="263425"/>
                    <a:pt x="133889" y="263425"/>
                    <a:pt x="136282" y="265843"/>
                  </a:cubicBezTo>
                  <a:lnTo>
                    <a:pt x="159955" y="289516"/>
                  </a:lnTo>
                  <a:lnTo>
                    <a:pt x="182806" y="289516"/>
                  </a:lnTo>
                  <a:cubicBezTo>
                    <a:pt x="184499" y="289516"/>
                    <a:pt x="186119" y="290193"/>
                    <a:pt x="187304" y="291378"/>
                  </a:cubicBezTo>
                  <a:lnTo>
                    <a:pt x="215426" y="319500"/>
                  </a:lnTo>
                  <a:lnTo>
                    <a:pt x="241904" y="319500"/>
                  </a:lnTo>
                  <a:cubicBezTo>
                    <a:pt x="243572" y="319500"/>
                    <a:pt x="245216" y="320153"/>
                    <a:pt x="246401" y="321362"/>
                  </a:cubicBezTo>
                  <a:lnTo>
                    <a:pt x="286420" y="361381"/>
                  </a:lnTo>
                  <a:cubicBezTo>
                    <a:pt x="287629" y="362566"/>
                    <a:pt x="288282" y="364186"/>
                    <a:pt x="288282" y="365878"/>
                  </a:cubicBezTo>
                  <a:lnTo>
                    <a:pt x="288282" y="387858"/>
                  </a:lnTo>
                  <a:lnTo>
                    <a:pt x="331276" y="430828"/>
                  </a:lnTo>
                  <a:cubicBezTo>
                    <a:pt x="333766" y="433318"/>
                    <a:pt x="333766" y="437332"/>
                    <a:pt x="331276" y="439799"/>
                  </a:cubicBezTo>
                  <a:lnTo>
                    <a:pt x="304145" y="466929"/>
                  </a:lnTo>
                  <a:lnTo>
                    <a:pt x="304145" y="493310"/>
                  </a:lnTo>
                  <a:lnTo>
                    <a:pt x="367063" y="430417"/>
                  </a:lnTo>
                  <a:lnTo>
                    <a:pt x="367063" y="392622"/>
                  </a:lnTo>
                  <a:cubicBezTo>
                    <a:pt x="367063" y="390929"/>
                    <a:pt x="367716" y="389309"/>
                    <a:pt x="368901" y="388100"/>
                  </a:cubicBezTo>
                  <a:lnTo>
                    <a:pt x="507819" y="249182"/>
                  </a:lnTo>
                  <a:lnTo>
                    <a:pt x="507819" y="218884"/>
                  </a:lnTo>
                  <a:cubicBezTo>
                    <a:pt x="507819" y="217191"/>
                    <a:pt x="508496" y="215547"/>
                    <a:pt x="509681" y="214362"/>
                  </a:cubicBezTo>
                  <a:lnTo>
                    <a:pt x="535022" y="189021"/>
                  </a:lnTo>
                  <a:lnTo>
                    <a:pt x="535022" y="167451"/>
                  </a:lnTo>
                  <a:lnTo>
                    <a:pt x="523609" y="156014"/>
                  </a:lnTo>
                  <a:cubicBezTo>
                    <a:pt x="523295" y="155700"/>
                    <a:pt x="523053" y="155409"/>
                    <a:pt x="522811" y="155047"/>
                  </a:cubicBezTo>
                  <a:cubicBezTo>
                    <a:pt x="522642" y="154829"/>
                    <a:pt x="522545" y="154563"/>
                    <a:pt x="522424" y="154321"/>
                  </a:cubicBezTo>
                  <a:cubicBezTo>
                    <a:pt x="522352" y="154200"/>
                    <a:pt x="522255" y="154079"/>
                    <a:pt x="522206" y="153934"/>
                  </a:cubicBezTo>
                  <a:cubicBezTo>
                    <a:pt x="522110" y="153668"/>
                    <a:pt x="522037" y="153402"/>
                    <a:pt x="521940" y="153112"/>
                  </a:cubicBezTo>
                  <a:cubicBezTo>
                    <a:pt x="521916" y="152991"/>
                    <a:pt x="521868" y="152870"/>
                    <a:pt x="521868" y="152774"/>
                  </a:cubicBezTo>
                  <a:cubicBezTo>
                    <a:pt x="521699" y="151952"/>
                    <a:pt x="521699" y="151105"/>
                    <a:pt x="521868" y="150283"/>
                  </a:cubicBezTo>
                  <a:cubicBezTo>
                    <a:pt x="521868" y="150162"/>
                    <a:pt x="521916" y="150041"/>
                    <a:pt x="521940" y="149920"/>
                  </a:cubicBezTo>
                  <a:cubicBezTo>
                    <a:pt x="522037" y="149630"/>
                    <a:pt x="522110" y="149364"/>
                    <a:pt x="522206" y="149074"/>
                  </a:cubicBezTo>
                  <a:cubicBezTo>
                    <a:pt x="522255" y="148953"/>
                    <a:pt x="522352" y="148832"/>
                    <a:pt x="522424" y="148687"/>
                  </a:cubicBezTo>
                  <a:cubicBezTo>
                    <a:pt x="522545" y="148445"/>
                    <a:pt x="522642" y="148179"/>
                    <a:pt x="522811" y="147986"/>
                  </a:cubicBezTo>
                  <a:cubicBezTo>
                    <a:pt x="523053" y="147623"/>
                    <a:pt x="523319" y="147309"/>
                    <a:pt x="523609" y="147019"/>
                  </a:cubicBezTo>
                  <a:lnTo>
                    <a:pt x="535530" y="135073"/>
                  </a:lnTo>
                  <a:lnTo>
                    <a:pt x="535530" y="112972"/>
                  </a:lnTo>
                  <a:cubicBezTo>
                    <a:pt x="535530" y="111280"/>
                    <a:pt x="536207" y="109635"/>
                    <a:pt x="537416" y="108475"/>
                  </a:cubicBezTo>
                  <a:lnTo>
                    <a:pt x="543485" y="102429"/>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Forma Livre: Forma 53">
              <a:extLst>
                <a:ext uri="{FF2B5EF4-FFF2-40B4-BE49-F238E27FC236}">
                  <a16:creationId xmlns:a16="http://schemas.microsoft.com/office/drawing/2014/main" id="{24842638-89A5-0787-D719-8753B16C550F}"/>
                </a:ext>
              </a:extLst>
            </p:cNvPr>
            <p:cNvSpPr/>
            <p:nvPr/>
          </p:nvSpPr>
          <p:spPr>
            <a:xfrm>
              <a:off x="4563485" y="3049437"/>
              <a:ext cx="363532" cy="249327"/>
            </a:xfrm>
            <a:custGeom>
              <a:avLst/>
              <a:gdLst>
                <a:gd name="connsiteX0" fmla="*/ 302452 w 363532"/>
                <a:gd name="connsiteY0" fmla="*/ 16757 h 249327"/>
                <a:gd name="connsiteX1" fmla="*/ 297955 w 363532"/>
                <a:gd name="connsiteY1" fmla="*/ 18619 h 249327"/>
                <a:gd name="connsiteX2" fmla="*/ 294448 w 363532"/>
                <a:gd name="connsiteY2" fmla="*/ 17579 h 249327"/>
                <a:gd name="connsiteX3" fmla="*/ 293457 w 363532"/>
                <a:gd name="connsiteY3" fmla="*/ 16757 h 249327"/>
                <a:gd name="connsiteX4" fmla="*/ 276821 w 363532"/>
                <a:gd name="connsiteY4" fmla="*/ 121 h 249327"/>
                <a:gd name="connsiteX5" fmla="*/ 225243 w 363532"/>
                <a:gd name="connsiteY5" fmla="*/ 121 h 249327"/>
                <a:gd name="connsiteX6" fmla="*/ 218594 w 363532"/>
                <a:gd name="connsiteY6" fmla="*/ 6795 h 249327"/>
                <a:gd name="connsiteX7" fmla="*/ 214096 w 363532"/>
                <a:gd name="connsiteY7" fmla="*/ 8657 h 249327"/>
                <a:gd name="connsiteX8" fmla="*/ 187666 w 363532"/>
                <a:gd name="connsiteY8" fmla="*/ 8657 h 249327"/>
                <a:gd name="connsiteX9" fmla="*/ 175238 w 363532"/>
                <a:gd name="connsiteY9" fmla="*/ 21061 h 249327"/>
                <a:gd name="connsiteX10" fmla="*/ 175238 w 363532"/>
                <a:gd name="connsiteY10" fmla="*/ 37794 h 249327"/>
                <a:gd name="connsiteX11" fmla="*/ 173400 w 363532"/>
                <a:gd name="connsiteY11" fmla="*/ 42292 h 249327"/>
                <a:gd name="connsiteX12" fmla="*/ 162905 w 363532"/>
                <a:gd name="connsiteY12" fmla="*/ 52786 h 249327"/>
                <a:gd name="connsiteX13" fmla="*/ 158408 w 363532"/>
                <a:gd name="connsiteY13" fmla="*/ 54648 h 249327"/>
                <a:gd name="connsiteX14" fmla="*/ 153910 w 363532"/>
                <a:gd name="connsiteY14" fmla="*/ 52786 h 249327"/>
                <a:gd name="connsiteX15" fmla="*/ 125909 w 363532"/>
                <a:gd name="connsiteY15" fmla="*/ 24834 h 249327"/>
                <a:gd name="connsiteX16" fmla="*/ 0 w 363532"/>
                <a:gd name="connsiteY16" fmla="*/ 24834 h 249327"/>
                <a:gd name="connsiteX17" fmla="*/ 0 w 363532"/>
                <a:gd name="connsiteY17" fmla="*/ 80763 h 249327"/>
                <a:gd name="connsiteX18" fmla="*/ 77088 w 363532"/>
                <a:gd name="connsiteY18" fmla="*/ 80763 h 249327"/>
                <a:gd name="connsiteX19" fmla="*/ 81610 w 363532"/>
                <a:gd name="connsiteY19" fmla="*/ 82625 h 249327"/>
                <a:gd name="connsiteX20" fmla="*/ 111570 w 363532"/>
                <a:gd name="connsiteY20" fmla="*/ 112585 h 249327"/>
                <a:gd name="connsiteX21" fmla="*/ 148203 w 363532"/>
                <a:gd name="connsiteY21" fmla="*/ 112585 h 249327"/>
                <a:gd name="connsiteX22" fmla="*/ 152701 w 363532"/>
                <a:gd name="connsiteY22" fmla="*/ 114447 h 249327"/>
                <a:gd name="connsiteX23" fmla="*/ 221447 w 363532"/>
                <a:gd name="connsiteY23" fmla="*/ 183193 h 249327"/>
                <a:gd name="connsiteX24" fmla="*/ 279432 w 363532"/>
                <a:gd name="connsiteY24" fmla="*/ 183193 h 249327"/>
                <a:gd name="connsiteX25" fmla="*/ 280375 w 363532"/>
                <a:gd name="connsiteY25" fmla="*/ 183241 h 249327"/>
                <a:gd name="connsiteX26" fmla="*/ 285308 w 363532"/>
                <a:gd name="connsiteY26" fmla="*/ 187110 h 249327"/>
                <a:gd name="connsiteX27" fmla="*/ 285042 w 363532"/>
                <a:gd name="connsiteY27" fmla="*/ 192527 h 249327"/>
                <a:gd name="connsiteX28" fmla="*/ 283906 w 363532"/>
                <a:gd name="connsiteY28" fmla="*/ 194050 h 249327"/>
                <a:gd name="connsiteX29" fmla="*/ 268841 w 363532"/>
                <a:gd name="connsiteY29" fmla="*/ 209115 h 249327"/>
                <a:gd name="connsiteX30" fmla="*/ 268841 w 363532"/>
                <a:gd name="connsiteY30" fmla="*/ 231240 h 249327"/>
                <a:gd name="connsiteX31" fmla="*/ 266979 w 363532"/>
                <a:gd name="connsiteY31" fmla="*/ 235738 h 249327"/>
                <a:gd name="connsiteX32" fmla="*/ 257670 w 363532"/>
                <a:gd name="connsiteY32" fmla="*/ 245047 h 249327"/>
                <a:gd name="connsiteX33" fmla="*/ 261974 w 363532"/>
                <a:gd name="connsiteY33" fmla="*/ 249327 h 249327"/>
                <a:gd name="connsiteX34" fmla="*/ 363533 w 363532"/>
                <a:gd name="connsiteY34" fmla="*/ 147792 h 249327"/>
                <a:gd name="connsiteX35" fmla="*/ 363533 w 363532"/>
                <a:gd name="connsiteY35" fmla="*/ 0 h 249327"/>
                <a:gd name="connsiteX36" fmla="*/ 319209 w 363532"/>
                <a:gd name="connsiteY36" fmla="*/ 0 h 249327"/>
                <a:gd name="connsiteX37" fmla="*/ 302452 w 363532"/>
                <a:gd name="connsiteY37" fmla="*/ 16757 h 24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63532" h="249327">
                  <a:moveTo>
                    <a:pt x="302452" y="16757"/>
                  </a:moveTo>
                  <a:cubicBezTo>
                    <a:pt x="301219" y="18015"/>
                    <a:pt x="299599" y="18619"/>
                    <a:pt x="297955" y="18619"/>
                  </a:cubicBezTo>
                  <a:cubicBezTo>
                    <a:pt x="296721" y="18619"/>
                    <a:pt x="295512" y="18281"/>
                    <a:pt x="294448" y="17579"/>
                  </a:cubicBezTo>
                  <a:cubicBezTo>
                    <a:pt x="294086" y="17362"/>
                    <a:pt x="293771" y="17072"/>
                    <a:pt x="293457" y="16757"/>
                  </a:cubicBezTo>
                  <a:lnTo>
                    <a:pt x="276821" y="121"/>
                  </a:lnTo>
                  <a:lnTo>
                    <a:pt x="225243" y="121"/>
                  </a:lnTo>
                  <a:lnTo>
                    <a:pt x="218594" y="6795"/>
                  </a:lnTo>
                  <a:cubicBezTo>
                    <a:pt x="217384" y="7980"/>
                    <a:pt x="215789" y="8657"/>
                    <a:pt x="214096" y="8657"/>
                  </a:cubicBezTo>
                  <a:lnTo>
                    <a:pt x="187666" y="8657"/>
                  </a:lnTo>
                  <a:lnTo>
                    <a:pt x="175238" y="21061"/>
                  </a:lnTo>
                  <a:lnTo>
                    <a:pt x="175238" y="37794"/>
                  </a:lnTo>
                  <a:cubicBezTo>
                    <a:pt x="175238" y="39463"/>
                    <a:pt x="174585" y="41107"/>
                    <a:pt x="173400" y="42292"/>
                  </a:cubicBezTo>
                  <a:lnTo>
                    <a:pt x="162905" y="52786"/>
                  </a:lnTo>
                  <a:cubicBezTo>
                    <a:pt x="161720" y="53971"/>
                    <a:pt x="160100" y="54648"/>
                    <a:pt x="158408" y="54648"/>
                  </a:cubicBezTo>
                  <a:cubicBezTo>
                    <a:pt x="156715" y="54648"/>
                    <a:pt x="155071" y="53971"/>
                    <a:pt x="153910" y="52786"/>
                  </a:cubicBezTo>
                  <a:lnTo>
                    <a:pt x="125909" y="24834"/>
                  </a:lnTo>
                  <a:lnTo>
                    <a:pt x="0" y="24834"/>
                  </a:lnTo>
                  <a:lnTo>
                    <a:pt x="0" y="80763"/>
                  </a:lnTo>
                  <a:lnTo>
                    <a:pt x="77088" y="80763"/>
                  </a:lnTo>
                  <a:cubicBezTo>
                    <a:pt x="78781" y="80763"/>
                    <a:pt x="80401" y="81416"/>
                    <a:pt x="81610" y="82625"/>
                  </a:cubicBezTo>
                  <a:lnTo>
                    <a:pt x="111570" y="112585"/>
                  </a:lnTo>
                  <a:lnTo>
                    <a:pt x="148203" y="112585"/>
                  </a:lnTo>
                  <a:cubicBezTo>
                    <a:pt x="149872" y="112585"/>
                    <a:pt x="151492" y="113238"/>
                    <a:pt x="152701" y="114447"/>
                  </a:cubicBezTo>
                  <a:lnTo>
                    <a:pt x="221447" y="183193"/>
                  </a:lnTo>
                  <a:lnTo>
                    <a:pt x="279432" y="183193"/>
                  </a:lnTo>
                  <a:cubicBezTo>
                    <a:pt x="279771" y="183193"/>
                    <a:pt x="280061" y="183217"/>
                    <a:pt x="280375" y="183241"/>
                  </a:cubicBezTo>
                  <a:cubicBezTo>
                    <a:pt x="282576" y="183604"/>
                    <a:pt x="284462" y="185031"/>
                    <a:pt x="285308" y="187110"/>
                  </a:cubicBezTo>
                  <a:cubicBezTo>
                    <a:pt x="286033" y="188900"/>
                    <a:pt x="285913" y="190882"/>
                    <a:pt x="285042" y="192527"/>
                  </a:cubicBezTo>
                  <a:cubicBezTo>
                    <a:pt x="284752" y="193083"/>
                    <a:pt x="284389" y="193591"/>
                    <a:pt x="283906" y="194050"/>
                  </a:cubicBezTo>
                  <a:lnTo>
                    <a:pt x="268841" y="209115"/>
                  </a:lnTo>
                  <a:lnTo>
                    <a:pt x="268841" y="231240"/>
                  </a:lnTo>
                  <a:cubicBezTo>
                    <a:pt x="268841" y="232908"/>
                    <a:pt x="268188" y="234553"/>
                    <a:pt x="266979" y="235738"/>
                  </a:cubicBezTo>
                  <a:lnTo>
                    <a:pt x="257670" y="245047"/>
                  </a:lnTo>
                  <a:lnTo>
                    <a:pt x="261974" y="249327"/>
                  </a:lnTo>
                  <a:lnTo>
                    <a:pt x="363533" y="147792"/>
                  </a:lnTo>
                  <a:lnTo>
                    <a:pt x="363533" y="0"/>
                  </a:lnTo>
                  <a:lnTo>
                    <a:pt x="319209" y="0"/>
                  </a:lnTo>
                  <a:lnTo>
                    <a:pt x="302452" y="1675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5" name="Forma Livre: Forma 54">
              <a:extLst>
                <a:ext uri="{FF2B5EF4-FFF2-40B4-BE49-F238E27FC236}">
                  <a16:creationId xmlns:a16="http://schemas.microsoft.com/office/drawing/2014/main" id="{F72CEBA3-9AFB-01F8-ED32-3DFC1959B106}"/>
                </a:ext>
              </a:extLst>
            </p:cNvPr>
            <p:cNvSpPr/>
            <p:nvPr/>
          </p:nvSpPr>
          <p:spPr>
            <a:xfrm>
              <a:off x="4506829" y="2782844"/>
              <a:ext cx="465744" cy="305910"/>
            </a:xfrm>
            <a:custGeom>
              <a:avLst/>
              <a:gdLst>
                <a:gd name="connsiteX0" fmla="*/ 422800 w 465744"/>
                <a:gd name="connsiteY0" fmla="*/ 169217 h 305910"/>
                <a:gd name="connsiteX1" fmla="*/ 377195 w 465744"/>
                <a:gd name="connsiteY1" fmla="*/ 169217 h 305910"/>
                <a:gd name="connsiteX2" fmla="*/ 370835 w 465744"/>
                <a:gd name="connsiteY2" fmla="*/ 162833 h 305910"/>
                <a:gd name="connsiteX3" fmla="*/ 370835 w 465744"/>
                <a:gd name="connsiteY3" fmla="*/ 135557 h 305910"/>
                <a:gd name="connsiteX4" fmla="*/ 346993 w 465744"/>
                <a:gd name="connsiteY4" fmla="*/ 111715 h 305910"/>
                <a:gd name="connsiteX5" fmla="*/ 345155 w 465744"/>
                <a:gd name="connsiteY5" fmla="*/ 107217 h 305910"/>
                <a:gd name="connsiteX6" fmla="*/ 345155 w 465744"/>
                <a:gd name="connsiteY6" fmla="*/ 56148 h 305910"/>
                <a:gd name="connsiteX7" fmla="*/ 323852 w 465744"/>
                <a:gd name="connsiteY7" fmla="*/ 34844 h 305910"/>
                <a:gd name="connsiteX8" fmla="*/ 270751 w 465744"/>
                <a:gd name="connsiteY8" fmla="*/ 34844 h 305910"/>
                <a:gd name="connsiteX9" fmla="*/ 266230 w 465744"/>
                <a:gd name="connsiteY9" fmla="*/ 32958 h 305910"/>
                <a:gd name="connsiteX10" fmla="*/ 233271 w 465744"/>
                <a:gd name="connsiteY10" fmla="*/ 0 h 305910"/>
                <a:gd name="connsiteX11" fmla="*/ 95369 w 465744"/>
                <a:gd name="connsiteY11" fmla="*/ 0 h 305910"/>
                <a:gd name="connsiteX12" fmla="*/ 62144 w 465744"/>
                <a:gd name="connsiteY12" fmla="*/ 33248 h 305910"/>
                <a:gd name="connsiteX13" fmla="*/ 62144 w 465744"/>
                <a:gd name="connsiteY13" fmla="*/ 56728 h 305910"/>
                <a:gd name="connsiteX14" fmla="*/ 55785 w 465744"/>
                <a:gd name="connsiteY14" fmla="*/ 63112 h 305910"/>
                <a:gd name="connsiteX15" fmla="*/ 28848 w 465744"/>
                <a:gd name="connsiteY15" fmla="*/ 63112 h 305910"/>
                <a:gd name="connsiteX16" fmla="*/ 28848 w 465744"/>
                <a:gd name="connsiteY16" fmla="*/ 99407 h 305910"/>
                <a:gd name="connsiteX17" fmla="*/ 26986 w 465744"/>
                <a:gd name="connsiteY17" fmla="*/ 103904 h 305910"/>
                <a:gd name="connsiteX18" fmla="*/ 18426 w 465744"/>
                <a:gd name="connsiteY18" fmla="*/ 112464 h 305910"/>
                <a:gd name="connsiteX19" fmla="*/ 21255 w 465744"/>
                <a:gd name="connsiteY19" fmla="*/ 115294 h 305910"/>
                <a:gd name="connsiteX20" fmla="*/ 23117 w 465744"/>
                <a:gd name="connsiteY20" fmla="*/ 119791 h 305910"/>
                <a:gd name="connsiteX21" fmla="*/ 23117 w 465744"/>
                <a:gd name="connsiteY21" fmla="*/ 193905 h 305910"/>
                <a:gd name="connsiteX22" fmla="*/ 21255 w 465744"/>
                <a:gd name="connsiteY22" fmla="*/ 198427 h 305910"/>
                <a:gd name="connsiteX23" fmla="*/ 0 w 465744"/>
                <a:gd name="connsiteY23" fmla="*/ 219657 h 305910"/>
                <a:gd name="connsiteX24" fmla="*/ 35328 w 465744"/>
                <a:gd name="connsiteY24" fmla="*/ 219657 h 305910"/>
                <a:gd name="connsiteX25" fmla="*/ 39874 w 465744"/>
                <a:gd name="connsiteY25" fmla="*/ 221519 h 305910"/>
                <a:gd name="connsiteX26" fmla="*/ 54818 w 465744"/>
                <a:gd name="connsiteY26" fmla="*/ 236511 h 305910"/>
                <a:gd name="connsiteX27" fmla="*/ 56680 w 465744"/>
                <a:gd name="connsiteY27" fmla="*/ 241009 h 305910"/>
                <a:gd name="connsiteX28" fmla="*/ 56680 w 465744"/>
                <a:gd name="connsiteY28" fmla="*/ 278731 h 305910"/>
                <a:gd name="connsiteX29" fmla="*/ 185224 w 465744"/>
                <a:gd name="connsiteY29" fmla="*/ 278731 h 305910"/>
                <a:gd name="connsiteX30" fmla="*/ 189746 w 465744"/>
                <a:gd name="connsiteY30" fmla="*/ 280569 h 305910"/>
                <a:gd name="connsiteX31" fmla="*/ 215087 w 465744"/>
                <a:gd name="connsiteY31" fmla="*/ 305910 h 305910"/>
                <a:gd name="connsiteX32" fmla="*/ 219174 w 465744"/>
                <a:gd name="connsiteY32" fmla="*/ 301799 h 305910"/>
                <a:gd name="connsiteX33" fmla="*/ 219174 w 465744"/>
                <a:gd name="connsiteY33" fmla="*/ 285090 h 305910"/>
                <a:gd name="connsiteX34" fmla="*/ 221036 w 465744"/>
                <a:gd name="connsiteY34" fmla="*/ 280569 h 305910"/>
                <a:gd name="connsiteX35" fmla="*/ 237164 w 465744"/>
                <a:gd name="connsiteY35" fmla="*/ 264440 h 305910"/>
                <a:gd name="connsiteX36" fmla="*/ 241686 w 465744"/>
                <a:gd name="connsiteY36" fmla="*/ 262578 h 305910"/>
                <a:gd name="connsiteX37" fmla="*/ 268116 w 465744"/>
                <a:gd name="connsiteY37" fmla="*/ 262578 h 305910"/>
                <a:gd name="connsiteX38" fmla="*/ 274765 w 465744"/>
                <a:gd name="connsiteY38" fmla="*/ 255929 h 305910"/>
                <a:gd name="connsiteX39" fmla="*/ 279287 w 465744"/>
                <a:gd name="connsiteY39" fmla="*/ 254043 h 305910"/>
                <a:gd name="connsiteX40" fmla="*/ 336136 w 465744"/>
                <a:gd name="connsiteY40" fmla="*/ 254043 h 305910"/>
                <a:gd name="connsiteX41" fmla="*/ 340634 w 465744"/>
                <a:gd name="connsiteY41" fmla="*/ 255929 h 305910"/>
                <a:gd name="connsiteX42" fmla="*/ 354634 w 465744"/>
                <a:gd name="connsiteY42" fmla="*/ 269929 h 305910"/>
                <a:gd name="connsiteX43" fmla="*/ 368804 w 465744"/>
                <a:gd name="connsiteY43" fmla="*/ 255759 h 305910"/>
                <a:gd name="connsiteX44" fmla="*/ 373302 w 465744"/>
                <a:gd name="connsiteY44" fmla="*/ 253897 h 305910"/>
                <a:gd name="connsiteX45" fmla="*/ 423984 w 465744"/>
                <a:gd name="connsiteY45" fmla="*/ 253897 h 305910"/>
                <a:gd name="connsiteX46" fmla="*/ 465745 w 465744"/>
                <a:gd name="connsiteY46" fmla="*/ 212137 h 305910"/>
                <a:gd name="connsiteX47" fmla="*/ 444320 w 465744"/>
                <a:gd name="connsiteY47" fmla="*/ 190665 h 305910"/>
                <a:gd name="connsiteX48" fmla="*/ 422800 w 465744"/>
                <a:gd name="connsiteY48" fmla="*/ 169217 h 30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65744" h="305910">
                  <a:moveTo>
                    <a:pt x="422800" y="169217"/>
                  </a:moveTo>
                  <a:lnTo>
                    <a:pt x="377195" y="169217"/>
                  </a:lnTo>
                  <a:cubicBezTo>
                    <a:pt x="373664" y="169217"/>
                    <a:pt x="370835" y="166363"/>
                    <a:pt x="370835" y="162833"/>
                  </a:cubicBezTo>
                  <a:lnTo>
                    <a:pt x="370835" y="135557"/>
                  </a:lnTo>
                  <a:lnTo>
                    <a:pt x="346993" y="111715"/>
                  </a:lnTo>
                  <a:cubicBezTo>
                    <a:pt x="345808" y="110506"/>
                    <a:pt x="345155" y="108910"/>
                    <a:pt x="345155" y="107217"/>
                  </a:cubicBezTo>
                  <a:lnTo>
                    <a:pt x="345155" y="56148"/>
                  </a:lnTo>
                  <a:lnTo>
                    <a:pt x="323852" y="34844"/>
                  </a:lnTo>
                  <a:lnTo>
                    <a:pt x="270751" y="34844"/>
                  </a:lnTo>
                  <a:cubicBezTo>
                    <a:pt x="269035" y="34844"/>
                    <a:pt x="267414" y="34167"/>
                    <a:pt x="266230" y="32958"/>
                  </a:cubicBezTo>
                  <a:lnTo>
                    <a:pt x="233271" y="0"/>
                  </a:lnTo>
                  <a:lnTo>
                    <a:pt x="95369" y="0"/>
                  </a:lnTo>
                  <a:lnTo>
                    <a:pt x="62144" y="33248"/>
                  </a:lnTo>
                  <a:lnTo>
                    <a:pt x="62144" y="56728"/>
                  </a:lnTo>
                  <a:cubicBezTo>
                    <a:pt x="62144" y="60258"/>
                    <a:pt x="59291" y="63112"/>
                    <a:pt x="55785" y="63112"/>
                  </a:cubicBezTo>
                  <a:lnTo>
                    <a:pt x="28848" y="63112"/>
                  </a:lnTo>
                  <a:lnTo>
                    <a:pt x="28848" y="99407"/>
                  </a:lnTo>
                  <a:cubicBezTo>
                    <a:pt x="28848" y="101075"/>
                    <a:pt x="28171" y="102720"/>
                    <a:pt x="26986" y="103904"/>
                  </a:cubicBezTo>
                  <a:lnTo>
                    <a:pt x="18426" y="112464"/>
                  </a:lnTo>
                  <a:lnTo>
                    <a:pt x="21255" y="115294"/>
                  </a:lnTo>
                  <a:cubicBezTo>
                    <a:pt x="22464" y="116503"/>
                    <a:pt x="23117" y="118099"/>
                    <a:pt x="23117" y="119791"/>
                  </a:cubicBezTo>
                  <a:lnTo>
                    <a:pt x="23117" y="193905"/>
                  </a:lnTo>
                  <a:cubicBezTo>
                    <a:pt x="23117" y="195598"/>
                    <a:pt x="22464" y="197242"/>
                    <a:pt x="21255" y="198427"/>
                  </a:cubicBezTo>
                  <a:lnTo>
                    <a:pt x="0" y="219657"/>
                  </a:lnTo>
                  <a:lnTo>
                    <a:pt x="35328" y="219657"/>
                  </a:lnTo>
                  <a:cubicBezTo>
                    <a:pt x="37021" y="219657"/>
                    <a:pt x="38665" y="220310"/>
                    <a:pt x="39874" y="221519"/>
                  </a:cubicBezTo>
                  <a:lnTo>
                    <a:pt x="54818" y="236511"/>
                  </a:lnTo>
                  <a:cubicBezTo>
                    <a:pt x="56027" y="237696"/>
                    <a:pt x="56680" y="239316"/>
                    <a:pt x="56680" y="241009"/>
                  </a:cubicBezTo>
                  <a:lnTo>
                    <a:pt x="56680" y="278731"/>
                  </a:lnTo>
                  <a:lnTo>
                    <a:pt x="185224" y="278731"/>
                  </a:lnTo>
                  <a:cubicBezTo>
                    <a:pt x="186917" y="278731"/>
                    <a:pt x="188561" y="279384"/>
                    <a:pt x="189746" y="280569"/>
                  </a:cubicBezTo>
                  <a:lnTo>
                    <a:pt x="215087" y="305910"/>
                  </a:lnTo>
                  <a:lnTo>
                    <a:pt x="219174" y="301799"/>
                  </a:lnTo>
                  <a:lnTo>
                    <a:pt x="219174" y="285090"/>
                  </a:lnTo>
                  <a:cubicBezTo>
                    <a:pt x="219174" y="283398"/>
                    <a:pt x="219827" y="281778"/>
                    <a:pt x="221036" y="280569"/>
                  </a:cubicBezTo>
                  <a:lnTo>
                    <a:pt x="237164" y="264440"/>
                  </a:lnTo>
                  <a:cubicBezTo>
                    <a:pt x="238373" y="263231"/>
                    <a:pt x="239969" y="262578"/>
                    <a:pt x="241686" y="262578"/>
                  </a:cubicBezTo>
                  <a:lnTo>
                    <a:pt x="268116" y="262578"/>
                  </a:lnTo>
                  <a:lnTo>
                    <a:pt x="274765" y="255929"/>
                  </a:lnTo>
                  <a:cubicBezTo>
                    <a:pt x="275974" y="254720"/>
                    <a:pt x="277570" y="254043"/>
                    <a:pt x="279287" y="254043"/>
                  </a:cubicBezTo>
                  <a:lnTo>
                    <a:pt x="336136" y="254043"/>
                  </a:lnTo>
                  <a:cubicBezTo>
                    <a:pt x="337804" y="254043"/>
                    <a:pt x="339449" y="254720"/>
                    <a:pt x="340634" y="255929"/>
                  </a:cubicBezTo>
                  <a:lnTo>
                    <a:pt x="354634" y="269929"/>
                  </a:lnTo>
                  <a:lnTo>
                    <a:pt x="368804" y="255759"/>
                  </a:lnTo>
                  <a:cubicBezTo>
                    <a:pt x="370013" y="254550"/>
                    <a:pt x="371609" y="253897"/>
                    <a:pt x="373302" y="253897"/>
                  </a:cubicBezTo>
                  <a:lnTo>
                    <a:pt x="423984" y="253897"/>
                  </a:lnTo>
                  <a:lnTo>
                    <a:pt x="465745" y="212137"/>
                  </a:lnTo>
                  <a:lnTo>
                    <a:pt x="444320" y="190665"/>
                  </a:lnTo>
                  <a:lnTo>
                    <a:pt x="422800" y="169217"/>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orma Livre: Forma 55">
              <a:extLst>
                <a:ext uri="{FF2B5EF4-FFF2-40B4-BE49-F238E27FC236}">
                  <a16:creationId xmlns:a16="http://schemas.microsoft.com/office/drawing/2014/main" id="{F4B23289-11F0-AEE9-5D34-3B093CB8A4B3}"/>
                </a:ext>
              </a:extLst>
            </p:cNvPr>
            <p:cNvSpPr/>
            <p:nvPr/>
          </p:nvSpPr>
          <p:spPr>
            <a:xfrm>
              <a:off x="4614917" y="2576970"/>
              <a:ext cx="647196" cy="408944"/>
            </a:xfrm>
            <a:custGeom>
              <a:avLst/>
              <a:gdLst>
                <a:gd name="connsiteX0" fmla="*/ 633293 w 647196"/>
                <a:gd name="connsiteY0" fmla="*/ 214991 h 408944"/>
                <a:gd name="connsiteX1" fmla="*/ 624297 w 647196"/>
                <a:gd name="connsiteY1" fmla="*/ 214991 h 408944"/>
                <a:gd name="connsiteX2" fmla="*/ 603744 w 647196"/>
                <a:gd name="connsiteY2" fmla="*/ 194461 h 408944"/>
                <a:gd name="connsiteX3" fmla="*/ 589284 w 647196"/>
                <a:gd name="connsiteY3" fmla="*/ 208921 h 408944"/>
                <a:gd name="connsiteX4" fmla="*/ 584762 w 647196"/>
                <a:gd name="connsiteY4" fmla="*/ 210783 h 408944"/>
                <a:gd name="connsiteX5" fmla="*/ 542252 w 647196"/>
                <a:gd name="connsiteY5" fmla="*/ 210783 h 408944"/>
                <a:gd name="connsiteX6" fmla="*/ 524020 w 647196"/>
                <a:gd name="connsiteY6" fmla="*/ 228967 h 408944"/>
                <a:gd name="connsiteX7" fmla="*/ 519522 w 647196"/>
                <a:gd name="connsiteY7" fmla="*/ 230829 h 408944"/>
                <a:gd name="connsiteX8" fmla="*/ 480519 w 647196"/>
                <a:gd name="connsiteY8" fmla="*/ 230829 h 408944"/>
                <a:gd name="connsiteX9" fmla="*/ 474304 w 647196"/>
                <a:gd name="connsiteY9" fmla="*/ 225751 h 408944"/>
                <a:gd name="connsiteX10" fmla="*/ 474159 w 647196"/>
                <a:gd name="connsiteY10" fmla="*/ 224469 h 408944"/>
                <a:gd name="connsiteX11" fmla="*/ 474159 w 647196"/>
                <a:gd name="connsiteY11" fmla="*/ 203384 h 408944"/>
                <a:gd name="connsiteX12" fmla="*/ 448262 w 647196"/>
                <a:gd name="connsiteY12" fmla="*/ 177511 h 408944"/>
                <a:gd name="connsiteX13" fmla="*/ 446400 w 647196"/>
                <a:gd name="connsiteY13" fmla="*/ 172965 h 408944"/>
                <a:gd name="connsiteX14" fmla="*/ 446400 w 647196"/>
                <a:gd name="connsiteY14" fmla="*/ 135025 h 408944"/>
                <a:gd name="connsiteX15" fmla="*/ 448262 w 647196"/>
                <a:gd name="connsiteY15" fmla="*/ 130527 h 408944"/>
                <a:gd name="connsiteX16" fmla="*/ 458805 w 647196"/>
                <a:gd name="connsiteY16" fmla="*/ 119985 h 408944"/>
                <a:gd name="connsiteX17" fmla="*/ 417480 w 647196"/>
                <a:gd name="connsiteY17" fmla="*/ 119985 h 408944"/>
                <a:gd name="connsiteX18" fmla="*/ 411120 w 647196"/>
                <a:gd name="connsiteY18" fmla="*/ 113625 h 408944"/>
                <a:gd name="connsiteX19" fmla="*/ 411120 w 647196"/>
                <a:gd name="connsiteY19" fmla="*/ 64708 h 408944"/>
                <a:gd name="connsiteX20" fmla="*/ 412982 w 647196"/>
                <a:gd name="connsiteY20" fmla="*/ 60210 h 408944"/>
                <a:gd name="connsiteX21" fmla="*/ 420865 w 647196"/>
                <a:gd name="connsiteY21" fmla="*/ 52351 h 408944"/>
                <a:gd name="connsiteX22" fmla="*/ 415642 w 647196"/>
                <a:gd name="connsiteY22" fmla="*/ 47128 h 408944"/>
                <a:gd name="connsiteX23" fmla="*/ 413804 w 647196"/>
                <a:gd name="connsiteY23" fmla="*/ 42631 h 408944"/>
                <a:gd name="connsiteX24" fmla="*/ 413804 w 647196"/>
                <a:gd name="connsiteY24" fmla="*/ 21424 h 408944"/>
                <a:gd name="connsiteX25" fmla="*/ 397482 w 647196"/>
                <a:gd name="connsiteY25" fmla="*/ 5102 h 408944"/>
                <a:gd name="connsiteX26" fmla="*/ 374341 w 647196"/>
                <a:gd name="connsiteY26" fmla="*/ 5102 h 408944"/>
                <a:gd name="connsiteX27" fmla="*/ 366048 w 647196"/>
                <a:gd name="connsiteY27" fmla="*/ 13396 h 408944"/>
                <a:gd name="connsiteX28" fmla="*/ 361550 w 647196"/>
                <a:gd name="connsiteY28" fmla="*/ 15234 h 408944"/>
                <a:gd name="connsiteX29" fmla="*/ 300494 w 647196"/>
                <a:gd name="connsiteY29" fmla="*/ 15234 h 408944"/>
                <a:gd name="connsiteX30" fmla="*/ 285840 w 647196"/>
                <a:gd name="connsiteY30" fmla="*/ 29912 h 408944"/>
                <a:gd name="connsiteX31" fmla="*/ 281318 w 647196"/>
                <a:gd name="connsiteY31" fmla="*/ 31798 h 408944"/>
                <a:gd name="connsiteX32" fmla="*/ 277788 w 647196"/>
                <a:gd name="connsiteY32" fmla="*/ 30734 h 408944"/>
                <a:gd name="connsiteX33" fmla="*/ 276796 w 647196"/>
                <a:gd name="connsiteY33" fmla="*/ 29912 h 408944"/>
                <a:gd name="connsiteX34" fmla="*/ 246885 w 647196"/>
                <a:gd name="connsiteY34" fmla="*/ 0 h 408944"/>
                <a:gd name="connsiteX35" fmla="*/ 159568 w 647196"/>
                <a:gd name="connsiteY35" fmla="*/ 0 h 408944"/>
                <a:gd name="connsiteX36" fmla="*/ 145399 w 647196"/>
                <a:gd name="connsiteY36" fmla="*/ 14146 h 408944"/>
                <a:gd name="connsiteX37" fmla="*/ 145399 w 647196"/>
                <a:gd name="connsiteY37" fmla="*/ 29234 h 408944"/>
                <a:gd name="connsiteX38" fmla="*/ 139039 w 647196"/>
                <a:gd name="connsiteY38" fmla="*/ 35594 h 408944"/>
                <a:gd name="connsiteX39" fmla="*/ 124676 w 647196"/>
                <a:gd name="connsiteY39" fmla="*/ 35594 h 408944"/>
                <a:gd name="connsiteX40" fmla="*/ 101631 w 647196"/>
                <a:gd name="connsiteY40" fmla="*/ 58662 h 408944"/>
                <a:gd name="connsiteX41" fmla="*/ 101631 w 647196"/>
                <a:gd name="connsiteY41" fmla="*/ 108257 h 408944"/>
                <a:gd name="connsiteX42" fmla="*/ 99770 w 647196"/>
                <a:gd name="connsiteY42" fmla="*/ 112755 h 408944"/>
                <a:gd name="connsiteX43" fmla="*/ 44928 w 647196"/>
                <a:gd name="connsiteY43" fmla="*/ 167596 h 408944"/>
                <a:gd name="connsiteX44" fmla="*/ 40430 w 647196"/>
                <a:gd name="connsiteY44" fmla="*/ 169458 h 408944"/>
                <a:gd name="connsiteX45" fmla="*/ 23649 w 647196"/>
                <a:gd name="connsiteY45" fmla="*/ 169458 h 408944"/>
                <a:gd name="connsiteX46" fmla="*/ 0 w 647196"/>
                <a:gd name="connsiteY46" fmla="*/ 193131 h 408944"/>
                <a:gd name="connsiteX47" fmla="*/ 127795 w 647196"/>
                <a:gd name="connsiteY47" fmla="*/ 193131 h 408944"/>
                <a:gd name="connsiteX48" fmla="*/ 132293 w 647196"/>
                <a:gd name="connsiteY48" fmla="*/ 194993 h 408944"/>
                <a:gd name="connsiteX49" fmla="*/ 165275 w 647196"/>
                <a:gd name="connsiteY49" fmla="*/ 227976 h 408944"/>
                <a:gd name="connsiteX50" fmla="*/ 218376 w 647196"/>
                <a:gd name="connsiteY50" fmla="*/ 227976 h 408944"/>
                <a:gd name="connsiteX51" fmla="*/ 222898 w 647196"/>
                <a:gd name="connsiteY51" fmla="*/ 229837 h 408944"/>
                <a:gd name="connsiteX52" fmla="*/ 247901 w 647196"/>
                <a:gd name="connsiteY52" fmla="*/ 254840 h 408944"/>
                <a:gd name="connsiteX53" fmla="*/ 249787 w 647196"/>
                <a:gd name="connsiteY53" fmla="*/ 259338 h 408944"/>
                <a:gd name="connsiteX54" fmla="*/ 249787 w 647196"/>
                <a:gd name="connsiteY54" fmla="*/ 310432 h 408944"/>
                <a:gd name="connsiteX55" fmla="*/ 273580 w 647196"/>
                <a:gd name="connsiteY55" fmla="*/ 334250 h 408944"/>
                <a:gd name="connsiteX56" fmla="*/ 275442 w 647196"/>
                <a:gd name="connsiteY56" fmla="*/ 338748 h 408944"/>
                <a:gd name="connsiteX57" fmla="*/ 275442 w 647196"/>
                <a:gd name="connsiteY57" fmla="*/ 362348 h 408944"/>
                <a:gd name="connsiteX58" fmla="*/ 317323 w 647196"/>
                <a:gd name="connsiteY58" fmla="*/ 362348 h 408944"/>
                <a:gd name="connsiteX59" fmla="*/ 321845 w 647196"/>
                <a:gd name="connsiteY59" fmla="*/ 364185 h 408944"/>
                <a:gd name="connsiteX60" fmla="*/ 366604 w 647196"/>
                <a:gd name="connsiteY60" fmla="*/ 408944 h 408944"/>
                <a:gd name="connsiteX61" fmla="*/ 493045 w 647196"/>
                <a:gd name="connsiteY61" fmla="*/ 282503 h 408944"/>
                <a:gd name="connsiteX62" fmla="*/ 497542 w 647196"/>
                <a:gd name="connsiteY62" fmla="*/ 280641 h 408944"/>
                <a:gd name="connsiteX63" fmla="*/ 538867 w 647196"/>
                <a:gd name="connsiteY63" fmla="*/ 280641 h 408944"/>
                <a:gd name="connsiteX64" fmla="*/ 543365 w 647196"/>
                <a:gd name="connsiteY64" fmla="*/ 282503 h 408944"/>
                <a:gd name="connsiteX65" fmla="*/ 550039 w 647196"/>
                <a:gd name="connsiteY65" fmla="*/ 289177 h 408944"/>
                <a:gd name="connsiteX66" fmla="*/ 550039 w 647196"/>
                <a:gd name="connsiteY66" fmla="*/ 281391 h 408944"/>
                <a:gd name="connsiteX67" fmla="*/ 551900 w 647196"/>
                <a:gd name="connsiteY67" fmla="*/ 276893 h 408944"/>
                <a:gd name="connsiteX68" fmla="*/ 597723 w 647196"/>
                <a:gd name="connsiteY68" fmla="*/ 231071 h 408944"/>
                <a:gd name="connsiteX69" fmla="*/ 602220 w 647196"/>
                <a:gd name="connsiteY69" fmla="*/ 229209 h 408944"/>
                <a:gd name="connsiteX70" fmla="*/ 630778 w 647196"/>
                <a:gd name="connsiteY70" fmla="*/ 229209 h 408944"/>
                <a:gd name="connsiteX71" fmla="*/ 647197 w 647196"/>
                <a:gd name="connsiteY71" fmla="*/ 212814 h 408944"/>
                <a:gd name="connsiteX72" fmla="*/ 641321 w 647196"/>
                <a:gd name="connsiteY72" fmla="*/ 206938 h 408944"/>
                <a:gd name="connsiteX73" fmla="*/ 633293 w 647196"/>
                <a:gd name="connsiteY73" fmla="*/ 214991 h 408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47196" h="408944">
                  <a:moveTo>
                    <a:pt x="633293" y="214991"/>
                  </a:moveTo>
                  <a:cubicBezTo>
                    <a:pt x="630802" y="217481"/>
                    <a:pt x="626764" y="217481"/>
                    <a:pt x="624297" y="214991"/>
                  </a:cubicBezTo>
                  <a:lnTo>
                    <a:pt x="603744" y="194461"/>
                  </a:lnTo>
                  <a:lnTo>
                    <a:pt x="589284" y="208921"/>
                  </a:lnTo>
                  <a:cubicBezTo>
                    <a:pt x="588099" y="210106"/>
                    <a:pt x="586479" y="210783"/>
                    <a:pt x="584762" y="210783"/>
                  </a:cubicBezTo>
                  <a:lnTo>
                    <a:pt x="542252" y="210783"/>
                  </a:lnTo>
                  <a:lnTo>
                    <a:pt x="524020" y="228967"/>
                  </a:lnTo>
                  <a:cubicBezTo>
                    <a:pt x="522835" y="230176"/>
                    <a:pt x="521215" y="230829"/>
                    <a:pt x="519522" y="230829"/>
                  </a:cubicBezTo>
                  <a:lnTo>
                    <a:pt x="480519" y="230829"/>
                  </a:lnTo>
                  <a:cubicBezTo>
                    <a:pt x="477448" y="230829"/>
                    <a:pt x="474885" y="228653"/>
                    <a:pt x="474304" y="225751"/>
                  </a:cubicBezTo>
                  <a:cubicBezTo>
                    <a:pt x="474208" y="225340"/>
                    <a:pt x="474159" y="224929"/>
                    <a:pt x="474159" y="224469"/>
                  </a:cubicBezTo>
                  <a:lnTo>
                    <a:pt x="474159" y="203384"/>
                  </a:lnTo>
                  <a:lnTo>
                    <a:pt x="448262" y="177511"/>
                  </a:lnTo>
                  <a:cubicBezTo>
                    <a:pt x="447077" y="176302"/>
                    <a:pt x="446400" y="174681"/>
                    <a:pt x="446400" y="172965"/>
                  </a:cubicBezTo>
                  <a:lnTo>
                    <a:pt x="446400" y="135025"/>
                  </a:lnTo>
                  <a:cubicBezTo>
                    <a:pt x="446400" y="133357"/>
                    <a:pt x="447077" y="131712"/>
                    <a:pt x="448262" y="130527"/>
                  </a:cubicBezTo>
                  <a:lnTo>
                    <a:pt x="458805" y="119985"/>
                  </a:lnTo>
                  <a:lnTo>
                    <a:pt x="417480" y="119985"/>
                  </a:lnTo>
                  <a:cubicBezTo>
                    <a:pt x="413974" y="119985"/>
                    <a:pt x="411120" y="117156"/>
                    <a:pt x="411120" y="113625"/>
                  </a:cubicBezTo>
                  <a:lnTo>
                    <a:pt x="411120" y="64708"/>
                  </a:lnTo>
                  <a:cubicBezTo>
                    <a:pt x="411120" y="63039"/>
                    <a:pt x="411773" y="61395"/>
                    <a:pt x="412982" y="60210"/>
                  </a:cubicBezTo>
                  <a:lnTo>
                    <a:pt x="420865" y="52351"/>
                  </a:lnTo>
                  <a:lnTo>
                    <a:pt x="415642" y="47128"/>
                  </a:lnTo>
                  <a:cubicBezTo>
                    <a:pt x="414457" y="45943"/>
                    <a:pt x="413804" y="44323"/>
                    <a:pt x="413804" y="42631"/>
                  </a:cubicBezTo>
                  <a:lnTo>
                    <a:pt x="413804" y="21424"/>
                  </a:lnTo>
                  <a:lnTo>
                    <a:pt x="397482" y="5102"/>
                  </a:lnTo>
                  <a:lnTo>
                    <a:pt x="374341" y="5102"/>
                  </a:lnTo>
                  <a:lnTo>
                    <a:pt x="366048" y="13396"/>
                  </a:lnTo>
                  <a:cubicBezTo>
                    <a:pt x="364863" y="14581"/>
                    <a:pt x="363242" y="15234"/>
                    <a:pt x="361550" y="15234"/>
                  </a:cubicBezTo>
                  <a:lnTo>
                    <a:pt x="300494" y="15234"/>
                  </a:lnTo>
                  <a:lnTo>
                    <a:pt x="285840" y="29912"/>
                  </a:lnTo>
                  <a:cubicBezTo>
                    <a:pt x="284583" y="31169"/>
                    <a:pt x="282963" y="31798"/>
                    <a:pt x="281318" y="31798"/>
                  </a:cubicBezTo>
                  <a:cubicBezTo>
                    <a:pt x="280085" y="31798"/>
                    <a:pt x="278852" y="31435"/>
                    <a:pt x="277788" y="30734"/>
                  </a:cubicBezTo>
                  <a:cubicBezTo>
                    <a:pt x="277425" y="30492"/>
                    <a:pt x="277111" y="30226"/>
                    <a:pt x="276796" y="29912"/>
                  </a:cubicBezTo>
                  <a:lnTo>
                    <a:pt x="246885" y="0"/>
                  </a:lnTo>
                  <a:lnTo>
                    <a:pt x="159568" y="0"/>
                  </a:lnTo>
                  <a:lnTo>
                    <a:pt x="145399" y="14146"/>
                  </a:lnTo>
                  <a:lnTo>
                    <a:pt x="145399" y="29234"/>
                  </a:lnTo>
                  <a:cubicBezTo>
                    <a:pt x="145399" y="32765"/>
                    <a:pt x="142545" y="35594"/>
                    <a:pt x="139039" y="35594"/>
                  </a:cubicBezTo>
                  <a:lnTo>
                    <a:pt x="124676" y="35594"/>
                  </a:lnTo>
                  <a:lnTo>
                    <a:pt x="101631" y="58662"/>
                  </a:lnTo>
                  <a:lnTo>
                    <a:pt x="101631" y="108257"/>
                  </a:lnTo>
                  <a:cubicBezTo>
                    <a:pt x="101631" y="109925"/>
                    <a:pt x="100979" y="111570"/>
                    <a:pt x="99770" y="112755"/>
                  </a:cubicBezTo>
                  <a:lnTo>
                    <a:pt x="44928" y="167596"/>
                  </a:lnTo>
                  <a:cubicBezTo>
                    <a:pt x="43719" y="168806"/>
                    <a:pt x="42123" y="169458"/>
                    <a:pt x="40430" y="169458"/>
                  </a:cubicBezTo>
                  <a:lnTo>
                    <a:pt x="23649" y="169458"/>
                  </a:lnTo>
                  <a:lnTo>
                    <a:pt x="0" y="193131"/>
                  </a:lnTo>
                  <a:lnTo>
                    <a:pt x="127795" y="193131"/>
                  </a:lnTo>
                  <a:cubicBezTo>
                    <a:pt x="129463" y="193131"/>
                    <a:pt x="131108" y="193784"/>
                    <a:pt x="132293" y="194993"/>
                  </a:cubicBezTo>
                  <a:lnTo>
                    <a:pt x="165275" y="227976"/>
                  </a:lnTo>
                  <a:lnTo>
                    <a:pt x="218376" y="227976"/>
                  </a:lnTo>
                  <a:cubicBezTo>
                    <a:pt x="220069" y="227976"/>
                    <a:pt x="221689" y="228629"/>
                    <a:pt x="222898" y="229837"/>
                  </a:cubicBezTo>
                  <a:lnTo>
                    <a:pt x="247901" y="254840"/>
                  </a:lnTo>
                  <a:cubicBezTo>
                    <a:pt x="249110" y="256049"/>
                    <a:pt x="249787" y="257645"/>
                    <a:pt x="249787" y="259338"/>
                  </a:cubicBezTo>
                  <a:lnTo>
                    <a:pt x="249787" y="310432"/>
                  </a:lnTo>
                  <a:lnTo>
                    <a:pt x="273580" y="334250"/>
                  </a:lnTo>
                  <a:cubicBezTo>
                    <a:pt x="274789" y="335459"/>
                    <a:pt x="275442" y="337055"/>
                    <a:pt x="275442" y="338748"/>
                  </a:cubicBezTo>
                  <a:lnTo>
                    <a:pt x="275442" y="362348"/>
                  </a:lnTo>
                  <a:lnTo>
                    <a:pt x="317323" y="362348"/>
                  </a:lnTo>
                  <a:cubicBezTo>
                    <a:pt x="319016" y="362348"/>
                    <a:pt x="320660" y="363001"/>
                    <a:pt x="321845" y="364185"/>
                  </a:cubicBezTo>
                  <a:lnTo>
                    <a:pt x="366604" y="408944"/>
                  </a:lnTo>
                  <a:lnTo>
                    <a:pt x="493045" y="282503"/>
                  </a:lnTo>
                  <a:cubicBezTo>
                    <a:pt x="494254" y="281294"/>
                    <a:pt x="495849" y="280641"/>
                    <a:pt x="497542" y="280641"/>
                  </a:cubicBezTo>
                  <a:lnTo>
                    <a:pt x="538867" y="280641"/>
                  </a:lnTo>
                  <a:cubicBezTo>
                    <a:pt x="540535" y="280641"/>
                    <a:pt x="542156" y="281294"/>
                    <a:pt x="543365" y="282503"/>
                  </a:cubicBezTo>
                  <a:lnTo>
                    <a:pt x="550039" y="289177"/>
                  </a:lnTo>
                  <a:lnTo>
                    <a:pt x="550039" y="281391"/>
                  </a:lnTo>
                  <a:cubicBezTo>
                    <a:pt x="550039" y="279722"/>
                    <a:pt x="550691" y="278078"/>
                    <a:pt x="551900" y="276893"/>
                  </a:cubicBezTo>
                  <a:lnTo>
                    <a:pt x="597723" y="231071"/>
                  </a:lnTo>
                  <a:cubicBezTo>
                    <a:pt x="598908" y="229886"/>
                    <a:pt x="600528" y="229209"/>
                    <a:pt x="602220" y="229209"/>
                  </a:cubicBezTo>
                  <a:lnTo>
                    <a:pt x="630778" y="229209"/>
                  </a:lnTo>
                  <a:lnTo>
                    <a:pt x="647197" y="212814"/>
                  </a:lnTo>
                  <a:lnTo>
                    <a:pt x="641321" y="206938"/>
                  </a:lnTo>
                  <a:lnTo>
                    <a:pt x="633293" y="21499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orma Livre: Forma 56">
              <a:extLst>
                <a:ext uri="{FF2B5EF4-FFF2-40B4-BE49-F238E27FC236}">
                  <a16:creationId xmlns:a16="http://schemas.microsoft.com/office/drawing/2014/main" id="{5C43CF64-CF77-AA3E-BA4D-183055DD575F}"/>
                </a:ext>
              </a:extLst>
            </p:cNvPr>
            <p:cNvSpPr/>
            <p:nvPr/>
          </p:nvSpPr>
          <p:spPr>
            <a:xfrm>
              <a:off x="5235636" y="2657661"/>
              <a:ext cx="258757" cy="144794"/>
            </a:xfrm>
            <a:custGeom>
              <a:avLst/>
              <a:gdLst>
                <a:gd name="connsiteX0" fmla="*/ 200337 w 258757"/>
                <a:gd name="connsiteY0" fmla="*/ 18837 h 144794"/>
                <a:gd name="connsiteX1" fmla="*/ 200337 w 258757"/>
                <a:gd name="connsiteY1" fmla="*/ 0 h 144794"/>
                <a:gd name="connsiteX2" fmla="*/ 180557 w 258757"/>
                <a:gd name="connsiteY2" fmla="*/ 19780 h 144794"/>
                <a:gd name="connsiteX3" fmla="*/ 180557 w 258757"/>
                <a:gd name="connsiteY3" fmla="*/ 32257 h 144794"/>
                <a:gd name="connsiteX4" fmla="*/ 178695 w 258757"/>
                <a:gd name="connsiteY4" fmla="*/ 36755 h 144794"/>
                <a:gd name="connsiteX5" fmla="*/ 128593 w 258757"/>
                <a:gd name="connsiteY5" fmla="*/ 86881 h 144794"/>
                <a:gd name="connsiteX6" fmla="*/ 124047 w 258757"/>
                <a:gd name="connsiteY6" fmla="*/ 88743 h 144794"/>
                <a:gd name="connsiteX7" fmla="*/ 77185 w 258757"/>
                <a:gd name="connsiteY7" fmla="*/ 88743 h 144794"/>
                <a:gd name="connsiteX8" fmla="*/ 67658 w 258757"/>
                <a:gd name="connsiteY8" fmla="*/ 98270 h 144794"/>
                <a:gd name="connsiteX9" fmla="*/ 63136 w 258757"/>
                <a:gd name="connsiteY9" fmla="*/ 100132 h 144794"/>
                <a:gd name="connsiteX10" fmla="*/ 12598 w 258757"/>
                <a:gd name="connsiteY10" fmla="*/ 100132 h 144794"/>
                <a:gd name="connsiteX11" fmla="*/ 0 w 258757"/>
                <a:gd name="connsiteY11" fmla="*/ 112755 h 144794"/>
                <a:gd name="connsiteX12" fmla="*/ 8101 w 258757"/>
                <a:gd name="connsiteY12" fmla="*/ 120831 h 144794"/>
                <a:gd name="connsiteX13" fmla="*/ 16080 w 258757"/>
                <a:gd name="connsiteY13" fmla="*/ 112803 h 144794"/>
                <a:gd name="connsiteX14" fmla="*/ 25075 w 258757"/>
                <a:gd name="connsiteY14" fmla="*/ 112803 h 144794"/>
                <a:gd name="connsiteX15" fmla="*/ 39947 w 258757"/>
                <a:gd name="connsiteY15" fmla="*/ 127674 h 144794"/>
                <a:gd name="connsiteX16" fmla="*/ 41784 w 258757"/>
                <a:gd name="connsiteY16" fmla="*/ 132196 h 144794"/>
                <a:gd name="connsiteX17" fmla="*/ 39947 w 258757"/>
                <a:gd name="connsiteY17" fmla="*/ 136694 h 144794"/>
                <a:gd name="connsiteX18" fmla="*/ 39414 w 258757"/>
                <a:gd name="connsiteY18" fmla="*/ 137226 h 144794"/>
                <a:gd name="connsiteX19" fmla="*/ 67754 w 258757"/>
                <a:gd name="connsiteY19" fmla="*/ 137226 h 144794"/>
                <a:gd name="connsiteX20" fmla="*/ 72276 w 258757"/>
                <a:gd name="connsiteY20" fmla="*/ 139063 h 144794"/>
                <a:gd name="connsiteX21" fmla="*/ 77983 w 258757"/>
                <a:gd name="connsiteY21" fmla="*/ 144794 h 144794"/>
                <a:gd name="connsiteX22" fmla="*/ 101656 w 258757"/>
                <a:gd name="connsiteY22" fmla="*/ 121145 h 144794"/>
                <a:gd name="connsiteX23" fmla="*/ 106177 w 258757"/>
                <a:gd name="connsiteY23" fmla="*/ 119284 h 144794"/>
                <a:gd name="connsiteX24" fmla="*/ 118268 w 258757"/>
                <a:gd name="connsiteY24" fmla="*/ 119284 h 144794"/>
                <a:gd name="connsiteX25" fmla="*/ 124627 w 258757"/>
                <a:gd name="connsiteY25" fmla="*/ 125643 h 144794"/>
                <a:gd name="connsiteX26" fmla="*/ 124627 w 258757"/>
                <a:gd name="connsiteY26" fmla="*/ 139716 h 144794"/>
                <a:gd name="connsiteX27" fmla="*/ 186603 w 258757"/>
                <a:gd name="connsiteY27" fmla="*/ 139716 h 144794"/>
                <a:gd name="connsiteX28" fmla="*/ 186603 w 258757"/>
                <a:gd name="connsiteY28" fmla="*/ 119356 h 144794"/>
                <a:gd name="connsiteX29" fmla="*/ 188464 w 258757"/>
                <a:gd name="connsiteY29" fmla="*/ 114858 h 144794"/>
                <a:gd name="connsiteX30" fmla="*/ 216393 w 258757"/>
                <a:gd name="connsiteY30" fmla="*/ 86905 h 144794"/>
                <a:gd name="connsiteX31" fmla="*/ 220891 w 258757"/>
                <a:gd name="connsiteY31" fmla="*/ 85068 h 144794"/>
                <a:gd name="connsiteX32" fmla="*/ 244128 w 258757"/>
                <a:gd name="connsiteY32" fmla="*/ 85068 h 144794"/>
                <a:gd name="connsiteX33" fmla="*/ 258758 w 258757"/>
                <a:gd name="connsiteY33" fmla="*/ 70438 h 144794"/>
                <a:gd name="connsiteX34" fmla="*/ 258758 w 258757"/>
                <a:gd name="connsiteY34" fmla="*/ 25196 h 144794"/>
                <a:gd name="connsiteX35" fmla="*/ 206745 w 258757"/>
                <a:gd name="connsiteY35" fmla="*/ 25196 h 144794"/>
                <a:gd name="connsiteX36" fmla="*/ 200337 w 258757"/>
                <a:gd name="connsiteY36" fmla="*/ 18837 h 14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8757" h="144794">
                  <a:moveTo>
                    <a:pt x="200337" y="18837"/>
                  </a:moveTo>
                  <a:lnTo>
                    <a:pt x="200337" y="0"/>
                  </a:lnTo>
                  <a:lnTo>
                    <a:pt x="180557" y="19780"/>
                  </a:lnTo>
                  <a:lnTo>
                    <a:pt x="180557" y="32257"/>
                  </a:lnTo>
                  <a:cubicBezTo>
                    <a:pt x="180557" y="33926"/>
                    <a:pt x="179904" y="35570"/>
                    <a:pt x="178695" y="36755"/>
                  </a:cubicBezTo>
                  <a:lnTo>
                    <a:pt x="128593" y="86881"/>
                  </a:lnTo>
                  <a:cubicBezTo>
                    <a:pt x="127384" y="88066"/>
                    <a:pt x="125788" y="88743"/>
                    <a:pt x="124047" y="88743"/>
                  </a:cubicBezTo>
                  <a:lnTo>
                    <a:pt x="77185" y="88743"/>
                  </a:lnTo>
                  <a:lnTo>
                    <a:pt x="67658" y="98270"/>
                  </a:lnTo>
                  <a:cubicBezTo>
                    <a:pt x="66449" y="99480"/>
                    <a:pt x="64853" y="100132"/>
                    <a:pt x="63136" y="100132"/>
                  </a:cubicBezTo>
                  <a:lnTo>
                    <a:pt x="12598" y="100132"/>
                  </a:lnTo>
                  <a:lnTo>
                    <a:pt x="0" y="112755"/>
                  </a:lnTo>
                  <a:lnTo>
                    <a:pt x="8101" y="120831"/>
                  </a:lnTo>
                  <a:lnTo>
                    <a:pt x="16080" y="112803"/>
                  </a:lnTo>
                  <a:cubicBezTo>
                    <a:pt x="18571" y="110312"/>
                    <a:pt x="22609" y="110312"/>
                    <a:pt x="25075" y="112803"/>
                  </a:cubicBezTo>
                  <a:lnTo>
                    <a:pt x="39947" y="127674"/>
                  </a:lnTo>
                  <a:cubicBezTo>
                    <a:pt x="41131" y="128883"/>
                    <a:pt x="41784" y="130503"/>
                    <a:pt x="41784" y="132196"/>
                  </a:cubicBezTo>
                  <a:cubicBezTo>
                    <a:pt x="41784" y="133889"/>
                    <a:pt x="41131" y="135485"/>
                    <a:pt x="39947" y="136694"/>
                  </a:cubicBezTo>
                  <a:lnTo>
                    <a:pt x="39414" y="137226"/>
                  </a:lnTo>
                  <a:lnTo>
                    <a:pt x="67754" y="137226"/>
                  </a:lnTo>
                  <a:cubicBezTo>
                    <a:pt x="69423" y="137226"/>
                    <a:pt x="71067" y="137878"/>
                    <a:pt x="72276" y="139063"/>
                  </a:cubicBezTo>
                  <a:lnTo>
                    <a:pt x="77983" y="144794"/>
                  </a:lnTo>
                  <a:lnTo>
                    <a:pt x="101656" y="121145"/>
                  </a:lnTo>
                  <a:cubicBezTo>
                    <a:pt x="102840" y="119936"/>
                    <a:pt x="104461" y="119284"/>
                    <a:pt x="106177" y="119284"/>
                  </a:cubicBezTo>
                  <a:lnTo>
                    <a:pt x="118268" y="119284"/>
                  </a:lnTo>
                  <a:cubicBezTo>
                    <a:pt x="121774" y="119284"/>
                    <a:pt x="124627" y="122113"/>
                    <a:pt x="124627" y="125643"/>
                  </a:cubicBezTo>
                  <a:lnTo>
                    <a:pt x="124627" y="139716"/>
                  </a:lnTo>
                  <a:lnTo>
                    <a:pt x="186603" y="139716"/>
                  </a:lnTo>
                  <a:lnTo>
                    <a:pt x="186603" y="119356"/>
                  </a:lnTo>
                  <a:cubicBezTo>
                    <a:pt x="186603" y="117688"/>
                    <a:pt x="187255" y="116043"/>
                    <a:pt x="188464" y="114858"/>
                  </a:cubicBezTo>
                  <a:lnTo>
                    <a:pt x="216393" y="86905"/>
                  </a:lnTo>
                  <a:cubicBezTo>
                    <a:pt x="217578" y="85721"/>
                    <a:pt x="219198" y="85068"/>
                    <a:pt x="220891" y="85068"/>
                  </a:cubicBezTo>
                  <a:lnTo>
                    <a:pt x="244128" y="85068"/>
                  </a:lnTo>
                  <a:lnTo>
                    <a:pt x="258758" y="70438"/>
                  </a:lnTo>
                  <a:lnTo>
                    <a:pt x="258758" y="25196"/>
                  </a:lnTo>
                  <a:lnTo>
                    <a:pt x="206745" y="25196"/>
                  </a:lnTo>
                  <a:cubicBezTo>
                    <a:pt x="203190" y="25196"/>
                    <a:pt x="200337" y="22343"/>
                    <a:pt x="200337" y="18837"/>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orma Livre: Forma 57">
              <a:extLst>
                <a:ext uri="{FF2B5EF4-FFF2-40B4-BE49-F238E27FC236}">
                  <a16:creationId xmlns:a16="http://schemas.microsoft.com/office/drawing/2014/main" id="{D13B65BC-162A-DBC0-2879-9D96C8CACA92}"/>
                </a:ext>
              </a:extLst>
            </p:cNvPr>
            <p:cNvSpPr/>
            <p:nvPr/>
          </p:nvSpPr>
          <p:spPr>
            <a:xfrm>
              <a:off x="5448716" y="2422528"/>
              <a:ext cx="142617" cy="247634"/>
            </a:xfrm>
            <a:custGeom>
              <a:avLst/>
              <a:gdLst>
                <a:gd name="connsiteX0" fmla="*/ 75250 w 142617"/>
                <a:gd name="connsiteY0" fmla="*/ 0 h 247634"/>
                <a:gd name="connsiteX1" fmla="*/ 45484 w 142617"/>
                <a:gd name="connsiteY1" fmla="*/ 29767 h 247634"/>
                <a:gd name="connsiteX2" fmla="*/ 62120 w 142617"/>
                <a:gd name="connsiteY2" fmla="*/ 46403 h 247634"/>
                <a:gd name="connsiteX3" fmla="*/ 63958 w 142617"/>
                <a:gd name="connsiteY3" fmla="*/ 50900 h 247634"/>
                <a:gd name="connsiteX4" fmla="*/ 62120 w 142617"/>
                <a:gd name="connsiteY4" fmla="*/ 55398 h 247634"/>
                <a:gd name="connsiteX5" fmla="*/ 52351 w 142617"/>
                <a:gd name="connsiteY5" fmla="*/ 65167 h 247634"/>
                <a:gd name="connsiteX6" fmla="*/ 69761 w 142617"/>
                <a:gd name="connsiteY6" fmla="*/ 82577 h 247634"/>
                <a:gd name="connsiteX7" fmla="*/ 71647 w 142617"/>
                <a:gd name="connsiteY7" fmla="*/ 87075 h 247634"/>
                <a:gd name="connsiteX8" fmla="*/ 71647 w 142617"/>
                <a:gd name="connsiteY8" fmla="*/ 110530 h 247634"/>
                <a:gd name="connsiteX9" fmla="*/ 69761 w 142617"/>
                <a:gd name="connsiteY9" fmla="*/ 115028 h 247634"/>
                <a:gd name="connsiteX10" fmla="*/ 51964 w 142617"/>
                <a:gd name="connsiteY10" fmla="*/ 132849 h 247634"/>
                <a:gd name="connsiteX11" fmla="*/ 51964 w 142617"/>
                <a:gd name="connsiteY11" fmla="*/ 152991 h 247634"/>
                <a:gd name="connsiteX12" fmla="*/ 50102 w 142617"/>
                <a:gd name="connsiteY12" fmla="*/ 157489 h 247634"/>
                <a:gd name="connsiteX13" fmla="*/ 25245 w 142617"/>
                <a:gd name="connsiteY13" fmla="*/ 182371 h 247634"/>
                <a:gd name="connsiteX14" fmla="*/ 20723 w 142617"/>
                <a:gd name="connsiteY14" fmla="*/ 184233 h 247634"/>
                <a:gd name="connsiteX15" fmla="*/ 0 w 142617"/>
                <a:gd name="connsiteY15" fmla="*/ 184233 h 247634"/>
                <a:gd name="connsiteX16" fmla="*/ 0 w 142617"/>
                <a:gd name="connsiteY16" fmla="*/ 219827 h 247634"/>
                <a:gd name="connsiteX17" fmla="*/ 0 w 142617"/>
                <a:gd name="connsiteY17" fmla="*/ 247635 h 247634"/>
                <a:gd name="connsiteX18" fmla="*/ 52013 w 142617"/>
                <a:gd name="connsiteY18" fmla="*/ 247635 h 247634"/>
                <a:gd name="connsiteX19" fmla="*/ 60984 w 142617"/>
                <a:gd name="connsiteY19" fmla="*/ 247635 h 247634"/>
                <a:gd name="connsiteX20" fmla="*/ 60984 w 142617"/>
                <a:gd name="connsiteY20" fmla="*/ 227710 h 247634"/>
                <a:gd name="connsiteX21" fmla="*/ 62846 w 142617"/>
                <a:gd name="connsiteY21" fmla="*/ 223212 h 247634"/>
                <a:gd name="connsiteX22" fmla="*/ 105379 w 142617"/>
                <a:gd name="connsiteY22" fmla="*/ 180678 h 247634"/>
                <a:gd name="connsiteX23" fmla="*/ 105379 w 142617"/>
                <a:gd name="connsiteY23" fmla="*/ 155748 h 247634"/>
                <a:gd name="connsiteX24" fmla="*/ 107217 w 142617"/>
                <a:gd name="connsiteY24" fmla="*/ 151226 h 247634"/>
                <a:gd name="connsiteX25" fmla="*/ 142618 w 142617"/>
                <a:gd name="connsiteY25" fmla="*/ 115826 h 247634"/>
                <a:gd name="connsiteX26" fmla="*/ 142618 w 142617"/>
                <a:gd name="connsiteY26" fmla="*/ 32426 h 247634"/>
                <a:gd name="connsiteX27" fmla="*/ 110216 w 142617"/>
                <a:gd name="connsiteY27" fmla="*/ 24 h 247634"/>
                <a:gd name="connsiteX28" fmla="*/ 75250 w 142617"/>
                <a:gd name="connsiteY28" fmla="*/ 24 h 24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2617" h="247634">
                  <a:moveTo>
                    <a:pt x="75250" y="0"/>
                  </a:moveTo>
                  <a:lnTo>
                    <a:pt x="45484" y="29767"/>
                  </a:lnTo>
                  <a:lnTo>
                    <a:pt x="62120" y="46403"/>
                  </a:lnTo>
                  <a:cubicBezTo>
                    <a:pt x="63305" y="47588"/>
                    <a:pt x="63958" y="49208"/>
                    <a:pt x="63958" y="50900"/>
                  </a:cubicBezTo>
                  <a:cubicBezTo>
                    <a:pt x="63958" y="52593"/>
                    <a:pt x="63305" y="54213"/>
                    <a:pt x="62120" y="55398"/>
                  </a:cubicBezTo>
                  <a:lnTo>
                    <a:pt x="52351" y="65167"/>
                  </a:lnTo>
                  <a:lnTo>
                    <a:pt x="69761" y="82577"/>
                  </a:lnTo>
                  <a:cubicBezTo>
                    <a:pt x="70970" y="83762"/>
                    <a:pt x="71647" y="85382"/>
                    <a:pt x="71647" y="87075"/>
                  </a:cubicBezTo>
                  <a:lnTo>
                    <a:pt x="71647" y="110530"/>
                  </a:lnTo>
                  <a:cubicBezTo>
                    <a:pt x="71647" y="112198"/>
                    <a:pt x="70970" y="113819"/>
                    <a:pt x="69761" y="115028"/>
                  </a:cubicBezTo>
                  <a:lnTo>
                    <a:pt x="51964" y="132849"/>
                  </a:lnTo>
                  <a:lnTo>
                    <a:pt x="51964" y="152991"/>
                  </a:lnTo>
                  <a:cubicBezTo>
                    <a:pt x="51964" y="154660"/>
                    <a:pt x="51287" y="156304"/>
                    <a:pt x="50102" y="157489"/>
                  </a:cubicBezTo>
                  <a:lnTo>
                    <a:pt x="25245" y="182371"/>
                  </a:lnTo>
                  <a:cubicBezTo>
                    <a:pt x="24036" y="183580"/>
                    <a:pt x="22440" y="184233"/>
                    <a:pt x="20723" y="184233"/>
                  </a:cubicBezTo>
                  <a:lnTo>
                    <a:pt x="0" y="184233"/>
                  </a:lnTo>
                  <a:lnTo>
                    <a:pt x="0" y="219827"/>
                  </a:lnTo>
                  <a:lnTo>
                    <a:pt x="0" y="247635"/>
                  </a:lnTo>
                  <a:lnTo>
                    <a:pt x="52013" y="247635"/>
                  </a:lnTo>
                  <a:lnTo>
                    <a:pt x="60984" y="247635"/>
                  </a:lnTo>
                  <a:lnTo>
                    <a:pt x="60984" y="227710"/>
                  </a:lnTo>
                  <a:cubicBezTo>
                    <a:pt x="60984" y="226041"/>
                    <a:pt x="61637" y="224397"/>
                    <a:pt x="62846" y="223212"/>
                  </a:cubicBezTo>
                  <a:lnTo>
                    <a:pt x="105379" y="180678"/>
                  </a:lnTo>
                  <a:lnTo>
                    <a:pt x="105379" y="155748"/>
                  </a:lnTo>
                  <a:cubicBezTo>
                    <a:pt x="105379" y="154055"/>
                    <a:pt x="106032" y="152435"/>
                    <a:pt x="107217" y="151226"/>
                  </a:cubicBezTo>
                  <a:lnTo>
                    <a:pt x="142618" y="115826"/>
                  </a:lnTo>
                  <a:lnTo>
                    <a:pt x="142618" y="32426"/>
                  </a:lnTo>
                  <a:lnTo>
                    <a:pt x="110216" y="24"/>
                  </a:lnTo>
                  <a:lnTo>
                    <a:pt x="75250" y="24"/>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orma Livre: Forma 58">
              <a:extLst>
                <a:ext uri="{FF2B5EF4-FFF2-40B4-BE49-F238E27FC236}">
                  <a16:creationId xmlns:a16="http://schemas.microsoft.com/office/drawing/2014/main" id="{A772DAC4-FCB4-070B-DBBF-2C3B5B040960}"/>
                </a:ext>
              </a:extLst>
            </p:cNvPr>
            <p:cNvSpPr/>
            <p:nvPr/>
          </p:nvSpPr>
          <p:spPr>
            <a:xfrm>
              <a:off x="5079138" y="1688668"/>
              <a:ext cx="676068" cy="754631"/>
            </a:xfrm>
            <a:custGeom>
              <a:avLst/>
              <a:gdLst>
                <a:gd name="connsiteX0" fmla="*/ 652565 w 676068"/>
                <a:gd name="connsiteY0" fmla="*/ 247973 h 754631"/>
                <a:gd name="connsiteX1" fmla="*/ 604759 w 676068"/>
                <a:gd name="connsiteY1" fmla="*/ 200168 h 754631"/>
                <a:gd name="connsiteX2" fmla="*/ 602897 w 676068"/>
                <a:gd name="connsiteY2" fmla="*/ 195670 h 754631"/>
                <a:gd name="connsiteX3" fmla="*/ 604759 w 676068"/>
                <a:gd name="connsiteY3" fmla="*/ 191173 h 754631"/>
                <a:gd name="connsiteX4" fmla="*/ 629883 w 676068"/>
                <a:gd name="connsiteY4" fmla="*/ 166049 h 754631"/>
                <a:gd name="connsiteX5" fmla="*/ 634381 w 676068"/>
                <a:gd name="connsiteY5" fmla="*/ 164187 h 754631"/>
                <a:gd name="connsiteX6" fmla="*/ 650703 w 676068"/>
                <a:gd name="connsiteY6" fmla="*/ 164187 h 754631"/>
                <a:gd name="connsiteX7" fmla="*/ 650703 w 676068"/>
                <a:gd name="connsiteY7" fmla="*/ 124942 h 754631"/>
                <a:gd name="connsiteX8" fmla="*/ 645722 w 676068"/>
                <a:gd name="connsiteY8" fmla="*/ 124942 h 754631"/>
                <a:gd name="connsiteX9" fmla="*/ 639483 w 676068"/>
                <a:gd name="connsiteY9" fmla="*/ 119864 h 754631"/>
                <a:gd name="connsiteX10" fmla="*/ 639338 w 676068"/>
                <a:gd name="connsiteY10" fmla="*/ 118582 h 754631"/>
                <a:gd name="connsiteX11" fmla="*/ 639338 w 676068"/>
                <a:gd name="connsiteY11" fmla="*/ 82142 h 754631"/>
                <a:gd name="connsiteX12" fmla="*/ 629206 w 676068"/>
                <a:gd name="connsiteY12" fmla="*/ 72010 h 754631"/>
                <a:gd name="connsiteX13" fmla="*/ 557172 w 676068"/>
                <a:gd name="connsiteY13" fmla="*/ 0 h 754631"/>
                <a:gd name="connsiteX14" fmla="*/ 462794 w 676068"/>
                <a:gd name="connsiteY14" fmla="*/ 94401 h 754631"/>
                <a:gd name="connsiteX15" fmla="*/ 458273 w 676068"/>
                <a:gd name="connsiteY15" fmla="*/ 96263 h 754631"/>
                <a:gd name="connsiteX16" fmla="*/ 453775 w 676068"/>
                <a:gd name="connsiteY16" fmla="*/ 94401 h 754631"/>
                <a:gd name="connsiteX17" fmla="*/ 443377 w 676068"/>
                <a:gd name="connsiteY17" fmla="*/ 84028 h 754631"/>
                <a:gd name="connsiteX18" fmla="*/ 441540 w 676068"/>
                <a:gd name="connsiteY18" fmla="*/ 79530 h 754631"/>
                <a:gd name="connsiteX19" fmla="*/ 441540 w 676068"/>
                <a:gd name="connsiteY19" fmla="*/ 58517 h 754631"/>
                <a:gd name="connsiteX20" fmla="*/ 405003 w 676068"/>
                <a:gd name="connsiteY20" fmla="*/ 22004 h 754631"/>
                <a:gd name="connsiteX21" fmla="*/ 361211 w 676068"/>
                <a:gd name="connsiteY21" fmla="*/ 65772 h 754631"/>
                <a:gd name="connsiteX22" fmla="*/ 357971 w 676068"/>
                <a:gd name="connsiteY22" fmla="*/ 67513 h 754631"/>
                <a:gd name="connsiteX23" fmla="*/ 356714 w 676068"/>
                <a:gd name="connsiteY23" fmla="*/ 67633 h 754631"/>
                <a:gd name="connsiteX24" fmla="*/ 339956 w 676068"/>
                <a:gd name="connsiteY24" fmla="*/ 67633 h 754631"/>
                <a:gd name="connsiteX25" fmla="*/ 306224 w 676068"/>
                <a:gd name="connsiteY25" fmla="*/ 101390 h 754631"/>
                <a:gd name="connsiteX26" fmla="*/ 304121 w 676068"/>
                <a:gd name="connsiteY26" fmla="*/ 102792 h 754631"/>
                <a:gd name="connsiteX27" fmla="*/ 298221 w 676068"/>
                <a:gd name="connsiteY27" fmla="*/ 102212 h 754631"/>
                <a:gd name="connsiteX28" fmla="*/ 297229 w 676068"/>
                <a:gd name="connsiteY28" fmla="*/ 101414 h 754631"/>
                <a:gd name="connsiteX29" fmla="*/ 254961 w 676068"/>
                <a:gd name="connsiteY29" fmla="*/ 59146 h 754631"/>
                <a:gd name="connsiteX30" fmla="*/ 223672 w 676068"/>
                <a:gd name="connsiteY30" fmla="*/ 90436 h 754631"/>
                <a:gd name="connsiteX31" fmla="*/ 245918 w 676068"/>
                <a:gd name="connsiteY31" fmla="*/ 112682 h 754631"/>
                <a:gd name="connsiteX32" fmla="*/ 247780 w 676068"/>
                <a:gd name="connsiteY32" fmla="*/ 117204 h 754631"/>
                <a:gd name="connsiteX33" fmla="*/ 245918 w 676068"/>
                <a:gd name="connsiteY33" fmla="*/ 121701 h 754631"/>
                <a:gd name="connsiteX34" fmla="*/ 192575 w 676068"/>
                <a:gd name="connsiteY34" fmla="*/ 175020 h 754631"/>
                <a:gd name="connsiteX35" fmla="*/ 188078 w 676068"/>
                <a:gd name="connsiteY35" fmla="*/ 176906 h 754631"/>
                <a:gd name="connsiteX36" fmla="*/ 155724 w 676068"/>
                <a:gd name="connsiteY36" fmla="*/ 176906 h 754631"/>
                <a:gd name="connsiteX37" fmla="*/ 131374 w 676068"/>
                <a:gd name="connsiteY37" fmla="*/ 201256 h 754631"/>
                <a:gd name="connsiteX38" fmla="*/ 130382 w 676068"/>
                <a:gd name="connsiteY38" fmla="*/ 202054 h 754631"/>
                <a:gd name="connsiteX39" fmla="*/ 126876 w 676068"/>
                <a:gd name="connsiteY39" fmla="*/ 203118 h 754631"/>
                <a:gd name="connsiteX40" fmla="*/ 123370 w 676068"/>
                <a:gd name="connsiteY40" fmla="*/ 202054 h 754631"/>
                <a:gd name="connsiteX41" fmla="*/ 122354 w 676068"/>
                <a:gd name="connsiteY41" fmla="*/ 201256 h 754631"/>
                <a:gd name="connsiteX42" fmla="*/ 65602 w 676068"/>
                <a:gd name="connsiteY42" fmla="*/ 144504 h 754631"/>
                <a:gd name="connsiteX43" fmla="*/ 0 w 676068"/>
                <a:gd name="connsiteY43" fmla="*/ 210082 h 754631"/>
                <a:gd name="connsiteX44" fmla="*/ 33369 w 676068"/>
                <a:gd name="connsiteY44" fmla="*/ 243427 h 754631"/>
                <a:gd name="connsiteX45" fmla="*/ 35086 w 676068"/>
                <a:gd name="connsiteY45" fmla="*/ 246667 h 754631"/>
                <a:gd name="connsiteX46" fmla="*/ 35231 w 676068"/>
                <a:gd name="connsiteY46" fmla="*/ 247901 h 754631"/>
                <a:gd name="connsiteX47" fmla="*/ 35231 w 676068"/>
                <a:gd name="connsiteY47" fmla="*/ 345155 h 754631"/>
                <a:gd name="connsiteX48" fmla="*/ 35231 w 676068"/>
                <a:gd name="connsiteY48" fmla="*/ 428555 h 754631"/>
                <a:gd name="connsiteX49" fmla="*/ 54262 w 676068"/>
                <a:gd name="connsiteY49" fmla="*/ 447609 h 754631"/>
                <a:gd name="connsiteX50" fmla="*/ 56123 w 676068"/>
                <a:gd name="connsiteY50" fmla="*/ 452107 h 754631"/>
                <a:gd name="connsiteX51" fmla="*/ 56123 w 676068"/>
                <a:gd name="connsiteY51" fmla="*/ 482719 h 754631"/>
                <a:gd name="connsiteX52" fmla="*/ 56123 w 676068"/>
                <a:gd name="connsiteY52" fmla="*/ 512679 h 754631"/>
                <a:gd name="connsiteX53" fmla="*/ 76677 w 676068"/>
                <a:gd name="connsiteY53" fmla="*/ 512679 h 754631"/>
                <a:gd name="connsiteX54" fmla="*/ 154708 w 676068"/>
                <a:gd name="connsiteY54" fmla="*/ 434624 h 754631"/>
                <a:gd name="connsiteX55" fmla="*/ 159230 w 676068"/>
                <a:gd name="connsiteY55" fmla="*/ 432762 h 754631"/>
                <a:gd name="connsiteX56" fmla="*/ 219537 w 676068"/>
                <a:gd name="connsiteY56" fmla="*/ 432762 h 754631"/>
                <a:gd name="connsiteX57" fmla="*/ 225775 w 676068"/>
                <a:gd name="connsiteY57" fmla="*/ 437840 h 754631"/>
                <a:gd name="connsiteX58" fmla="*/ 225896 w 676068"/>
                <a:gd name="connsiteY58" fmla="*/ 439122 h 754631"/>
                <a:gd name="connsiteX59" fmla="*/ 225896 w 676068"/>
                <a:gd name="connsiteY59" fmla="*/ 474740 h 754631"/>
                <a:gd name="connsiteX60" fmla="*/ 241807 w 676068"/>
                <a:gd name="connsiteY60" fmla="*/ 490626 h 754631"/>
                <a:gd name="connsiteX61" fmla="*/ 259435 w 676068"/>
                <a:gd name="connsiteY61" fmla="*/ 473023 h 754631"/>
                <a:gd name="connsiteX62" fmla="*/ 268430 w 676068"/>
                <a:gd name="connsiteY62" fmla="*/ 473023 h 754631"/>
                <a:gd name="connsiteX63" fmla="*/ 321458 w 676068"/>
                <a:gd name="connsiteY63" fmla="*/ 526051 h 754631"/>
                <a:gd name="connsiteX64" fmla="*/ 344817 w 676068"/>
                <a:gd name="connsiteY64" fmla="*/ 502717 h 754631"/>
                <a:gd name="connsiteX65" fmla="*/ 353812 w 676068"/>
                <a:gd name="connsiteY65" fmla="*/ 502717 h 754631"/>
                <a:gd name="connsiteX66" fmla="*/ 391461 w 676068"/>
                <a:gd name="connsiteY66" fmla="*/ 540366 h 754631"/>
                <a:gd name="connsiteX67" fmla="*/ 393323 w 676068"/>
                <a:gd name="connsiteY67" fmla="*/ 544864 h 754631"/>
                <a:gd name="connsiteX68" fmla="*/ 393323 w 676068"/>
                <a:gd name="connsiteY68" fmla="*/ 555068 h 754631"/>
                <a:gd name="connsiteX69" fmla="*/ 480906 w 676068"/>
                <a:gd name="connsiteY69" fmla="*/ 555068 h 754631"/>
                <a:gd name="connsiteX70" fmla="*/ 485428 w 676068"/>
                <a:gd name="connsiteY70" fmla="*/ 556930 h 754631"/>
                <a:gd name="connsiteX71" fmla="*/ 515267 w 676068"/>
                <a:gd name="connsiteY71" fmla="*/ 586793 h 754631"/>
                <a:gd name="connsiteX72" fmla="*/ 516065 w 676068"/>
                <a:gd name="connsiteY72" fmla="*/ 587760 h 754631"/>
                <a:gd name="connsiteX73" fmla="*/ 516427 w 676068"/>
                <a:gd name="connsiteY73" fmla="*/ 588437 h 754631"/>
                <a:gd name="connsiteX74" fmla="*/ 516669 w 676068"/>
                <a:gd name="connsiteY74" fmla="*/ 588873 h 754631"/>
                <a:gd name="connsiteX75" fmla="*/ 516935 w 676068"/>
                <a:gd name="connsiteY75" fmla="*/ 589695 h 754631"/>
                <a:gd name="connsiteX76" fmla="*/ 517032 w 676068"/>
                <a:gd name="connsiteY76" fmla="*/ 590057 h 754631"/>
                <a:gd name="connsiteX77" fmla="*/ 517032 w 676068"/>
                <a:gd name="connsiteY77" fmla="*/ 592548 h 754631"/>
                <a:gd name="connsiteX78" fmla="*/ 516935 w 676068"/>
                <a:gd name="connsiteY78" fmla="*/ 592911 h 754631"/>
                <a:gd name="connsiteX79" fmla="*/ 516669 w 676068"/>
                <a:gd name="connsiteY79" fmla="*/ 593709 h 754631"/>
                <a:gd name="connsiteX80" fmla="*/ 516427 w 676068"/>
                <a:gd name="connsiteY80" fmla="*/ 594144 h 754631"/>
                <a:gd name="connsiteX81" fmla="*/ 516065 w 676068"/>
                <a:gd name="connsiteY81" fmla="*/ 594821 h 754631"/>
                <a:gd name="connsiteX82" fmla="*/ 515267 w 676068"/>
                <a:gd name="connsiteY82" fmla="*/ 595812 h 754631"/>
                <a:gd name="connsiteX83" fmla="*/ 487072 w 676068"/>
                <a:gd name="connsiteY83" fmla="*/ 624007 h 754631"/>
                <a:gd name="connsiteX84" fmla="*/ 487072 w 676068"/>
                <a:gd name="connsiteY84" fmla="*/ 650896 h 754631"/>
                <a:gd name="connsiteX85" fmla="*/ 486927 w 676068"/>
                <a:gd name="connsiteY85" fmla="*/ 652178 h 754631"/>
                <a:gd name="connsiteX86" fmla="*/ 480712 w 676068"/>
                <a:gd name="connsiteY86" fmla="*/ 657256 h 754631"/>
                <a:gd name="connsiteX87" fmla="*/ 464511 w 676068"/>
                <a:gd name="connsiteY87" fmla="*/ 657256 h 754631"/>
                <a:gd name="connsiteX88" fmla="*/ 464511 w 676068"/>
                <a:gd name="connsiteY88" fmla="*/ 685958 h 754631"/>
                <a:gd name="connsiteX89" fmla="*/ 485403 w 676068"/>
                <a:gd name="connsiteY89" fmla="*/ 706850 h 754631"/>
                <a:gd name="connsiteX90" fmla="*/ 487241 w 676068"/>
                <a:gd name="connsiteY90" fmla="*/ 711348 h 754631"/>
                <a:gd name="connsiteX91" fmla="*/ 487241 w 676068"/>
                <a:gd name="connsiteY91" fmla="*/ 723438 h 754631"/>
                <a:gd name="connsiteX92" fmla="*/ 518459 w 676068"/>
                <a:gd name="connsiteY92" fmla="*/ 754631 h 754631"/>
                <a:gd name="connsiteX93" fmla="*/ 520877 w 676068"/>
                <a:gd name="connsiteY93" fmla="*/ 752237 h 754631"/>
                <a:gd name="connsiteX94" fmla="*/ 520877 w 676068"/>
                <a:gd name="connsiteY94" fmla="*/ 740220 h 754631"/>
                <a:gd name="connsiteX95" fmla="*/ 522714 w 676068"/>
                <a:gd name="connsiteY95" fmla="*/ 735698 h 754631"/>
                <a:gd name="connsiteX96" fmla="*/ 548056 w 676068"/>
                <a:gd name="connsiteY96" fmla="*/ 710356 h 754631"/>
                <a:gd name="connsiteX97" fmla="*/ 548056 w 676068"/>
                <a:gd name="connsiteY97" fmla="*/ 659263 h 754631"/>
                <a:gd name="connsiteX98" fmla="*/ 549942 w 676068"/>
                <a:gd name="connsiteY98" fmla="*/ 654765 h 754631"/>
                <a:gd name="connsiteX99" fmla="*/ 571438 w 676068"/>
                <a:gd name="connsiteY99" fmla="*/ 633268 h 754631"/>
                <a:gd name="connsiteX100" fmla="*/ 571438 w 676068"/>
                <a:gd name="connsiteY100" fmla="*/ 365540 h 754631"/>
                <a:gd name="connsiteX101" fmla="*/ 573300 w 676068"/>
                <a:gd name="connsiteY101" fmla="*/ 361042 h 754631"/>
                <a:gd name="connsiteX102" fmla="*/ 600310 w 676068"/>
                <a:gd name="connsiteY102" fmla="*/ 334008 h 754631"/>
                <a:gd name="connsiteX103" fmla="*/ 609330 w 676068"/>
                <a:gd name="connsiteY103" fmla="*/ 334008 h 754631"/>
                <a:gd name="connsiteX104" fmla="*/ 616511 w 676068"/>
                <a:gd name="connsiteY104" fmla="*/ 341190 h 754631"/>
                <a:gd name="connsiteX105" fmla="*/ 676068 w 676068"/>
                <a:gd name="connsiteY105" fmla="*/ 281633 h 754631"/>
                <a:gd name="connsiteX106" fmla="*/ 676068 w 676068"/>
                <a:gd name="connsiteY106" fmla="*/ 249811 h 754631"/>
                <a:gd name="connsiteX107" fmla="*/ 656966 w 676068"/>
                <a:gd name="connsiteY107" fmla="*/ 249811 h 754631"/>
                <a:gd name="connsiteX108" fmla="*/ 652565 w 676068"/>
                <a:gd name="connsiteY108" fmla="*/ 247973 h 754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76068" h="754631">
                  <a:moveTo>
                    <a:pt x="652565" y="247973"/>
                  </a:moveTo>
                  <a:lnTo>
                    <a:pt x="604759" y="200168"/>
                  </a:lnTo>
                  <a:cubicBezTo>
                    <a:pt x="603550" y="198983"/>
                    <a:pt x="602897" y="197363"/>
                    <a:pt x="602897" y="195670"/>
                  </a:cubicBezTo>
                  <a:cubicBezTo>
                    <a:pt x="602897" y="193978"/>
                    <a:pt x="603550" y="192358"/>
                    <a:pt x="604759" y="191173"/>
                  </a:cubicBezTo>
                  <a:lnTo>
                    <a:pt x="629883" y="166049"/>
                  </a:lnTo>
                  <a:cubicBezTo>
                    <a:pt x="631068" y="164864"/>
                    <a:pt x="632664" y="164187"/>
                    <a:pt x="634381" y="164187"/>
                  </a:cubicBezTo>
                  <a:lnTo>
                    <a:pt x="650703" y="164187"/>
                  </a:lnTo>
                  <a:lnTo>
                    <a:pt x="650703" y="124942"/>
                  </a:lnTo>
                  <a:lnTo>
                    <a:pt x="645722" y="124942"/>
                  </a:lnTo>
                  <a:cubicBezTo>
                    <a:pt x="642651" y="124942"/>
                    <a:pt x="640087" y="122765"/>
                    <a:pt x="639483" y="119864"/>
                  </a:cubicBezTo>
                  <a:cubicBezTo>
                    <a:pt x="639410" y="119453"/>
                    <a:pt x="639338" y="119017"/>
                    <a:pt x="639338" y="118582"/>
                  </a:cubicBezTo>
                  <a:lnTo>
                    <a:pt x="639338" y="82142"/>
                  </a:lnTo>
                  <a:lnTo>
                    <a:pt x="629206" y="72010"/>
                  </a:lnTo>
                  <a:lnTo>
                    <a:pt x="557172" y="0"/>
                  </a:lnTo>
                  <a:lnTo>
                    <a:pt x="462794" y="94401"/>
                  </a:lnTo>
                  <a:cubicBezTo>
                    <a:pt x="461586" y="95586"/>
                    <a:pt x="459990" y="96263"/>
                    <a:pt x="458273" y="96263"/>
                  </a:cubicBezTo>
                  <a:cubicBezTo>
                    <a:pt x="456604" y="96263"/>
                    <a:pt x="454984" y="95586"/>
                    <a:pt x="453775" y="94401"/>
                  </a:cubicBezTo>
                  <a:lnTo>
                    <a:pt x="443377" y="84028"/>
                  </a:lnTo>
                  <a:cubicBezTo>
                    <a:pt x="442193" y="82843"/>
                    <a:pt x="441540" y="81223"/>
                    <a:pt x="441540" y="79530"/>
                  </a:cubicBezTo>
                  <a:lnTo>
                    <a:pt x="441540" y="58517"/>
                  </a:lnTo>
                  <a:lnTo>
                    <a:pt x="405003" y="22004"/>
                  </a:lnTo>
                  <a:lnTo>
                    <a:pt x="361211" y="65772"/>
                  </a:lnTo>
                  <a:cubicBezTo>
                    <a:pt x="360317" y="66666"/>
                    <a:pt x="359180" y="67271"/>
                    <a:pt x="357971" y="67513"/>
                  </a:cubicBezTo>
                  <a:cubicBezTo>
                    <a:pt x="357560" y="67585"/>
                    <a:pt x="357149" y="67633"/>
                    <a:pt x="356714" y="67633"/>
                  </a:cubicBezTo>
                  <a:lnTo>
                    <a:pt x="339956" y="67633"/>
                  </a:lnTo>
                  <a:lnTo>
                    <a:pt x="306224" y="101390"/>
                  </a:lnTo>
                  <a:cubicBezTo>
                    <a:pt x="305596" y="101994"/>
                    <a:pt x="304846" y="102478"/>
                    <a:pt x="304121" y="102792"/>
                  </a:cubicBezTo>
                  <a:cubicBezTo>
                    <a:pt x="302186" y="103566"/>
                    <a:pt x="299962" y="103373"/>
                    <a:pt x="298221" y="102212"/>
                  </a:cubicBezTo>
                  <a:cubicBezTo>
                    <a:pt x="297858" y="101994"/>
                    <a:pt x="297544" y="101704"/>
                    <a:pt x="297229" y="101414"/>
                  </a:cubicBezTo>
                  <a:lnTo>
                    <a:pt x="254961" y="59146"/>
                  </a:lnTo>
                  <a:lnTo>
                    <a:pt x="223672" y="90436"/>
                  </a:lnTo>
                  <a:lnTo>
                    <a:pt x="245918" y="112682"/>
                  </a:lnTo>
                  <a:cubicBezTo>
                    <a:pt x="247103" y="113867"/>
                    <a:pt x="247780" y="115487"/>
                    <a:pt x="247780" y="117204"/>
                  </a:cubicBezTo>
                  <a:cubicBezTo>
                    <a:pt x="247780" y="118872"/>
                    <a:pt x="247103" y="120492"/>
                    <a:pt x="245918" y="121701"/>
                  </a:cubicBezTo>
                  <a:lnTo>
                    <a:pt x="192575" y="175020"/>
                  </a:lnTo>
                  <a:cubicBezTo>
                    <a:pt x="191414" y="176205"/>
                    <a:pt x="189794" y="176906"/>
                    <a:pt x="188078" y="176906"/>
                  </a:cubicBezTo>
                  <a:lnTo>
                    <a:pt x="155724" y="176906"/>
                  </a:lnTo>
                  <a:lnTo>
                    <a:pt x="131374" y="201256"/>
                  </a:lnTo>
                  <a:cubicBezTo>
                    <a:pt x="131059" y="201546"/>
                    <a:pt x="130745" y="201836"/>
                    <a:pt x="130382" y="202054"/>
                  </a:cubicBezTo>
                  <a:cubicBezTo>
                    <a:pt x="129318" y="202755"/>
                    <a:pt x="128085" y="203118"/>
                    <a:pt x="126876" y="203118"/>
                  </a:cubicBezTo>
                  <a:cubicBezTo>
                    <a:pt x="125643" y="203118"/>
                    <a:pt x="124410" y="202755"/>
                    <a:pt x="123370" y="202054"/>
                  </a:cubicBezTo>
                  <a:cubicBezTo>
                    <a:pt x="123007" y="201836"/>
                    <a:pt x="122669" y="201546"/>
                    <a:pt x="122354" y="201256"/>
                  </a:cubicBezTo>
                  <a:lnTo>
                    <a:pt x="65602" y="144504"/>
                  </a:lnTo>
                  <a:lnTo>
                    <a:pt x="0" y="210082"/>
                  </a:lnTo>
                  <a:lnTo>
                    <a:pt x="33369" y="243427"/>
                  </a:lnTo>
                  <a:cubicBezTo>
                    <a:pt x="34240" y="244322"/>
                    <a:pt x="34869" y="245434"/>
                    <a:pt x="35086" y="246667"/>
                  </a:cubicBezTo>
                  <a:cubicBezTo>
                    <a:pt x="35183" y="247078"/>
                    <a:pt x="35231" y="247489"/>
                    <a:pt x="35231" y="247901"/>
                  </a:cubicBezTo>
                  <a:lnTo>
                    <a:pt x="35231" y="345155"/>
                  </a:lnTo>
                  <a:lnTo>
                    <a:pt x="35231" y="428555"/>
                  </a:lnTo>
                  <a:lnTo>
                    <a:pt x="54262" y="447609"/>
                  </a:lnTo>
                  <a:cubicBezTo>
                    <a:pt x="55446" y="448794"/>
                    <a:pt x="56123" y="450414"/>
                    <a:pt x="56123" y="452107"/>
                  </a:cubicBezTo>
                  <a:lnTo>
                    <a:pt x="56123" y="482719"/>
                  </a:lnTo>
                  <a:lnTo>
                    <a:pt x="56123" y="512679"/>
                  </a:lnTo>
                  <a:lnTo>
                    <a:pt x="76677" y="512679"/>
                  </a:lnTo>
                  <a:lnTo>
                    <a:pt x="154708" y="434624"/>
                  </a:lnTo>
                  <a:cubicBezTo>
                    <a:pt x="155917" y="433439"/>
                    <a:pt x="157537" y="432762"/>
                    <a:pt x="159230" y="432762"/>
                  </a:cubicBezTo>
                  <a:lnTo>
                    <a:pt x="219537" y="432762"/>
                  </a:lnTo>
                  <a:cubicBezTo>
                    <a:pt x="222632" y="432762"/>
                    <a:pt x="225171" y="434938"/>
                    <a:pt x="225775" y="437840"/>
                  </a:cubicBezTo>
                  <a:cubicBezTo>
                    <a:pt x="225848" y="438251"/>
                    <a:pt x="225896" y="438686"/>
                    <a:pt x="225896" y="439122"/>
                  </a:cubicBezTo>
                  <a:lnTo>
                    <a:pt x="225896" y="474740"/>
                  </a:lnTo>
                  <a:lnTo>
                    <a:pt x="241807" y="490626"/>
                  </a:lnTo>
                  <a:lnTo>
                    <a:pt x="259435" y="473023"/>
                  </a:lnTo>
                  <a:cubicBezTo>
                    <a:pt x="261950" y="470508"/>
                    <a:pt x="265964" y="470508"/>
                    <a:pt x="268430" y="473023"/>
                  </a:cubicBezTo>
                  <a:lnTo>
                    <a:pt x="321458" y="526051"/>
                  </a:lnTo>
                  <a:lnTo>
                    <a:pt x="344817" y="502717"/>
                  </a:lnTo>
                  <a:cubicBezTo>
                    <a:pt x="347332" y="500226"/>
                    <a:pt x="351346" y="500226"/>
                    <a:pt x="353812" y="502717"/>
                  </a:cubicBezTo>
                  <a:lnTo>
                    <a:pt x="391461" y="540366"/>
                  </a:lnTo>
                  <a:cubicBezTo>
                    <a:pt x="392670" y="541575"/>
                    <a:pt x="393323" y="543171"/>
                    <a:pt x="393323" y="544864"/>
                  </a:cubicBezTo>
                  <a:lnTo>
                    <a:pt x="393323" y="555068"/>
                  </a:lnTo>
                  <a:lnTo>
                    <a:pt x="480906" y="555068"/>
                  </a:lnTo>
                  <a:cubicBezTo>
                    <a:pt x="482598" y="555068"/>
                    <a:pt x="484219" y="555745"/>
                    <a:pt x="485428" y="556930"/>
                  </a:cubicBezTo>
                  <a:lnTo>
                    <a:pt x="515267" y="586793"/>
                  </a:lnTo>
                  <a:cubicBezTo>
                    <a:pt x="515581" y="587083"/>
                    <a:pt x="515847" y="587398"/>
                    <a:pt x="516065" y="587760"/>
                  </a:cubicBezTo>
                  <a:cubicBezTo>
                    <a:pt x="516234" y="588002"/>
                    <a:pt x="516306" y="588220"/>
                    <a:pt x="516427" y="588437"/>
                  </a:cubicBezTo>
                  <a:cubicBezTo>
                    <a:pt x="516524" y="588583"/>
                    <a:pt x="516621" y="588703"/>
                    <a:pt x="516669" y="588873"/>
                  </a:cubicBezTo>
                  <a:cubicBezTo>
                    <a:pt x="516766" y="589139"/>
                    <a:pt x="516838" y="589405"/>
                    <a:pt x="516935" y="589695"/>
                  </a:cubicBezTo>
                  <a:cubicBezTo>
                    <a:pt x="516959" y="589791"/>
                    <a:pt x="517008" y="589937"/>
                    <a:pt x="517032" y="590057"/>
                  </a:cubicBezTo>
                  <a:cubicBezTo>
                    <a:pt x="517201" y="590855"/>
                    <a:pt x="517201" y="591702"/>
                    <a:pt x="517032" y="592548"/>
                  </a:cubicBezTo>
                  <a:cubicBezTo>
                    <a:pt x="517008" y="592645"/>
                    <a:pt x="516959" y="592790"/>
                    <a:pt x="516935" y="592911"/>
                  </a:cubicBezTo>
                  <a:cubicBezTo>
                    <a:pt x="516838" y="593201"/>
                    <a:pt x="516766" y="593443"/>
                    <a:pt x="516669" y="593709"/>
                  </a:cubicBezTo>
                  <a:cubicBezTo>
                    <a:pt x="516621" y="593878"/>
                    <a:pt x="516524" y="594023"/>
                    <a:pt x="516427" y="594144"/>
                  </a:cubicBezTo>
                  <a:cubicBezTo>
                    <a:pt x="516306" y="594410"/>
                    <a:pt x="516234" y="594628"/>
                    <a:pt x="516065" y="594821"/>
                  </a:cubicBezTo>
                  <a:cubicBezTo>
                    <a:pt x="515847" y="595184"/>
                    <a:pt x="515557" y="595498"/>
                    <a:pt x="515267" y="595812"/>
                  </a:cubicBezTo>
                  <a:lnTo>
                    <a:pt x="487072" y="624007"/>
                  </a:lnTo>
                  <a:lnTo>
                    <a:pt x="487072" y="650896"/>
                  </a:lnTo>
                  <a:cubicBezTo>
                    <a:pt x="487072" y="651356"/>
                    <a:pt x="487024" y="651767"/>
                    <a:pt x="486927" y="652178"/>
                  </a:cubicBezTo>
                  <a:cubicBezTo>
                    <a:pt x="486346" y="655079"/>
                    <a:pt x="483759" y="657256"/>
                    <a:pt x="480712" y="657256"/>
                  </a:cubicBezTo>
                  <a:lnTo>
                    <a:pt x="464511" y="657256"/>
                  </a:lnTo>
                  <a:lnTo>
                    <a:pt x="464511" y="685958"/>
                  </a:lnTo>
                  <a:lnTo>
                    <a:pt x="485403" y="706850"/>
                  </a:lnTo>
                  <a:cubicBezTo>
                    <a:pt x="486588" y="708059"/>
                    <a:pt x="487241" y="709655"/>
                    <a:pt x="487241" y="711348"/>
                  </a:cubicBezTo>
                  <a:lnTo>
                    <a:pt x="487241" y="723438"/>
                  </a:lnTo>
                  <a:lnTo>
                    <a:pt x="518459" y="754631"/>
                  </a:lnTo>
                  <a:lnTo>
                    <a:pt x="520877" y="752237"/>
                  </a:lnTo>
                  <a:lnTo>
                    <a:pt x="520877" y="740220"/>
                  </a:lnTo>
                  <a:cubicBezTo>
                    <a:pt x="520877" y="738551"/>
                    <a:pt x="521529" y="736907"/>
                    <a:pt x="522714" y="735698"/>
                  </a:cubicBezTo>
                  <a:lnTo>
                    <a:pt x="548056" y="710356"/>
                  </a:lnTo>
                  <a:lnTo>
                    <a:pt x="548056" y="659263"/>
                  </a:lnTo>
                  <a:cubicBezTo>
                    <a:pt x="548056" y="657594"/>
                    <a:pt x="548733" y="655974"/>
                    <a:pt x="549942" y="654765"/>
                  </a:cubicBezTo>
                  <a:lnTo>
                    <a:pt x="571438" y="633268"/>
                  </a:lnTo>
                  <a:lnTo>
                    <a:pt x="571438" y="365540"/>
                  </a:lnTo>
                  <a:cubicBezTo>
                    <a:pt x="571438" y="363871"/>
                    <a:pt x="572091" y="362251"/>
                    <a:pt x="573300" y="361042"/>
                  </a:cubicBezTo>
                  <a:lnTo>
                    <a:pt x="600310" y="334008"/>
                  </a:lnTo>
                  <a:cubicBezTo>
                    <a:pt x="602704" y="331614"/>
                    <a:pt x="606936" y="331614"/>
                    <a:pt x="609330" y="334008"/>
                  </a:cubicBezTo>
                  <a:lnTo>
                    <a:pt x="616511" y="341190"/>
                  </a:lnTo>
                  <a:lnTo>
                    <a:pt x="676068" y="281633"/>
                  </a:lnTo>
                  <a:lnTo>
                    <a:pt x="676068" y="249811"/>
                  </a:lnTo>
                  <a:lnTo>
                    <a:pt x="656966" y="249811"/>
                  </a:lnTo>
                  <a:cubicBezTo>
                    <a:pt x="655370" y="249811"/>
                    <a:pt x="653774" y="249158"/>
                    <a:pt x="652565" y="247973"/>
                  </a:cubicBez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orma Livre: Forma 59">
              <a:extLst>
                <a:ext uri="{FF2B5EF4-FFF2-40B4-BE49-F238E27FC236}">
                  <a16:creationId xmlns:a16="http://schemas.microsoft.com/office/drawing/2014/main" id="{B35FD383-6C68-5D59-F124-28B2407005D6}"/>
                </a:ext>
              </a:extLst>
            </p:cNvPr>
            <p:cNvSpPr/>
            <p:nvPr/>
          </p:nvSpPr>
          <p:spPr>
            <a:xfrm>
              <a:off x="5697439" y="1774509"/>
              <a:ext cx="137225" cy="151226"/>
            </a:xfrm>
            <a:custGeom>
              <a:avLst/>
              <a:gdLst>
                <a:gd name="connsiteX0" fmla="*/ 33781 w 137225"/>
                <a:gd name="connsiteY0" fmla="*/ 24 h 151226"/>
                <a:gd name="connsiteX1" fmla="*/ 33781 w 137225"/>
                <a:gd name="connsiteY1" fmla="*/ 26381 h 151226"/>
                <a:gd name="connsiteX2" fmla="*/ 38762 w 137225"/>
                <a:gd name="connsiteY2" fmla="*/ 26381 h 151226"/>
                <a:gd name="connsiteX3" fmla="*/ 45121 w 137225"/>
                <a:gd name="connsiteY3" fmla="*/ 32741 h 151226"/>
                <a:gd name="connsiteX4" fmla="*/ 45121 w 137225"/>
                <a:gd name="connsiteY4" fmla="*/ 84705 h 151226"/>
                <a:gd name="connsiteX5" fmla="*/ 38762 w 137225"/>
                <a:gd name="connsiteY5" fmla="*/ 91065 h 151226"/>
                <a:gd name="connsiteX6" fmla="*/ 18740 w 137225"/>
                <a:gd name="connsiteY6" fmla="*/ 91065 h 151226"/>
                <a:gd name="connsiteX7" fmla="*/ 0 w 137225"/>
                <a:gd name="connsiteY7" fmla="*/ 109805 h 151226"/>
                <a:gd name="connsiteX8" fmla="*/ 41421 w 137225"/>
                <a:gd name="connsiteY8" fmla="*/ 151226 h 151226"/>
                <a:gd name="connsiteX9" fmla="*/ 61613 w 137225"/>
                <a:gd name="connsiteY9" fmla="*/ 151226 h 151226"/>
                <a:gd name="connsiteX10" fmla="*/ 137226 w 137225"/>
                <a:gd name="connsiteY10" fmla="*/ 75613 h 151226"/>
                <a:gd name="connsiteX11" fmla="*/ 61613 w 137225"/>
                <a:gd name="connsiteY11" fmla="*/ 0 h 151226"/>
                <a:gd name="connsiteX12" fmla="*/ 33781 w 137225"/>
                <a:gd name="connsiteY12" fmla="*/ 0 h 151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225" h="151226">
                  <a:moveTo>
                    <a:pt x="33781" y="24"/>
                  </a:moveTo>
                  <a:lnTo>
                    <a:pt x="33781" y="26381"/>
                  </a:lnTo>
                  <a:lnTo>
                    <a:pt x="38762" y="26381"/>
                  </a:lnTo>
                  <a:cubicBezTo>
                    <a:pt x="42292" y="26381"/>
                    <a:pt x="45121" y="29234"/>
                    <a:pt x="45121" y="32741"/>
                  </a:cubicBezTo>
                  <a:lnTo>
                    <a:pt x="45121" y="84705"/>
                  </a:lnTo>
                  <a:cubicBezTo>
                    <a:pt x="45121" y="88211"/>
                    <a:pt x="42292" y="91065"/>
                    <a:pt x="38762" y="91065"/>
                  </a:cubicBezTo>
                  <a:lnTo>
                    <a:pt x="18740" y="91065"/>
                  </a:lnTo>
                  <a:lnTo>
                    <a:pt x="0" y="109805"/>
                  </a:lnTo>
                  <a:lnTo>
                    <a:pt x="41421" y="151226"/>
                  </a:lnTo>
                  <a:lnTo>
                    <a:pt x="61613" y="151226"/>
                  </a:lnTo>
                  <a:lnTo>
                    <a:pt x="137226" y="75613"/>
                  </a:lnTo>
                  <a:lnTo>
                    <a:pt x="61613" y="0"/>
                  </a:lnTo>
                  <a:lnTo>
                    <a:pt x="33781" y="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orma Livre: Forma 60">
              <a:extLst>
                <a:ext uri="{FF2B5EF4-FFF2-40B4-BE49-F238E27FC236}">
                  <a16:creationId xmlns:a16="http://schemas.microsoft.com/office/drawing/2014/main" id="{2055E195-34C1-4BCA-E836-AF1438976DC9}"/>
                </a:ext>
              </a:extLst>
            </p:cNvPr>
            <p:cNvSpPr/>
            <p:nvPr/>
          </p:nvSpPr>
          <p:spPr>
            <a:xfrm>
              <a:off x="5721837" y="1723150"/>
              <a:ext cx="207325" cy="118025"/>
            </a:xfrm>
            <a:custGeom>
              <a:avLst/>
              <a:gdLst>
                <a:gd name="connsiteX0" fmla="*/ 125498 w 207325"/>
                <a:gd name="connsiteY0" fmla="*/ 31290 h 118025"/>
                <a:gd name="connsiteX1" fmla="*/ 120952 w 207325"/>
                <a:gd name="connsiteY1" fmla="*/ 33152 h 118025"/>
                <a:gd name="connsiteX2" fmla="*/ 68842 w 207325"/>
                <a:gd name="connsiteY2" fmla="*/ 33152 h 118025"/>
                <a:gd name="connsiteX3" fmla="*/ 64345 w 207325"/>
                <a:gd name="connsiteY3" fmla="*/ 31290 h 118025"/>
                <a:gd name="connsiteX4" fmla="*/ 33031 w 207325"/>
                <a:gd name="connsiteY4" fmla="*/ 0 h 118025"/>
                <a:gd name="connsiteX5" fmla="*/ 0 w 207325"/>
                <a:gd name="connsiteY5" fmla="*/ 33055 h 118025"/>
                <a:gd name="connsiteX6" fmla="*/ 5634 w 207325"/>
                <a:gd name="connsiteY6" fmla="*/ 38689 h 118025"/>
                <a:gd name="connsiteX7" fmla="*/ 39777 w 207325"/>
                <a:gd name="connsiteY7" fmla="*/ 38689 h 118025"/>
                <a:gd name="connsiteX8" fmla="*/ 44299 w 207325"/>
                <a:gd name="connsiteY8" fmla="*/ 40551 h 118025"/>
                <a:gd name="connsiteX9" fmla="*/ 121774 w 207325"/>
                <a:gd name="connsiteY9" fmla="*/ 118026 h 118025"/>
                <a:gd name="connsiteX10" fmla="*/ 207325 w 207325"/>
                <a:gd name="connsiteY10" fmla="*/ 32450 h 118025"/>
                <a:gd name="connsiteX11" fmla="*/ 207325 w 207325"/>
                <a:gd name="connsiteY11" fmla="*/ 2853 h 118025"/>
                <a:gd name="connsiteX12" fmla="*/ 153886 w 207325"/>
                <a:gd name="connsiteY12" fmla="*/ 2853 h 118025"/>
                <a:gd name="connsiteX13" fmla="*/ 125498 w 207325"/>
                <a:gd name="connsiteY13" fmla="*/ 31290 h 11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325" h="118025">
                  <a:moveTo>
                    <a:pt x="125498" y="31290"/>
                  </a:moveTo>
                  <a:cubicBezTo>
                    <a:pt x="124289" y="32475"/>
                    <a:pt x="122693" y="33152"/>
                    <a:pt x="120952" y="33152"/>
                  </a:cubicBezTo>
                  <a:lnTo>
                    <a:pt x="68842" y="33152"/>
                  </a:lnTo>
                  <a:cubicBezTo>
                    <a:pt x="67174" y="33152"/>
                    <a:pt x="65554" y="32475"/>
                    <a:pt x="64345" y="31290"/>
                  </a:cubicBezTo>
                  <a:lnTo>
                    <a:pt x="33031" y="0"/>
                  </a:lnTo>
                  <a:lnTo>
                    <a:pt x="0" y="33055"/>
                  </a:lnTo>
                  <a:lnTo>
                    <a:pt x="5634" y="38689"/>
                  </a:lnTo>
                  <a:lnTo>
                    <a:pt x="39777" y="38689"/>
                  </a:lnTo>
                  <a:cubicBezTo>
                    <a:pt x="41470" y="38689"/>
                    <a:pt x="43090" y="39366"/>
                    <a:pt x="44299" y="40551"/>
                  </a:cubicBezTo>
                  <a:lnTo>
                    <a:pt x="121774" y="118026"/>
                  </a:lnTo>
                  <a:lnTo>
                    <a:pt x="207325" y="32450"/>
                  </a:lnTo>
                  <a:lnTo>
                    <a:pt x="207325" y="2853"/>
                  </a:lnTo>
                  <a:lnTo>
                    <a:pt x="153886" y="2853"/>
                  </a:lnTo>
                  <a:lnTo>
                    <a:pt x="125498" y="31290"/>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orma Livre: Forma 61">
              <a:extLst>
                <a:ext uri="{FF2B5EF4-FFF2-40B4-BE49-F238E27FC236}">
                  <a16:creationId xmlns:a16="http://schemas.microsoft.com/office/drawing/2014/main" id="{9C0464D0-0F08-AA54-13E5-D90D7F8500AA}"/>
                </a:ext>
              </a:extLst>
            </p:cNvPr>
            <p:cNvSpPr/>
            <p:nvPr/>
          </p:nvSpPr>
          <p:spPr>
            <a:xfrm>
              <a:off x="5493112" y="1607034"/>
              <a:ext cx="457498" cy="162566"/>
            </a:xfrm>
            <a:custGeom>
              <a:avLst/>
              <a:gdLst>
                <a:gd name="connsiteX0" fmla="*/ 394484 w 457498"/>
                <a:gd name="connsiteY0" fmla="*/ 34651 h 162566"/>
                <a:gd name="connsiteX1" fmla="*/ 389986 w 457498"/>
                <a:gd name="connsiteY1" fmla="*/ 36513 h 162566"/>
                <a:gd name="connsiteX2" fmla="*/ 352337 w 457498"/>
                <a:gd name="connsiteY2" fmla="*/ 36513 h 162566"/>
                <a:gd name="connsiteX3" fmla="*/ 315413 w 457498"/>
                <a:gd name="connsiteY3" fmla="*/ 73437 h 162566"/>
                <a:gd name="connsiteX4" fmla="*/ 314422 w 457498"/>
                <a:gd name="connsiteY4" fmla="*/ 74259 h 162566"/>
                <a:gd name="connsiteX5" fmla="*/ 310916 w 457498"/>
                <a:gd name="connsiteY5" fmla="*/ 75299 h 162566"/>
                <a:gd name="connsiteX6" fmla="*/ 307409 w 457498"/>
                <a:gd name="connsiteY6" fmla="*/ 74259 h 162566"/>
                <a:gd name="connsiteX7" fmla="*/ 306394 w 457498"/>
                <a:gd name="connsiteY7" fmla="*/ 73437 h 162566"/>
                <a:gd name="connsiteX8" fmla="*/ 296359 w 457498"/>
                <a:gd name="connsiteY8" fmla="*/ 63402 h 162566"/>
                <a:gd name="connsiteX9" fmla="*/ 294497 w 457498"/>
                <a:gd name="connsiteY9" fmla="*/ 58880 h 162566"/>
                <a:gd name="connsiteX10" fmla="*/ 294497 w 457498"/>
                <a:gd name="connsiteY10" fmla="*/ 10591 h 162566"/>
                <a:gd name="connsiteX11" fmla="*/ 283906 w 457498"/>
                <a:gd name="connsiteY11" fmla="*/ 0 h 162566"/>
                <a:gd name="connsiteX12" fmla="*/ 239340 w 457498"/>
                <a:gd name="connsiteY12" fmla="*/ 44565 h 162566"/>
                <a:gd name="connsiteX13" fmla="*/ 234843 w 457498"/>
                <a:gd name="connsiteY13" fmla="*/ 46427 h 162566"/>
                <a:gd name="connsiteX14" fmla="*/ 214725 w 457498"/>
                <a:gd name="connsiteY14" fmla="*/ 46427 h 162566"/>
                <a:gd name="connsiteX15" fmla="*/ 210227 w 457498"/>
                <a:gd name="connsiteY15" fmla="*/ 44565 h 162566"/>
                <a:gd name="connsiteX16" fmla="*/ 182105 w 457498"/>
                <a:gd name="connsiteY16" fmla="*/ 16443 h 162566"/>
                <a:gd name="connsiteX17" fmla="*/ 160681 w 457498"/>
                <a:gd name="connsiteY17" fmla="*/ 37867 h 162566"/>
                <a:gd name="connsiteX18" fmla="*/ 156183 w 457498"/>
                <a:gd name="connsiteY18" fmla="*/ 39753 h 162566"/>
                <a:gd name="connsiteX19" fmla="*/ 151661 w 457498"/>
                <a:gd name="connsiteY19" fmla="*/ 37867 h 162566"/>
                <a:gd name="connsiteX20" fmla="*/ 117905 w 457498"/>
                <a:gd name="connsiteY20" fmla="*/ 4111 h 162566"/>
                <a:gd name="connsiteX21" fmla="*/ 54213 w 457498"/>
                <a:gd name="connsiteY21" fmla="*/ 4111 h 162566"/>
                <a:gd name="connsiteX22" fmla="*/ 43017 w 457498"/>
                <a:gd name="connsiteY22" fmla="*/ 4111 h 162566"/>
                <a:gd name="connsiteX23" fmla="*/ 43017 w 457498"/>
                <a:gd name="connsiteY23" fmla="*/ 24737 h 162566"/>
                <a:gd name="connsiteX24" fmla="*/ 51940 w 457498"/>
                <a:gd name="connsiteY24" fmla="*/ 33659 h 162566"/>
                <a:gd name="connsiteX25" fmla="*/ 52714 w 457498"/>
                <a:gd name="connsiteY25" fmla="*/ 34651 h 162566"/>
                <a:gd name="connsiteX26" fmla="*/ 53101 w 457498"/>
                <a:gd name="connsiteY26" fmla="*/ 35352 h 162566"/>
                <a:gd name="connsiteX27" fmla="*/ 53318 w 457498"/>
                <a:gd name="connsiteY27" fmla="*/ 35763 h 162566"/>
                <a:gd name="connsiteX28" fmla="*/ 53584 w 457498"/>
                <a:gd name="connsiteY28" fmla="*/ 36634 h 162566"/>
                <a:gd name="connsiteX29" fmla="*/ 53681 w 457498"/>
                <a:gd name="connsiteY29" fmla="*/ 36948 h 162566"/>
                <a:gd name="connsiteX30" fmla="*/ 53681 w 457498"/>
                <a:gd name="connsiteY30" fmla="*/ 39415 h 162566"/>
                <a:gd name="connsiteX31" fmla="*/ 53584 w 457498"/>
                <a:gd name="connsiteY31" fmla="*/ 39753 h 162566"/>
                <a:gd name="connsiteX32" fmla="*/ 53318 w 457498"/>
                <a:gd name="connsiteY32" fmla="*/ 40624 h 162566"/>
                <a:gd name="connsiteX33" fmla="*/ 53101 w 457498"/>
                <a:gd name="connsiteY33" fmla="*/ 40986 h 162566"/>
                <a:gd name="connsiteX34" fmla="*/ 52714 w 457498"/>
                <a:gd name="connsiteY34" fmla="*/ 41712 h 162566"/>
                <a:gd name="connsiteX35" fmla="*/ 51940 w 457498"/>
                <a:gd name="connsiteY35" fmla="*/ 42703 h 162566"/>
                <a:gd name="connsiteX36" fmla="*/ 0 w 457498"/>
                <a:gd name="connsiteY36" fmla="*/ 94643 h 162566"/>
                <a:gd name="connsiteX37" fmla="*/ 38375 w 457498"/>
                <a:gd name="connsiteY37" fmla="*/ 133018 h 162566"/>
                <a:gd name="connsiteX38" fmla="*/ 40237 w 457498"/>
                <a:gd name="connsiteY38" fmla="*/ 137540 h 162566"/>
                <a:gd name="connsiteX39" fmla="*/ 40237 w 457498"/>
                <a:gd name="connsiteY39" fmla="*/ 158553 h 162566"/>
                <a:gd name="connsiteX40" fmla="*/ 44251 w 457498"/>
                <a:gd name="connsiteY40" fmla="*/ 162567 h 162566"/>
                <a:gd name="connsiteX41" fmla="*/ 138652 w 457498"/>
                <a:gd name="connsiteY41" fmla="*/ 68165 h 162566"/>
                <a:gd name="connsiteX42" fmla="*/ 147647 w 457498"/>
                <a:gd name="connsiteY42" fmla="*/ 68165 h 162566"/>
                <a:gd name="connsiteX43" fmla="*/ 219658 w 457498"/>
                <a:gd name="connsiteY43" fmla="*/ 140200 h 162566"/>
                <a:gd name="connsiteX44" fmla="*/ 257210 w 457498"/>
                <a:gd name="connsiteY44" fmla="*/ 102647 h 162566"/>
                <a:gd name="connsiteX45" fmla="*/ 266229 w 457498"/>
                <a:gd name="connsiteY45" fmla="*/ 102647 h 162566"/>
                <a:gd name="connsiteX46" fmla="*/ 300155 w 457498"/>
                <a:gd name="connsiteY46" fmla="*/ 136597 h 162566"/>
                <a:gd name="connsiteX47" fmla="*/ 347017 w 457498"/>
                <a:gd name="connsiteY47" fmla="*/ 136597 h 162566"/>
                <a:gd name="connsiteX48" fmla="*/ 375454 w 457498"/>
                <a:gd name="connsiteY48" fmla="*/ 108184 h 162566"/>
                <a:gd name="connsiteX49" fmla="*/ 379976 w 457498"/>
                <a:gd name="connsiteY49" fmla="*/ 106298 h 162566"/>
                <a:gd name="connsiteX50" fmla="*/ 439799 w 457498"/>
                <a:gd name="connsiteY50" fmla="*/ 106298 h 162566"/>
                <a:gd name="connsiteX51" fmla="*/ 457499 w 457498"/>
                <a:gd name="connsiteY51" fmla="*/ 88550 h 162566"/>
                <a:gd name="connsiteX52" fmla="*/ 457499 w 457498"/>
                <a:gd name="connsiteY52" fmla="*/ 12550 h 162566"/>
                <a:gd name="connsiteX53" fmla="*/ 416609 w 457498"/>
                <a:gd name="connsiteY53" fmla="*/ 12550 h 162566"/>
                <a:gd name="connsiteX54" fmla="*/ 394484 w 457498"/>
                <a:gd name="connsiteY54" fmla="*/ 34651 h 162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457498" h="162566">
                  <a:moveTo>
                    <a:pt x="394484" y="34651"/>
                  </a:moveTo>
                  <a:cubicBezTo>
                    <a:pt x="393275" y="35860"/>
                    <a:pt x="391679" y="36513"/>
                    <a:pt x="389986" y="36513"/>
                  </a:cubicBezTo>
                  <a:lnTo>
                    <a:pt x="352337" y="36513"/>
                  </a:lnTo>
                  <a:lnTo>
                    <a:pt x="315413" y="73437"/>
                  </a:lnTo>
                  <a:cubicBezTo>
                    <a:pt x="315099" y="73751"/>
                    <a:pt x="314784" y="74017"/>
                    <a:pt x="314422" y="74259"/>
                  </a:cubicBezTo>
                  <a:cubicBezTo>
                    <a:pt x="313358" y="74960"/>
                    <a:pt x="312124" y="75299"/>
                    <a:pt x="310916" y="75299"/>
                  </a:cubicBezTo>
                  <a:cubicBezTo>
                    <a:pt x="309682" y="75299"/>
                    <a:pt x="308473" y="74936"/>
                    <a:pt x="307409" y="74259"/>
                  </a:cubicBezTo>
                  <a:cubicBezTo>
                    <a:pt x="307047" y="74017"/>
                    <a:pt x="306732" y="73751"/>
                    <a:pt x="306394" y="73437"/>
                  </a:cubicBezTo>
                  <a:lnTo>
                    <a:pt x="296359" y="63402"/>
                  </a:lnTo>
                  <a:cubicBezTo>
                    <a:pt x="295150" y="62217"/>
                    <a:pt x="294497" y="60573"/>
                    <a:pt x="294497" y="58880"/>
                  </a:cubicBezTo>
                  <a:lnTo>
                    <a:pt x="294497" y="10591"/>
                  </a:lnTo>
                  <a:lnTo>
                    <a:pt x="283906" y="0"/>
                  </a:lnTo>
                  <a:lnTo>
                    <a:pt x="239340" y="44565"/>
                  </a:lnTo>
                  <a:cubicBezTo>
                    <a:pt x="238156" y="45774"/>
                    <a:pt x="236536" y="46427"/>
                    <a:pt x="234843" y="46427"/>
                  </a:cubicBezTo>
                  <a:lnTo>
                    <a:pt x="214725" y="46427"/>
                  </a:lnTo>
                  <a:cubicBezTo>
                    <a:pt x="213056" y="46427"/>
                    <a:pt x="211436" y="45774"/>
                    <a:pt x="210227" y="44565"/>
                  </a:cubicBezTo>
                  <a:lnTo>
                    <a:pt x="182105" y="16443"/>
                  </a:lnTo>
                  <a:lnTo>
                    <a:pt x="160681" y="37867"/>
                  </a:lnTo>
                  <a:cubicBezTo>
                    <a:pt x="159472" y="39052"/>
                    <a:pt x="157876" y="39753"/>
                    <a:pt x="156183" y="39753"/>
                  </a:cubicBezTo>
                  <a:cubicBezTo>
                    <a:pt x="154491" y="39753"/>
                    <a:pt x="152846" y="39076"/>
                    <a:pt x="151661" y="37867"/>
                  </a:cubicBezTo>
                  <a:lnTo>
                    <a:pt x="117905" y="4111"/>
                  </a:lnTo>
                  <a:lnTo>
                    <a:pt x="54213" y="4111"/>
                  </a:lnTo>
                  <a:lnTo>
                    <a:pt x="43017" y="4111"/>
                  </a:lnTo>
                  <a:lnTo>
                    <a:pt x="43017" y="24737"/>
                  </a:lnTo>
                  <a:lnTo>
                    <a:pt x="51940" y="33659"/>
                  </a:lnTo>
                  <a:cubicBezTo>
                    <a:pt x="52230" y="33950"/>
                    <a:pt x="52472" y="34288"/>
                    <a:pt x="52714" y="34651"/>
                  </a:cubicBezTo>
                  <a:cubicBezTo>
                    <a:pt x="52883" y="34869"/>
                    <a:pt x="52980" y="35110"/>
                    <a:pt x="53101" y="35352"/>
                  </a:cubicBezTo>
                  <a:cubicBezTo>
                    <a:pt x="53173" y="35497"/>
                    <a:pt x="53270" y="35618"/>
                    <a:pt x="53318" y="35763"/>
                  </a:cubicBezTo>
                  <a:cubicBezTo>
                    <a:pt x="53439" y="36029"/>
                    <a:pt x="53512" y="36319"/>
                    <a:pt x="53584" y="36634"/>
                  </a:cubicBezTo>
                  <a:cubicBezTo>
                    <a:pt x="53609" y="36731"/>
                    <a:pt x="53657" y="36851"/>
                    <a:pt x="53681" y="36948"/>
                  </a:cubicBezTo>
                  <a:cubicBezTo>
                    <a:pt x="53850" y="37770"/>
                    <a:pt x="53850" y="38592"/>
                    <a:pt x="53681" y="39415"/>
                  </a:cubicBezTo>
                  <a:cubicBezTo>
                    <a:pt x="53657" y="39535"/>
                    <a:pt x="53609" y="39632"/>
                    <a:pt x="53584" y="39753"/>
                  </a:cubicBezTo>
                  <a:cubicBezTo>
                    <a:pt x="53512" y="40043"/>
                    <a:pt x="53439" y="40333"/>
                    <a:pt x="53318" y="40624"/>
                  </a:cubicBezTo>
                  <a:cubicBezTo>
                    <a:pt x="53270" y="40745"/>
                    <a:pt x="53173" y="40865"/>
                    <a:pt x="53101" y="40986"/>
                  </a:cubicBezTo>
                  <a:cubicBezTo>
                    <a:pt x="53004" y="41228"/>
                    <a:pt x="52883" y="41494"/>
                    <a:pt x="52714" y="41712"/>
                  </a:cubicBezTo>
                  <a:cubicBezTo>
                    <a:pt x="52472" y="42074"/>
                    <a:pt x="52206" y="42389"/>
                    <a:pt x="51940" y="42703"/>
                  </a:cubicBezTo>
                  <a:lnTo>
                    <a:pt x="0" y="94643"/>
                  </a:lnTo>
                  <a:lnTo>
                    <a:pt x="38375" y="133018"/>
                  </a:lnTo>
                  <a:cubicBezTo>
                    <a:pt x="39584" y="134203"/>
                    <a:pt x="40237" y="135823"/>
                    <a:pt x="40237" y="137540"/>
                  </a:cubicBezTo>
                  <a:lnTo>
                    <a:pt x="40237" y="158553"/>
                  </a:lnTo>
                  <a:lnTo>
                    <a:pt x="44251" y="162567"/>
                  </a:lnTo>
                  <a:lnTo>
                    <a:pt x="138652" y="68165"/>
                  </a:lnTo>
                  <a:cubicBezTo>
                    <a:pt x="141143" y="65675"/>
                    <a:pt x="145181" y="65675"/>
                    <a:pt x="147647" y="68165"/>
                  </a:cubicBezTo>
                  <a:lnTo>
                    <a:pt x="219658" y="140200"/>
                  </a:lnTo>
                  <a:lnTo>
                    <a:pt x="257210" y="102647"/>
                  </a:lnTo>
                  <a:cubicBezTo>
                    <a:pt x="259604" y="100253"/>
                    <a:pt x="263836" y="100253"/>
                    <a:pt x="266229" y="102647"/>
                  </a:cubicBezTo>
                  <a:lnTo>
                    <a:pt x="300155" y="136597"/>
                  </a:lnTo>
                  <a:lnTo>
                    <a:pt x="347017" y="136597"/>
                  </a:lnTo>
                  <a:lnTo>
                    <a:pt x="375454" y="108184"/>
                  </a:lnTo>
                  <a:cubicBezTo>
                    <a:pt x="376639" y="106975"/>
                    <a:pt x="378283" y="106298"/>
                    <a:pt x="379976" y="106298"/>
                  </a:cubicBezTo>
                  <a:lnTo>
                    <a:pt x="439799" y="106298"/>
                  </a:lnTo>
                  <a:lnTo>
                    <a:pt x="457499" y="88550"/>
                  </a:lnTo>
                  <a:lnTo>
                    <a:pt x="457499" y="12550"/>
                  </a:lnTo>
                  <a:lnTo>
                    <a:pt x="416609" y="12550"/>
                  </a:lnTo>
                  <a:lnTo>
                    <a:pt x="394484" y="34651"/>
                  </a:lnTo>
                  <a:close/>
                </a:path>
              </a:pathLst>
            </a:custGeom>
            <a:grpFill/>
            <a:ln w="24110"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3" name="Agrupar 62">
            <a:extLst>
              <a:ext uri="{FF2B5EF4-FFF2-40B4-BE49-F238E27FC236}">
                <a16:creationId xmlns:a16="http://schemas.microsoft.com/office/drawing/2014/main" id="{084F7C0A-0E69-61C1-4304-3A792AC72A0F}"/>
              </a:ext>
            </a:extLst>
          </p:cNvPr>
          <p:cNvGrpSpPr/>
          <p:nvPr/>
        </p:nvGrpSpPr>
        <p:grpSpPr>
          <a:xfrm>
            <a:off x="4647789" y="3525547"/>
            <a:ext cx="466346" cy="318478"/>
            <a:chOff x="7377310" y="5383741"/>
            <a:chExt cx="534338" cy="364911"/>
          </a:xfrm>
        </p:grpSpPr>
        <p:pic>
          <p:nvPicPr>
            <p:cNvPr id="448" name="Imagem 447" descr="Imagem em preto e branco&#10;&#10;Descrição gerada automaticamente com confiança média">
              <a:extLst>
                <a:ext uri="{FF2B5EF4-FFF2-40B4-BE49-F238E27FC236}">
                  <a16:creationId xmlns:a16="http://schemas.microsoft.com/office/drawing/2014/main" id="{3B367EA3-5A5C-30D4-CBC9-7F05435EDBE7}"/>
                </a:ext>
              </a:extLst>
            </p:cNvPr>
            <p:cNvPicPr>
              <a:picLocks noChangeAspect="1"/>
            </p:cNvPicPr>
            <p:nvPr/>
          </p:nvPicPr>
          <p:blipFill>
            <a:blip r:embed="rId11"/>
            <a:stretch>
              <a:fillRect/>
            </a:stretch>
          </p:blipFill>
          <p:spPr>
            <a:xfrm rot="16200000">
              <a:off x="7870872" y="5377442"/>
              <a:ext cx="34478" cy="47075"/>
            </a:xfrm>
            <a:prstGeom prst="rect">
              <a:avLst/>
            </a:prstGeom>
          </p:spPr>
        </p:pic>
        <p:pic>
          <p:nvPicPr>
            <p:cNvPr id="449" name="Imagem 448" descr="Imagem em preto e branco&#10;&#10;Descrição gerada automaticamente com confiança média">
              <a:extLst>
                <a:ext uri="{FF2B5EF4-FFF2-40B4-BE49-F238E27FC236}">
                  <a16:creationId xmlns:a16="http://schemas.microsoft.com/office/drawing/2014/main" id="{E32EBFBA-1913-844A-0C98-145BD282CF2D}"/>
                </a:ext>
              </a:extLst>
            </p:cNvPr>
            <p:cNvPicPr>
              <a:picLocks noChangeAspect="1"/>
            </p:cNvPicPr>
            <p:nvPr/>
          </p:nvPicPr>
          <p:blipFill>
            <a:blip r:embed="rId11"/>
            <a:stretch>
              <a:fillRect/>
            </a:stretch>
          </p:blipFill>
          <p:spPr>
            <a:xfrm rot="16200000">
              <a:off x="7489323" y="5505605"/>
              <a:ext cx="34478" cy="47075"/>
            </a:xfrm>
            <a:prstGeom prst="rect">
              <a:avLst/>
            </a:prstGeom>
          </p:spPr>
        </p:pic>
        <p:pic>
          <p:nvPicPr>
            <p:cNvPr id="450" name="Imagem 449" descr="Imagem em preto e branco&#10;&#10;Descrição gerada automaticamente com confiança média">
              <a:extLst>
                <a:ext uri="{FF2B5EF4-FFF2-40B4-BE49-F238E27FC236}">
                  <a16:creationId xmlns:a16="http://schemas.microsoft.com/office/drawing/2014/main" id="{46B7AB11-031A-A480-7C5F-A8A58F764602}"/>
                </a:ext>
              </a:extLst>
            </p:cNvPr>
            <p:cNvPicPr>
              <a:picLocks noChangeAspect="1"/>
            </p:cNvPicPr>
            <p:nvPr/>
          </p:nvPicPr>
          <p:blipFill>
            <a:blip r:embed="rId11"/>
            <a:stretch>
              <a:fillRect/>
            </a:stretch>
          </p:blipFill>
          <p:spPr>
            <a:xfrm rot="16200000">
              <a:off x="7383609" y="5652764"/>
              <a:ext cx="34478" cy="47075"/>
            </a:xfrm>
            <a:prstGeom prst="rect">
              <a:avLst/>
            </a:prstGeom>
          </p:spPr>
        </p:pic>
        <p:pic>
          <p:nvPicPr>
            <p:cNvPr id="451" name="Imagem 450" descr="Imagem em preto e branco&#10;&#10;Descrição gerada automaticamente com confiança média">
              <a:extLst>
                <a:ext uri="{FF2B5EF4-FFF2-40B4-BE49-F238E27FC236}">
                  <a16:creationId xmlns:a16="http://schemas.microsoft.com/office/drawing/2014/main" id="{6067C8A7-8074-4555-23DF-CE2CE939E7FF}"/>
                </a:ext>
              </a:extLst>
            </p:cNvPr>
            <p:cNvPicPr>
              <a:picLocks noChangeAspect="1"/>
            </p:cNvPicPr>
            <p:nvPr/>
          </p:nvPicPr>
          <p:blipFill>
            <a:blip r:embed="rId11"/>
            <a:stretch>
              <a:fillRect/>
            </a:stretch>
          </p:blipFill>
          <p:spPr>
            <a:xfrm rot="16200000">
              <a:off x="7711633" y="5562671"/>
              <a:ext cx="34478" cy="47075"/>
            </a:xfrm>
            <a:prstGeom prst="rect">
              <a:avLst/>
            </a:prstGeom>
          </p:spPr>
        </p:pic>
        <p:pic>
          <p:nvPicPr>
            <p:cNvPr id="452" name="Imagem 451" descr="Imagem em preto e branco&#10;&#10;Descrição gerada automaticamente com confiança média">
              <a:extLst>
                <a:ext uri="{FF2B5EF4-FFF2-40B4-BE49-F238E27FC236}">
                  <a16:creationId xmlns:a16="http://schemas.microsoft.com/office/drawing/2014/main" id="{694BCEDE-9253-DD22-71E1-8908458DFDB2}"/>
                </a:ext>
              </a:extLst>
            </p:cNvPr>
            <p:cNvPicPr>
              <a:picLocks noChangeAspect="1"/>
            </p:cNvPicPr>
            <p:nvPr/>
          </p:nvPicPr>
          <p:blipFill>
            <a:blip r:embed="rId11"/>
            <a:stretch>
              <a:fillRect/>
            </a:stretch>
          </p:blipFill>
          <p:spPr>
            <a:xfrm rot="16200000">
              <a:off x="7536489" y="5707875"/>
              <a:ext cx="34478" cy="47075"/>
            </a:xfrm>
            <a:prstGeom prst="rect">
              <a:avLst/>
            </a:prstGeom>
          </p:spPr>
        </p:pic>
      </p:grpSp>
      <p:grpSp>
        <p:nvGrpSpPr>
          <p:cNvPr id="453" name="Agrupar 452">
            <a:extLst>
              <a:ext uri="{FF2B5EF4-FFF2-40B4-BE49-F238E27FC236}">
                <a16:creationId xmlns:a16="http://schemas.microsoft.com/office/drawing/2014/main" id="{872055C2-9AED-1330-488C-AE8EF8531A93}"/>
              </a:ext>
            </a:extLst>
          </p:cNvPr>
          <p:cNvGrpSpPr/>
          <p:nvPr/>
        </p:nvGrpSpPr>
        <p:grpSpPr>
          <a:xfrm>
            <a:off x="5546451" y="2370982"/>
            <a:ext cx="619580" cy="434380"/>
            <a:chOff x="8406884" y="4060796"/>
            <a:chExt cx="709903" cy="497705"/>
          </a:xfrm>
        </p:grpSpPr>
        <p:pic>
          <p:nvPicPr>
            <p:cNvPr id="454" name="Imagem 453" descr="Imagem em preto e branco&#10;&#10;Descrição gerada automaticamente com confiança média">
              <a:extLst>
                <a:ext uri="{FF2B5EF4-FFF2-40B4-BE49-F238E27FC236}">
                  <a16:creationId xmlns:a16="http://schemas.microsoft.com/office/drawing/2014/main" id="{77321BF3-48CA-05A6-06E0-C2A15DDDDBA1}"/>
                </a:ext>
              </a:extLst>
            </p:cNvPr>
            <p:cNvPicPr>
              <a:picLocks noChangeAspect="1"/>
            </p:cNvPicPr>
            <p:nvPr/>
          </p:nvPicPr>
          <p:blipFill>
            <a:blip r:embed="rId11"/>
            <a:stretch>
              <a:fillRect/>
            </a:stretch>
          </p:blipFill>
          <p:spPr>
            <a:xfrm rot="16200000">
              <a:off x="8623126" y="4053104"/>
              <a:ext cx="42106" cy="57490"/>
            </a:xfrm>
            <a:prstGeom prst="rect">
              <a:avLst/>
            </a:prstGeom>
          </p:spPr>
        </p:pic>
        <p:pic>
          <p:nvPicPr>
            <p:cNvPr id="455" name="Imagem 454" descr="Imagem em preto e branco&#10;&#10;Descrição gerada automaticamente com confiança média">
              <a:extLst>
                <a:ext uri="{FF2B5EF4-FFF2-40B4-BE49-F238E27FC236}">
                  <a16:creationId xmlns:a16="http://schemas.microsoft.com/office/drawing/2014/main" id="{2F911F8B-BE07-2978-A278-FD36C8C8B4EB}"/>
                </a:ext>
              </a:extLst>
            </p:cNvPr>
            <p:cNvPicPr>
              <a:picLocks noChangeAspect="1"/>
            </p:cNvPicPr>
            <p:nvPr/>
          </p:nvPicPr>
          <p:blipFill>
            <a:blip r:embed="rId11"/>
            <a:stretch>
              <a:fillRect/>
            </a:stretch>
          </p:blipFill>
          <p:spPr>
            <a:xfrm rot="16200000">
              <a:off x="8790220" y="4165856"/>
              <a:ext cx="42106" cy="57490"/>
            </a:xfrm>
            <a:prstGeom prst="rect">
              <a:avLst/>
            </a:prstGeom>
          </p:spPr>
        </p:pic>
        <p:pic>
          <p:nvPicPr>
            <p:cNvPr id="456" name="Imagem 455" descr="Imagem em preto e branco&#10;&#10;Descrição gerada automaticamente com confiança média">
              <a:extLst>
                <a:ext uri="{FF2B5EF4-FFF2-40B4-BE49-F238E27FC236}">
                  <a16:creationId xmlns:a16="http://schemas.microsoft.com/office/drawing/2014/main" id="{D0670F59-D04C-9817-1F31-1C8C6C0136A3}"/>
                </a:ext>
              </a:extLst>
            </p:cNvPr>
            <p:cNvPicPr>
              <a:picLocks noChangeAspect="1"/>
            </p:cNvPicPr>
            <p:nvPr/>
          </p:nvPicPr>
          <p:blipFill>
            <a:blip r:embed="rId11"/>
            <a:stretch>
              <a:fillRect/>
            </a:stretch>
          </p:blipFill>
          <p:spPr>
            <a:xfrm rot="16200000">
              <a:off x="9066989" y="4148148"/>
              <a:ext cx="42106" cy="57490"/>
            </a:xfrm>
            <a:prstGeom prst="rect">
              <a:avLst/>
            </a:prstGeom>
          </p:spPr>
        </p:pic>
        <p:pic>
          <p:nvPicPr>
            <p:cNvPr id="457" name="Imagem 456" descr="Imagem em preto e branco&#10;&#10;Descrição gerada automaticamente com confiança média">
              <a:extLst>
                <a:ext uri="{FF2B5EF4-FFF2-40B4-BE49-F238E27FC236}">
                  <a16:creationId xmlns:a16="http://schemas.microsoft.com/office/drawing/2014/main" id="{9EF768D4-16AA-9A15-F093-4A9DF309A211}"/>
                </a:ext>
              </a:extLst>
            </p:cNvPr>
            <p:cNvPicPr>
              <a:picLocks noChangeAspect="1"/>
            </p:cNvPicPr>
            <p:nvPr/>
          </p:nvPicPr>
          <p:blipFill>
            <a:blip r:embed="rId11"/>
            <a:stretch>
              <a:fillRect/>
            </a:stretch>
          </p:blipFill>
          <p:spPr>
            <a:xfrm rot="16200000">
              <a:off x="8614987" y="4478714"/>
              <a:ext cx="42106" cy="57490"/>
            </a:xfrm>
            <a:prstGeom prst="rect">
              <a:avLst/>
            </a:prstGeom>
          </p:spPr>
        </p:pic>
        <p:pic>
          <p:nvPicPr>
            <p:cNvPr id="458" name="Imagem 457" descr="Imagem em preto e branco&#10;&#10;Descrição gerada automaticamente com confiança média">
              <a:extLst>
                <a:ext uri="{FF2B5EF4-FFF2-40B4-BE49-F238E27FC236}">
                  <a16:creationId xmlns:a16="http://schemas.microsoft.com/office/drawing/2014/main" id="{981B261F-F8CA-024D-FC8A-43BDDDA7A5D8}"/>
                </a:ext>
              </a:extLst>
            </p:cNvPr>
            <p:cNvPicPr>
              <a:picLocks noChangeAspect="1"/>
            </p:cNvPicPr>
            <p:nvPr/>
          </p:nvPicPr>
          <p:blipFill>
            <a:blip r:embed="rId11"/>
            <a:stretch>
              <a:fillRect/>
            </a:stretch>
          </p:blipFill>
          <p:spPr>
            <a:xfrm rot="16200000">
              <a:off x="8414576" y="4508703"/>
              <a:ext cx="42106" cy="57490"/>
            </a:xfrm>
            <a:prstGeom prst="rect">
              <a:avLst/>
            </a:prstGeom>
          </p:spPr>
        </p:pic>
      </p:grpSp>
      <p:pic>
        <p:nvPicPr>
          <p:cNvPr id="459" name="Imagem 458" descr="Imagem em preto e branco&#10;&#10;Descrição gerada automaticamente com confiança média">
            <a:extLst>
              <a:ext uri="{FF2B5EF4-FFF2-40B4-BE49-F238E27FC236}">
                <a16:creationId xmlns:a16="http://schemas.microsoft.com/office/drawing/2014/main" id="{82D19266-7079-EBE5-FD0E-5220D3F21D3D}"/>
              </a:ext>
            </a:extLst>
          </p:cNvPr>
          <p:cNvPicPr>
            <a:picLocks noChangeAspect="1"/>
          </p:cNvPicPr>
          <p:nvPr/>
        </p:nvPicPr>
        <p:blipFill>
          <a:blip r:embed="rId11"/>
          <a:stretch>
            <a:fillRect/>
          </a:stretch>
        </p:blipFill>
        <p:spPr>
          <a:xfrm rot="16200000">
            <a:off x="5921737" y="2675907"/>
            <a:ext cx="37017" cy="51593"/>
          </a:xfrm>
          <a:prstGeom prst="rect">
            <a:avLst/>
          </a:prstGeom>
        </p:spPr>
      </p:pic>
      <p:pic>
        <p:nvPicPr>
          <p:cNvPr id="460" name="Imagem 459" descr="Imagem em preto e branco&#10;&#10;Descrição gerada automaticamente com confiança média">
            <a:extLst>
              <a:ext uri="{FF2B5EF4-FFF2-40B4-BE49-F238E27FC236}">
                <a16:creationId xmlns:a16="http://schemas.microsoft.com/office/drawing/2014/main" id="{0B04B4CE-86CD-83DF-6408-8AB967C68DE3}"/>
              </a:ext>
            </a:extLst>
          </p:cNvPr>
          <p:cNvPicPr>
            <a:picLocks noChangeAspect="1"/>
          </p:cNvPicPr>
          <p:nvPr/>
        </p:nvPicPr>
        <p:blipFill>
          <a:blip r:embed="rId11"/>
          <a:stretch>
            <a:fillRect/>
          </a:stretch>
        </p:blipFill>
        <p:spPr>
          <a:xfrm rot="16200000">
            <a:off x="5922506" y="2614147"/>
            <a:ext cx="19023" cy="25974"/>
          </a:xfrm>
          <a:prstGeom prst="rect">
            <a:avLst/>
          </a:prstGeom>
        </p:spPr>
      </p:pic>
      <p:pic>
        <p:nvPicPr>
          <p:cNvPr id="461" name="Imagem 460" descr="Imagem em preto e branco&#10;&#10;Descrição gerada automaticamente com confiança média">
            <a:extLst>
              <a:ext uri="{FF2B5EF4-FFF2-40B4-BE49-F238E27FC236}">
                <a16:creationId xmlns:a16="http://schemas.microsoft.com/office/drawing/2014/main" id="{7F63037F-D21D-8E49-2A6E-232D79F30DB0}"/>
              </a:ext>
            </a:extLst>
          </p:cNvPr>
          <p:cNvPicPr>
            <a:picLocks noChangeAspect="1"/>
          </p:cNvPicPr>
          <p:nvPr/>
        </p:nvPicPr>
        <p:blipFill>
          <a:blip r:embed="rId11"/>
          <a:stretch>
            <a:fillRect/>
          </a:stretch>
        </p:blipFill>
        <p:spPr>
          <a:xfrm rot="16200000">
            <a:off x="5846791" y="2858266"/>
            <a:ext cx="19023" cy="25974"/>
          </a:xfrm>
          <a:prstGeom prst="rect">
            <a:avLst/>
          </a:prstGeom>
        </p:spPr>
      </p:pic>
      <p:pic>
        <p:nvPicPr>
          <p:cNvPr id="462" name="Imagem 461" descr="Imagem em preto e branco&#10;&#10;Descrição gerada automaticamente com confiança média">
            <a:extLst>
              <a:ext uri="{FF2B5EF4-FFF2-40B4-BE49-F238E27FC236}">
                <a16:creationId xmlns:a16="http://schemas.microsoft.com/office/drawing/2014/main" id="{DD9E9B12-6615-3147-0A21-E68034EB2D59}"/>
              </a:ext>
            </a:extLst>
          </p:cNvPr>
          <p:cNvPicPr>
            <a:picLocks noChangeAspect="1"/>
          </p:cNvPicPr>
          <p:nvPr/>
        </p:nvPicPr>
        <p:blipFill>
          <a:blip r:embed="rId11"/>
          <a:stretch>
            <a:fillRect/>
          </a:stretch>
        </p:blipFill>
        <p:spPr>
          <a:xfrm rot="16200000">
            <a:off x="5764118" y="2975454"/>
            <a:ext cx="19023" cy="25974"/>
          </a:xfrm>
          <a:prstGeom prst="rect">
            <a:avLst/>
          </a:prstGeom>
        </p:spPr>
      </p:pic>
      <p:grpSp>
        <p:nvGrpSpPr>
          <p:cNvPr id="463" name="Agrupar 462">
            <a:extLst>
              <a:ext uri="{FF2B5EF4-FFF2-40B4-BE49-F238E27FC236}">
                <a16:creationId xmlns:a16="http://schemas.microsoft.com/office/drawing/2014/main" id="{31758FF1-C242-FD3D-D703-9C82C2AA1847}"/>
              </a:ext>
            </a:extLst>
          </p:cNvPr>
          <p:cNvGrpSpPr/>
          <p:nvPr/>
        </p:nvGrpSpPr>
        <p:grpSpPr>
          <a:xfrm>
            <a:off x="6662788" y="2098926"/>
            <a:ext cx="1080000" cy="288000"/>
            <a:chOff x="6075688" y="4712524"/>
            <a:chExt cx="1463115" cy="390164"/>
          </a:xfrm>
        </p:grpSpPr>
        <p:sp>
          <p:nvSpPr>
            <p:cNvPr id="464" name="Retângulo: Cantos Arredondados 463">
              <a:extLst>
                <a:ext uri="{FF2B5EF4-FFF2-40B4-BE49-F238E27FC236}">
                  <a16:creationId xmlns:a16="http://schemas.microsoft.com/office/drawing/2014/main" id="{0AAA5EDB-D4E2-9B5B-E2E0-BA741F934999}"/>
                </a:ext>
              </a:extLst>
            </p:cNvPr>
            <p:cNvSpPr/>
            <p:nvPr/>
          </p:nvSpPr>
          <p:spPr>
            <a:xfrm>
              <a:off x="6075688" y="4712524"/>
              <a:ext cx="1463115" cy="390164"/>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465" name="CaixaDeTexto 464">
              <a:extLst>
                <a:ext uri="{FF2B5EF4-FFF2-40B4-BE49-F238E27FC236}">
                  <a16:creationId xmlns:a16="http://schemas.microsoft.com/office/drawing/2014/main" id="{A4742EB8-B116-C6C5-E620-CAB4CB6CC6D3}"/>
                </a:ext>
              </a:extLst>
            </p:cNvPr>
            <p:cNvSpPr txBox="1"/>
            <p:nvPr/>
          </p:nvSpPr>
          <p:spPr>
            <a:xfrm>
              <a:off x="6082710" y="4781510"/>
              <a:ext cx="1356790" cy="311153"/>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5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Piraquê</a:t>
              </a:r>
            </a:p>
          </p:txBody>
        </p:sp>
      </p:grpSp>
      <p:grpSp>
        <p:nvGrpSpPr>
          <p:cNvPr id="466" name="Agrupar 465">
            <a:extLst>
              <a:ext uri="{FF2B5EF4-FFF2-40B4-BE49-F238E27FC236}">
                <a16:creationId xmlns:a16="http://schemas.microsoft.com/office/drawing/2014/main" id="{7CD34446-C722-46D4-0E9B-9637EB14BE70}"/>
              </a:ext>
            </a:extLst>
          </p:cNvPr>
          <p:cNvGrpSpPr/>
          <p:nvPr/>
        </p:nvGrpSpPr>
        <p:grpSpPr>
          <a:xfrm>
            <a:off x="6831506" y="3166132"/>
            <a:ext cx="1080000" cy="253573"/>
            <a:chOff x="5574292" y="4658794"/>
            <a:chExt cx="1463115" cy="343525"/>
          </a:xfrm>
        </p:grpSpPr>
        <p:sp>
          <p:nvSpPr>
            <p:cNvPr id="467" name="Retângulo: Cantos Arredondados 466">
              <a:extLst>
                <a:ext uri="{FF2B5EF4-FFF2-40B4-BE49-F238E27FC236}">
                  <a16:creationId xmlns:a16="http://schemas.microsoft.com/office/drawing/2014/main" id="{7084B02F-5A72-6EA1-A7EF-DBDD5C795AC5}"/>
                </a:ext>
              </a:extLst>
            </p:cNvPr>
            <p:cNvSpPr/>
            <p:nvPr/>
          </p:nvSpPr>
          <p:spPr>
            <a:xfrm>
              <a:off x="5574292" y="4658794"/>
              <a:ext cx="1463115" cy="341394"/>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468" name="CaixaDeTexto 467">
              <a:extLst>
                <a:ext uri="{FF2B5EF4-FFF2-40B4-BE49-F238E27FC236}">
                  <a16:creationId xmlns:a16="http://schemas.microsoft.com/office/drawing/2014/main" id="{1CC40F00-3FA5-41EC-8633-3D1C5C1CC526}"/>
                </a:ext>
              </a:extLst>
            </p:cNvPr>
            <p:cNvSpPr txBox="1"/>
            <p:nvPr/>
          </p:nvSpPr>
          <p:spPr>
            <a:xfrm>
              <a:off x="5592252" y="4700025"/>
              <a:ext cx="1356790" cy="302294"/>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Itatiaia</a:t>
              </a:r>
            </a:p>
          </p:txBody>
        </p:sp>
      </p:grpSp>
      <p:sp>
        <p:nvSpPr>
          <p:cNvPr id="469" name="Elipse 468">
            <a:extLst>
              <a:ext uri="{FF2B5EF4-FFF2-40B4-BE49-F238E27FC236}">
                <a16:creationId xmlns:a16="http://schemas.microsoft.com/office/drawing/2014/main" id="{37035D1C-8B6D-9E48-3810-C7AFA871AB79}"/>
              </a:ext>
            </a:extLst>
          </p:cNvPr>
          <p:cNvSpPr/>
          <p:nvPr/>
        </p:nvSpPr>
        <p:spPr>
          <a:xfrm>
            <a:off x="5208240" y="3550989"/>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0" name="Elipse 469">
            <a:extLst>
              <a:ext uri="{FF2B5EF4-FFF2-40B4-BE49-F238E27FC236}">
                <a16:creationId xmlns:a16="http://schemas.microsoft.com/office/drawing/2014/main" id="{388EAA37-575D-C199-EB2D-CBFEE9080F16}"/>
              </a:ext>
            </a:extLst>
          </p:cNvPr>
          <p:cNvSpPr/>
          <p:nvPr/>
        </p:nvSpPr>
        <p:spPr>
          <a:xfrm>
            <a:off x="4965774" y="3276063"/>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1" name="Elipse 470">
            <a:extLst>
              <a:ext uri="{FF2B5EF4-FFF2-40B4-BE49-F238E27FC236}">
                <a16:creationId xmlns:a16="http://schemas.microsoft.com/office/drawing/2014/main" id="{EE454390-325C-3A33-BEC9-44AA13ED4A3E}"/>
              </a:ext>
            </a:extLst>
          </p:cNvPr>
          <p:cNvSpPr/>
          <p:nvPr/>
        </p:nvSpPr>
        <p:spPr>
          <a:xfrm>
            <a:off x="5383872" y="2805362"/>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2" name="Elipse 471">
            <a:extLst>
              <a:ext uri="{FF2B5EF4-FFF2-40B4-BE49-F238E27FC236}">
                <a16:creationId xmlns:a16="http://schemas.microsoft.com/office/drawing/2014/main" id="{390885AF-1BC1-6283-08E8-6A7B64862AB5}"/>
              </a:ext>
            </a:extLst>
          </p:cNvPr>
          <p:cNvSpPr/>
          <p:nvPr/>
        </p:nvSpPr>
        <p:spPr>
          <a:xfrm>
            <a:off x="4662154" y="4110654"/>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73" name="Conector reto 472">
            <a:extLst>
              <a:ext uri="{FF2B5EF4-FFF2-40B4-BE49-F238E27FC236}">
                <a16:creationId xmlns:a16="http://schemas.microsoft.com/office/drawing/2014/main" id="{F1229ABB-C9AF-030B-5278-651A557EC5A7}"/>
              </a:ext>
            </a:extLst>
          </p:cNvPr>
          <p:cNvCxnSpPr>
            <a:cxnSpLocks/>
            <a:stCxn id="470" idx="7"/>
            <a:endCxn id="481" idx="3"/>
          </p:cNvCxnSpPr>
          <p:nvPr/>
        </p:nvCxnSpPr>
        <p:spPr>
          <a:xfrm flipH="1" flipV="1">
            <a:off x="3925098" y="3270299"/>
            <a:ext cx="1102132" cy="16308"/>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nvGrpSpPr>
          <p:cNvPr id="474" name="Agrupar 473">
            <a:extLst>
              <a:ext uri="{FF2B5EF4-FFF2-40B4-BE49-F238E27FC236}">
                <a16:creationId xmlns:a16="http://schemas.microsoft.com/office/drawing/2014/main" id="{027E2A98-53C2-A558-8F84-98FA8E2F8BF4}"/>
              </a:ext>
            </a:extLst>
          </p:cNvPr>
          <p:cNvGrpSpPr/>
          <p:nvPr/>
        </p:nvGrpSpPr>
        <p:grpSpPr>
          <a:xfrm>
            <a:off x="2769259" y="3122511"/>
            <a:ext cx="1080000" cy="314132"/>
            <a:chOff x="5574292" y="4595960"/>
            <a:chExt cx="1361037" cy="276154"/>
          </a:xfrm>
        </p:grpSpPr>
        <p:sp>
          <p:nvSpPr>
            <p:cNvPr id="475" name="Retângulo: Cantos Arredondados 474">
              <a:extLst>
                <a:ext uri="{FF2B5EF4-FFF2-40B4-BE49-F238E27FC236}">
                  <a16:creationId xmlns:a16="http://schemas.microsoft.com/office/drawing/2014/main" id="{EEF193B1-F3BD-0436-36C5-B781A8E66D2F}"/>
                </a:ext>
              </a:extLst>
            </p:cNvPr>
            <p:cNvSpPr/>
            <p:nvPr/>
          </p:nvSpPr>
          <p:spPr>
            <a:xfrm>
              <a:off x="5574292" y="4595960"/>
              <a:ext cx="1359825" cy="252000"/>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800">
                <a:solidFill>
                  <a:prstClr val="white"/>
                </a:solidFill>
                <a:latin typeface="Segoe UI" panose="020B0502040204020203" pitchFamily="34" charset="0"/>
                <a:cs typeface="Segoe UI" panose="020B0502040204020203" pitchFamily="34" charset="0"/>
              </a:endParaRPr>
            </a:p>
          </p:txBody>
        </p:sp>
        <p:sp>
          <p:nvSpPr>
            <p:cNvPr id="476" name="CaixaDeTexto 475">
              <a:extLst>
                <a:ext uri="{FF2B5EF4-FFF2-40B4-BE49-F238E27FC236}">
                  <a16:creationId xmlns:a16="http://schemas.microsoft.com/office/drawing/2014/main" id="{695A0DA9-4C5B-DDBE-0641-FF104CB2DE57}"/>
                </a:ext>
              </a:extLst>
            </p:cNvPr>
            <p:cNvSpPr txBox="1"/>
            <p:nvPr/>
          </p:nvSpPr>
          <p:spPr>
            <a:xfrm>
              <a:off x="5578539" y="4605262"/>
              <a:ext cx="1356790" cy="266852"/>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endParaRPr lang="pt-BR" sz="800" b="1" kern="1400">
                <a:solidFill>
                  <a:prstClr val="white"/>
                </a:solidFill>
                <a:latin typeface="Segoe UI" panose="020B0502040204020203" pitchFamily="34" charset="0"/>
                <a:ea typeface="Tahoma" panose="020B0604030504040204" pitchFamily="34" charset="0"/>
                <a:cs typeface="Segoe UI" panose="020B0502040204020203" pitchFamily="34" charset="0"/>
              </a:endParaRPr>
            </a:p>
          </p:txBody>
        </p:sp>
      </p:grpSp>
      <p:cxnSp>
        <p:nvCxnSpPr>
          <p:cNvPr id="477" name="Conector reto 476">
            <a:extLst>
              <a:ext uri="{FF2B5EF4-FFF2-40B4-BE49-F238E27FC236}">
                <a16:creationId xmlns:a16="http://schemas.microsoft.com/office/drawing/2014/main" id="{966E2D0C-6538-F7D8-F4A8-781BC4B75CBD}"/>
              </a:ext>
            </a:extLst>
          </p:cNvPr>
          <p:cNvCxnSpPr>
            <a:cxnSpLocks/>
            <a:stCxn id="478" idx="4"/>
            <a:endCxn id="479" idx="0"/>
          </p:cNvCxnSpPr>
          <p:nvPr/>
        </p:nvCxnSpPr>
        <p:spPr>
          <a:xfrm flipH="1">
            <a:off x="5578894" y="3179963"/>
            <a:ext cx="42852" cy="276924"/>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478" name="Elipse 477">
            <a:extLst>
              <a:ext uri="{FF2B5EF4-FFF2-40B4-BE49-F238E27FC236}">
                <a16:creationId xmlns:a16="http://schemas.microsoft.com/office/drawing/2014/main" id="{F3D63D1E-500D-3848-F1CE-3BA0FF03F905}"/>
              </a:ext>
            </a:extLst>
          </p:cNvPr>
          <p:cNvSpPr/>
          <p:nvPr/>
        </p:nvSpPr>
        <p:spPr>
          <a:xfrm>
            <a:off x="5585746" y="3107963"/>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9" name="Elipse 478">
            <a:extLst>
              <a:ext uri="{FF2B5EF4-FFF2-40B4-BE49-F238E27FC236}">
                <a16:creationId xmlns:a16="http://schemas.microsoft.com/office/drawing/2014/main" id="{37591E68-318C-2306-7057-B23AEB0582D8}"/>
              </a:ext>
            </a:extLst>
          </p:cNvPr>
          <p:cNvSpPr/>
          <p:nvPr/>
        </p:nvSpPr>
        <p:spPr>
          <a:xfrm>
            <a:off x="5542894" y="3456887"/>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0" name="Elipse 479">
            <a:extLst>
              <a:ext uri="{FF2B5EF4-FFF2-40B4-BE49-F238E27FC236}">
                <a16:creationId xmlns:a16="http://schemas.microsoft.com/office/drawing/2014/main" id="{D37FF739-9923-F7E0-1CBE-128D2EB83408}"/>
              </a:ext>
            </a:extLst>
          </p:cNvPr>
          <p:cNvSpPr/>
          <p:nvPr/>
        </p:nvSpPr>
        <p:spPr>
          <a:xfrm>
            <a:off x="5137445" y="3599199"/>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1" name="CaixaDeTexto 480">
            <a:extLst>
              <a:ext uri="{FF2B5EF4-FFF2-40B4-BE49-F238E27FC236}">
                <a16:creationId xmlns:a16="http://schemas.microsoft.com/office/drawing/2014/main" id="{A3BDC5B4-CDEE-962E-B1B3-D6631AD700DE}"/>
              </a:ext>
            </a:extLst>
          </p:cNvPr>
          <p:cNvSpPr txBox="1"/>
          <p:nvPr/>
        </p:nvSpPr>
        <p:spPr>
          <a:xfrm>
            <a:off x="2716171" y="3158730"/>
            <a:ext cx="1208927" cy="223138"/>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Água Vermelha</a:t>
            </a:r>
          </a:p>
        </p:txBody>
      </p:sp>
      <p:sp>
        <p:nvSpPr>
          <p:cNvPr id="482" name="Elipse 481">
            <a:extLst>
              <a:ext uri="{FF2B5EF4-FFF2-40B4-BE49-F238E27FC236}">
                <a16:creationId xmlns:a16="http://schemas.microsoft.com/office/drawing/2014/main" id="{86EA56DA-1CDB-0814-8145-96D1047DE137}"/>
              </a:ext>
            </a:extLst>
          </p:cNvPr>
          <p:cNvSpPr/>
          <p:nvPr/>
        </p:nvSpPr>
        <p:spPr>
          <a:xfrm>
            <a:off x="5568824" y="3278540"/>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83" name="Conector reto 482">
            <a:extLst>
              <a:ext uri="{FF2B5EF4-FFF2-40B4-BE49-F238E27FC236}">
                <a16:creationId xmlns:a16="http://schemas.microsoft.com/office/drawing/2014/main" id="{2620CBFF-5BC0-C555-9609-5B3397CD8BAF}"/>
              </a:ext>
            </a:extLst>
          </p:cNvPr>
          <p:cNvCxnSpPr>
            <a:cxnSpLocks/>
          </p:cNvCxnSpPr>
          <p:nvPr/>
        </p:nvCxnSpPr>
        <p:spPr>
          <a:xfrm flipH="1">
            <a:off x="5800353" y="3221992"/>
            <a:ext cx="28832" cy="159620"/>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484" name="Elipse 483">
            <a:extLst>
              <a:ext uri="{FF2B5EF4-FFF2-40B4-BE49-F238E27FC236}">
                <a16:creationId xmlns:a16="http://schemas.microsoft.com/office/drawing/2014/main" id="{AF7DD88F-2AF0-26A1-EDB8-2F4311B78CB2}"/>
              </a:ext>
            </a:extLst>
          </p:cNvPr>
          <p:cNvSpPr/>
          <p:nvPr/>
        </p:nvSpPr>
        <p:spPr>
          <a:xfrm>
            <a:off x="5809775" y="3181935"/>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5" name="Elipse 484">
            <a:extLst>
              <a:ext uri="{FF2B5EF4-FFF2-40B4-BE49-F238E27FC236}">
                <a16:creationId xmlns:a16="http://schemas.microsoft.com/office/drawing/2014/main" id="{6623B2BA-8A42-D4A8-3E6E-955E74445201}"/>
              </a:ext>
            </a:extLst>
          </p:cNvPr>
          <p:cNvSpPr/>
          <p:nvPr/>
        </p:nvSpPr>
        <p:spPr>
          <a:xfrm>
            <a:off x="5745744" y="3318425"/>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86" name="Conector reto 485">
            <a:extLst>
              <a:ext uri="{FF2B5EF4-FFF2-40B4-BE49-F238E27FC236}">
                <a16:creationId xmlns:a16="http://schemas.microsoft.com/office/drawing/2014/main" id="{47BDDA15-8795-3EEB-D139-829625657823}"/>
              </a:ext>
            </a:extLst>
          </p:cNvPr>
          <p:cNvCxnSpPr>
            <a:cxnSpLocks/>
            <a:stCxn id="487" idx="4"/>
            <a:endCxn id="35" idx="84"/>
          </p:cNvCxnSpPr>
          <p:nvPr/>
        </p:nvCxnSpPr>
        <p:spPr>
          <a:xfrm>
            <a:off x="5690376" y="2919780"/>
            <a:ext cx="23440" cy="380690"/>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487" name="Elipse 486">
            <a:extLst>
              <a:ext uri="{FF2B5EF4-FFF2-40B4-BE49-F238E27FC236}">
                <a16:creationId xmlns:a16="http://schemas.microsoft.com/office/drawing/2014/main" id="{F927456F-0FD1-DBFD-DAEF-F367F42330B1}"/>
              </a:ext>
            </a:extLst>
          </p:cNvPr>
          <p:cNvSpPr/>
          <p:nvPr/>
        </p:nvSpPr>
        <p:spPr>
          <a:xfrm flipH="1" flipV="1">
            <a:off x="5652287" y="2919780"/>
            <a:ext cx="76179" cy="73756"/>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8" name="Elipse 487">
            <a:extLst>
              <a:ext uri="{FF2B5EF4-FFF2-40B4-BE49-F238E27FC236}">
                <a16:creationId xmlns:a16="http://schemas.microsoft.com/office/drawing/2014/main" id="{F5F8338D-3E2C-605C-3B58-5BA6FEC0A6EC}"/>
              </a:ext>
            </a:extLst>
          </p:cNvPr>
          <p:cNvSpPr/>
          <p:nvPr/>
        </p:nvSpPr>
        <p:spPr>
          <a:xfrm>
            <a:off x="5674124" y="3241692"/>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9" name="Elipse 488">
            <a:extLst>
              <a:ext uri="{FF2B5EF4-FFF2-40B4-BE49-F238E27FC236}">
                <a16:creationId xmlns:a16="http://schemas.microsoft.com/office/drawing/2014/main" id="{27B7AB1B-DDF8-4305-0664-DCC7D447D81E}"/>
              </a:ext>
            </a:extLst>
          </p:cNvPr>
          <p:cNvSpPr/>
          <p:nvPr/>
        </p:nvSpPr>
        <p:spPr>
          <a:xfrm>
            <a:off x="5674124" y="3042795"/>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0" name="Elipse 489">
            <a:extLst>
              <a:ext uri="{FF2B5EF4-FFF2-40B4-BE49-F238E27FC236}">
                <a16:creationId xmlns:a16="http://schemas.microsoft.com/office/drawing/2014/main" id="{DBCB720B-7911-8E3C-1338-9A444B48E4FC}"/>
              </a:ext>
            </a:extLst>
          </p:cNvPr>
          <p:cNvSpPr/>
          <p:nvPr/>
        </p:nvSpPr>
        <p:spPr>
          <a:xfrm>
            <a:off x="5438044" y="2606343"/>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1" name="Elipse 490">
            <a:extLst>
              <a:ext uri="{FF2B5EF4-FFF2-40B4-BE49-F238E27FC236}">
                <a16:creationId xmlns:a16="http://schemas.microsoft.com/office/drawing/2014/main" id="{6E6CBC14-CA79-B56C-70F3-059346D6D923}"/>
              </a:ext>
            </a:extLst>
          </p:cNvPr>
          <p:cNvSpPr/>
          <p:nvPr/>
        </p:nvSpPr>
        <p:spPr>
          <a:xfrm>
            <a:off x="5522798" y="2441284"/>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2" name="Elipse 491">
            <a:extLst>
              <a:ext uri="{FF2B5EF4-FFF2-40B4-BE49-F238E27FC236}">
                <a16:creationId xmlns:a16="http://schemas.microsoft.com/office/drawing/2014/main" id="{141C4B8A-0164-EB01-EA9B-F1150C56DD43}"/>
              </a:ext>
            </a:extLst>
          </p:cNvPr>
          <p:cNvSpPr/>
          <p:nvPr/>
        </p:nvSpPr>
        <p:spPr>
          <a:xfrm>
            <a:off x="5736737" y="2474897"/>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3" name="Elipse 492">
            <a:extLst>
              <a:ext uri="{FF2B5EF4-FFF2-40B4-BE49-F238E27FC236}">
                <a16:creationId xmlns:a16="http://schemas.microsoft.com/office/drawing/2014/main" id="{C5942A7A-46BD-025A-A8B6-C5946A2DA95F}"/>
              </a:ext>
            </a:extLst>
          </p:cNvPr>
          <p:cNvSpPr/>
          <p:nvPr/>
        </p:nvSpPr>
        <p:spPr>
          <a:xfrm>
            <a:off x="5827388" y="2368836"/>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4" name="Conector reto 493">
            <a:extLst>
              <a:ext uri="{FF2B5EF4-FFF2-40B4-BE49-F238E27FC236}">
                <a16:creationId xmlns:a16="http://schemas.microsoft.com/office/drawing/2014/main" id="{6B5D50D5-9E1B-A5D1-C430-D732B0601549}"/>
              </a:ext>
            </a:extLst>
          </p:cNvPr>
          <p:cNvCxnSpPr>
            <a:cxnSpLocks/>
            <a:stCxn id="490" idx="4"/>
            <a:endCxn id="471" idx="7"/>
          </p:cNvCxnSpPr>
          <p:nvPr/>
        </p:nvCxnSpPr>
        <p:spPr>
          <a:xfrm flipH="1">
            <a:off x="5445328" y="2678343"/>
            <a:ext cx="28716" cy="137563"/>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cxnSp>
        <p:nvCxnSpPr>
          <p:cNvPr id="495" name="Conector reto 494">
            <a:extLst>
              <a:ext uri="{FF2B5EF4-FFF2-40B4-BE49-F238E27FC236}">
                <a16:creationId xmlns:a16="http://schemas.microsoft.com/office/drawing/2014/main" id="{0F507B45-6BF1-F4EA-535C-F008A64949DE}"/>
              </a:ext>
            </a:extLst>
          </p:cNvPr>
          <p:cNvCxnSpPr>
            <a:cxnSpLocks/>
            <a:stCxn id="497" idx="4"/>
            <a:endCxn id="491" idx="5"/>
          </p:cNvCxnSpPr>
          <p:nvPr/>
        </p:nvCxnSpPr>
        <p:spPr>
          <a:xfrm flipH="1" flipV="1">
            <a:off x="5584254" y="2502740"/>
            <a:ext cx="19401" cy="102877"/>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cxnSp>
        <p:nvCxnSpPr>
          <p:cNvPr id="496" name="Conector reto 495">
            <a:extLst>
              <a:ext uri="{FF2B5EF4-FFF2-40B4-BE49-F238E27FC236}">
                <a16:creationId xmlns:a16="http://schemas.microsoft.com/office/drawing/2014/main" id="{4F3E45BE-BD73-9365-459C-5267AFD804F4}"/>
              </a:ext>
            </a:extLst>
          </p:cNvPr>
          <p:cNvCxnSpPr>
            <a:cxnSpLocks/>
            <a:stCxn id="497" idx="3"/>
            <a:endCxn id="490" idx="6"/>
          </p:cNvCxnSpPr>
          <p:nvPr/>
        </p:nvCxnSpPr>
        <p:spPr>
          <a:xfrm flipH="1">
            <a:off x="5510044" y="2595073"/>
            <a:ext cx="68155" cy="47270"/>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497" name="Elipse 496">
            <a:extLst>
              <a:ext uri="{FF2B5EF4-FFF2-40B4-BE49-F238E27FC236}">
                <a16:creationId xmlns:a16="http://schemas.microsoft.com/office/drawing/2014/main" id="{93DCAC2C-D4FD-12F1-0725-41DF56C9199D}"/>
              </a:ext>
            </a:extLst>
          </p:cNvPr>
          <p:cNvSpPr/>
          <p:nvPr/>
        </p:nvSpPr>
        <p:spPr>
          <a:xfrm>
            <a:off x="5567655" y="2533617"/>
            <a:ext cx="72000" cy="72000"/>
          </a:xfrm>
          <a:prstGeom prst="ellipse">
            <a:avLst/>
          </a:prstGeom>
          <a:solidFill>
            <a:schemeClr val="accent2"/>
          </a:soli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98" name="Conector reto 497">
            <a:extLst>
              <a:ext uri="{FF2B5EF4-FFF2-40B4-BE49-F238E27FC236}">
                <a16:creationId xmlns:a16="http://schemas.microsoft.com/office/drawing/2014/main" id="{1F2AA2AF-D5DE-A3A9-AD2A-1AD516FD961D}"/>
              </a:ext>
            </a:extLst>
          </p:cNvPr>
          <p:cNvCxnSpPr>
            <a:cxnSpLocks/>
            <a:stCxn id="492" idx="3"/>
            <a:endCxn id="497" idx="6"/>
          </p:cNvCxnSpPr>
          <p:nvPr/>
        </p:nvCxnSpPr>
        <p:spPr>
          <a:xfrm flipH="1">
            <a:off x="5639655" y="2536353"/>
            <a:ext cx="107626" cy="33264"/>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cxnSp>
        <p:nvCxnSpPr>
          <p:cNvPr id="499" name="Conector reto 498">
            <a:extLst>
              <a:ext uri="{FF2B5EF4-FFF2-40B4-BE49-F238E27FC236}">
                <a16:creationId xmlns:a16="http://schemas.microsoft.com/office/drawing/2014/main" id="{F8B74F85-3C02-3617-7E05-6C6A1C5294A9}"/>
              </a:ext>
            </a:extLst>
          </p:cNvPr>
          <p:cNvCxnSpPr>
            <a:cxnSpLocks/>
            <a:stCxn id="493" idx="3"/>
            <a:endCxn id="492" idx="7"/>
          </p:cNvCxnSpPr>
          <p:nvPr/>
        </p:nvCxnSpPr>
        <p:spPr>
          <a:xfrm flipH="1">
            <a:off x="5798193" y="2430292"/>
            <a:ext cx="39739" cy="55149"/>
          </a:xfrm>
          <a:prstGeom prst="line">
            <a:avLst/>
          </a:prstGeom>
          <a:solidFill>
            <a:srgbClr val="FF7F0A"/>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500" name="CaixaDeTexto 499">
            <a:extLst>
              <a:ext uri="{FF2B5EF4-FFF2-40B4-BE49-F238E27FC236}">
                <a16:creationId xmlns:a16="http://schemas.microsoft.com/office/drawing/2014/main" id="{172285CA-42C8-C0A9-F6D9-BFE64AEE9D59}"/>
              </a:ext>
            </a:extLst>
          </p:cNvPr>
          <p:cNvSpPr txBox="1"/>
          <p:nvPr/>
        </p:nvSpPr>
        <p:spPr>
          <a:xfrm>
            <a:off x="2862179" y="3393372"/>
            <a:ext cx="4644886"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7.5 million¹</a:t>
            </a:r>
            <a:endParaRPr lang="pt-BR" sz="900" dirty="0"/>
          </a:p>
        </p:txBody>
      </p:sp>
      <p:sp>
        <p:nvSpPr>
          <p:cNvPr id="501" name="CaixaDeTexto 500">
            <a:extLst>
              <a:ext uri="{FF2B5EF4-FFF2-40B4-BE49-F238E27FC236}">
                <a16:creationId xmlns:a16="http://schemas.microsoft.com/office/drawing/2014/main" id="{DC2D4BCF-E0C9-0DA9-3EE6-8EDACE43956B}"/>
              </a:ext>
            </a:extLst>
          </p:cNvPr>
          <p:cNvSpPr txBox="1"/>
          <p:nvPr/>
        </p:nvSpPr>
        <p:spPr>
          <a:xfrm>
            <a:off x="2894466" y="4261500"/>
            <a:ext cx="4644886"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48.3 million¹</a:t>
            </a:r>
            <a:endParaRPr lang="pt-BR" sz="900" dirty="0"/>
          </a:p>
        </p:txBody>
      </p:sp>
      <p:sp>
        <p:nvSpPr>
          <p:cNvPr id="502" name="CaixaDeTexto 501">
            <a:extLst>
              <a:ext uri="{FF2B5EF4-FFF2-40B4-BE49-F238E27FC236}">
                <a16:creationId xmlns:a16="http://schemas.microsoft.com/office/drawing/2014/main" id="{02013A69-C277-C136-D145-4E5942B0E042}"/>
              </a:ext>
            </a:extLst>
          </p:cNvPr>
          <p:cNvSpPr txBox="1"/>
          <p:nvPr/>
        </p:nvSpPr>
        <p:spPr>
          <a:xfrm>
            <a:off x="6581971" y="1439444"/>
            <a:ext cx="1452791"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283.8 million¹</a:t>
            </a:r>
            <a:endParaRPr lang="pt-BR" sz="900" dirty="0"/>
          </a:p>
        </p:txBody>
      </p:sp>
      <p:grpSp>
        <p:nvGrpSpPr>
          <p:cNvPr id="503" name="Agrupar 502">
            <a:extLst>
              <a:ext uri="{FF2B5EF4-FFF2-40B4-BE49-F238E27FC236}">
                <a16:creationId xmlns:a16="http://schemas.microsoft.com/office/drawing/2014/main" id="{61225203-5D64-6BE0-E159-DD9C62E142B7}"/>
              </a:ext>
            </a:extLst>
          </p:cNvPr>
          <p:cNvGrpSpPr/>
          <p:nvPr/>
        </p:nvGrpSpPr>
        <p:grpSpPr>
          <a:xfrm>
            <a:off x="5600320" y="3279526"/>
            <a:ext cx="1215989" cy="253770"/>
            <a:chOff x="5537102" y="3527151"/>
            <a:chExt cx="1215989" cy="253770"/>
          </a:xfrm>
        </p:grpSpPr>
        <p:cxnSp>
          <p:nvCxnSpPr>
            <p:cNvPr id="506" name="Conector reto 505">
              <a:extLst>
                <a:ext uri="{FF2B5EF4-FFF2-40B4-BE49-F238E27FC236}">
                  <a16:creationId xmlns:a16="http://schemas.microsoft.com/office/drawing/2014/main" id="{3C55FFD2-65C3-23B8-088A-F86A072FFC2D}"/>
                </a:ext>
              </a:extLst>
            </p:cNvPr>
            <p:cNvCxnSpPr>
              <a:cxnSpLocks/>
            </p:cNvCxnSpPr>
            <p:nvPr/>
          </p:nvCxnSpPr>
          <p:spPr>
            <a:xfrm flipH="1" flipV="1">
              <a:off x="6750052" y="3527151"/>
              <a:ext cx="3039" cy="252999"/>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cxnSp>
          <p:nvCxnSpPr>
            <p:cNvPr id="511" name="Conector reto 510">
              <a:extLst>
                <a:ext uri="{FF2B5EF4-FFF2-40B4-BE49-F238E27FC236}">
                  <a16:creationId xmlns:a16="http://schemas.microsoft.com/office/drawing/2014/main" id="{F062064E-4A43-68E1-0DE7-172532D9E847}"/>
                </a:ext>
              </a:extLst>
            </p:cNvPr>
            <p:cNvCxnSpPr>
              <a:cxnSpLocks/>
            </p:cNvCxnSpPr>
            <p:nvPr/>
          </p:nvCxnSpPr>
          <p:spPr>
            <a:xfrm flipH="1">
              <a:off x="5537102" y="3776996"/>
              <a:ext cx="1203960" cy="3925"/>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sp>
        <p:nvSpPr>
          <p:cNvPr id="576" name="CaixaDeTexto 575">
            <a:extLst>
              <a:ext uri="{FF2B5EF4-FFF2-40B4-BE49-F238E27FC236}">
                <a16:creationId xmlns:a16="http://schemas.microsoft.com/office/drawing/2014/main" id="{09197F06-DC4C-BF78-C762-CA7F4B0D4F7A}"/>
              </a:ext>
            </a:extLst>
          </p:cNvPr>
          <p:cNvSpPr txBox="1"/>
          <p:nvPr/>
        </p:nvSpPr>
        <p:spPr>
          <a:xfrm>
            <a:off x="6874041" y="3403463"/>
            <a:ext cx="1452791"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218.9 million¹</a:t>
            </a:r>
            <a:endParaRPr lang="pt-BR" sz="900" dirty="0"/>
          </a:p>
        </p:txBody>
      </p:sp>
      <p:sp>
        <p:nvSpPr>
          <p:cNvPr id="577" name="CaixaDeTexto 576">
            <a:extLst>
              <a:ext uri="{FF2B5EF4-FFF2-40B4-BE49-F238E27FC236}">
                <a16:creationId xmlns:a16="http://schemas.microsoft.com/office/drawing/2014/main" id="{818779CD-E9C2-F61F-FAB6-A35DC4C8D418}"/>
              </a:ext>
            </a:extLst>
          </p:cNvPr>
          <p:cNvSpPr txBox="1"/>
          <p:nvPr/>
        </p:nvSpPr>
        <p:spPr>
          <a:xfrm>
            <a:off x="6442333" y="4056360"/>
            <a:ext cx="1452791"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14.7 million¹</a:t>
            </a:r>
            <a:endParaRPr lang="pt-BR" sz="900" dirty="0"/>
          </a:p>
        </p:txBody>
      </p:sp>
      <p:grpSp>
        <p:nvGrpSpPr>
          <p:cNvPr id="578" name="Agrupar 577">
            <a:extLst>
              <a:ext uri="{FF2B5EF4-FFF2-40B4-BE49-F238E27FC236}">
                <a16:creationId xmlns:a16="http://schemas.microsoft.com/office/drawing/2014/main" id="{45057EB0-FBA3-B4CE-5ED4-3520D4EFA039}"/>
              </a:ext>
            </a:extLst>
          </p:cNvPr>
          <p:cNvGrpSpPr/>
          <p:nvPr/>
        </p:nvGrpSpPr>
        <p:grpSpPr>
          <a:xfrm>
            <a:off x="2761929" y="1159261"/>
            <a:ext cx="4975484" cy="3305090"/>
            <a:chOff x="2718589" y="1159261"/>
            <a:chExt cx="4975484" cy="3305090"/>
          </a:xfrm>
        </p:grpSpPr>
        <p:grpSp>
          <p:nvGrpSpPr>
            <p:cNvPr id="579" name="Agrupar 578">
              <a:extLst>
                <a:ext uri="{FF2B5EF4-FFF2-40B4-BE49-F238E27FC236}">
                  <a16:creationId xmlns:a16="http://schemas.microsoft.com/office/drawing/2014/main" id="{6C96B659-6BC5-106B-6084-637D9C036A46}"/>
                </a:ext>
              </a:extLst>
            </p:cNvPr>
            <p:cNvGrpSpPr/>
            <p:nvPr/>
          </p:nvGrpSpPr>
          <p:grpSpPr>
            <a:xfrm>
              <a:off x="2718589" y="1159261"/>
              <a:ext cx="4975484" cy="3305090"/>
              <a:chOff x="5575569" y="3327354"/>
              <a:chExt cx="6740470" cy="3305090"/>
            </a:xfrm>
          </p:grpSpPr>
          <p:cxnSp>
            <p:nvCxnSpPr>
              <p:cNvPr id="581" name="Conector reto 580">
                <a:extLst>
                  <a:ext uri="{FF2B5EF4-FFF2-40B4-BE49-F238E27FC236}">
                    <a16:creationId xmlns:a16="http://schemas.microsoft.com/office/drawing/2014/main" id="{8292916C-186A-515E-1D0E-032AE54E836A}"/>
                  </a:ext>
                </a:extLst>
              </p:cNvPr>
              <p:cNvCxnSpPr>
                <a:cxnSpLocks/>
              </p:cNvCxnSpPr>
              <p:nvPr/>
            </p:nvCxnSpPr>
            <p:spPr>
              <a:xfrm flipH="1">
                <a:off x="6979084" y="6313653"/>
                <a:ext cx="1160196" cy="0"/>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nvGrpSpPr>
              <p:cNvPr id="582" name="Agrupar 581">
                <a:extLst>
                  <a:ext uri="{FF2B5EF4-FFF2-40B4-BE49-F238E27FC236}">
                    <a16:creationId xmlns:a16="http://schemas.microsoft.com/office/drawing/2014/main" id="{2674141A-9A2B-8CB7-EA8A-F6EF12DECB3A}"/>
                  </a:ext>
                </a:extLst>
              </p:cNvPr>
              <p:cNvGrpSpPr/>
              <p:nvPr/>
            </p:nvGrpSpPr>
            <p:grpSpPr>
              <a:xfrm>
                <a:off x="5575569" y="6183446"/>
                <a:ext cx="1414063" cy="252001"/>
                <a:chOff x="5575569" y="6183446"/>
                <a:chExt cx="1414063" cy="252001"/>
              </a:xfrm>
            </p:grpSpPr>
            <p:sp>
              <p:nvSpPr>
                <p:cNvPr id="593" name="Retângulo: Cantos Arredondados 592">
                  <a:extLst>
                    <a:ext uri="{FF2B5EF4-FFF2-40B4-BE49-F238E27FC236}">
                      <a16:creationId xmlns:a16="http://schemas.microsoft.com/office/drawing/2014/main" id="{E414200B-2B14-84FB-3C0A-542785A2E34C}"/>
                    </a:ext>
                  </a:extLst>
                </p:cNvPr>
                <p:cNvSpPr/>
                <p:nvPr/>
              </p:nvSpPr>
              <p:spPr>
                <a:xfrm>
                  <a:off x="5629807" y="6183446"/>
                  <a:ext cx="1359825" cy="252001"/>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594" name="CaixaDeTexto 593">
                  <a:extLst>
                    <a:ext uri="{FF2B5EF4-FFF2-40B4-BE49-F238E27FC236}">
                      <a16:creationId xmlns:a16="http://schemas.microsoft.com/office/drawing/2014/main" id="{FE579FE7-DD9A-931C-1C5F-EEAC2F03652D}"/>
                    </a:ext>
                  </a:extLst>
                </p:cNvPr>
                <p:cNvSpPr txBox="1"/>
                <p:nvPr/>
              </p:nvSpPr>
              <p:spPr>
                <a:xfrm>
                  <a:off x="5575569" y="6202160"/>
                  <a:ext cx="1356790" cy="223138"/>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a:solidFill>
                        <a:prstClr val="white"/>
                      </a:solidFill>
                      <a:latin typeface="Segoe UI" panose="020B0502040204020203" pitchFamily="34" charset="0"/>
                      <a:ea typeface="Tahoma" panose="020B0604030504040204" pitchFamily="34" charset="0"/>
                      <a:cs typeface="Segoe UI" panose="020B0502040204020203" pitchFamily="34" charset="0"/>
                    </a:rPr>
                    <a:t>Minuano</a:t>
                  </a:r>
                  <a:endParaRPr lang="pt-BR" sz="1000" kern="1400">
                    <a:solidFill>
                      <a:prstClr val="white"/>
                    </a:solidFill>
                    <a:latin typeface="Segoe UI" panose="020B0502040204020203" pitchFamily="34" charset="0"/>
                    <a:ea typeface="Tahoma" panose="020B0604030504040204" pitchFamily="34" charset="0"/>
                    <a:cs typeface="Segoe UI" panose="020B0502040204020203" pitchFamily="34" charset="0"/>
                  </a:endParaRPr>
                </a:p>
              </p:txBody>
            </p:sp>
          </p:grpSp>
          <p:grpSp>
            <p:nvGrpSpPr>
              <p:cNvPr id="583" name="Agrupar 582">
                <a:extLst>
                  <a:ext uri="{FF2B5EF4-FFF2-40B4-BE49-F238E27FC236}">
                    <a16:creationId xmlns:a16="http://schemas.microsoft.com/office/drawing/2014/main" id="{4B0A7120-D98F-1CB4-28B9-1FD55A11EE4A}"/>
                  </a:ext>
                </a:extLst>
              </p:cNvPr>
              <p:cNvGrpSpPr/>
              <p:nvPr/>
            </p:nvGrpSpPr>
            <p:grpSpPr>
              <a:xfrm>
                <a:off x="9122767" y="6380444"/>
                <a:ext cx="1566524" cy="252000"/>
                <a:chOff x="9122767" y="6380444"/>
                <a:chExt cx="1566524" cy="252000"/>
              </a:xfrm>
            </p:grpSpPr>
            <p:sp>
              <p:nvSpPr>
                <p:cNvPr id="591" name="Retângulo: Cantos Arredondados 590">
                  <a:extLst>
                    <a:ext uri="{FF2B5EF4-FFF2-40B4-BE49-F238E27FC236}">
                      <a16:creationId xmlns:a16="http://schemas.microsoft.com/office/drawing/2014/main" id="{52C2F129-87D9-49AB-5D55-5205821E857B}"/>
                    </a:ext>
                  </a:extLst>
                </p:cNvPr>
                <p:cNvSpPr/>
                <p:nvPr/>
              </p:nvSpPr>
              <p:spPr>
                <a:xfrm>
                  <a:off x="9179059" y="6380444"/>
                  <a:ext cx="1451772" cy="252000"/>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592" name="CaixaDeTexto 591">
                  <a:extLst>
                    <a:ext uri="{FF2B5EF4-FFF2-40B4-BE49-F238E27FC236}">
                      <a16:creationId xmlns:a16="http://schemas.microsoft.com/office/drawing/2014/main" id="{E212F1BB-D5AD-373C-4D5F-0DB4F15C3E71}"/>
                    </a:ext>
                  </a:extLst>
                </p:cNvPr>
                <p:cNvSpPr txBox="1"/>
                <p:nvPr/>
              </p:nvSpPr>
              <p:spPr>
                <a:xfrm>
                  <a:off x="9122767" y="6403768"/>
                  <a:ext cx="1566524" cy="223138"/>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Riacho Grande</a:t>
                  </a:r>
                </a:p>
              </p:txBody>
            </p:sp>
          </p:grpSp>
          <p:grpSp>
            <p:nvGrpSpPr>
              <p:cNvPr id="584" name="Agrupar 583">
                <a:extLst>
                  <a:ext uri="{FF2B5EF4-FFF2-40B4-BE49-F238E27FC236}">
                    <a16:creationId xmlns:a16="http://schemas.microsoft.com/office/drawing/2014/main" id="{DAE69B0E-A19A-A247-8F42-869D934AC7B6}"/>
                  </a:ext>
                </a:extLst>
              </p:cNvPr>
              <p:cNvGrpSpPr/>
              <p:nvPr/>
            </p:nvGrpSpPr>
            <p:grpSpPr>
              <a:xfrm>
                <a:off x="10593825" y="5965106"/>
                <a:ext cx="1463116" cy="252000"/>
                <a:chOff x="10593825" y="5482562"/>
                <a:chExt cx="1463116" cy="252000"/>
              </a:xfrm>
            </p:grpSpPr>
            <p:sp>
              <p:nvSpPr>
                <p:cNvPr id="589" name="Retângulo: Cantos Arredondados 588">
                  <a:extLst>
                    <a:ext uri="{FF2B5EF4-FFF2-40B4-BE49-F238E27FC236}">
                      <a16:creationId xmlns:a16="http://schemas.microsoft.com/office/drawing/2014/main" id="{A8123C2B-DC59-FB92-E2C4-03668AF47B4E}"/>
                    </a:ext>
                  </a:extLst>
                </p:cNvPr>
                <p:cNvSpPr/>
                <p:nvPr/>
              </p:nvSpPr>
              <p:spPr>
                <a:xfrm>
                  <a:off x="10593825" y="5482562"/>
                  <a:ext cx="1463116" cy="252000"/>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590" name="CaixaDeTexto 589">
                  <a:extLst>
                    <a:ext uri="{FF2B5EF4-FFF2-40B4-BE49-F238E27FC236}">
                      <a16:creationId xmlns:a16="http://schemas.microsoft.com/office/drawing/2014/main" id="{A708D72F-D79E-EB95-BF5A-62428EF48945}"/>
                    </a:ext>
                  </a:extLst>
                </p:cNvPr>
                <p:cNvSpPr txBox="1"/>
                <p:nvPr/>
              </p:nvSpPr>
              <p:spPr>
                <a:xfrm>
                  <a:off x="10681495" y="5492296"/>
                  <a:ext cx="1356791" cy="223138"/>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Jacarandá</a:t>
                  </a:r>
                </a:p>
              </p:txBody>
            </p:sp>
          </p:grpSp>
          <p:cxnSp>
            <p:nvCxnSpPr>
              <p:cNvPr id="585" name="Conector reto 584">
                <a:extLst>
                  <a:ext uri="{FF2B5EF4-FFF2-40B4-BE49-F238E27FC236}">
                    <a16:creationId xmlns:a16="http://schemas.microsoft.com/office/drawing/2014/main" id="{13A483C9-2A01-FF46-3A04-88DBC5951B8E}"/>
                  </a:ext>
                </a:extLst>
              </p:cNvPr>
              <p:cNvCxnSpPr>
                <a:cxnSpLocks/>
              </p:cNvCxnSpPr>
              <p:nvPr/>
            </p:nvCxnSpPr>
            <p:spPr>
              <a:xfrm flipV="1">
                <a:off x="9838537" y="3491427"/>
                <a:ext cx="22382" cy="1039750"/>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nvGrpSpPr>
              <p:cNvPr id="586" name="Agrupar 585">
                <a:extLst>
                  <a:ext uri="{FF2B5EF4-FFF2-40B4-BE49-F238E27FC236}">
                    <a16:creationId xmlns:a16="http://schemas.microsoft.com/office/drawing/2014/main" id="{CBB2D325-927C-4EBA-1075-263C0B0034BD}"/>
                  </a:ext>
                </a:extLst>
              </p:cNvPr>
              <p:cNvGrpSpPr/>
              <p:nvPr/>
            </p:nvGrpSpPr>
            <p:grpSpPr>
              <a:xfrm>
                <a:off x="10631790" y="3327354"/>
                <a:ext cx="1684249" cy="288000"/>
                <a:chOff x="10631790" y="3358304"/>
                <a:chExt cx="1684249" cy="288000"/>
              </a:xfrm>
            </p:grpSpPr>
            <p:sp>
              <p:nvSpPr>
                <p:cNvPr id="587" name="Retângulo: Cantos Arredondados 586">
                  <a:extLst>
                    <a:ext uri="{FF2B5EF4-FFF2-40B4-BE49-F238E27FC236}">
                      <a16:creationId xmlns:a16="http://schemas.microsoft.com/office/drawing/2014/main" id="{2D93B660-DA4E-24E8-2A38-AC0558D10FBE}"/>
                    </a:ext>
                  </a:extLst>
                </p:cNvPr>
                <p:cNvSpPr/>
                <p:nvPr/>
              </p:nvSpPr>
              <p:spPr>
                <a:xfrm>
                  <a:off x="10700181" y="3358304"/>
                  <a:ext cx="1511272" cy="288000"/>
                </a:xfrm>
                <a:prstGeom prst="roundRect">
                  <a:avLst>
                    <a:gd name="adj" fmla="val 50000"/>
                  </a:avLst>
                </a:prstGeom>
                <a:gradFill>
                  <a:gsLst>
                    <a:gs pos="0">
                      <a:srgbClr val="FF9F3F"/>
                    </a:gs>
                    <a:gs pos="76000">
                      <a:srgbClr val="FF7F03"/>
                    </a:gs>
                  </a:gsLst>
                  <a:lin ang="0" scaled="0"/>
                </a:gradFill>
                <a:ln>
                  <a:noFill/>
                </a:ln>
                <a:effectLst>
                  <a:outerShdw blurRad="101600" dist="101600" dir="5400000" algn="t" rotWithShape="0">
                    <a:prstClr val="black">
                      <a:alpha val="1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sz="1000">
                    <a:solidFill>
                      <a:prstClr val="white"/>
                    </a:solidFill>
                    <a:latin typeface="Segoe UI" panose="020B0502040204020203" pitchFamily="34" charset="0"/>
                    <a:cs typeface="Segoe UI" panose="020B0502040204020203" pitchFamily="34" charset="0"/>
                  </a:endParaRPr>
                </a:p>
              </p:txBody>
            </p:sp>
            <p:sp>
              <p:nvSpPr>
                <p:cNvPr id="588" name="CaixaDeTexto 587">
                  <a:extLst>
                    <a:ext uri="{FF2B5EF4-FFF2-40B4-BE49-F238E27FC236}">
                      <a16:creationId xmlns:a16="http://schemas.microsoft.com/office/drawing/2014/main" id="{551001D8-A6B0-16B1-2FE5-7C4A717BF386}"/>
                    </a:ext>
                  </a:extLst>
                </p:cNvPr>
                <p:cNvSpPr txBox="1"/>
                <p:nvPr/>
              </p:nvSpPr>
              <p:spPr>
                <a:xfrm>
                  <a:off x="10631790" y="3413731"/>
                  <a:ext cx="1684249" cy="223138"/>
                </a:xfrm>
                <a:prstGeom prst="rect">
                  <a:avLst/>
                </a:prstGeom>
                <a:noFill/>
              </p:spPr>
              <p:txBody>
                <a:bodyPr wrap="square" rtlCol="0">
                  <a:spAutoFit/>
                </a:bodyPr>
                <a:lstStyle/>
                <a:p>
                  <a:pPr algn="ctr" defTabSz="675010">
                    <a:lnSpc>
                      <a:spcPct val="85000"/>
                    </a:lnSpc>
                    <a:spcBef>
                      <a:spcPts val="148"/>
                    </a:spcBef>
                    <a:spcAft>
                      <a:spcPts val="148"/>
                    </a:spcAft>
                    <a:buClr>
                      <a:srgbClr val="326E96"/>
                    </a:buClr>
                    <a:defRPr/>
                  </a:pPr>
                  <a:r>
                    <a:rPr lang="pt-BR" sz="1000" b="1" kern="1400" dirty="0">
                      <a:solidFill>
                        <a:prstClr val="white"/>
                      </a:solidFill>
                      <a:latin typeface="Segoe UI" panose="020B0502040204020203" pitchFamily="34" charset="0"/>
                      <a:ea typeface="Tahoma" panose="020B0604030504040204" pitchFamily="34" charset="0"/>
                      <a:cs typeface="Segoe UI" panose="020B0502040204020203" pitchFamily="34" charset="0"/>
                    </a:rPr>
                    <a:t>Serra Dourada</a:t>
                  </a:r>
                </a:p>
              </p:txBody>
            </p:sp>
          </p:grpSp>
        </p:grpSp>
        <p:cxnSp>
          <p:nvCxnSpPr>
            <p:cNvPr id="580" name="Conector reto 579">
              <a:extLst>
                <a:ext uri="{FF2B5EF4-FFF2-40B4-BE49-F238E27FC236}">
                  <a16:creationId xmlns:a16="http://schemas.microsoft.com/office/drawing/2014/main" id="{61C2C20B-5B63-63A5-34A8-F647E7CF724D}"/>
                </a:ext>
              </a:extLst>
            </p:cNvPr>
            <p:cNvCxnSpPr>
              <a:cxnSpLocks/>
              <a:endCxn id="588" idx="1"/>
            </p:cNvCxnSpPr>
            <p:nvPr/>
          </p:nvCxnSpPr>
          <p:spPr>
            <a:xfrm>
              <a:off x="5844412" y="1326257"/>
              <a:ext cx="606431" cy="0"/>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cxnSp>
        <p:nvCxnSpPr>
          <p:cNvPr id="595" name="Conector reto 594">
            <a:extLst>
              <a:ext uri="{FF2B5EF4-FFF2-40B4-BE49-F238E27FC236}">
                <a16:creationId xmlns:a16="http://schemas.microsoft.com/office/drawing/2014/main" id="{77662749-68A1-1EDB-A608-8D5B45A61C2F}"/>
              </a:ext>
            </a:extLst>
          </p:cNvPr>
          <p:cNvCxnSpPr>
            <a:cxnSpLocks/>
          </p:cNvCxnSpPr>
          <p:nvPr/>
        </p:nvCxnSpPr>
        <p:spPr>
          <a:xfrm flipH="1" flipV="1">
            <a:off x="6622240" y="2203105"/>
            <a:ext cx="7843" cy="874720"/>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cxnSp>
        <p:nvCxnSpPr>
          <p:cNvPr id="596" name="Conector reto 595">
            <a:extLst>
              <a:ext uri="{FF2B5EF4-FFF2-40B4-BE49-F238E27FC236}">
                <a16:creationId xmlns:a16="http://schemas.microsoft.com/office/drawing/2014/main" id="{06FD9163-01A6-DA25-134D-C26344F9D4BA}"/>
              </a:ext>
            </a:extLst>
          </p:cNvPr>
          <p:cNvCxnSpPr>
            <a:cxnSpLocks/>
          </p:cNvCxnSpPr>
          <p:nvPr/>
        </p:nvCxnSpPr>
        <p:spPr>
          <a:xfrm flipV="1">
            <a:off x="5773313" y="3072533"/>
            <a:ext cx="856770" cy="997"/>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sp>
        <p:nvSpPr>
          <p:cNvPr id="597" name="CaixaDeTexto 596">
            <a:extLst>
              <a:ext uri="{FF2B5EF4-FFF2-40B4-BE49-F238E27FC236}">
                <a16:creationId xmlns:a16="http://schemas.microsoft.com/office/drawing/2014/main" id="{8E43BE60-F6AF-A82B-49B4-A13E5656C89F}"/>
              </a:ext>
            </a:extLst>
          </p:cNvPr>
          <p:cNvSpPr txBox="1"/>
          <p:nvPr/>
        </p:nvSpPr>
        <p:spPr>
          <a:xfrm>
            <a:off x="6672385" y="2379888"/>
            <a:ext cx="1452791"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313.5 million¹</a:t>
            </a:r>
            <a:endParaRPr lang="pt-BR" sz="900" dirty="0"/>
          </a:p>
        </p:txBody>
      </p:sp>
      <p:grpSp>
        <p:nvGrpSpPr>
          <p:cNvPr id="598" name="Agrupar 597">
            <a:extLst>
              <a:ext uri="{FF2B5EF4-FFF2-40B4-BE49-F238E27FC236}">
                <a16:creationId xmlns:a16="http://schemas.microsoft.com/office/drawing/2014/main" id="{13BF2943-18EB-0A11-29F6-A222653032DC}"/>
              </a:ext>
            </a:extLst>
          </p:cNvPr>
          <p:cNvGrpSpPr/>
          <p:nvPr/>
        </p:nvGrpSpPr>
        <p:grpSpPr>
          <a:xfrm>
            <a:off x="5245357" y="3632067"/>
            <a:ext cx="1203960" cy="266101"/>
            <a:chOff x="5537102" y="3514820"/>
            <a:chExt cx="1203960" cy="266101"/>
          </a:xfrm>
        </p:grpSpPr>
        <p:cxnSp>
          <p:nvCxnSpPr>
            <p:cNvPr id="599" name="Conector reto 598">
              <a:extLst>
                <a:ext uri="{FF2B5EF4-FFF2-40B4-BE49-F238E27FC236}">
                  <a16:creationId xmlns:a16="http://schemas.microsoft.com/office/drawing/2014/main" id="{6BC1D8BE-FB7C-77B4-EC63-894CFE6C6216}"/>
                </a:ext>
              </a:extLst>
            </p:cNvPr>
            <p:cNvCxnSpPr>
              <a:cxnSpLocks/>
            </p:cNvCxnSpPr>
            <p:nvPr/>
          </p:nvCxnSpPr>
          <p:spPr>
            <a:xfrm flipH="1" flipV="1">
              <a:off x="5552065" y="3514820"/>
              <a:ext cx="3039" cy="252999"/>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cxnSp>
          <p:nvCxnSpPr>
            <p:cNvPr id="600" name="Conector reto 599">
              <a:extLst>
                <a:ext uri="{FF2B5EF4-FFF2-40B4-BE49-F238E27FC236}">
                  <a16:creationId xmlns:a16="http://schemas.microsoft.com/office/drawing/2014/main" id="{235A3941-DEE6-D54E-250C-64131A6158CA}"/>
                </a:ext>
              </a:extLst>
            </p:cNvPr>
            <p:cNvCxnSpPr>
              <a:cxnSpLocks/>
            </p:cNvCxnSpPr>
            <p:nvPr/>
          </p:nvCxnSpPr>
          <p:spPr>
            <a:xfrm flipH="1">
              <a:off x="5537102" y="3776996"/>
              <a:ext cx="1203960" cy="3925"/>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grpSp>
        <p:nvGrpSpPr>
          <p:cNvPr id="601" name="Agrupar 600">
            <a:extLst>
              <a:ext uri="{FF2B5EF4-FFF2-40B4-BE49-F238E27FC236}">
                <a16:creationId xmlns:a16="http://schemas.microsoft.com/office/drawing/2014/main" id="{1B4B78D4-0E1A-4911-F241-A3939D3C6B38}"/>
              </a:ext>
            </a:extLst>
          </p:cNvPr>
          <p:cNvGrpSpPr/>
          <p:nvPr/>
        </p:nvGrpSpPr>
        <p:grpSpPr>
          <a:xfrm>
            <a:off x="5165524" y="3671198"/>
            <a:ext cx="252000" cy="648000"/>
            <a:chOff x="5564398" y="3134423"/>
            <a:chExt cx="252000" cy="648000"/>
          </a:xfrm>
        </p:grpSpPr>
        <p:cxnSp>
          <p:nvCxnSpPr>
            <p:cNvPr id="602" name="Conector reto 601">
              <a:extLst>
                <a:ext uri="{FF2B5EF4-FFF2-40B4-BE49-F238E27FC236}">
                  <a16:creationId xmlns:a16="http://schemas.microsoft.com/office/drawing/2014/main" id="{4BC5C815-276D-0498-6F5B-A1D5D39F65E8}"/>
                </a:ext>
              </a:extLst>
            </p:cNvPr>
            <p:cNvCxnSpPr>
              <a:cxnSpLocks/>
              <a:endCxn id="480" idx="4"/>
            </p:cNvCxnSpPr>
            <p:nvPr/>
          </p:nvCxnSpPr>
          <p:spPr>
            <a:xfrm flipV="1">
              <a:off x="5615659" y="3134423"/>
              <a:ext cx="0" cy="648000"/>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cxnSp>
          <p:nvCxnSpPr>
            <p:cNvPr id="603" name="Conector reto 602">
              <a:extLst>
                <a:ext uri="{FF2B5EF4-FFF2-40B4-BE49-F238E27FC236}">
                  <a16:creationId xmlns:a16="http://schemas.microsoft.com/office/drawing/2014/main" id="{B7A2F03D-20DC-9EC5-37BD-F0E324CA4B68}"/>
                </a:ext>
              </a:extLst>
            </p:cNvPr>
            <p:cNvCxnSpPr>
              <a:cxnSpLocks/>
            </p:cNvCxnSpPr>
            <p:nvPr/>
          </p:nvCxnSpPr>
          <p:spPr>
            <a:xfrm flipH="1">
              <a:off x="5564398" y="3776996"/>
              <a:ext cx="252000" cy="3925"/>
            </a:xfrm>
            <a:prstGeom prst="line">
              <a:avLst/>
            </a:prstGeom>
            <a:ln>
              <a:solidFill>
                <a:srgbClr val="85929B"/>
              </a:solidFill>
              <a:prstDash val="dash"/>
            </a:ln>
          </p:spPr>
          <p:style>
            <a:lnRef idx="1">
              <a:schemeClr val="accent1"/>
            </a:lnRef>
            <a:fillRef idx="0">
              <a:schemeClr val="accent1"/>
            </a:fillRef>
            <a:effectRef idx="0">
              <a:schemeClr val="accent1"/>
            </a:effectRef>
            <a:fontRef idx="minor">
              <a:schemeClr val="tx1"/>
            </a:fontRef>
          </p:style>
        </p:cxnSp>
      </p:grpSp>
      <p:sp>
        <p:nvSpPr>
          <p:cNvPr id="604" name="CaixaDeTexto 603">
            <a:extLst>
              <a:ext uri="{FF2B5EF4-FFF2-40B4-BE49-F238E27FC236}">
                <a16:creationId xmlns:a16="http://schemas.microsoft.com/office/drawing/2014/main" id="{9BEEECAE-494F-91E2-36AB-3F7EBBA17E4A}"/>
              </a:ext>
            </a:extLst>
          </p:cNvPr>
          <p:cNvSpPr txBox="1"/>
          <p:nvPr/>
        </p:nvSpPr>
        <p:spPr>
          <a:xfrm>
            <a:off x="5408155" y="4447971"/>
            <a:ext cx="1452791" cy="230832"/>
          </a:xfrm>
          <a:prstGeom prst="rect">
            <a:avLst/>
          </a:prstGeom>
          <a:noFill/>
        </p:spPr>
        <p:txBody>
          <a:bodyPr wrap="square">
            <a:spAutoFit/>
          </a:bodyPr>
          <a:lstStyle/>
          <a:p>
            <a:r>
              <a:rPr lang="pt-BR" sz="900" dirty="0">
                <a:solidFill>
                  <a:srgbClr val="EA7500"/>
                </a:solidFill>
                <a:latin typeface="Segoe UI" panose="020B0502040204020203" pitchFamily="34" charset="0"/>
                <a:ea typeface="Tahoma" panose="020B0604030504040204" pitchFamily="34" charset="0"/>
                <a:cs typeface="Segoe UI" panose="020B0502040204020203" pitchFamily="34" charset="0"/>
              </a:rPr>
              <a:t>RAP: </a:t>
            </a:r>
            <a:r>
              <a:rPr lang="pt-BR" sz="900" b="1" dirty="0">
                <a:solidFill>
                  <a:srgbClr val="EA7500"/>
                </a:solidFill>
                <a:latin typeface="Segoe UI" panose="020B0502040204020203" pitchFamily="34" charset="0"/>
                <a:ea typeface="Tahoma" panose="020B0604030504040204" pitchFamily="34" charset="0"/>
                <a:cs typeface="Segoe UI" panose="020B0502040204020203" pitchFamily="34" charset="0"/>
              </a:rPr>
              <a:t>R</a:t>
            </a:r>
            <a:r>
              <a:rPr lang="pt-BR" sz="900" b="1">
                <a:solidFill>
                  <a:srgbClr val="EA7500"/>
                </a:solidFill>
                <a:latin typeface="Segoe UI" panose="020B0502040204020203" pitchFamily="34" charset="0"/>
                <a:ea typeface="Tahoma" panose="020B0604030504040204" pitchFamily="34" charset="0"/>
                <a:cs typeface="Segoe UI" panose="020B0502040204020203" pitchFamily="34" charset="0"/>
              </a:rPr>
              <a:t>$85.1 million¹</a:t>
            </a:r>
            <a:endParaRPr lang="pt-BR" sz="900" dirty="0"/>
          </a:p>
        </p:txBody>
      </p:sp>
      <p:sp>
        <p:nvSpPr>
          <p:cNvPr id="605" name="CaixaDeTexto 604">
            <a:extLst>
              <a:ext uri="{FF2B5EF4-FFF2-40B4-BE49-F238E27FC236}">
                <a16:creationId xmlns:a16="http://schemas.microsoft.com/office/drawing/2014/main" id="{A3B2228F-1FDA-1AB3-1ACC-1554ED384BFA}"/>
              </a:ext>
            </a:extLst>
          </p:cNvPr>
          <p:cNvSpPr txBox="1"/>
          <p:nvPr>
            <p:custDataLst>
              <p:tags r:id="rId3"/>
            </p:custDataLst>
          </p:nvPr>
        </p:nvSpPr>
        <p:spPr>
          <a:xfrm>
            <a:off x="646912" y="123231"/>
            <a:ext cx="1805034" cy="58477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EXCELLENCE IN</a:t>
            </a:r>
            <a:br>
              <a:rPr sz="1000" spc="0" dirty="0">
                <a:latin typeface="Segoe UI" panose="020B0502040204020203" pitchFamily="34" charset="0"/>
                <a:ea typeface="Segoe UI" panose="020B0502040204020203" pitchFamily="34" charset="0"/>
                <a:cs typeface="Segoe UI" panose="020B0502040204020203" pitchFamily="34" charset="0"/>
              </a:rPr>
            </a:br>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JECT MANAGEMENT</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isciplined structuring and execution</a:t>
            </a:r>
          </a:p>
        </p:txBody>
      </p:sp>
      <p:grpSp>
        <p:nvGrpSpPr>
          <p:cNvPr id="606" name="Agrupar 605">
            <a:extLst>
              <a:ext uri="{FF2B5EF4-FFF2-40B4-BE49-F238E27FC236}">
                <a16:creationId xmlns:a16="http://schemas.microsoft.com/office/drawing/2014/main" id="{B0EAA491-801D-6FFB-03F4-D7ACDF168910}"/>
              </a:ext>
            </a:extLst>
          </p:cNvPr>
          <p:cNvGrpSpPr/>
          <p:nvPr/>
        </p:nvGrpSpPr>
        <p:grpSpPr>
          <a:xfrm>
            <a:off x="194193" y="166754"/>
            <a:ext cx="362316" cy="288292"/>
            <a:chOff x="194193" y="166754"/>
            <a:chExt cx="362316" cy="288292"/>
          </a:xfrm>
        </p:grpSpPr>
        <p:sp>
          <p:nvSpPr>
            <p:cNvPr id="607" name="Forma Livre: Forma 606">
              <a:extLst>
                <a:ext uri="{FF2B5EF4-FFF2-40B4-BE49-F238E27FC236}">
                  <a16:creationId xmlns:a16="http://schemas.microsoft.com/office/drawing/2014/main" id="{69C42707-6EA4-F734-8791-F349B9AFEA71}"/>
                </a:ext>
              </a:extLst>
            </p:cNvPr>
            <p:cNvSpPr/>
            <p:nvPr/>
          </p:nvSpPr>
          <p:spPr>
            <a:xfrm>
              <a:off x="194193" y="166754"/>
              <a:ext cx="362316" cy="253696"/>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a:p>
          </p:txBody>
        </p:sp>
        <p:sp>
          <p:nvSpPr>
            <p:cNvPr id="608" name="CaixaDeTexto 607">
              <a:extLst>
                <a:ext uri="{FF2B5EF4-FFF2-40B4-BE49-F238E27FC236}">
                  <a16:creationId xmlns:a16="http://schemas.microsoft.com/office/drawing/2014/main" id="{C8EF9913-136F-741B-BB4E-381C2C79CF07}"/>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4</a:t>
              </a:r>
            </a:p>
          </p:txBody>
        </p:sp>
      </p:grpSp>
      <p:sp>
        <p:nvSpPr>
          <p:cNvPr id="609" name="CaixaDeTexto 608">
            <a:extLst>
              <a:ext uri="{FF2B5EF4-FFF2-40B4-BE49-F238E27FC236}">
                <a16:creationId xmlns:a16="http://schemas.microsoft.com/office/drawing/2014/main" id="{619446DF-D1FB-D1AC-A13F-8EF3B7F7687E}"/>
              </a:ext>
            </a:extLst>
          </p:cNvPr>
          <p:cNvSpPr txBox="1"/>
          <p:nvPr/>
        </p:nvSpPr>
        <p:spPr>
          <a:xfrm>
            <a:off x="5362100" y="4672442"/>
            <a:ext cx="997222" cy="198581"/>
          </a:xfrm>
          <a:prstGeom prst="rect">
            <a:avLst/>
          </a:prstGeom>
          <a:noFill/>
        </p:spPr>
        <p:txBody>
          <a:bodyPr wrap="square">
            <a:spAutoFit/>
          </a:bodyPr>
          <a:lstStyle/>
          <a:p>
            <a:pPr>
              <a:lnSpc>
                <a:spcPct val="85000"/>
              </a:lnSpc>
              <a:spcBef>
                <a:spcPts val="443"/>
              </a:spcBef>
              <a:spcAft>
                <a:spcPts val="443"/>
              </a:spcAft>
            </a:pPr>
            <a:r>
              <a:rPr lang="pt-BR" sz="812">
                <a:latin typeface="Segoe UI" panose="020B0502040204020203" pitchFamily="34" charset="0"/>
                <a:ea typeface="Tahoma" panose="020B0604030504040204" pitchFamily="34" charset="0"/>
                <a:cs typeface="Segoe UI" panose="020B0502040204020203" pitchFamily="34" charset="0"/>
              </a:rPr>
              <a:t>Substation </a:t>
            </a:r>
            <a:r>
              <a:rPr lang="pt-BR" sz="812" dirty="0">
                <a:latin typeface="Segoe UI" panose="020B0502040204020203" pitchFamily="34" charset="0"/>
                <a:ea typeface="Tahoma" panose="020B0604030504040204" pitchFamily="34" charset="0"/>
                <a:cs typeface="Segoe UI" panose="020B0502040204020203" pitchFamily="34" charset="0"/>
              </a:rPr>
              <a:t>(SE)</a:t>
            </a:r>
          </a:p>
        </p:txBody>
      </p:sp>
      <p:grpSp>
        <p:nvGrpSpPr>
          <p:cNvPr id="610" name="Agrupar 609">
            <a:extLst>
              <a:ext uri="{FF2B5EF4-FFF2-40B4-BE49-F238E27FC236}">
                <a16:creationId xmlns:a16="http://schemas.microsoft.com/office/drawing/2014/main" id="{38525F9D-EB8F-1578-E09F-76940DCC9A30}"/>
              </a:ext>
            </a:extLst>
          </p:cNvPr>
          <p:cNvGrpSpPr/>
          <p:nvPr/>
        </p:nvGrpSpPr>
        <p:grpSpPr>
          <a:xfrm>
            <a:off x="6316047" y="4672439"/>
            <a:ext cx="1664689" cy="198581"/>
            <a:chOff x="5123912" y="6047081"/>
            <a:chExt cx="2255214" cy="269024"/>
          </a:xfrm>
        </p:grpSpPr>
        <p:cxnSp>
          <p:nvCxnSpPr>
            <p:cNvPr id="611" name="Conector reto 610">
              <a:extLst>
                <a:ext uri="{FF2B5EF4-FFF2-40B4-BE49-F238E27FC236}">
                  <a16:creationId xmlns:a16="http://schemas.microsoft.com/office/drawing/2014/main" id="{9F559147-48C8-B89C-00B6-8729E495C07C}"/>
                </a:ext>
              </a:extLst>
            </p:cNvPr>
            <p:cNvCxnSpPr>
              <a:cxnSpLocks/>
            </p:cNvCxnSpPr>
            <p:nvPr/>
          </p:nvCxnSpPr>
          <p:spPr>
            <a:xfrm flipV="1">
              <a:off x="5123912" y="6159030"/>
              <a:ext cx="189229" cy="1"/>
            </a:xfrm>
            <a:prstGeom prst="line">
              <a:avLst/>
            </a:prstGeom>
            <a:solidFill>
              <a:schemeClr val="bg1">
                <a:alpha val="50196"/>
              </a:schemeClr>
            </a:solidFill>
            <a:ln w="28575">
              <a:solidFill>
                <a:srgbClr val="FF9F3F"/>
              </a:solidFill>
            </a:ln>
          </p:spPr>
          <p:style>
            <a:lnRef idx="2">
              <a:schemeClr val="accent1">
                <a:shade val="50000"/>
              </a:schemeClr>
            </a:lnRef>
            <a:fillRef idx="1">
              <a:schemeClr val="accent1"/>
            </a:fillRef>
            <a:effectRef idx="0">
              <a:schemeClr val="accent1"/>
            </a:effectRef>
            <a:fontRef idx="minor">
              <a:schemeClr val="lt1"/>
            </a:fontRef>
          </p:style>
        </p:cxnSp>
        <p:sp>
          <p:nvSpPr>
            <p:cNvPr id="612" name="CaixaDeTexto 611">
              <a:extLst>
                <a:ext uri="{FF2B5EF4-FFF2-40B4-BE49-F238E27FC236}">
                  <a16:creationId xmlns:a16="http://schemas.microsoft.com/office/drawing/2014/main" id="{320CA592-3F84-BFBB-D2A8-CF3E726B134F}"/>
                </a:ext>
              </a:extLst>
            </p:cNvPr>
            <p:cNvSpPr txBox="1"/>
            <p:nvPr/>
          </p:nvSpPr>
          <p:spPr>
            <a:xfrm>
              <a:off x="5277284" y="6047081"/>
              <a:ext cx="2101842" cy="269024"/>
            </a:xfrm>
            <a:prstGeom prst="rect">
              <a:avLst/>
            </a:prstGeom>
            <a:noFill/>
          </p:spPr>
          <p:txBody>
            <a:bodyPr wrap="square">
              <a:spAutoFit/>
            </a:bodyPr>
            <a:lstStyle/>
            <a:p>
              <a:pPr>
                <a:lnSpc>
                  <a:spcPct val="85000"/>
                </a:lnSpc>
                <a:spcBef>
                  <a:spcPts val="443"/>
                </a:spcBef>
                <a:spcAft>
                  <a:spcPts val="443"/>
                </a:spcAft>
              </a:pPr>
              <a:r>
                <a:rPr lang="pt-BR" sz="812">
                  <a:latin typeface="Segoe UI" panose="020B0502040204020203" pitchFamily="34" charset="0"/>
                  <a:ea typeface="Tahoma" panose="020B0604030504040204" pitchFamily="34" charset="0"/>
                  <a:cs typeface="Segoe UI" panose="020B0502040204020203" pitchFamily="34" charset="0"/>
                </a:rPr>
                <a:t>Transmission Lines (TL)</a:t>
              </a:r>
            </a:p>
          </p:txBody>
        </p:sp>
      </p:grpSp>
      <p:sp>
        <p:nvSpPr>
          <p:cNvPr id="613" name="Elipse 612">
            <a:extLst>
              <a:ext uri="{FF2B5EF4-FFF2-40B4-BE49-F238E27FC236}">
                <a16:creationId xmlns:a16="http://schemas.microsoft.com/office/drawing/2014/main" id="{302CCF48-E187-0AF0-3FD2-5B37431ECBF3}"/>
              </a:ext>
            </a:extLst>
          </p:cNvPr>
          <p:cNvSpPr/>
          <p:nvPr/>
        </p:nvSpPr>
        <p:spPr>
          <a:xfrm>
            <a:off x="5300522" y="4706991"/>
            <a:ext cx="88301" cy="8830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 name="Conector reto 1">
            <a:extLst>
              <a:ext uri="{FF2B5EF4-FFF2-40B4-BE49-F238E27FC236}">
                <a16:creationId xmlns:a16="http://schemas.microsoft.com/office/drawing/2014/main" id="{7E2C9953-0FE6-A321-9F11-82094A53DABC}"/>
              </a:ext>
            </a:extLst>
          </p:cNvPr>
          <p:cNvCxnSpPr>
            <a:cxnSpLocks/>
          </p:cNvCxnSpPr>
          <p:nvPr/>
        </p:nvCxnSpPr>
        <p:spPr>
          <a:xfrm flipH="1">
            <a:off x="271062" y="2649150"/>
            <a:ext cx="975215" cy="11203"/>
          </a:xfrm>
          <a:prstGeom prst="line">
            <a:avLst/>
          </a:prstGeom>
          <a:gradFill>
            <a:gsLst>
              <a:gs pos="0">
                <a:srgbClr val="006BEF">
                  <a:alpha val="50000"/>
                </a:srgbClr>
              </a:gs>
              <a:gs pos="100000">
                <a:srgbClr val="0067EE"/>
              </a:gs>
            </a:gsLst>
            <a:lin ang="2700000" scaled="0"/>
          </a:gradFill>
          <a:ln w="19050">
            <a:gradFill>
              <a:gsLst>
                <a:gs pos="0">
                  <a:schemeClr val="accent2"/>
                </a:gs>
                <a:gs pos="50000">
                  <a:schemeClr val="accent2">
                    <a:lumMod val="60000"/>
                    <a:lumOff val="40000"/>
                  </a:schemeClr>
                </a:gs>
                <a:gs pos="100000">
                  <a:schemeClr val="accent2">
                    <a:lumMod val="20000"/>
                    <a:lumOff val="80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3" name="Conector reto 2">
            <a:extLst>
              <a:ext uri="{FF2B5EF4-FFF2-40B4-BE49-F238E27FC236}">
                <a16:creationId xmlns:a16="http://schemas.microsoft.com/office/drawing/2014/main" id="{4F6E9F79-F1AF-66DA-C6E3-815C62B0D65D}"/>
              </a:ext>
            </a:extLst>
          </p:cNvPr>
          <p:cNvCxnSpPr>
            <a:cxnSpLocks/>
          </p:cNvCxnSpPr>
          <p:nvPr/>
        </p:nvCxnSpPr>
        <p:spPr>
          <a:xfrm flipH="1">
            <a:off x="271063" y="3212653"/>
            <a:ext cx="975215" cy="11203"/>
          </a:xfrm>
          <a:prstGeom prst="line">
            <a:avLst/>
          </a:prstGeom>
          <a:gradFill>
            <a:gsLst>
              <a:gs pos="0">
                <a:srgbClr val="006BEF">
                  <a:alpha val="50000"/>
                </a:srgbClr>
              </a:gs>
              <a:gs pos="100000">
                <a:srgbClr val="0067EE"/>
              </a:gs>
            </a:gsLst>
            <a:lin ang="2700000" scaled="0"/>
          </a:gradFill>
          <a:ln w="19050">
            <a:gradFill>
              <a:gsLst>
                <a:gs pos="0">
                  <a:schemeClr val="accent2"/>
                </a:gs>
                <a:gs pos="50000">
                  <a:schemeClr val="accent2">
                    <a:lumMod val="60000"/>
                    <a:lumOff val="40000"/>
                  </a:schemeClr>
                </a:gs>
                <a:gs pos="100000">
                  <a:schemeClr val="accent2">
                    <a:lumMod val="20000"/>
                    <a:lumOff val="80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5" name="Conector reto 4">
            <a:extLst>
              <a:ext uri="{FF2B5EF4-FFF2-40B4-BE49-F238E27FC236}">
                <a16:creationId xmlns:a16="http://schemas.microsoft.com/office/drawing/2014/main" id="{5FD03C1D-C06D-FE58-8DBC-67CD1D09E966}"/>
              </a:ext>
            </a:extLst>
          </p:cNvPr>
          <p:cNvCxnSpPr>
            <a:cxnSpLocks/>
          </p:cNvCxnSpPr>
          <p:nvPr/>
        </p:nvCxnSpPr>
        <p:spPr>
          <a:xfrm flipH="1">
            <a:off x="271062" y="3571226"/>
            <a:ext cx="975215" cy="11203"/>
          </a:xfrm>
          <a:prstGeom prst="line">
            <a:avLst/>
          </a:prstGeom>
          <a:gradFill>
            <a:gsLst>
              <a:gs pos="0">
                <a:srgbClr val="006BEF">
                  <a:alpha val="50000"/>
                </a:srgbClr>
              </a:gs>
              <a:gs pos="100000">
                <a:srgbClr val="0067EE"/>
              </a:gs>
            </a:gsLst>
            <a:lin ang="2700000" scaled="0"/>
          </a:gradFill>
          <a:ln w="19050">
            <a:gradFill>
              <a:gsLst>
                <a:gs pos="0">
                  <a:schemeClr val="accent2"/>
                </a:gs>
                <a:gs pos="50000">
                  <a:schemeClr val="accent2">
                    <a:lumMod val="60000"/>
                    <a:lumOff val="40000"/>
                  </a:schemeClr>
                </a:gs>
                <a:gs pos="100000">
                  <a:schemeClr val="accent2">
                    <a:lumMod val="20000"/>
                    <a:lumOff val="80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8" name="Conector reto 7">
            <a:extLst>
              <a:ext uri="{FF2B5EF4-FFF2-40B4-BE49-F238E27FC236}">
                <a16:creationId xmlns:a16="http://schemas.microsoft.com/office/drawing/2014/main" id="{E5149D33-6D41-71CE-6DC5-998B33412089}"/>
              </a:ext>
            </a:extLst>
          </p:cNvPr>
          <p:cNvCxnSpPr>
            <a:cxnSpLocks/>
          </p:cNvCxnSpPr>
          <p:nvPr/>
        </p:nvCxnSpPr>
        <p:spPr>
          <a:xfrm flipH="1">
            <a:off x="271062" y="3944692"/>
            <a:ext cx="975215" cy="11203"/>
          </a:xfrm>
          <a:prstGeom prst="line">
            <a:avLst/>
          </a:prstGeom>
          <a:gradFill>
            <a:gsLst>
              <a:gs pos="0">
                <a:srgbClr val="006BEF">
                  <a:alpha val="50000"/>
                </a:srgbClr>
              </a:gs>
              <a:gs pos="100000">
                <a:srgbClr val="0067EE"/>
              </a:gs>
            </a:gsLst>
            <a:lin ang="2700000" scaled="0"/>
          </a:gradFill>
          <a:ln w="19050">
            <a:gradFill>
              <a:gsLst>
                <a:gs pos="0">
                  <a:schemeClr val="accent2"/>
                </a:gs>
                <a:gs pos="50000">
                  <a:schemeClr val="accent2">
                    <a:lumMod val="60000"/>
                    <a:lumOff val="40000"/>
                  </a:schemeClr>
                </a:gs>
                <a:gs pos="100000">
                  <a:schemeClr val="accent2">
                    <a:lumMod val="20000"/>
                    <a:lumOff val="80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9" name="Conector reto 8">
            <a:extLst>
              <a:ext uri="{FF2B5EF4-FFF2-40B4-BE49-F238E27FC236}">
                <a16:creationId xmlns:a16="http://schemas.microsoft.com/office/drawing/2014/main" id="{B5F3F0E2-7B26-D84A-E102-5F7A683D1750}"/>
              </a:ext>
            </a:extLst>
          </p:cNvPr>
          <p:cNvCxnSpPr>
            <a:cxnSpLocks/>
          </p:cNvCxnSpPr>
          <p:nvPr/>
        </p:nvCxnSpPr>
        <p:spPr>
          <a:xfrm flipH="1">
            <a:off x="300161" y="4321528"/>
            <a:ext cx="975215" cy="11203"/>
          </a:xfrm>
          <a:prstGeom prst="line">
            <a:avLst/>
          </a:prstGeom>
          <a:gradFill>
            <a:gsLst>
              <a:gs pos="0">
                <a:srgbClr val="006BEF">
                  <a:alpha val="50000"/>
                </a:srgbClr>
              </a:gs>
              <a:gs pos="100000">
                <a:srgbClr val="0067EE"/>
              </a:gs>
            </a:gsLst>
            <a:lin ang="2700000" scaled="0"/>
          </a:gradFill>
          <a:ln w="19050">
            <a:gradFill>
              <a:gsLst>
                <a:gs pos="0">
                  <a:schemeClr val="accent2"/>
                </a:gs>
                <a:gs pos="50000">
                  <a:schemeClr val="accent2">
                    <a:lumMod val="60000"/>
                    <a:lumOff val="40000"/>
                  </a:schemeClr>
                </a:gs>
                <a:gs pos="100000">
                  <a:schemeClr val="accent2">
                    <a:lumMod val="20000"/>
                    <a:lumOff val="80000"/>
                  </a:scheme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977855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213"/>
                                        </p:tgtEl>
                                        <p:attrNameLst>
                                          <p:attrName>style.visibility</p:attrName>
                                        </p:attrNameLst>
                                      </p:cBhvr>
                                      <p:to>
                                        <p:strVal val="visible"/>
                                      </p:to>
                                    </p:set>
                                    <p:animEffect transition="in" filter="fade">
                                      <p:cBhvr>
                                        <p:cTn id="7" dur="500"/>
                                        <p:tgtEl>
                                          <p:spTgt spid="213"/>
                                        </p:tgtEl>
                                      </p:cBhvr>
                                    </p:animEffect>
                                  </p:childTnLst>
                                </p:cTn>
                              </p:par>
                              <p:par>
                                <p:cTn id="8" presetID="23" presetClass="entr" presetSubtype="288" fill="hold" nodeType="withEffect">
                                  <p:stCondLst>
                                    <p:cond delay="500"/>
                                  </p:stCondLst>
                                  <p:childTnLst>
                                    <p:set>
                                      <p:cBhvr>
                                        <p:cTn id="9" dur="1" fill="hold">
                                          <p:stCondLst>
                                            <p:cond delay="0"/>
                                          </p:stCondLst>
                                        </p:cTn>
                                        <p:tgtEl>
                                          <p:spTgt spid="213"/>
                                        </p:tgtEl>
                                        <p:attrNameLst>
                                          <p:attrName>style.visibility</p:attrName>
                                        </p:attrNameLst>
                                      </p:cBhvr>
                                      <p:to>
                                        <p:strVal val="visible"/>
                                      </p:to>
                                    </p:set>
                                    <p:anim calcmode="lin" valueType="num">
                                      <p:cBhvr>
                                        <p:cTn id="10" dur="500" fill="hold"/>
                                        <p:tgtEl>
                                          <p:spTgt spid="213"/>
                                        </p:tgtEl>
                                        <p:attrNameLst>
                                          <p:attrName>ppt_w</p:attrName>
                                        </p:attrNameLst>
                                      </p:cBhvr>
                                      <p:tavLst>
                                        <p:tav tm="0">
                                          <p:val>
                                            <p:strVal val="4/3*#ppt_w"/>
                                          </p:val>
                                        </p:tav>
                                        <p:tav tm="100000">
                                          <p:val>
                                            <p:strVal val="#ppt_w"/>
                                          </p:val>
                                        </p:tav>
                                      </p:tavLst>
                                    </p:anim>
                                    <p:anim calcmode="lin" valueType="num">
                                      <p:cBhvr>
                                        <p:cTn id="11" dur="500" fill="hold"/>
                                        <p:tgtEl>
                                          <p:spTgt spid="213"/>
                                        </p:tgtEl>
                                        <p:attrNameLst>
                                          <p:attrName>ppt_h</p:attrName>
                                        </p:attrNameLst>
                                      </p:cBhvr>
                                      <p:tavLst>
                                        <p:tav tm="0">
                                          <p:val>
                                            <p:strVal val="4/3*#ppt_h"/>
                                          </p:val>
                                        </p:tav>
                                        <p:tav tm="100000">
                                          <p:val>
                                            <p:strVal val="#ppt_h"/>
                                          </p:val>
                                        </p:tav>
                                      </p:tavLst>
                                    </p:anim>
                                  </p:childTnLst>
                                </p:cTn>
                              </p:par>
                              <p:par>
                                <p:cTn id="12" presetID="10" presetClass="entr" presetSubtype="0" fill="hold" grpId="0" nodeType="withEffect">
                                  <p:stCondLst>
                                    <p:cond delay="1250"/>
                                  </p:stCondLst>
                                  <p:childTnLst>
                                    <p:set>
                                      <p:cBhvr>
                                        <p:cTn id="13" dur="1" fill="hold">
                                          <p:stCondLst>
                                            <p:cond delay="0"/>
                                          </p:stCondLst>
                                        </p:cTn>
                                        <p:tgtEl>
                                          <p:spTgt spid="216"/>
                                        </p:tgtEl>
                                        <p:attrNameLst>
                                          <p:attrName>style.visibility</p:attrName>
                                        </p:attrNameLst>
                                      </p:cBhvr>
                                      <p:to>
                                        <p:strVal val="visible"/>
                                      </p:to>
                                    </p:set>
                                    <p:animEffect transition="in" filter="fade">
                                      <p:cBhvr>
                                        <p:cTn id="14" dur="500"/>
                                        <p:tgtEl>
                                          <p:spTgt spid="216"/>
                                        </p:tgtEl>
                                      </p:cBhvr>
                                    </p:animEffect>
                                  </p:childTnLst>
                                </p:cTn>
                              </p:par>
                              <p:par>
                                <p:cTn id="15" presetID="53" presetClass="entr" presetSubtype="16" fill="hold" nodeType="withEffect">
                                  <p:stCondLst>
                                    <p:cond delay="0"/>
                                  </p:stCondLst>
                                  <p:childTnLst>
                                    <p:set>
                                      <p:cBhvr>
                                        <p:cTn id="16" dur="1" fill="hold">
                                          <p:stCondLst>
                                            <p:cond delay="0"/>
                                          </p:stCondLst>
                                        </p:cTn>
                                        <p:tgtEl>
                                          <p:spTgt spid="223"/>
                                        </p:tgtEl>
                                        <p:attrNameLst>
                                          <p:attrName>style.visibility</p:attrName>
                                        </p:attrNameLst>
                                      </p:cBhvr>
                                      <p:to>
                                        <p:strVal val="visible"/>
                                      </p:to>
                                    </p:set>
                                    <p:anim calcmode="lin" valueType="num">
                                      <p:cBhvr>
                                        <p:cTn id="17" dur="500" fill="hold"/>
                                        <p:tgtEl>
                                          <p:spTgt spid="223"/>
                                        </p:tgtEl>
                                        <p:attrNameLst>
                                          <p:attrName>ppt_w</p:attrName>
                                        </p:attrNameLst>
                                      </p:cBhvr>
                                      <p:tavLst>
                                        <p:tav tm="0">
                                          <p:val>
                                            <p:fltVal val="0"/>
                                          </p:val>
                                        </p:tav>
                                        <p:tav tm="100000">
                                          <p:val>
                                            <p:strVal val="#ppt_w"/>
                                          </p:val>
                                        </p:tav>
                                      </p:tavLst>
                                    </p:anim>
                                    <p:anim calcmode="lin" valueType="num">
                                      <p:cBhvr>
                                        <p:cTn id="18" dur="500" fill="hold"/>
                                        <p:tgtEl>
                                          <p:spTgt spid="223"/>
                                        </p:tgtEl>
                                        <p:attrNameLst>
                                          <p:attrName>ppt_h</p:attrName>
                                        </p:attrNameLst>
                                      </p:cBhvr>
                                      <p:tavLst>
                                        <p:tav tm="0">
                                          <p:val>
                                            <p:fltVal val="0"/>
                                          </p:val>
                                        </p:tav>
                                        <p:tav tm="100000">
                                          <p:val>
                                            <p:strVal val="#ppt_h"/>
                                          </p:val>
                                        </p:tav>
                                      </p:tavLst>
                                    </p:anim>
                                    <p:animEffect transition="in" filter="fade">
                                      <p:cBhvr>
                                        <p:cTn id="19" dur="500"/>
                                        <p:tgtEl>
                                          <p:spTgt spid="223"/>
                                        </p:tgtEl>
                                      </p:cBhvr>
                                    </p:animEffect>
                                  </p:childTnLst>
                                </p:cTn>
                              </p:par>
                              <p:par>
                                <p:cTn id="20" presetID="6" presetClass="emph" presetSubtype="0" autoRev="1" fill="hold" nodeType="withEffect">
                                  <p:stCondLst>
                                    <p:cond delay="250"/>
                                  </p:stCondLst>
                                  <p:childTnLst>
                                    <p:animScale>
                                      <p:cBhvr>
                                        <p:cTn id="21" dur="250" fill="hold"/>
                                        <p:tgtEl>
                                          <p:spTgt spid="223"/>
                                        </p:tgtEl>
                                      </p:cBhvr>
                                      <p:by x="120000" y="120000"/>
                                    </p:animScale>
                                  </p:childTnLst>
                                </p:cTn>
                              </p:par>
                              <p:par>
                                <p:cTn id="22" presetID="10" presetClass="entr" presetSubtype="0" fill="hold"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fade">
                                      <p:cBhvr>
                                        <p:cTn id="24" dur="1000"/>
                                        <p:tgtEl>
                                          <p:spTgt spid="5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par>
                                <p:cTn id="28" presetID="35" presetClass="path" presetSubtype="0" accel="17000" decel="83000" fill="hold" grpId="1" nodeType="withEffect">
                                  <p:stCondLst>
                                    <p:cond delay="0"/>
                                  </p:stCondLst>
                                  <p:childTnLst>
                                    <p:animMotion origin="layout" path="M 0.02311 -2.09784E-6 L -4.61633E-6 -2.09784E-6 " pathEditMode="relative" rAng="0" ptsTypes="AA">
                                      <p:cBhvr>
                                        <p:cTn id="29" dur="1100" fill="hold"/>
                                        <p:tgtEl>
                                          <p:spTgt spid="4"/>
                                        </p:tgtEl>
                                        <p:attrNameLst>
                                          <p:attrName>ppt_x</p:attrName>
                                          <p:attrName>ppt_y</p:attrName>
                                        </p:attrNameLst>
                                      </p:cBhvr>
                                      <p:rCtr x="-1164" y="0"/>
                                    </p:animMotion>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35" presetClass="path" presetSubtype="0" accel="17000" decel="83000" fill="hold" grpId="1" nodeType="withEffect">
                                  <p:stCondLst>
                                    <p:cond delay="0"/>
                                  </p:stCondLst>
                                  <p:childTnLst>
                                    <p:animMotion origin="layout" path="M -0.0321 1.67451E-6 L -1.80102E-6 1.67451E-6 " pathEditMode="relative" rAng="0" ptsTypes="AA">
                                      <p:cBhvr>
                                        <p:cTn id="34" dur="1100" fill="hold"/>
                                        <p:tgtEl>
                                          <p:spTgt spid="25"/>
                                        </p:tgtEl>
                                        <p:attrNameLst>
                                          <p:attrName>ppt_x</p:attrName>
                                          <p:attrName>ppt_y</p:attrName>
                                        </p:attrNameLst>
                                      </p:cBhvr>
                                      <p:rCtr x="1605" y="0"/>
                                    </p:animMotion>
                                  </p:childTnLst>
                                </p:cTn>
                              </p:par>
                              <p:par>
                                <p:cTn id="35" presetID="10" presetClass="entr" presetSubtype="0" fill="hold" grpId="0" nodeType="withEffect">
                                  <p:stCondLst>
                                    <p:cond delay="500"/>
                                  </p:stCondLst>
                                  <p:childTnLst>
                                    <p:set>
                                      <p:cBhvr>
                                        <p:cTn id="36" dur="1" fill="hold">
                                          <p:stCondLst>
                                            <p:cond delay="0"/>
                                          </p:stCondLst>
                                        </p:cTn>
                                        <p:tgtEl>
                                          <p:spTgt spid="481"/>
                                        </p:tgtEl>
                                        <p:attrNameLst>
                                          <p:attrName>style.visibility</p:attrName>
                                        </p:attrNameLst>
                                      </p:cBhvr>
                                      <p:to>
                                        <p:strVal val="visible"/>
                                      </p:to>
                                    </p:set>
                                    <p:animEffect transition="in" filter="fade">
                                      <p:cBhvr>
                                        <p:cTn id="37" dur="500"/>
                                        <p:tgtEl>
                                          <p:spTgt spid="481"/>
                                        </p:tgtEl>
                                      </p:cBhvr>
                                    </p:animEffect>
                                  </p:childTnLst>
                                </p:cTn>
                              </p:par>
                              <p:par>
                                <p:cTn id="38" presetID="23" presetClass="entr" presetSubtype="288" fill="hold" grpId="1" nodeType="withEffect">
                                  <p:stCondLst>
                                    <p:cond delay="500"/>
                                  </p:stCondLst>
                                  <p:childTnLst>
                                    <p:set>
                                      <p:cBhvr>
                                        <p:cTn id="39" dur="1" fill="hold">
                                          <p:stCondLst>
                                            <p:cond delay="0"/>
                                          </p:stCondLst>
                                        </p:cTn>
                                        <p:tgtEl>
                                          <p:spTgt spid="481"/>
                                        </p:tgtEl>
                                        <p:attrNameLst>
                                          <p:attrName>style.visibility</p:attrName>
                                        </p:attrNameLst>
                                      </p:cBhvr>
                                      <p:to>
                                        <p:strVal val="visible"/>
                                      </p:to>
                                    </p:set>
                                    <p:anim calcmode="lin" valueType="num">
                                      <p:cBhvr>
                                        <p:cTn id="40" dur="500" fill="hold"/>
                                        <p:tgtEl>
                                          <p:spTgt spid="481"/>
                                        </p:tgtEl>
                                        <p:attrNameLst>
                                          <p:attrName>ppt_w</p:attrName>
                                        </p:attrNameLst>
                                      </p:cBhvr>
                                      <p:tavLst>
                                        <p:tav tm="0">
                                          <p:val>
                                            <p:strVal val="4/3*#ppt_w"/>
                                          </p:val>
                                        </p:tav>
                                        <p:tav tm="100000">
                                          <p:val>
                                            <p:strVal val="#ppt_w"/>
                                          </p:val>
                                        </p:tav>
                                      </p:tavLst>
                                    </p:anim>
                                    <p:anim calcmode="lin" valueType="num">
                                      <p:cBhvr>
                                        <p:cTn id="41" dur="500" fill="hold"/>
                                        <p:tgtEl>
                                          <p:spTgt spid="481"/>
                                        </p:tgtEl>
                                        <p:attrNameLst>
                                          <p:attrName>ppt_h</p:attrName>
                                        </p:attrNameLst>
                                      </p:cBhvr>
                                      <p:tavLst>
                                        <p:tav tm="0">
                                          <p:val>
                                            <p:strVal val="4/3*#ppt_h"/>
                                          </p:val>
                                        </p:tav>
                                        <p:tav tm="100000">
                                          <p:val>
                                            <p:strVal val="#ppt_h"/>
                                          </p:val>
                                        </p:tav>
                                      </p:tavLst>
                                    </p:anim>
                                  </p:childTnLst>
                                </p:cTn>
                              </p:par>
                              <p:par>
                                <p:cTn id="42" presetID="10" presetClass="entr" presetSubtype="0" fill="hold" nodeType="withEffect">
                                  <p:stCondLst>
                                    <p:cond delay="500"/>
                                  </p:stCondLst>
                                  <p:childTnLst>
                                    <p:set>
                                      <p:cBhvr>
                                        <p:cTn id="43" dur="1" fill="hold">
                                          <p:stCondLst>
                                            <p:cond delay="0"/>
                                          </p:stCondLst>
                                        </p:cTn>
                                        <p:tgtEl>
                                          <p:spTgt spid="486"/>
                                        </p:tgtEl>
                                        <p:attrNameLst>
                                          <p:attrName>style.visibility</p:attrName>
                                        </p:attrNameLst>
                                      </p:cBhvr>
                                      <p:to>
                                        <p:strVal val="visible"/>
                                      </p:to>
                                    </p:set>
                                    <p:animEffect transition="in" filter="fade">
                                      <p:cBhvr>
                                        <p:cTn id="44" dur="500"/>
                                        <p:tgtEl>
                                          <p:spTgt spid="486"/>
                                        </p:tgtEl>
                                      </p:cBhvr>
                                    </p:animEffect>
                                  </p:childTnLst>
                                </p:cTn>
                              </p:par>
                              <p:par>
                                <p:cTn id="45" presetID="23" presetClass="entr" presetSubtype="288" fill="hold" nodeType="withEffect">
                                  <p:stCondLst>
                                    <p:cond delay="500"/>
                                  </p:stCondLst>
                                  <p:childTnLst>
                                    <p:set>
                                      <p:cBhvr>
                                        <p:cTn id="46" dur="1" fill="hold">
                                          <p:stCondLst>
                                            <p:cond delay="0"/>
                                          </p:stCondLst>
                                        </p:cTn>
                                        <p:tgtEl>
                                          <p:spTgt spid="486"/>
                                        </p:tgtEl>
                                        <p:attrNameLst>
                                          <p:attrName>style.visibility</p:attrName>
                                        </p:attrNameLst>
                                      </p:cBhvr>
                                      <p:to>
                                        <p:strVal val="visible"/>
                                      </p:to>
                                    </p:set>
                                    <p:anim calcmode="lin" valueType="num">
                                      <p:cBhvr>
                                        <p:cTn id="47" dur="500" fill="hold"/>
                                        <p:tgtEl>
                                          <p:spTgt spid="486"/>
                                        </p:tgtEl>
                                        <p:attrNameLst>
                                          <p:attrName>ppt_w</p:attrName>
                                        </p:attrNameLst>
                                      </p:cBhvr>
                                      <p:tavLst>
                                        <p:tav tm="0">
                                          <p:val>
                                            <p:strVal val="4/3*#ppt_w"/>
                                          </p:val>
                                        </p:tav>
                                        <p:tav tm="100000">
                                          <p:val>
                                            <p:strVal val="#ppt_w"/>
                                          </p:val>
                                        </p:tav>
                                      </p:tavLst>
                                    </p:anim>
                                    <p:anim calcmode="lin" valueType="num">
                                      <p:cBhvr>
                                        <p:cTn id="48" dur="500" fill="hold"/>
                                        <p:tgtEl>
                                          <p:spTgt spid="486"/>
                                        </p:tgtEl>
                                        <p:attrNameLst>
                                          <p:attrName>ppt_h</p:attrName>
                                        </p:attrNameLst>
                                      </p:cBhvr>
                                      <p:tavLst>
                                        <p:tav tm="0">
                                          <p:val>
                                            <p:strVal val="4/3*#ppt_h"/>
                                          </p:val>
                                        </p:tav>
                                        <p:tav tm="100000">
                                          <p:val>
                                            <p:strVal val="#ppt_h"/>
                                          </p:val>
                                        </p:tav>
                                      </p:tavLst>
                                    </p:anim>
                                  </p:childTnLst>
                                </p:cTn>
                              </p:par>
                              <p:par>
                                <p:cTn id="49" presetID="10" presetClass="entr" presetSubtype="0" fill="hold" grpId="0" nodeType="withEffect">
                                  <p:stCondLst>
                                    <p:cond delay="500"/>
                                  </p:stCondLst>
                                  <p:childTnLst>
                                    <p:set>
                                      <p:cBhvr>
                                        <p:cTn id="50" dur="1" fill="hold">
                                          <p:stCondLst>
                                            <p:cond delay="0"/>
                                          </p:stCondLst>
                                        </p:cTn>
                                        <p:tgtEl>
                                          <p:spTgt spid="497"/>
                                        </p:tgtEl>
                                        <p:attrNameLst>
                                          <p:attrName>style.visibility</p:attrName>
                                        </p:attrNameLst>
                                      </p:cBhvr>
                                      <p:to>
                                        <p:strVal val="visible"/>
                                      </p:to>
                                    </p:set>
                                    <p:animEffect transition="in" filter="fade">
                                      <p:cBhvr>
                                        <p:cTn id="51" dur="500"/>
                                        <p:tgtEl>
                                          <p:spTgt spid="497"/>
                                        </p:tgtEl>
                                      </p:cBhvr>
                                    </p:animEffect>
                                  </p:childTnLst>
                                </p:cTn>
                              </p:par>
                              <p:par>
                                <p:cTn id="52" presetID="23" presetClass="entr" presetSubtype="288" fill="hold" grpId="1" nodeType="withEffect">
                                  <p:stCondLst>
                                    <p:cond delay="500"/>
                                  </p:stCondLst>
                                  <p:childTnLst>
                                    <p:set>
                                      <p:cBhvr>
                                        <p:cTn id="53" dur="1" fill="hold">
                                          <p:stCondLst>
                                            <p:cond delay="0"/>
                                          </p:stCondLst>
                                        </p:cTn>
                                        <p:tgtEl>
                                          <p:spTgt spid="497"/>
                                        </p:tgtEl>
                                        <p:attrNameLst>
                                          <p:attrName>style.visibility</p:attrName>
                                        </p:attrNameLst>
                                      </p:cBhvr>
                                      <p:to>
                                        <p:strVal val="visible"/>
                                      </p:to>
                                    </p:set>
                                    <p:anim calcmode="lin" valueType="num">
                                      <p:cBhvr>
                                        <p:cTn id="54" dur="500" fill="hold"/>
                                        <p:tgtEl>
                                          <p:spTgt spid="497"/>
                                        </p:tgtEl>
                                        <p:attrNameLst>
                                          <p:attrName>ppt_w</p:attrName>
                                        </p:attrNameLst>
                                      </p:cBhvr>
                                      <p:tavLst>
                                        <p:tav tm="0">
                                          <p:val>
                                            <p:strVal val="4/3*#ppt_w"/>
                                          </p:val>
                                        </p:tav>
                                        <p:tav tm="100000">
                                          <p:val>
                                            <p:strVal val="#ppt_w"/>
                                          </p:val>
                                        </p:tav>
                                      </p:tavLst>
                                    </p:anim>
                                    <p:anim calcmode="lin" valueType="num">
                                      <p:cBhvr>
                                        <p:cTn id="55" dur="500" fill="hold"/>
                                        <p:tgtEl>
                                          <p:spTgt spid="497"/>
                                        </p:tgtEl>
                                        <p:attrNameLst>
                                          <p:attrName>ppt_h</p:attrName>
                                        </p:attrNameLst>
                                      </p:cBhvr>
                                      <p:tavLst>
                                        <p:tav tm="0">
                                          <p:val>
                                            <p:strVal val="4/3*#ppt_h"/>
                                          </p:val>
                                        </p:tav>
                                        <p:tav tm="100000">
                                          <p:val>
                                            <p:strVal val="#ppt_h"/>
                                          </p:val>
                                        </p:tav>
                                      </p:tavLst>
                                    </p:anim>
                                  </p:childTnLst>
                                </p:cTn>
                              </p:par>
                              <p:par>
                                <p:cTn id="56" presetID="10" presetClass="entr" presetSubtype="0" fill="hold" grpId="0" nodeType="withEffect">
                                  <p:stCondLst>
                                    <p:cond delay="500"/>
                                  </p:stCondLst>
                                  <p:childTnLst>
                                    <p:set>
                                      <p:cBhvr>
                                        <p:cTn id="57" dur="1" fill="hold">
                                          <p:stCondLst>
                                            <p:cond delay="0"/>
                                          </p:stCondLst>
                                        </p:cTn>
                                        <p:tgtEl>
                                          <p:spTgt spid="492"/>
                                        </p:tgtEl>
                                        <p:attrNameLst>
                                          <p:attrName>style.visibility</p:attrName>
                                        </p:attrNameLst>
                                      </p:cBhvr>
                                      <p:to>
                                        <p:strVal val="visible"/>
                                      </p:to>
                                    </p:set>
                                    <p:animEffect transition="in" filter="fade">
                                      <p:cBhvr>
                                        <p:cTn id="58" dur="500"/>
                                        <p:tgtEl>
                                          <p:spTgt spid="492"/>
                                        </p:tgtEl>
                                      </p:cBhvr>
                                    </p:animEffect>
                                  </p:childTnLst>
                                </p:cTn>
                              </p:par>
                              <p:par>
                                <p:cTn id="59" presetID="23" presetClass="entr" presetSubtype="288" fill="hold" grpId="1" nodeType="withEffect">
                                  <p:stCondLst>
                                    <p:cond delay="500"/>
                                  </p:stCondLst>
                                  <p:childTnLst>
                                    <p:set>
                                      <p:cBhvr>
                                        <p:cTn id="60" dur="1" fill="hold">
                                          <p:stCondLst>
                                            <p:cond delay="0"/>
                                          </p:stCondLst>
                                        </p:cTn>
                                        <p:tgtEl>
                                          <p:spTgt spid="492"/>
                                        </p:tgtEl>
                                        <p:attrNameLst>
                                          <p:attrName>style.visibility</p:attrName>
                                        </p:attrNameLst>
                                      </p:cBhvr>
                                      <p:to>
                                        <p:strVal val="visible"/>
                                      </p:to>
                                    </p:set>
                                    <p:anim calcmode="lin" valueType="num">
                                      <p:cBhvr>
                                        <p:cTn id="61" dur="500" fill="hold"/>
                                        <p:tgtEl>
                                          <p:spTgt spid="492"/>
                                        </p:tgtEl>
                                        <p:attrNameLst>
                                          <p:attrName>ppt_w</p:attrName>
                                        </p:attrNameLst>
                                      </p:cBhvr>
                                      <p:tavLst>
                                        <p:tav tm="0">
                                          <p:val>
                                            <p:strVal val="4/3*#ppt_w"/>
                                          </p:val>
                                        </p:tav>
                                        <p:tav tm="100000">
                                          <p:val>
                                            <p:strVal val="#ppt_w"/>
                                          </p:val>
                                        </p:tav>
                                      </p:tavLst>
                                    </p:anim>
                                    <p:anim calcmode="lin" valueType="num">
                                      <p:cBhvr>
                                        <p:cTn id="62" dur="500" fill="hold"/>
                                        <p:tgtEl>
                                          <p:spTgt spid="492"/>
                                        </p:tgtEl>
                                        <p:attrNameLst>
                                          <p:attrName>ppt_h</p:attrName>
                                        </p:attrNameLst>
                                      </p:cBhvr>
                                      <p:tavLst>
                                        <p:tav tm="0">
                                          <p:val>
                                            <p:strVal val="4/3*#ppt_h"/>
                                          </p:val>
                                        </p:tav>
                                        <p:tav tm="100000">
                                          <p:val>
                                            <p:strVal val="#ppt_h"/>
                                          </p:val>
                                        </p:tav>
                                      </p:tavLst>
                                    </p:anim>
                                  </p:childTnLst>
                                </p:cTn>
                              </p:par>
                              <p:par>
                                <p:cTn id="63" presetID="10" presetClass="entr" presetSubtype="0" fill="hold" grpId="0" nodeType="withEffect">
                                  <p:stCondLst>
                                    <p:cond delay="500"/>
                                  </p:stCondLst>
                                  <p:childTnLst>
                                    <p:set>
                                      <p:cBhvr>
                                        <p:cTn id="64" dur="1" fill="hold">
                                          <p:stCondLst>
                                            <p:cond delay="0"/>
                                          </p:stCondLst>
                                        </p:cTn>
                                        <p:tgtEl>
                                          <p:spTgt spid="493"/>
                                        </p:tgtEl>
                                        <p:attrNameLst>
                                          <p:attrName>style.visibility</p:attrName>
                                        </p:attrNameLst>
                                      </p:cBhvr>
                                      <p:to>
                                        <p:strVal val="visible"/>
                                      </p:to>
                                    </p:set>
                                    <p:animEffect transition="in" filter="fade">
                                      <p:cBhvr>
                                        <p:cTn id="65" dur="500"/>
                                        <p:tgtEl>
                                          <p:spTgt spid="493"/>
                                        </p:tgtEl>
                                      </p:cBhvr>
                                    </p:animEffect>
                                  </p:childTnLst>
                                </p:cTn>
                              </p:par>
                              <p:par>
                                <p:cTn id="66" presetID="23" presetClass="entr" presetSubtype="288" fill="hold" grpId="1" nodeType="withEffect">
                                  <p:stCondLst>
                                    <p:cond delay="500"/>
                                  </p:stCondLst>
                                  <p:childTnLst>
                                    <p:set>
                                      <p:cBhvr>
                                        <p:cTn id="67" dur="1" fill="hold">
                                          <p:stCondLst>
                                            <p:cond delay="0"/>
                                          </p:stCondLst>
                                        </p:cTn>
                                        <p:tgtEl>
                                          <p:spTgt spid="493"/>
                                        </p:tgtEl>
                                        <p:attrNameLst>
                                          <p:attrName>style.visibility</p:attrName>
                                        </p:attrNameLst>
                                      </p:cBhvr>
                                      <p:to>
                                        <p:strVal val="visible"/>
                                      </p:to>
                                    </p:set>
                                    <p:anim calcmode="lin" valueType="num">
                                      <p:cBhvr>
                                        <p:cTn id="68" dur="500" fill="hold"/>
                                        <p:tgtEl>
                                          <p:spTgt spid="493"/>
                                        </p:tgtEl>
                                        <p:attrNameLst>
                                          <p:attrName>ppt_w</p:attrName>
                                        </p:attrNameLst>
                                      </p:cBhvr>
                                      <p:tavLst>
                                        <p:tav tm="0">
                                          <p:val>
                                            <p:strVal val="4/3*#ppt_w"/>
                                          </p:val>
                                        </p:tav>
                                        <p:tav tm="100000">
                                          <p:val>
                                            <p:strVal val="#ppt_w"/>
                                          </p:val>
                                        </p:tav>
                                      </p:tavLst>
                                    </p:anim>
                                    <p:anim calcmode="lin" valueType="num">
                                      <p:cBhvr>
                                        <p:cTn id="69" dur="500" fill="hold"/>
                                        <p:tgtEl>
                                          <p:spTgt spid="493"/>
                                        </p:tgtEl>
                                        <p:attrNameLst>
                                          <p:attrName>ppt_h</p:attrName>
                                        </p:attrNameLst>
                                      </p:cBhvr>
                                      <p:tavLst>
                                        <p:tav tm="0">
                                          <p:val>
                                            <p:strVal val="4/3*#ppt_h"/>
                                          </p:val>
                                        </p:tav>
                                        <p:tav tm="100000">
                                          <p:val>
                                            <p:strVal val="#ppt_h"/>
                                          </p:val>
                                        </p:tav>
                                      </p:tavLst>
                                    </p:anim>
                                  </p:childTnLst>
                                </p:cTn>
                              </p:par>
                              <p:par>
                                <p:cTn id="70" presetID="10" presetClass="entr" presetSubtype="0" fill="hold" grpId="0" nodeType="withEffect">
                                  <p:stCondLst>
                                    <p:cond delay="500"/>
                                  </p:stCondLst>
                                  <p:childTnLst>
                                    <p:set>
                                      <p:cBhvr>
                                        <p:cTn id="71" dur="1" fill="hold">
                                          <p:stCondLst>
                                            <p:cond delay="0"/>
                                          </p:stCondLst>
                                        </p:cTn>
                                        <p:tgtEl>
                                          <p:spTgt spid="491"/>
                                        </p:tgtEl>
                                        <p:attrNameLst>
                                          <p:attrName>style.visibility</p:attrName>
                                        </p:attrNameLst>
                                      </p:cBhvr>
                                      <p:to>
                                        <p:strVal val="visible"/>
                                      </p:to>
                                    </p:set>
                                    <p:animEffect transition="in" filter="fade">
                                      <p:cBhvr>
                                        <p:cTn id="72" dur="500"/>
                                        <p:tgtEl>
                                          <p:spTgt spid="491"/>
                                        </p:tgtEl>
                                      </p:cBhvr>
                                    </p:animEffect>
                                  </p:childTnLst>
                                </p:cTn>
                              </p:par>
                              <p:par>
                                <p:cTn id="73" presetID="23" presetClass="entr" presetSubtype="288" fill="hold" grpId="1" nodeType="withEffect">
                                  <p:stCondLst>
                                    <p:cond delay="500"/>
                                  </p:stCondLst>
                                  <p:childTnLst>
                                    <p:set>
                                      <p:cBhvr>
                                        <p:cTn id="74" dur="1" fill="hold">
                                          <p:stCondLst>
                                            <p:cond delay="0"/>
                                          </p:stCondLst>
                                        </p:cTn>
                                        <p:tgtEl>
                                          <p:spTgt spid="491"/>
                                        </p:tgtEl>
                                        <p:attrNameLst>
                                          <p:attrName>style.visibility</p:attrName>
                                        </p:attrNameLst>
                                      </p:cBhvr>
                                      <p:to>
                                        <p:strVal val="visible"/>
                                      </p:to>
                                    </p:set>
                                    <p:anim calcmode="lin" valueType="num">
                                      <p:cBhvr>
                                        <p:cTn id="75" dur="500" fill="hold"/>
                                        <p:tgtEl>
                                          <p:spTgt spid="491"/>
                                        </p:tgtEl>
                                        <p:attrNameLst>
                                          <p:attrName>ppt_w</p:attrName>
                                        </p:attrNameLst>
                                      </p:cBhvr>
                                      <p:tavLst>
                                        <p:tav tm="0">
                                          <p:val>
                                            <p:strVal val="4/3*#ppt_w"/>
                                          </p:val>
                                        </p:tav>
                                        <p:tav tm="100000">
                                          <p:val>
                                            <p:strVal val="#ppt_w"/>
                                          </p:val>
                                        </p:tav>
                                      </p:tavLst>
                                    </p:anim>
                                    <p:anim calcmode="lin" valueType="num">
                                      <p:cBhvr>
                                        <p:cTn id="76" dur="500" fill="hold"/>
                                        <p:tgtEl>
                                          <p:spTgt spid="491"/>
                                        </p:tgtEl>
                                        <p:attrNameLst>
                                          <p:attrName>ppt_h</p:attrName>
                                        </p:attrNameLst>
                                      </p:cBhvr>
                                      <p:tavLst>
                                        <p:tav tm="0">
                                          <p:val>
                                            <p:strVal val="4/3*#ppt_h"/>
                                          </p:val>
                                        </p:tav>
                                        <p:tav tm="100000">
                                          <p:val>
                                            <p:strVal val="#ppt_h"/>
                                          </p:val>
                                        </p:tav>
                                      </p:tavLst>
                                    </p:anim>
                                  </p:childTnLst>
                                </p:cTn>
                              </p:par>
                              <p:par>
                                <p:cTn id="77" presetID="10" presetClass="entr" presetSubtype="0" fill="hold" grpId="0" nodeType="withEffect">
                                  <p:stCondLst>
                                    <p:cond delay="500"/>
                                  </p:stCondLst>
                                  <p:childTnLst>
                                    <p:set>
                                      <p:cBhvr>
                                        <p:cTn id="78" dur="1" fill="hold">
                                          <p:stCondLst>
                                            <p:cond delay="0"/>
                                          </p:stCondLst>
                                        </p:cTn>
                                        <p:tgtEl>
                                          <p:spTgt spid="490"/>
                                        </p:tgtEl>
                                        <p:attrNameLst>
                                          <p:attrName>style.visibility</p:attrName>
                                        </p:attrNameLst>
                                      </p:cBhvr>
                                      <p:to>
                                        <p:strVal val="visible"/>
                                      </p:to>
                                    </p:set>
                                    <p:animEffect transition="in" filter="fade">
                                      <p:cBhvr>
                                        <p:cTn id="79" dur="500"/>
                                        <p:tgtEl>
                                          <p:spTgt spid="490"/>
                                        </p:tgtEl>
                                      </p:cBhvr>
                                    </p:animEffect>
                                  </p:childTnLst>
                                </p:cTn>
                              </p:par>
                              <p:par>
                                <p:cTn id="80" presetID="23" presetClass="entr" presetSubtype="288" fill="hold" grpId="1" nodeType="withEffect">
                                  <p:stCondLst>
                                    <p:cond delay="500"/>
                                  </p:stCondLst>
                                  <p:childTnLst>
                                    <p:set>
                                      <p:cBhvr>
                                        <p:cTn id="81" dur="1" fill="hold">
                                          <p:stCondLst>
                                            <p:cond delay="0"/>
                                          </p:stCondLst>
                                        </p:cTn>
                                        <p:tgtEl>
                                          <p:spTgt spid="490"/>
                                        </p:tgtEl>
                                        <p:attrNameLst>
                                          <p:attrName>style.visibility</p:attrName>
                                        </p:attrNameLst>
                                      </p:cBhvr>
                                      <p:to>
                                        <p:strVal val="visible"/>
                                      </p:to>
                                    </p:set>
                                    <p:anim calcmode="lin" valueType="num">
                                      <p:cBhvr>
                                        <p:cTn id="82" dur="500" fill="hold"/>
                                        <p:tgtEl>
                                          <p:spTgt spid="490"/>
                                        </p:tgtEl>
                                        <p:attrNameLst>
                                          <p:attrName>ppt_w</p:attrName>
                                        </p:attrNameLst>
                                      </p:cBhvr>
                                      <p:tavLst>
                                        <p:tav tm="0">
                                          <p:val>
                                            <p:strVal val="4/3*#ppt_w"/>
                                          </p:val>
                                        </p:tav>
                                        <p:tav tm="100000">
                                          <p:val>
                                            <p:strVal val="#ppt_w"/>
                                          </p:val>
                                        </p:tav>
                                      </p:tavLst>
                                    </p:anim>
                                    <p:anim calcmode="lin" valueType="num">
                                      <p:cBhvr>
                                        <p:cTn id="83" dur="500" fill="hold"/>
                                        <p:tgtEl>
                                          <p:spTgt spid="490"/>
                                        </p:tgtEl>
                                        <p:attrNameLst>
                                          <p:attrName>ppt_h</p:attrName>
                                        </p:attrNameLst>
                                      </p:cBhvr>
                                      <p:tavLst>
                                        <p:tav tm="0">
                                          <p:val>
                                            <p:strVal val="4/3*#ppt_h"/>
                                          </p:val>
                                        </p:tav>
                                        <p:tav tm="100000">
                                          <p:val>
                                            <p:strVal val="#ppt_h"/>
                                          </p:val>
                                        </p:tav>
                                      </p:tavLst>
                                    </p:anim>
                                  </p:childTnLst>
                                </p:cTn>
                              </p:par>
                              <p:par>
                                <p:cTn id="84" presetID="10" presetClass="entr" presetSubtype="0" fill="hold" nodeType="withEffect">
                                  <p:stCondLst>
                                    <p:cond delay="500"/>
                                  </p:stCondLst>
                                  <p:childTnLst>
                                    <p:set>
                                      <p:cBhvr>
                                        <p:cTn id="85" dur="1" fill="hold">
                                          <p:stCondLst>
                                            <p:cond delay="0"/>
                                          </p:stCondLst>
                                        </p:cTn>
                                        <p:tgtEl>
                                          <p:spTgt spid="463"/>
                                        </p:tgtEl>
                                        <p:attrNameLst>
                                          <p:attrName>style.visibility</p:attrName>
                                        </p:attrNameLst>
                                      </p:cBhvr>
                                      <p:to>
                                        <p:strVal val="visible"/>
                                      </p:to>
                                    </p:set>
                                    <p:animEffect transition="in" filter="fade">
                                      <p:cBhvr>
                                        <p:cTn id="86" dur="500"/>
                                        <p:tgtEl>
                                          <p:spTgt spid="463"/>
                                        </p:tgtEl>
                                      </p:cBhvr>
                                    </p:animEffect>
                                  </p:childTnLst>
                                </p:cTn>
                              </p:par>
                              <p:par>
                                <p:cTn id="87" presetID="23" presetClass="entr" presetSubtype="288" fill="hold" nodeType="withEffect">
                                  <p:stCondLst>
                                    <p:cond delay="500"/>
                                  </p:stCondLst>
                                  <p:childTnLst>
                                    <p:set>
                                      <p:cBhvr>
                                        <p:cTn id="88" dur="1" fill="hold">
                                          <p:stCondLst>
                                            <p:cond delay="0"/>
                                          </p:stCondLst>
                                        </p:cTn>
                                        <p:tgtEl>
                                          <p:spTgt spid="463"/>
                                        </p:tgtEl>
                                        <p:attrNameLst>
                                          <p:attrName>style.visibility</p:attrName>
                                        </p:attrNameLst>
                                      </p:cBhvr>
                                      <p:to>
                                        <p:strVal val="visible"/>
                                      </p:to>
                                    </p:set>
                                    <p:anim calcmode="lin" valueType="num">
                                      <p:cBhvr>
                                        <p:cTn id="89" dur="500" fill="hold"/>
                                        <p:tgtEl>
                                          <p:spTgt spid="463"/>
                                        </p:tgtEl>
                                        <p:attrNameLst>
                                          <p:attrName>ppt_w</p:attrName>
                                        </p:attrNameLst>
                                      </p:cBhvr>
                                      <p:tavLst>
                                        <p:tav tm="0">
                                          <p:val>
                                            <p:strVal val="4/3*#ppt_w"/>
                                          </p:val>
                                        </p:tav>
                                        <p:tav tm="100000">
                                          <p:val>
                                            <p:strVal val="#ppt_w"/>
                                          </p:val>
                                        </p:tav>
                                      </p:tavLst>
                                    </p:anim>
                                    <p:anim calcmode="lin" valueType="num">
                                      <p:cBhvr>
                                        <p:cTn id="90" dur="500" fill="hold"/>
                                        <p:tgtEl>
                                          <p:spTgt spid="463"/>
                                        </p:tgtEl>
                                        <p:attrNameLst>
                                          <p:attrName>ppt_h</p:attrName>
                                        </p:attrNameLst>
                                      </p:cBhvr>
                                      <p:tavLst>
                                        <p:tav tm="0">
                                          <p:val>
                                            <p:strVal val="4/3*#ppt_h"/>
                                          </p:val>
                                        </p:tav>
                                        <p:tav tm="100000">
                                          <p:val>
                                            <p:strVal val="#ppt_h"/>
                                          </p:val>
                                        </p:tav>
                                      </p:tavLst>
                                    </p:anim>
                                  </p:childTnLst>
                                </p:cTn>
                              </p:par>
                              <p:par>
                                <p:cTn id="91" presetID="10" presetClass="entr" presetSubtype="0" fill="hold" grpId="0" nodeType="withEffect">
                                  <p:stCondLst>
                                    <p:cond delay="500"/>
                                  </p:stCondLst>
                                  <p:childTnLst>
                                    <p:set>
                                      <p:cBhvr>
                                        <p:cTn id="92" dur="1" fill="hold">
                                          <p:stCondLst>
                                            <p:cond delay="0"/>
                                          </p:stCondLst>
                                        </p:cTn>
                                        <p:tgtEl>
                                          <p:spTgt spid="488"/>
                                        </p:tgtEl>
                                        <p:attrNameLst>
                                          <p:attrName>style.visibility</p:attrName>
                                        </p:attrNameLst>
                                      </p:cBhvr>
                                      <p:to>
                                        <p:strVal val="visible"/>
                                      </p:to>
                                    </p:set>
                                    <p:animEffect transition="in" filter="fade">
                                      <p:cBhvr>
                                        <p:cTn id="93" dur="500"/>
                                        <p:tgtEl>
                                          <p:spTgt spid="488"/>
                                        </p:tgtEl>
                                      </p:cBhvr>
                                    </p:animEffect>
                                  </p:childTnLst>
                                </p:cTn>
                              </p:par>
                              <p:par>
                                <p:cTn id="94" presetID="23" presetClass="entr" presetSubtype="288" fill="hold" grpId="1" nodeType="withEffect">
                                  <p:stCondLst>
                                    <p:cond delay="500"/>
                                  </p:stCondLst>
                                  <p:childTnLst>
                                    <p:set>
                                      <p:cBhvr>
                                        <p:cTn id="95" dur="1" fill="hold">
                                          <p:stCondLst>
                                            <p:cond delay="0"/>
                                          </p:stCondLst>
                                        </p:cTn>
                                        <p:tgtEl>
                                          <p:spTgt spid="488"/>
                                        </p:tgtEl>
                                        <p:attrNameLst>
                                          <p:attrName>style.visibility</p:attrName>
                                        </p:attrNameLst>
                                      </p:cBhvr>
                                      <p:to>
                                        <p:strVal val="visible"/>
                                      </p:to>
                                    </p:set>
                                    <p:anim calcmode="lin" valueType="num">
                                      <p:cBhvr>
                                        <p:cTn id="96" dur="500" fill="hold"/>
                                        <p:tgtEl>
                                          <p:spTgt spid="488"/>
                                        </p:tgtEl>
                                        <p:attrNameLst>
                                          <p:attrName>ppt_w</p:attrName>
                                        </p:attrNameLst>
                                      </p:cBhvr>
                                      <p:tavLst>
                                        <p:tav tm="0">
                                          <p:val>
                                            <p:strVal val="4/3*#ppt_w"/>
                                          </p:val>
                                        </p:tav>
                                        <p:tav tm="100000">
                                          <p:val>
                                            <p:strVal val="#ppt_w"/>
                                          </p:val>
                                        </p:tav>
                                      </p:tavLst>
                                    </p:anim>
                                    <p:anim calcmode="lin" valueType="num">
                                      <p:cBhvr>
                                        <p:cTn id="97" dur="500" fill="hold"/>
                                        <p:tgtEl>
                                          <p:spTgt spid="488"/>
                                        </p:tgtEl>
                                        <p:attrNameLst>
                                          <p:attrName>ppt_h</p:attrName>
                                        </p:attrNameLst>
                                      </p:cBhvr>
                                      <p:tavLst>
                                        <p:tav tm="0">
                                          <p:val>
                                            <p:strVal val="4/3*#ppt_h"/>
                                          </p:val>
                                        </p:tav>
                                        <p:tav tm="100000">
                                          <p:val>
                                            <p:strVal val="#ppt_h"/>
                                          </p:val>
                                        </p:tav>
                                      </p:tavLst>
                                    </p:anim>
                                  </p:childTnLst>
                                </p:cTn>
                              </p:par>
                              <p:par>
                                <p:cTn id="98" presetID="10" presetClass="entr" presetSubtype="0" fill="hold" nodeType="withEffect">
                                  <p:stCondLst>
                                    <p:cond delay="500"/>
                                  </p:stCondLst>
                                  <p:childTnLst>
                                    <p:set>
                                      <p:cBhvr>
                                        <p:cTn id="99" dur="1" fill="hold">
                                          <p:stCondLst>
                                            <p:cond delay="0"/>
                                          </p:stCondLst>
                                        </p:cTn>
                                        <p:tgtEl>
                                          <p:spTgt spid="477"/>
                                        </p:tgtEl>
                                        <p:attrNameLst>
                                          <p:attrName>style.visibility</p:attrName>
                                        </p:attrNameLst>
                                      </p:cBhvr>
                                      <p:to>
                                        <p:strVal val="visible"/>
                                      </p:to>
                                    </p:set>
                                    <p:animEffect transition="in" filter="fade">
                                      <p:cBhvr>
                                        <p:cTn id="100" dur="500"/>
                                        <p:tgtEl>
                                          <p:spTgt spid="477"/>
                                        </p:tgtEl>
                                      </p:cBhvr>
                                    </p:animEffect>
                                  </p:childTnLst>
                                </p:cTn>
                              </p:par>
                              <p:par>
                                <p:cTn id="101" presetID="23" presetClass="entr" presetSubtype="288" fill="hold" nodeType="withEffect">
                                  <p:stCondLst>
                                    <p:cond delay="500"/>
                                  </p:stCondLst>
                                  <p:childTnLst>
                                    <p:set>
                                      <p:cBhvr>
                                        <p:cTn id="102" dur="1" fill="hold">
                                          <p:stCondLst>
                                            <p:cond delay="0"/>
                                          </p:stCondLst>
                                        </p:cTn>
                                        <p:tgtEl>
                                          <p:spTgt spid="477"/>
                                        </p:tgtEl>
                                        <p:attrNameLst>
                                          <p:attrName>style.visibility</p:attrName>
                                        </p:attrNameLst>
                                      </p:cBhvr>
                                      <p:to>
                                        <p:strVal val="visible"/>
                                      </p:to>
                                    </p:set>
                                    <p:anim calcmode="lin" valueType="num">
                                      <p:cBhvr>
                                        <p:cTn id="103" dur="500" fill="hold"/>
                                        <p:tgtEl>
                                          <p:spTgt spid="477"/>
                                        </p:tgtEl>
                                        <p:attrNameLst>
                                          <p:attrName>ppt_w</p:attrName>
                                        </p:attrNameLst>
                                      </p:cBhvr>
                                      <p:tavLst>
                                        <p:tav tm="0">
                                          <p:val>
                                            <p:strVal val="4/3*#ppt_w"/>
                                          </p:val>
                                        </p:tav>
                                        <p:tav tm="100000">
                                          <p:val>
                                            <p:strVal val="#ppt_w"/>
                                          </p:val>
                                        </p:tav>
                                      </p:tavLst>
                                    </p:anim>
                                    <p:anim calcmode="lin" valueType="num">
                                      <p:cBhvr>
                                        <p:cTn id="104" dur="500" fill="hold"/>
                                        <p:tgtEl>
                                          <p:spTgt spid="477"/>
                                        </p:tgtEl>
                                        <p:attrNameLst>
                                          <p:attrName>ppt_h</p:attrName>
                                        </p:attrNameLst>
                                      </p:cBhvr>
                                      <p:tavLst>
                                        <p:tav tm="0">
                                          <p:val>
                                            <p:strVal val="4/3*#ppt_h"/>
                                          </p:val>
                                        </p:tav>
                                        <p:tav tm="100000">
                                          <p:val>
                                            <p:strVal val="#ppt_h"/>
                                          </p:val>
                                        </p:tav>
                                      </p:tavLst>
                                    </p:anim>
                                  </p:childTnLst>
                                </p:cTn>
                              </p:par>
                              <p:par>
                                <p:cTn id="105" presetID="10" presetClass="entr" presetSubtype="0" fill="hold" grpId="0" nodeType="withEffect">
                                  <p:stCondLst>
                                    <p:cond delay="500"/>
                                  </p:stCondLst>
                                  <p:childTnLst>
                                    <p:set>
                                      <p:cBhvr>
                                        <p:cTn id="106" dur="1" fill="hold">
                                          <p:stCondLst>
                                            <p:cond delay="0"/>
                                          </p:stCondLst>
                                        </p:cTn>
                                        <p:tgtEl>
                                          <p:spTgt spid="482"/>
                                        </p:tgtEl>
                                        <p:attrNameLst>
                                          <p:attrName>style.visibility</p:attrName>
                                        </p:attrNameLst>
                                      </p:cBhvr>
                                      <p:to>
                                        <p:strVal val="visible"/>
                                      </p:to>
                                    </p:set>
                                    <p:animEffect transition="in" filter="fade">
                                      <p:cBhvr>
                                        <p:cTn id="107" dur="500"/>
                                        <p:tgtEl>
                                          <p:spTgt spid="482"/>
                                        </p:tgtEl>
                                      </p:cBhvr>
                                    </p:animEffect>
                                  </p:childTnLst>
                                </p:cTn>
                              </p:par>
                              <p:par>
                                <p:cTn id="108" presetID="23" presetClass="entr" presetSubtype="288" fill="hold" grpId="1" nodeType="withEffect">
                                  <p:stCondLst>
                                    <p:cond delay="500"/>
                                  </p:stCondLst>
                                  <p:childTnLst>
                                    <p:set>
                                      <p:cBhvr>
                                        <p:cTn id="109" dur="1" fill="hold">
                                          <p:stCondLst>
                                            <p:cond delay="0"/>
                                          </p:stCondLst>
                                        </p:cTn>
                                        <p:tgtEl>
                                          <p:spTgt spid="482"/>
                                        </p:tgtEl>
                                        <p:attrNameLst>
                                          <p:attrName>style.visibility</p:attrName>
                                        </p:attrNameLst>
                                      </p:cBhvr>
                                      <p:to>
                                        <p:strVal val="visible"/>
                                      </p:to>
                                    </p:set>
                                    <p:anim calcmode="lin" valueType="num">
                                      <p:cBhvr>
                                        <p:cTn id="110" dur="500" fill="hold"/>
                                        <p:tgtEl>
                                          <p:spTgt spid="482"/>
                                        </p:tgtEl>
                                        <p:attrNameLst>
                                          <p:attrName>ppt_w</p:attrName>
                                        </p:attrNameLst>
                                      </p:cBhvr>
                                      <p:tavLst>
                                        <p:tav tm="0">
                                          <p:val>
                                            <p:strVal val="4/3*#ppt_w"/>
                                          </p:val>
                                        </p:tav>
                                        <p:tav tm="100000">
                                          <p:val>
                                            <p:strVal val="#ppt_w"/>
                                          </p:val>
                                        </p:tav>
                                      </p:tavLst>
                                    </p:anim>
                                    <p:anim calcmode="lin" valueType="num">
                                      <p:cBhvr>
                                        <p:cTn id="111" dur="500" fill="hold"/>
                                        <p:tgtEl>
                                          <p:spTgt spid="482"/>
                                        </p:tgtEl>
                                        <p:attrNameLst>
                                          <p:attrName>ppt_h</p:attrName>
                                        </p:attrNameLst>
                                      </p:cBhvr>
                                      <p:tavLst>
                                        <p:tav tm="0">
                                          <p:val>
                                            <p:strVal val="4/3*#ppt_h"/>
                                          </p:val>
                                        </p:tav>
                                        <p:tav tm="100000">
                                          <p:val>
                                            <p:strVal val="#ppt_h"/>
                                          </p:val>
                                        </p:tav>
                                      </p:tavLst>
                                    </p:anim>
                                  </p:childTnLst>
                                </p:cTn>
                              </p:par>
                              <p:par>
                                <p:cTn id="112" presetID="10" presetClass="entr" presetSubtype="0" fill="hold" grpId="0" nodeType="withEffect">
                                  <p:stCondLst>
                                    <p:cond delay="500"/>
                                  </p:stCondLst>
                                  <p:childTnLst>
                                    <p:set>
                                      <p:cBhvr>
                                        <p:cTn id="113" dur="1" fill="hold">
                                          <p:stCondLst>
                                            <p:cond delay="0"/>
                                          </p:stCondLst>
                                        </p:cTn>
                                        <p:tgtEl>
                                          <p:spTgt spid="478"/>
                                        </p:tgtEl>
                                        <p:attrNameLst>
                                          <p:attrName>style.visibility</p:attrName>
                                        </p:attrNameLst>
                                      </p:cBhvr>
                                      <p:to>
                                        <p:strVal val="visible"/>
                                      </p:to>
                                    </p:set>
                                    <p:animEffect transition="in" filter="fade">
                                      <p:cBhvr>
                                        <p:cTn id="114" dur="500"/>
                                        <p:tgtEl>
                                          <p:spTgt spid="478"/>
                                        </p:tgtEl>
                                      </p:cBhvr>
                                    </p:animEffect>
                                  </p:childTnLst>
                                </p:cTn>
                              </p:par>
                              <p:par>
                                <p:cTn id="115" presetID="23" presetClass="entr" presetSubtype="288" fill="hold" grpId="1" nodeType="withEffect">
                                  <p:stCondLst>
                                    <p:cond delay="500"/>
                                  </p:stCondLst>
                                  <p:childTnLst>
                                    <p:set>
                                      <p:cBhvr>
                                        <p:cTn id="116" dur="1" fill="hold">
                                          <p:stCondLst>
                                            <p:cond delay="0"/>
                                          </p:stCondLst>
                                        </p:cTn>
                                        <p:tgtEl>
                                          <p:spTgt spid="478"/>
                                        </p:tgtEl>
                                        <p:attrNameLst>
                                          <p:attrName>style.visibility</p:attrName>
                                        </p:attrNameLst>
                                      </p:cBhvr>
                                      <p:to>
                                        <p:strVal val="visible"/>
                                      </p:to>
                                    </p:set>
                                    <p:anim calcmode="lin" valueType="num">
                                      <p:cBhvr>
                                        <p:cTn id="117" dur="500" fill="hold"/>
                                        <p:tgtEl>
                                          <p:spTgt spid="478"/>
                                        </p:tgtEl>
                                        <p:attrNameLst>
                                          <p:attrName>ppt_w</p:attrName>
                                        </p:attrNameLst>
                                      </p:cBhvr>
                                      <p:tavLst>
                                        <p:tav tm="0">
                                          <p:val>
                                            <p:strVal val="4/3*#ppt_w"/>
                                          </p:val>
                                        </p:tav>
                                        <p:tav tm="100000">
                                          <p:val>
                                            <p:strVal val="#ppt_w"/>
                                          </p:val>
                                        </p:tav>
                                      </p:tavLst>
                                    </p:anim>
                                    <p:anim calcmode="lin" valueType="num">
                                      <p:cBhvr>
                                        <p:cTn id="118" dur="500" fill="hold"/>
                                        <p:tgtEl>
                                          <p:spTgt spid="478"/>
                                        </p:tgtEl>
                                        <p:attrNameLst>
                                          <p:attrName>ppt_h</p:attrName>
                                        </p:attrNameLst>
                                      </p:cBhvr>
                                      <p:tavLst>
                                        <p:tav tm="0">
                                          <p:val>
                                            <p:strVal val="4/3*#ppt_h"/>
                                          </p:val>
                                        </p:tav>
                                        <p:tav tm="100000">
                                          <p:val>
                                            <p:strVal val="#ppt_h"/>
                                          </p:val>
                                        </p:tav>
                                      </p:tavLst>
                                    </p:anim>
                                  </p:childTnLst>
                                </p:cTn>
                              </p:par>
                              <p:par>
                                <p:cTn id="119" presetID="10" presetClass="entr" presetSubtype="0" fill="hold" grpId="0" nodeType="withEffect">
                                  <p:stCondLst>
                                    <p:cond delay="500"/>
                                  </p:stCondLst>
                                  <p:childTnLst>
                                    <p:set>
                                      <p:cBhvr>
                                        <p:cTn id="120" dur="1" fill="hold">
                                          <p:stCondLst>
                                            <p:cond delay="0"/>
                                          </p:stCondLst>
                                        </p:cTn>
                                        <p:tgtEl>
                                          <p:spTgt spid="479"/>
                                        </p:tgtEl>
                                        <p:attrNameLst>
                                          <p:attrName>style.visibility</p:attrName>
                                        </p:attrNameLst>
                                      </p:cBhvr>
                                      <p:to>
                                        <p:strVal val="visible"/>
                                      </p:to>
                                    </p:set>
                                    <p:animEffect transition="in" filter="fade">
                                      <p:cBhvr>
                                        <p:cTn id="121" dur="500"/>
                                        <p:tgtEl>
                                          <p:spTgt spid="479"/>
                                        </p:tgtEl>
                                      </p:cBhvr>
                                    </p:animEffect>
                                  </p:childTnLst>
                                </p:cTn>
                              </p:par>
                              <p:par>
                                <p:cTn id="122" presetID="23" presetClass="entr" presetSubtype="288" fill="hold" grpId="1" nodeType="withEffect">
                                  <p:stCondLst>
                                    <p:cond delay="500"/>
                                  </p:stCondLst>
                                  <p:childTnLst>
                                    <p:set>
                                      <p:cBhvr>
                                        <p:cTn id="123" dur="1" fill="hold">
                                          <p:stCondLst>
                                            <p:cond delay="0"/>
                                          </p:stCondLst>
                                        </p:cTn>
                                        <p:tgtEl>
                                          <p:spTgt spid="479"/>
                                        </p:tgtEl>
                                        <p:attrNameLst>
                                          <p:attrName>style.visibility</p:attrName>
                                        </p:attrNameLst>
                                      </p:cBhvr>
                                      <p:to>
                                        <p:strVal val="visible"/>
                                      </p:to>
                                    </p:set>
                                    <p:anim calcmode="lin" valueType="num">
                                      <p:cBhvr>
                                        <p:cTn id="124" dur="500" fill="hold"/>
                                        <p:tgtEl>
                                          <p:spTgt spid="479"/>
                                        </p:tgtEl>
                                        <p:attrNameLst>
                                          <p:attrName>ppt_w</p:attrName>
                                        </p:attrNameLst>
                                      </p:cBhvr>
                                      <p:tavLst>
                                        <p:tav tm="0">
                                          <p:val>
                                            <p:strVal val="4/3*#ppt_w"/>
                                          </p:val>
                                        </p:tav>
                                        <p:tav tm="100000">
                                          <p:val>
                                            <p:strVal val="#ppt_w"/>
                                          </p:val>
                                        </p:tav>
                                      </p:tavLst>
                                    </p:anim>
                                    <p:anim calcmode="lin" valueType="num">
                                      <p:cBhvr>
                                        <p:cTn id="125" dur="500" fill="hold"/>
                                        <p:tgtEl>
                                          <p:spTgt spid="479"/>
                                        </p:tgtEl>
                                        <p:attrNameLst>
                                          <p:attrName>ppt_h</p:attrName>
                                        </p:attrNameLst>
                                      </p:cBhvr>
                                      <p:tavLst>
                                        <p:tav tm="0">
                                          <p:val>
                                            <p:strVal val="4/3*#ppt_h"/>
                                          </p:val>
                                        </p:tav>
                                        <p:tav tm="100000">
                                          <p:val>
                                            <p:strVal val="#ppt_h"/>
                                          </p:val>
                                        </p:tav>
                                      </p:tavLst>
                                    </p:anim>
                                  </p:childTnLst>
                                </p:cTn>
                              </p:par>
                              <p:par>
                                <p:cTn id="126" presetID="10" presetClass="entr" presetSubtype="0" fill="hold" grpId="0" nodeType="withEffect">
                                  <p:stCondLst>
                                    <p:cond delay="500"/>
                                  </p:stCondLst>
                                  <p:childTnLst>
                                    <p:set>
                                      <p:cBhvr>
                                        <p:cTn id="127" dur="1" fill="hold">
                                          <p:stCondLst>
                                            <p:cond delay="0"/>
                                          </p:stCondLst>
                                        </p:cTn>
                                        <p:tgtEl>
                                          <p:spTgt spid="489"/>
                                        </p:tgtEl>
                                        <p:attrNameLst>
                                          <p:attrName>style.visibility</p:attrName>
                                        </p:attrNameLst>
                                      </p:cBhvr>
                                      <p:to>
                                        <p:strVal val="visible"/>
                                      </p:to>
                                    </p:set>
                                    <p:animEffect transition="in" filter="fade">
                                      <p:cBhvr>
                                        <p:cTn id="128" dur="500"/>
                                        <p:tgtEl>
                                          <p:spTgt spid="489"/>
                                        </p:tgtEl>
                                      </p:cBhvr>
                                    </p:animEffect>
                                  </p:childTnLst>
                                </p:cTn>
                              </p:par>
                              <p:par>
                                <p:cTn id="129" presetID="23" presetClass="entr" presetSubtype="288" fill="hold" grpId="1" nodeType="withEffect">
                                  <p:stCondLst>
                                    <p:cond delay="500"/>
                                  </p:stCondLst>
                                  <p:childTnLst>
                                    <p:set>
                                      <p:cBhvr>
                                        <p:cTn id="130" dur="1" fill="hold">
                                          <p:stCondLst>
                                            <p:cond delay="0"/>
                                          </p:stCondLst>
                                        </p:cTn>
                                        <p:tgtEl>
                                          <p:spTgt spid="489"/>
                                        </p:tgtEl>
                                        <p:attrNameLst>
                                          <p:attrName>style.visibility</p:attrName>
                                        </p:attrNameLst>
                                      </p:cBhvr>
                                      <p:to>
                                        <p:strVal val="visible"/>
                                      </p:to>
                                    </p:set>
                                    <p:anim calcmode="lin" valueType="num">
                                      <p:cBhvr>
                                        <p:cTn id="131" dur="500" fill="hold"/>
                                        <p:tgtEl>
                                          <p:spTgt spid="489"/>
                                        </p:tgtEl>
                                        <p:attrNameLst>
                                          <p:attrName>ppt_w</p:attrName>
                                        </p:attrNameLst>
                                      </p:cBhvr>
                                      <p:tavLst>
                                        <p:tav tm="0">
                                          <p:val>
                                            <p:strVal val="4/3*#ppt_w"/>
                                          </p:val>
                                        </p:tav>
                                        <p:tav tm="100000">
                                          <p:val>
                                            <p:strVal val="#ppt_w"/>
                                          </p:val>
                                        </p:tav>
                                      </p:tavLst>
                                    </p:anim>
                                    <p:anim calcmode="lin" valueType="num">
                                      <p:cBhvr>
                                        <p:cTn id="132" dur="500" fill="hold"/>
                                        <p:tgtEl>
                                          <p:spTgt spid="489"/>
                                        </p:tgtEl>
                                        <p:attrNameLst>
                                          <p:attrName>ppt_h</p:attrName>
                                        </p:attrNameLst>
                                      </p:cBhvr>
                                      <p:tavLst>
                                        <p:tav tm="0">
                                          <p:val>
                                            <p:strVal val="4/3*#ppt_h"/>
                                          </p:val>
                                        </p:tav>
                                        <p:tav tm="100000">
                                          <p:val>
                                            <p:strVal val="#ppt_h"/>
                                          </p:val>
                                        </p:tav>
                                      </p:tavLst>
                                    </p:anim>
                                  </p:childTnLst>
                                </p:cTn>
                              </p:par>
                              <p:par>
                                <p:cTn id="133" presetID="10" presetClass="entr" presetSubtype="0" fill="hold" grpId="0" nodeType="withEffect">
                                  <p:stCondLst>
                                    <p:cond delay="500"/>
                                  </p:stCondLst>
                                  <p:childTnLst>
                                    <p:set>
                                      <p:cBhvr>
                                        <p:cTn id="134" dur="1" fill="hold">
                                          <p:stCondLst>
                                            <p:cond delay="0"/>
                                          </p:stCondLst>
                                        </p:cTn>
                                        <p:tgtEl>
                                          <p:spTgt spid="487"/>
                                        </p:tgtEl>
                                        <p:attrNameLst>
                                          <p:attrName>style.visibility</p:attrName>
                                        </p:attrNameLst>
                                      </p:cBhvr>
                                      <p:to>
                                        <p:strVal val="visible"/>
                                      </p:to>
                                    </p:set>
                                    <p:animEffect transition="in" filter="fade">
                                      <p:cBhvr>
                                        <p:cTn id="135" dur="500"/>
                                        <p:tgtEl>
                                          <p:spTgt spid="487"/>
                                        </p:tgtEl>
                                      </p:cBhvr>
                                    </p:animEffect>
                                  </p:childTnLst>
                                </p:cTn>
                              </p:par>
                              <p:par>
                                <p:cTn id="136" presetID="23" presetClass="entr" presetSubtype="288" fill="hold" grpId="1" nodeType="withEffect">
                                  <p:stCondLst>
                                    <p:cond delay="500"/>
                                  </p:stCondLst>
                                  <p:childTnLst>
                                    <p:set>
                                      <p:cBhvr>
                                        <p:cTn id="137" dur="1" fill="hold">
                                          <p:stCondLst>
                                            <p:cond delay="0"/>
                                          </p:stCondLst>
                                        </p:cTn>
                                        <p:tgtEl>
                                          <p:spTgt spid="487"/>
                                        </p:tgtEl>
                                        <p:attrNameLst>
                                          <p:attrName>style.visibility</p:attrName>
                                        </p:attrNameLst>
                                      </p:cBhvr>
                                      <p:to>
                                        <p:strVal val="visible"/>
                                      </p:to>
                                    </p:set>
                                    <p:anim calcmode="lin" valueType="num">
                                      <p:cBhvr>
                                        <p:cTn id="138" dur="500" fill="hold"/>
                                        <p:tgtEl>
                                          <p:spTgt spid="487"/>
                                        </p:tgtEl>
                                        <p:attrNameLst>
                                          <p:attrName>ppt_w</p:attrName>
                                        </p:attrNameLst>
                                      </p:cBhvr>
                                      <p:tavLst>
                                        <p:tav tm="0">
                                          <p:val>
                                            <p:strVal val="4/3*#ppt_w"/>
                                          </p:val>
                                        </p:tav>
                                        <p:tav tm="100000">
                                          <p:val>
                                            <p:strVal val="#ppt_w"/>
                                          </p:val>
                                        </p:tav>
                                      </p:tavLst>
                                    </p:anim>
                                    <p:anim calcmode="lin" valueType="num">
                                      <p:cBhvr>
                                        <p:cTn id="139" dur="500" fill="hold"/>
                                        <p:tgtEl>
                                          <p:spTgt spid="487"/>
                                        </p:tgtEl>
                                        <p:attrNameLst>
                                          <p:attrName>ppt_h</p:attrName>
                                        </p:attrNameLst>
                                      </p:cBhvr>
                                      <p:tavLst>
                                        <p:tav tm="0">
                                          <p:val>
                                            <p:strVal val="4/3*#ppt_h"/>
                                          </p:val>
                                        </p:tav>
                                        <p:tav tm="100000">
                                          <p:val>
                                            <p:strVal val="#ppt_h"/>
                                          </p:val>
                                        </p:tav>
                                      </p:tavLst>
                                    </p:anim>
                                  </p:childTnLst>
                                </p:cTn>
                              </p:par>
                              <p:par>
                                <p:cTn id="140" presetID="10" presetClass="entr" presetSubtype="0" fill="hold" grpId="0" nodeType="withEffect">
                                  <p:stCondLst>
                                    <p:cond delay="500"/>
                                  </p:stCondLst>
                                  <p:childTnLst>
                                    <p:set>
                                      <p:cBhvr>
                                        <p:cTn id="141" dur="1" fill="hold">
                                          <p:stCondLst>
                                            <p:cond delay="0"/>
                                          </p:stCondLst>
                                        </p:cTn>
                                        <p:tgtEl>
                                          <p:spTgt spid="472"/>
                                        </p:tgtEl>
                                        <p:attrNameLst>
                                          <p:attrName>style.visibility</p:attrName>
                                        </p:attrNameLst>
                                      </p:cBhvr>
                                      <p:to>
                                        <p:strVal val="visible"/>
                                      </p:to>
                                    </p:set>
                                    <p:animEffect transition="in" filter="fade">
                                      <p:cBhvr>
                                        <p:cTn id="142" dur="500"/>
                                        <p:tgtEl>
                                          <p:spTgt spid="472"/>
                                        </p:tgtEl>
                                      </p:cBhvr>
                                    </p:animEffect>
                                  </p:childTnLst>
                                </p:cTn>
                              </p:par>
                              <p:par>
                                <p:cTn id="143" presetID="23" presetClass="entr" presetSubtype="288" fill="hold" grpId="1" nodeType="withEffect">
                                  <p:stCondLst>
                                    <p:cond delay="500"/>
                                  </p:stCondLst>
                                  <p:childTnLst>
                                    <p:set>
                                      <p:cBhvr>
                                        <p:cTn id="144" dur="1" fill="hold">
                                          <p:stCondLst>
                                            <p:cond delay="0"/>
                                          </p:stCondLst>
                                        </p:cTn>
                                        <p:tgtEl>
                                          <p:spTgt spid="472"/>
                                        </p:tgtEl>
                                        <p:attrNameLst>
                                          <p:attrName>style.visibility</p:attrName>
                                        </p:attrNameLst>
                                      </p:cBhvr>
                                      <p:to>
                                        <p:strVal val="visible"/>
                                      </p:to>
                                    </p:set>
                                    <p:anim calcmode="lin" valueType="num">
                                      <p:cBhvr>
                                        <p:cTn id="145" dur="500" fill="hold"/>
                                        <p:tgtEl>
                                          <p:spTgt spid="472"/>
                                        </p:tgtEl>
                                        <p:attrNameLst>
                                          <p:attrName>ppt_w</p:attrName>
                                        </p:attrNameLst>
                                      </p:cBhvr>
                                      <p:tavLst>
                                        <p:tav tm="0">
                                          <p:val>
                                            <p:strVal val="4/3*#ppt_w"/>
                                          </p:val>
                                        </p:tav>
                                        <p:tav tm="100000">
                                          <p:val>
                                            <p:strVal val="#ppt_w"/>
                                          </p:val>
                                        </p:tav>
                                      </p:tavLst>
                                    </p:anim>
                                    <p:anim calcmode="lin" valueType="num">
                                      <p:cBhvr>
                                        <p:cTn id="146" dur="500" fill="hold"/>
                                        <p:tgtEl>
                                          <p:spTgt spid="472"/>
                                        </p:tgtEl>
                                        <p:attrNameLst>
                                          <p:attrName>ppt_h</p:attrName>
                                        </p:attrNameLst>
                                      </p:cBhvr>
                                      <p:tavLst>
                                        <p:tav tm="0">
                                          <p:val>
                                            <p:strVal val="4/3*#ppt_h"/>
                                          </p:val>
                                        </p:tav>
                                        <p:tav tm="100000">
                                          <p:val>
                                            <p:strVal val="#ppt_h"/>
                                          </p:val>
                                        </p:tav>
                                      </p:tavLst>
                                    </p:anim>
                                  </p:childTnLst>
                                </p:cTn>
                              </p:par>
                              <p:par>
                                <p:cTn id="147" presetID="10" presetClass="entr" presetSubtype="0" fill="hold" grpId="0" nodeType="withEffect">
                                  <p:stCondLst>
                                    <p:cond delay="500"/>
                                  </p:stCondLst>
                                  <p:childTnLst>
                                    <p:set>
                                      <p:cBhvr>
                                        <p:cTn id="148" dur="1" fill="hold">
                                          <p:stCondLst>
                                            <p:cond delay="0"/>
                                          </p:stCondLst>
                                        </p:cTn>
                                        <p:tgtEl>
                                          <p:spTgt spid="471"/>
                                        </p:tgtEl>
                                        <p:attrNameLst>
                                          <p:attrName>style.visibility</p:attrName>
                                        </p:attrNameLst>
                                      </p:cBhvr>
                                      <p:to>
                                        <p:strVal val="visible"/>
                                      </p:to>
                                    </p:set>
                                    <p:animEffect transition="in" filter="fade">
                                      <p:cBhvr>
                                        <p:cTn id="149" dur="500"/>
                                        <p:tgtEl>
                                          <p:spTgt spid="471"/>
                                        </p:tgtEl>
                                      </p:cBhvr>
                                    </p:animEffect>
                                  </p:childTnLst>
                                </p:cTn>
                              </p:par>
                              <p:par>
                                <p:cTn id="150" presetID="23" presetClass="entr" presetSubtype="288" fill="hold" grpId="1" nodeType="withEffect">
                                  <p:stCondLst>
                                    <p:cond delay="500"/>
                                  </p:stCondLst>
                                  <p:childTnLst>
                                    <p:set>
                                      <p:cBhvr>
                                        <p:cTn id="151" dur="1" fill="hold">
                                          <p:stCondLst>
                                            <p:cond delay="0"/>
                                          </p:stCondLst>
                                        </p:cTn>
                                        <p:tgtEl>
                                          <p:spTgt spid="471"/>
                                        </p:tgtEl>
                                        <p:attrNameLst>
                                          <p:attrName>style.visibility</p:attrName>
                                        </p:attrNameLst>
                                      </p:cBhvr>
                                      <p:to>
                                        <p:strVal val="visible"/>
                                      </p:to>
                                    </p:set>
                                    <p:anim calcmode="lin" valueType="num">
                                      <p:cBhvr>
                                        <p:cTn id="152" dur="500" fill="hold"/>
                                        <p:tgtEl>
                                          <p:spTgt spid="471"/>
                                        </p:tgtEl>
                                        <p:attrNameLst>
                                          <p:attrName>ppt_w</p:attrName>
                                        </p:attrNameLst>
                                      </p:cBhvr>
                                      <p:tavLst>
                                        <p:tav tm="0">
                                          <p:val>
                                            <p:strVal val="4/3*#ppt_w"/>
                                          </p:val>
                                        </p:tav>
                                        <p:tav tm="100000">
                                          <p:val>
                                            <p:strVal val="#ppt_w"/>
                                          </p:val>
                                        </p:tav>
                                      </p:tavLst>
                                    </p:anim>
                                    <p:anim calcmode="lin" valueType="num">
                                      <p:cBhvr>
                                        <p:cTn id="153" dur="500" fill="hold"/>
                                        <p:tgtEl>
                                          <p:spTgt spid="471"/>
                                        </p:tgtEl>
                                        <p:attrNameLst>
                                          <p:attrName>ppt_h</p:attrName>
                                        </p:attrNameLst>
                                      </p:cBhvr>
                                      <p:tavLst>
                                        <p:tav tm="0">
                                          <p:val>
                                            <p:strVal val="4/3*#ppt_h"/>
                                          </p:val>
                                        </p:tav>
                                        <p:tav tm="100000">
                                          <p:val>
                                            <p:strVal val="#ppt_h"/>
                                          </p:val>
                                        </p:tav>
                                      </p:tavLst>
                                    </p:anim>
                                  </p:childTnLst>
                                </p:cTn>
                              </p:par>
                              <p:par>
                                <p:cTn id="154" presetID="10" presetClass="entr" presetSubtype="0" fill="hold" grpId="0" nodeType="withEffect">
                                  <p:stCondLst>
                                    <p:cond delay="500"/>
                                  </p:stCondLst>
                                  <p:childTnLst>
                                    <p:set>
                                      <p:cBhvr>
                                        <p:cTn id="155" dur="1" fill="hold">
                                          <p:stCondLst>
                                            <p:cond delay="0"/>
                                          </p:stCondLst>
                                        </p:cTn>
                                        <p:tgtEl>
                                          <p:spTgt spid="470"/>
                                        </p:tgtEl>
                                        <p:attrNameLst>
                                          <p:attrName>style.visibility</p:attrName>
                                        </p:attrNameLst>
                                      </p:cBhvr>
                                      <p:to>
                                        <p:strVal val="visible"/>
                                      </p:to>
                                    </p:set>
                                    <p:animEffect transition="in" filter="fade">
                                      <p:cBhvr>
                                        <p:cTn id="156" dur="500"/>
                                        <p:tgtEl>
                                          <p:spTgt spid="470"/>
                                        </p:tgtEl>
                                      </p:cBhvr>
                                    </p:animEffect>
                                  </p:childTnLst>
                                </p:cTn>
                              </p:par>
                              <p:par>
                                <p:cTn id="157" presetID="23" presetClass="entr" presetSubtype="288" fill="hold" grpId="1" nodeType="withEffect">
                                  <p:stCondLst>
                                    <p:cond delay="500"/>
                                  </p:stCondLst>
                                  <p:childTnLst>
                                    <p:set>
                                      <p:cBhvr>
                                        <p:cTn id="158" dur="1" fill="hold">
                                          <p:stCondLst>
                                            <p:cond delay="0"/>
                                          </p:stCondLst>
                                        </p:cTn>
                                        <p:tgtEl>
                                          <p:spTgt spid="470"/>
                                        </p:tgtEl>
                                        <p:attrNameLst>
                                          <p:attrName>style.visibility</p:attrName>
                                        </p:attrNameLst>
                                      </p:cBhvr>
                                      <p:to>
                                        <p:strVal val="visible"/>
                                      </p:to>
                                    </p:set>
                                    <p:anim calcmode="lin" valueType="num">
                                      <p:cBhvr>
                                        <p:cTn id="159" dur="500" fill="hold"/>
                                        <p:tgtEl>
                                          <p:spTgt spid="470"/>
                                        </p:tgtEl>
                                        <p:attrNameLst>
                                          <p:attrName>ppt_w</p:attrName>
                                        </p:attrNameLst>
                                      </p:cBhvr>
                                      <p:tavLst>
                                        <p:tav tm="0">
                                          <p:val>
                                            <p:strVal val="4/3*#ppt_w"/>
                                          </p:val>
                                        </p:tav>
                                        <p:tav tm="100000">
                                          <p:val>
                                            <p:strVal val="#ppt_w"/>
                                          </p:val>
                                        </p:tav>
                                      </p:tavLst>
                                    </p:anim>
                                    <p:anim calcmode="lin" valueType="num">
                                      <p:cBhvr>
                                        <p:cTn id="160" dur="500" fill="hold"/>
                                        <p:tgtEl>
                                          <p:spTgt spid="470"/>
                                        </p:tgtEl>
                                        <p:attrNameLst>
                                          <p:attrName>ppt_h</p:attrName>
                                        </p:attrNameLst>
                                      </p:cBhvr>
                                      <p:tavLst>
                                        <p:tav tm="0">
                                          <p:val>
                                            <p:strVal val="4/3*#ppt_h"/>
                                          </p:val>
                                        </p:tav>
                                        <p:tav tm="100000">
                                          <p:val>
                                            <p:strVal val="#ppt_h"/>
                                          </p:val>
                                        </p:tav>
                                      </p:tavLst>
                                    </p:anim>
                                  </p:childTnLst>
                                </p:cTn>
                              </p:par>
                              <p:par>
                                <p:cTn id="161" presetID="10" presetClass="entr" presetSubtype="0" fill="hold" grpId="0" nodeType="withEffect">
                                  <p:stCondLst>
                                    <p:cond delay="500"/>
                                  </p:stCondLst>
                                  <p:childTnLst>
                                    <p:set>
                                      <p:cBhvr>
                                        <p:cTn id="162" dur="1" fill="hold">
                                          <p:stCondLst>
                                            <p:cond delay="0"/>
                                          </p:stCondLst>
                                        </p:cTn>
                                        <p:tgtEl>
                                          <p:spTgt spid="469"/>
                                        </p:tgtEl>
                                        <p:attrNameLst>
                                          <p:attrName>style.visibility</p:attrName>
                                        </p:attrNameLst>
                                      </p:cBhvr>
                                      <p:to>
                                        <p:strVal val="visible"/>
                                      </p:to>
                                    </p:set>
                                    <p:animEffect transition="in" filter="fade">
                                      <p:cBhvr>
                                        <p:cTn id="163" dur="500"/>
                                        <p:tgtEl>
                                          <p:spTgt spid="469"/>
                                        </p:tgtEl>
                                      </p:cBhvr>
                                    </p:animEffect>
                                  </p:childTnLst>
                                </p:cTn>
                              </p:par>
                              <p:par>
                                <p:cTn id="164" presetID="23" presetClass="entr" presetSubtype="288" fill="hold" grpId="1" nodeType="withEffect">
                                  <p:stCondLst>
                                    <p:cond delay="500"/>
                                  </p:stCondLst>
                                  <p:childTnLst>
                                    <p:set>
                                      <p:cBhvr>
                                        <p:cTn id="165" dur="1" fill="hold">
                                          <p:stCondLst>
                                            <p:cond delay="0"/>
                                          </p:stCondLst>
                                        </p:cTn>
                                        <p:tgtEl>
                                          <p:spTgt spid="469"/>
                                        </p:tgtEl>
                                        <p:attrNameLst>
                                          <p:attrName>style.visibility</p:attrName>
                                        </p:attrNameLst>
                                      </p:cBhvr>
                                      <p:to>
                                        <p:strVal val="visible"/>
                                      </p:to>
                                    </p:set>
                                    <p:anim calcmode="lin" valueType="num">
                                      <p:cBhvr>
                                        <p:cTn id="166" dur="500" fill="hold"/>
                                        <p:tgtEl>
                                          <p:spTgt spid="469"/>
                                        </p:tgtEl>
                                        <p:attrNameLst>
                                          <p:attrName>ppt_w</p:attrName>
                                        </p:attrNameLst>
                                      </p:cBhvr>
                                      <p:tavLst>
                                        <p:tav tm="0">
                                          <p:val>
                                            <p:strVal val="4/3*#ppt_w"/>
                                          </p:val>
                                        </p:tav>
                                        <p:tav tm="100000">
                                          <p:val>
                                            <p:strVal val="#ppt_w"/>
                                          </p:val>
                                        </p:tav>
                                      </p:tavLst>
                                    </p:anim>
                                    <p:anim calcmode="lin" valueType="num">
                                      <p:cBhvr>
                                        <p:cTn id="167" dur="500" fill="hold"/>
                                        <p:tgtEl>
                                          <p:spTgt spid="469"/>
                                        </p:tgtEl>
                                        <p:attrNameLst>
                                          <p:attrName>ppt_h</p:attrName>
                                        </p:attrNameLst>
                                      </p:cBhvr>
                                      <p:tavLst>
                                        <p:tav tm="0">
                                          <p:val>
                                            <p:strVal val="4/3*#ppt_h"/>
                                          </p:val>
                                        </p:tav>
                                        <p:tav tm="100000">
                                          <p:val>
                                            <p:strVal val="#ppt_h"/>
                                          </p:val>
                                        </p:tav>
                                      </p:tavLst>
                                    </p:anim>
                                  </p:childTnLst>
                                </p:cTn>
                              </p:par>
                              <p:par>
                                <p:cTn id="168" presetID="10" presetClass="entr" presetSubtype="0" fill="hold" grpId="0" nodeType="withEffect">
                                  <p:stCondLst>
                                    <p:cond delay="500"/>
                                  </p:stCondLst>
                                  <p:childTnLst>
                                    <p:set>
                                      <p:cBhvr>
                                        <p:cTn id="169" dur="1" fill="hold">
                                          <p:stCondLst>
                                            <p:cond delay="0"/>
                                          </p:stCondLst>
                                        </p:cTn>
                                        <p:tgtEl>
                                          <p:spTgt spid="480"/>
                                        </p:tgtEl>
                                        <p:attrNameLst>
                                          <p:attrName>style.visibility</p:attrName>
                                        </p:attrNameLst>
                                      </p:cBhvr>
                                      <p:to>
                                        <p:strVal val="visible"/>
                                      </p:to>
                                    </p:set>
                                    <p:animEffect transition="in" filter="fade">
                                      <p:cBhvr>
                                        <p:cTn id="170" dur="500"/>
                                        <p:tgtEl>
                                          <p:spTgt spid="480"/>
                                        </p:tgtEl>
                                      </p:cBhvr>
                                    </p:animEffect>
                                  </p:childTnLst>
                                </p:cTn>
                              </p:par>
                              <p:par>
                                <p:cTn id="171" presetID="23" presetClass="entr" presetSubtype="288" fill="hold" grpId="1" nodeType="withEffect">
                                  <p:stCondLst>
                                    <p:cond delay="500"/>
                                  </p:stCondLst>
                                  <p:childTnLst>
                                    <p:set>
                                      <p:cBhvr>
                                        <p:cTn id="172" dur="1" fill="hold">
                                          <p:stCondLst>
                                            <p:cond delay="0"/>
                                          </p:stCondLst>
                                        </p:cTn>
                                        <p:tgtEl>
                                          <p:spTgt spid="480"/>
                                        </p:tgtEl>
                                        <p:attrNameLst>
                                          <p:attrName>style.visibility</p:attrName>
                                        </p:attrNameLst>
                                      </p:cBhvr>
                                      <p:to>
                                        <p:strVal val="visible"/>
                                      </p:to>
                                    </p:set>
                                    <p:anim calcmode="lin" valueType="num">
                                      <p:cBhvr>
                                        <p:cTn id="173" dur="500" fill="hold"/>
                                        <p:tgtEl>
                                          <p:spTgt spid="480"/>
                                        </p:tgtEl>
                                        <p:attrNameLst>
                                          <p:attrName>ppt_w</p:attrName>
                                        </p:attrNameLst>
                                      </p:cBhvr>
                                      <p:tavLst>
                                        <p:tav tm="0">
                                          <p:val>
                                            <p:strVal val="4/3*#ppt_w"/>
                                          </p:val>
                                        </p:tav>
                                        <p:tav tm="100000">
                                          <p:val>
                                            <p:strVal val="#ppt_w"/>
                                          </p:val>
                                        </p:tav>
                                      </p:tavLst>
                                    </p:anim>
                                    <p:anim calcmode="lin" valueType="num">
                                      <p:cBhvr>
                                        <p:cTn id="174" dur="500" fill="hold"/>
                                        <p:tgtEl>
                                          <p:spTgt spid="480"/>
                                        </p:tgtEl>
                                        <p:attrNameLst>
                                          <p:attrName>ppt_h</p:attrName>
                                        </p:attrNameLst>
                                      </p:cBhvr>
                                      <p:tavLst>
                                        <p:tav tm="0">
                                          <p:val>
                                            <p:strVal val="4/3*#ppt_h"/>
                                          </p:val>
                                        </p:tav>
                                        <p:tav tm="100000">
                                          <p:val>
                                            <p:strVal val="#ppt_h"/>
                                          </p:val>
                                        </p:tav>
                                      </p:tavLst>
                                    </p:anim>
                                  </p:childTnLst>
                                </p:cTn>
                              </p:par>
                              <p:par>
                                <p:cTn id="175" presetID="10" presetClass="entr" presetSubtype="0" fill="hold" nodeType="withEffect">
                                  <p:stCondLst>
                                    <p:cond delay="500"/>
                                  </p:stCondLst>
                                  <p:childTnLst>
                                    <p:set>
                                      <p:cBhvr>
                                        <p:cTn id="176" dur="1" fill="hold">
                                          <p:stCondLst>
                                            <p:cond delay="0"/>
                                          </p:stCondLst>
                                        </p:cTn>
                                        <p:tgtEl>
                                          <p:spTgt spid="473"/>
                                        </p:tgtEl>
                                        <p:attrNameLst>
                                          <p:attrName>style.visibility</p:attrName>
                                        </p:attrNameLst>
                                      </p:cBhvr>
                                      <p:to>
                                        <p:strVal val="visible"/>
                                      </p:to>
                                    </p:set>
                                    <p:animEffect transition="in" filter="fade">
                                      <p:cBhvr>
                                        <p:cTn id="177" dur="500"/>
                                        <p:tgtEl>
                                          <p:spTgt spid="473"/>
                                        </p:tgtEl>
                                      </p:cBhvr>
                                    </p:animEffect>
                                  </p:childTnLst>
                                </p:cTn>
                              </p:par>
                              <p:par>
                                <p:cTn id="178" presetID="23" presetClass="entr" presetSubtype="288" fill="hold" nodeType="withEffect">
                                  <p:stCondLst>
                                    <p:cond delay="500"/>
                                  </p:stCondLst>
                                  <p:childTnLst>
                                    <p:set>
                                      <p:cBhvr>
                                        <p:cTn id="179" dur="1" fill="hold">
                                          <p:stCondLst>
                                            <p:cond delay="0"/>
                                          </p:stCondLst>
                                        </p:cTn>
                                        <p:tgtEl>
                                          <p:spTgt spid="473"/>
                                        </p:tgtEl>
                                        <p:attrNameLst>
                                          <p:attrName>style.visibility</p:attrName>
                                        </p:attrNameLst>
                                      </p:cBhvr>
                                      <p:to>
                                        <p:strVal val="visible"/>
                                      </p:to>
                                    </p:set>
                                    <p:anim calcmode="lin" valueType="num">
                                      <p:cBhvr>
                                        <p:cTn id="180" dur="500" fill="hold"/>
                                        <p:tgtEl>
                                          <p:spTgt spid="473"/>
                                        </p:tgtEl>
                                        <p:attrNameLst>
                                          <p:attrName>ppt_w</p:attrName>
                                        </p:attrNameLst>
                                      </p:cBhvr>
                                      <p:tavLst>
                                        <p:tav tm="0">
                                          <p:val>
                                            <p:strVal val="4/3*#ppt_w"/>
                                          </p:val>
                                        </p:tav>
                                        <p:tav tm="100000">
                                          <p:val>
                                            <p:strVal val="#ppt_w"/>
                                          </p:val>
                                        </p:tav>
                                      </p:tavLst>
                                    </p:anim>
                                    <p:anim calcmode="lin" valueType="num">
                                      <p:cBhvr>
                                        <p:cTn id="181" dur="500" fill="hold"/>
                                        <p:tgtEl>
                                          <p:spTgt spid="473"/>
                                        </p:tgtEl>
                                        <p:attrNameLst>
                                          <p:attrName>ppt_h</p:attrName>
                                        </p:attrNameLst>
                                      </p:cBhvr>
                                      <p:tavLst>
                                        <p:tav tm="0">
                                          <p:val>
                                            <p:strVal val="4/3*#ppt_h"/>
                                          </p:val>
                                        </p:tav>
                                        <p:tav tm="100000">
                                          <p:val>
                                            <p:strVal val="#ppt_h"/>
                                          </p:val>
                                        </p:tav>
                                      </p:tavLst>
                                    </p:anim>
                                  </p:childTnLst>
                                </p:cTn>
                              </p:par>
                              <p:par>
                                <p:cTn id="182" presetID="10" presetClass="entr" presetSubtype="0" fill="hold" nodeType="withEffect">
                                  <p:stCondLst>
                                    <p:cond delay="500"/>
                                  </p:stCondLst>
                                  <p:childTnLst>
                                    <p:set>
                                      <p:cBhvr>
                                        <p:cTn id="183" dur="1" fill="hold">
                                          <p:stCondLst>
                                            <p:cond delay="0"/>
                                          </p:stCondLst>
                                        </p:cTn>
                                        <p:tgtEl>
                                          <p:spTgt spid="495"/>
                                        </p:tgtEl>
                                        <p:attrNameLst>
                                          <p:attrName>style.visibility</p:attrName>
                                        </p:attrNameLst>
                                      </p:cBhvr>
                                      <p:to>
                                        <p:strVal val="visible"/>
                                      </p:to>
                                    </p:set>
                                    <p:animEffect transition="in" filter="fade">
                                      <p:cBhvr>
                                        <p:cTn id="184" dur="500"/>
                                        <p:tgtEl>
                                          <p:spTgt spid="495"/>
                                        </p:tgtEl>
                                      </p:cBhvr>
                                    </p:animEffect>
                                  </p:childTnLst>
                                </p:cTn>
                              </p:par>
                              <p:par>
                                <p:cTn id="185" presetID="23" presetClass="entr" presetSubtype="288" fill="hold" nodeType="withEffect">
                                  <p:stCondLst>
                                    <p:cond delay="500"/>
                                  </p:stCondLst>
                                  <p:childTnLst>
                                    <p:set>
                                      <p:cBhvr>
                                        <p:cTn id="186" dur="1" fill="hold">
                                          <p:stCondLst>
                                            <p:cond delay="0"/>
                                          </p:stCondLst>
                                        </p:cTn>
                                        <p:tgtEl>
                                          <p:spTgt spid="495"/>
                                        </p:tgtEl>
                                        <p:attrNameLst>
                                          <p:attrName>style.visibility</p:attrName>
                                        </p:attrNameLst>
                                      </p:cBhvr>
                                      <p:to>
                                        <p:strVal val="visible"/>
                                      </p:to>
                                    </p:set>
                                    <p:anim calcmode="lin" valueType="num">
                                      <p:cBhvr>
                                        <p:cTn id="187" dur="500" fill="hold"/>
                                        <p:tgtEl>
                                          <p:spTgt spid="495"/>
                                        </p:tgtEl>
                                        <p:attrNameLst>
                                          <p:attrName>ppt_w</p:attrName>
                                        </p:attrNameLst>
                                      </p:cBhvr>
                                      <p:tavLst>
                                        <p:tav tm="0">
                                          <p:val>
                                            <p:strVal val="4/3*#ppt_w"/>
                                          </p:val>
                                        </p:tav>
                                        <p:tav tm="100000">
                                          <p:val>
                                            <p:strVal val="#ppt_w"/>
                                          </p:val>
                                        </p:tav>
                                      </p:tavLst>
                                    </p:anim>
                                    <p:anim calcmode="lin" valueType="num">
                                      <p:cBhvr>
                                        <p:cTn id="188" dur="500" fill="hold"/>
                                        <p:tgtEl>
                                          <p:spTgt spid="495"/>
                                        </p:tgtEl>
                                        <p:attrNameLst>
                                          <p:attrName>ppt_h</p:attrName>
                                        </p:attrNameLst>
                                      </p:cBhvr>
                                      <p:tavLst>
                                        <p:tav tm="0">
                                          <p:val>
                                            <p:strVal val="4/3*#ppt_h"/>
                                          </p:val>
                                        </p:tav>
                                        <p:tav tm="100000">
                                          <p:val>
                                            <p:strVal val="#ppt_h"/>
                                          </p:val>
                                        </p:tav>
                                      </p:tavLst>
                                    </p:anim>
                                  </p:childTnLst>
                                </p:cTn>
                              </p:par>
                              <p:par>
                                <p:cTn id="189" presetID="10" presetClass="entr" presetSubtype="0" fill="hold" nodeType="withEffect">
                                  <p:stCondLst>
                                    <p:cond delay="500"/>
                                  </p:stCondLst>
                                  <p:childTnLst>
                                    <p:set>
                                      <p:cBhvr>
                                        <p:cTn id="190" dur="1" fill="hold">
                                          <p:stCondLst>
                                            <p:cond delay="0"/>
                                          </p:stCondLst>
                                        </p:cTn>
                                        <p:tgtEl>
                                          <p:spTgt spid="498"/>
                                        </p:tgtEl>
                                        <p:attrNameLst>
                                          <p:attrName>style.visibility</p:attrName>
                                        </p:attrNameLst>
                                      </p:cBhvr>
                                      <p:to>
                                        <p:strVal val="visible"/>
                                      </p:to>
                                    </p:set>
                                    <p:animEffect transition="in" filter="fade">
                                      <p:cBhvr>
                                        <p:cTn id="191" dur="500"/>
                                        <p:tgtEl>
                                          <p:spTgt spid="498"/>
                                        </p:tgtEl>
                                      </p:cBhvr>
                                    </p:animEffect>
                                  </p:childTnLst>
                                </p:cTn>
                              </p:par>
                              <p:par>
                                <p:cTn id="192" presetID="23" presetClass="entr" presetSubtype="288" fill="hold" nodeType="withEffect">
                                  <p:stCondLst>
                                    <p:cond delay="500"/>
                                  </p:stCondLst>
                                  <p:childTnLst>
                                    <p:set>
                                      <p:cBhvr>
                                        <p:cTn id="193" dur="1" fill="hold">
                                          <p:stCondLst>
                                            <p:cond delay="0"/>
                                          </p:stCondLst>
                                        </p:cTn>
                                        <p:tgtEl>
                                          <p:spTgt spid="498"/>
                                        </p:tgtEl>
                                        <p:attrNameLst>
                                          <p:attrName>style.visibility</p:attrName>
                                        </p:attrNameLst>
                                      </p:cBhvr>
                                      <p:to>
                                        <p:strVal val="visible"/>
                                      </p:to>
                                    </p:set>
                                    <p:anim calcmode="lin" valueType="num">
                                      <p:cBhvr>
                                        <p:cTn id="194" dur="500" fill="hold"/>
                                        <p:tgtEl>
                                          <p:spTgt spid="498"/>
                                        </p:tgtEl>
                                        <p:attrNameLst>
                                          <p:attrName>ppt_w</p:attrName>
                                        </p:attrNameLst>
                                      </p:cBhvr>
                                      <p:tavLst>
                                        <p:tav tm="0">
                                          <p:val>
                                            <p:strVal val="4/3*#ppt_w"/>
                                          </p:val>
                                        </p:tav>
                                        <p:tav tm="100000">
                                          <p:val>
                                            <p:strVal val="#ppt_w"/>
                                          </p:val>
                                        </p:tav>
                                      </p:tavLst>
                                    </p:anim>
                                    <p:anim calcmode="lin" valueType="num">
                                      <p:cBhvr>
                                        <p:cTn id="195" dur="500" fill="hold"/>
                                        <p:tgtEl>
                                          <p:spTgt spid="498"/>
                                        </p:tgtEl>
                                        <p:attrNameLst>
                                          <p:attrName>ppt_h</p:attrName>
                                        </p:attrNameLst>
                                      </p:cBhvr>
                                      <p:tavLst>
                                        <p:tav tm="0">
                                          <p:val>
                                            <p:strVal val="4/3*#ppt_h"/>
                                          </p:val>
                                        </p:tav>
                                        <p:tav tm="100000">
                                          <p:val>
                                            <p:strVal val="#ppt_h"/>
                                          </p:val>
                                        </p:tav>
                                      </p:tavLst>
                                    </p:anim>
                                  </p:childTnLst>
                                </p:cTn>
                              </p:par>
                              <p:par>
                                <p:cTn id="196" presetID="10" presetClass="entr" presetSubtype="0" fill="hold" nodeType="withEffect">
                                  <p:stCondLst>
                                    <p:cond delay="500"/>
                                  </p:stCondLst>
                                  <p:childTnLst>
                                    <p:set>
                                      <p:cBhvr>
                                        <p:cTn id="197" dur="1" fill="hold">
                                          <p:stCondLst>
                                            <p:cond delay="0"/>
                                          </p:stCondLst>
                                        </p:cTn>
                                        <p:tgtEl>
                                          <p:spTgt spid="499"/>
                                        </p:tgtEl>
                                        <p:attrNameLst>
                                          <p:attrName>style.visibility</p:attrName>
                                        </p:attrNameLst>
                                      </p:cBhvr>
                                      <p:to>
                                        <p:strVal val="visible"/>
                                      </p:to>
                                    </p:set>
                                    <p:animEffect transition="in" filter="fade">
                                      <p:cBhvr>
                                        <p:cTn id="198" dur="500"/>
                                        <p:tgtEl>
                                          <p:spTgt spid="499"/>
                                        </p:tgtEl>
                                      </p:cBhvr>
                                    </p:animEffect>
                                  </p:childTnLst>
                                </p:cTn>
                              </p:par>
                              <p:par>
                                <p:cTn id="199" presetID="23" presetClass="entr" presetSubtype="288" fill="hold" nodeType="withEffect">
                                  <p:stCondLst>
                                    <p:cond delay="500"/>
                                  </p:stCondLst>
                                  <p:childTnLst>
                                    <p:set>
                                      <p:cBhvr>
                                        <p:cTn id="200" dur="1" fill="hold">
                                          <p:stCondLst>
                                            <p:cond delay="0"/>
                                          </p:stCondLst>
                                        </p:cTn>
                                        <p:tgtEl>
                                          <p:spTgt spid="499"/>
                                        </p:tgtEl>
                                        <p:attrNameLst>
                                          <p:attrName>style.visibility</p:attrName>
                                        </p:attrNameLst>
                                      </p:cBhvr>
                                      <p:to>
                                        <p:strVal val="visible"/>
                                      </p:to>
                                    </p:set>
                                    <p:anim calcmode="lin" valueType="num">
                                      <p:cBhvr>
                                        <p:cTn id="201" dur="500" fill="hold"/>
                                        <p:tgtEl>
                                          <p:spTgt spid="499"/>
                                        </p:tgtEl>
                                        <p:attrNameLst>
                                          <p:attrName>ppt_w</p:attrName>
                                        </p:attrNameLst>
                                      </p:cBhvr>
                                      <p:tavLst>
                                        <p:tav tm="0">
                                          <p:val>
                                            <p:strVal val="4/3*#ppt_w"/>
                                          </p:val>
                                        </p:tav>
                                        <p:tav tm="100000">
                                          <p:val>
                                            <p:strVal val="#ppt_w"/>
                                          </p:val>
                                        </p:tav>
                                      </p:tavLst>
                                    </p:anim>
                                    <p:anim calcmode="lin" valueType="num">
                                      <p:cBhvr>
                                        <p:cTn id="202" dur="500" fill="hold"/>
                                        <p:tgtEl>
                                          <p:spTgt spid="499"/>
                                        </p:tgtEl>
                                        <p:attrNameLst>
                                          <p:attrName>ppt_h</p:attrName>
                                        </p:attrNameLst>
                                      </p:cBhvr>
                                      <p:tavLst>
                                        <p:tav tm="0">
                                          <p:val>
                                            <p:strVal val="4/3*#ppt_h"/>
                                          </p:val>
                                        </p:tav>
                                        <p:tav tm="100000">
                                          <p:val>
                                            <p:strVal val="#ppt_h"/>
                                          </p:val>
                                        </p:tav>
                                      </p:tavLst>
                                    </p:anim>
                                  </p:childTnLst>
                                </p:cTn>
                              </p:par>
                              <p:par>
                                <p:cTn id="203" presetID="10" presetClass="entr" presetSubtype="0" fill="hold" grpId="0" nodeType="withEffect">
                                  <p:stCondLst>
                                    <p:cond delay="500"/>
                                  </p:stCondLst>
                                  <p:childTnLst>
                                    <p:set>
                                      <p:cBhvr>
                                        <p:cTn id="204" dur="1" fill="hold">
                                          <p:stCondLst>
                                            <p:cond delay="0"/>
                                          </p:stCondLst>
                                        </p:cTn>
                                        <p:tgtEl>
                                          <p:spTgt spid="484"/>
                                        </p:tgtEl>
                                        <p:attrNameLst>
                                          <p:attrName>style.visibility</p:attrName>
                                        </p:attrNameLst>
                                      </p:cBhvr>
                                      <p:to>
                                        <p:strVal val="visible"/>
                                      </p:to>
                                    </p:set>
                                    <p:animEffect transition="in" filter="fade">
                                      <p:cBhvr>
                                        <p:cTn id="205" dur="500"/>
                                        <p:tgtEl>
                                          <p:spTgt spid="484"/>
                                        </p:tgtEl>
                                      </p:cBhvr>
                                    </p:animEffect>
                                  </p:childTnLst>
                                </p:cTn>
                              </p:par>
                              <p:par>
                                <p:cTn id="206" presetID="23" presetClass="entr" presetSubtype="288" fill="hold" grpId="1" nodeType="withEffect">
                                  <p:stCondLst>
                                    <p:cond delay="500"/>
                                  </p:stCondLst>
                                  <p:childTnLst>
                                    <p:set>
                                      <p:cBhvr>
                                        <p:cTn id="207" dur="1" fill="hold">
                                          <p:stCondLst>
                                            <p:cond delay="0"/>
                                          </p:stCondLst>
                                        </p:cTn>
                                        <p:tgtEl>
                                          <p:spTgt spid="484"/>
                                        </p:tgtEl>
                                        <p:attrNameLst>
                                          <p:attrName>style.visibility</p:attrName>
                                        </p:attrNameLst>
                                      </p:cBhvr>
                                      <p:to>
                                        <p:strVal val="visible"/>
                                      </p:to>
                                    </p:set>
                                    <p:anim calcmode="lin" valueType="num">
                                      <p:cBhvr>
                                        <p:cTn id="208" dur="500" fill="hold"/>
                                        <p:tgtEl>
                                          <p:spTgt spid="484"/>
                                        </p:tgtEl>
                                        <p:attrNameLst>
                                          <p:attrName>ppt_w</p:attrName>
                                        </p:attrNameLst>
                                      </p:cBhvr>
                                      <p:tavLst>
                                        <p:tav tm="0">
                                          <p:val>
                                            <p:strVal val="4/3*#ppt_w"/>
                                          </p:val>
                                        </p:tav>
                                        <p:tav tm="100000">
                                          <p:val>
                                            <p:strVal val="#ppt_w"/>
                                          </p:val>
                                        </p:tav>
                                      </p:tavLst>
                                    </p:anim>
                                    <p:anim calcmode="lin" valueType="num">
                                      <p:cBhvr>
                                        <p:cTn id="209" dur="500" fill="hold"/>
                                        <p:tgtEl>
                                          <p:spTgt spid="484"/>
                                        </p:tgtEl>
                                        <p:attrNameLst>
                                          <p:attrName>ppt_h</p:attrName>
                                        </p:attrNameLst>
                                      </p:cBhvr>
                                      <p:tavLst>
                                        <p:tav tm="0">
                                          <p:val>
                                            <p:strVal val="4/3*#ppt_h"/>
                                          </p:val>
                                        </p:tav>
                                        <p:tav tm="100000">
                                          <p:val>
                                            <p:strVal val="#ppt_h"/>
                                          </p:val>
                                        </p:tav>
                                      </p:tavLst>
                                    </p:anim>
                                  </p:childTnLst>
                                </p:cTn>
                              </p:par>
                              <p:par>
                                <p:cTn id="210" presetID="10" presetClass="entr" presetSubtype="0" fill="hold" grpId="0" nodeType="withEffect">
                                  <p:stCondLst>
                                    <p:cond delay="500"/>
                                  </p:stCondLst>
                                  <p:childTnLst>
                                    <p:set>
                                      <p:cBhvr>
                                        <p:cTn id="211" dur="1" fill="hold">
                                          <p:stCondLst>
                                            <p:cond delay="0"/>
                                          </p:stCondLst>
                                        </p:cTn>
                                        <p:tgtEl>
                                          <p:spTgt spid="485"/>
                                        </p:tgtEl>
                                        <p:attrNameLst>
                                          <p:attrName>style.visibility</p:attrName>
                                        </p:attrNameLst>
                                      </p:cBhvr>
                                      <p:to>
                                        <p:strVal val="visible"/>
                                      </p:to>
                                    </p:set>
                                    <p:animEffect transition="in" filter="fade">
                                      <p:cBhvr>
                                        <p:cTn id="212" dur="500"/>
                                        <p:tgtEl>
                                          <p:spTgt spid="485"/>
                                        </p:tgtEl>
                                      </p:cBhvr>
                                    </p:animEffect>
                                  </p:childTnLst>
                                </p:cTn>
                              </p:par>
                              <p:par>
                                <p:cTn id="213" presetID="23" presetClass="entr" presetSubtype="288" fill="hold" grpId="1" nodeType="withEffect">
                                  <p:stCondLst>
                                    <p:cond delay="500"/>
                                  </p:stCondLst>
                                  <p:childTnLst>
                                    <p:set>
                                      <p:cBhvr>
                                        <p:cTn id="214" dur="1" fill="hold">
                                          <p:stCondLst>
                                            <p:cond delay="0"/>
                                          </p:stCondLst>
                                        </p:cTn>
                                        <p:tgtEl>
                                          <p:spTgt spid="485"/>
                                        </p:tgtEl>
                                        <p:attrNameLst>
                                          <p:attrName>style.visibility</p:attrName>
                                        </p:attrNameLst>
                                      </p:cBhvr>
                                      <p:to>
                                        <p:strVal val="visible"/>
                                      </p:to>
                                    </p:set>
                                    <p:anim calcmode="lin" valueType="num">
                                      <p:cBhvr>
                                        <p:cTn id="215" dur="500" fill="hold"/>
                                        <p:tgtEl>
                                          <p:spTgt spid="485"/>
                                        </p:tgtEl>
                                        <p:attrNameLst>
                                          <p:attrName>ppt_w</p:attrName>
                                        </p:attrNameLst>
                                      </p:cBhvr>
                                      <p:tavLst>
                                        <p:tav tm="0">
                                          <p:val>
                                            <p:strVal val="4/3*#ppt_w"/>
                                          </p:val>
                                        </p:tav>
                                        <p:tav tm="100000">
                                          <p:val>
                                            <p:strVal val="#ppt_w"/>
                                          </p:val>
                                        </p:tav>
                                      </p:tavLst>
                                    </p:anim>
                                    <p:anim calcmode="lin" valueType="num">
                                      <p:cBhvr>
                                        <p:cTn id="216" dur="500" fill="hold"/>
                                        <p:tgtEl>
                                          <p:spTgt spid="485"/>
                                        </p:tgtEl>
                                        <p:attrNameLst>
                                          <p:attrName>ppt_h</p:attrName>
                                        </p:attrNameLst>
                                      </p:cBhvr>
                                      <p:tavLst>
                                        <p:tav tm="0">
                                          <p:val>
                                            <p:strVal val="4/3*#ppt_h"/>
                                          </p:val>
                                        </p:tav>
                                        <p:tav tm="100000">
                                          <p:val>
                                            <p:strVal val="#ppt_h"/>
                                          </p:val>
                                        </p:tav>
                                      </p:tavLst>
                                    </p:anim>
                                  </p:childTnLst>
                                </p:cTn>
                              </p:par>
                              <p:par>
                                <p:cTn id="217" presetID="10" presetClass="entr" presetSubtype="0" fill="hold" nodeType="withEffect">
                                  <p:stCondLst>
                                    <p:cond delay="500"/>
                                  </p:stCondLst>
                                  <p:childTnLst>
                                    <p:set>
                                      <p:cBhvr>
                                        <p:cTn id="218" dur="1" fill="hold">
                                          <p:stCondLst>
                                            <p:cond delay="0"/>
                                          </p:stCondLst>
                                        </p:cTn>
                                        <p:tgtEl>
                                          <p:spTgt spid="466"/>
                                        </p:tgtEl>
                                        <p:attrNameLst>
                                          <p:attrName>style.visibility</p:attrName>
                                        </p:attrNameLst>
                                      </p:cBhvr>
                                      <p:to>
                                        <p:strVal val="visible"/>
                                      </p:to>
                                    </p:set>
                                    <p:animEffect transition="in" filter="fade">
                                      <p:cBhvr>
                                        <p:cTn id="219" dur="500"/>
                                        <p:tgtEl>
                                          <p:spTgt spid="466"/>
                                        </p:tgtEl>
                                      </p:cBhvr>
                                    </p:animEffect>
                                  </p:childTnLst>
                                </p:cTn>
                              </p:par>
                              <p:par>
                                <p:cTn id="220" presetID="23" presetClass="entr" presetSubtype="288" fill="hold" nodeType="withEffect">
                                  <p:stCondLst>
                                    <p:cond delay="500"/>
                                  </p:stCondLst>
                                  <p:childTnLst>
                                    <p:set>
                                      <p:cBhvr>
                                        <p:cTn id="221" dur="1" fill="hold">
                                          <p:stCondLst>
                                            <p:cond delay="0"/>
                                          </p:stCondLst>
                                        </p:cTn>
                                        <p:tgtEl>
                                          <p:spTgt spid="466"/>
                                        </p:tgtEl>
                                        <p:attrNameLst>
                                          <p:attrName>style.visibility</p:attrName>
                                        </p:attrNameLst>
                                      </p:cBhvr>
                                      <p:to>
                                        <p:strVal val="visible"/>
                                      </p:to>
                                    </p:set>
                                    <p:anim calcmode="lin" valueType="num">
                                      <p:cBhvr>
                                        <p:cTn id="222" dur="500" fill="hold"/>
                                        <p:tgtEl>
                                          <p:spTgt spid="466"/>
                                        </p:tgtEl>
                                        <p:attrNameLst>
                                          <p:attrName>ppt_w</p:attrName>
                                        </p:attrNameLst>
                                      </p:cBhvr>
                                      <p:tavLst>
                                        <p:tav tm="0">
                                          <p:val>
                                            <p:strVal val="4/3*#ppt_w"/>
                                          </p:val>
                                        </p:tav>
                                        <p:tav tm="100000">
                                          <p:val>
                                            <p:strVal val="#ppt_w"/>
                                          </p:val>
                                        </p:tav>
                                      </p:tavLst>
                                    </p:anim>
                                    <p:anim calcmode="lin" valueType="num">
                                      <p:cBhvr>
                                        <p:cTn id="223" dur="500" fill="hold"/>
                                        <p:tgtEl>
                                          <p:spTgt spid="466"/>
                                        </p:tgtEl>
                                        <p:attrNameLst>
                                          <p:attrName>ppt_h</p:attrName>
                                        </p:attrNameLst>
                                      </p:cBhvr>
                                      <p:tavLst>
                                        <p:tav tm="0">
                                          <p:val>
                                            <p:strVal val="4/3*#ppt_h"/>
                                          </p:val>
                                        </p:tav>
                                        <p:tav tm="100000">
                                          <p:val>
                                            <p:strVal val="#ppt_h"/>
                                          </p:val>
                                        </p:tav>
                                      </p:tavLst>
                                    </p:anim>
                                  </p:childTnLst>
                                </p:cTn>
                              </p:par>
                              <p:par>
                                <p:cTn id="224" presetID="10" presetClass="entr" presetSubtype="0" fill="hold" nodeType="withEffect">
                                  <p:stCondLst>
                                    <p:cond delay="500"/>
                                  </p:stCondLst>
                                  <p:childTnLst>
                                    <p:set>
                                      <p:cBhvr>
                                        <p:cTn id="225" dur="1" fill="hold">
                                          <p:stCondLst>
                                            <p:cond delay="0"/>
                                          </p:stCondLst>
                                        </p:cTn>
                                        <p:tgtEl>
                                          <p:spTgt spid="494"/>
                                        </p:tgtEl>
                                        <p:attrNameLst>
                                          <p:attrName>style.visibility</p:attrName>
                                        </p:attrNameLst>
                                      </p:cBhvr>
                                      <p:to>
                                        <p:strVal val="visible"/>
                                      </p:to>
                                    </p:set>
                                    <p:animEffect transition="in" filter="fade">
                                      <p:cBhvr>
                                        <p:cTn id="226" dur="500"/>
                                        <p:tgtEl>
                                          <p:spTgt spid="494"/>
                                        </p:tgtEl>
                                      </p:cBhvr>
                                    </p:animEffect>
                                  </p:childTnLst>
                                </p:cTn>
                              </p:par>
                              <p:par>
                                <p:cTn id="227" presetID="23" presetClass="entr" presetSubtype="288" fill="hold" nodeType="withEffect">
                                  <p:stCondLst>
                                    <p:cond delay="500"/>
                                  </p:stCondLst>
                                  <p:childTnLst>
                                    <p:set>
                                      <p:cBhvr>
                                        <p:cTn id="228" dur="1" fill="hold">
                                          <p:stCondLst>
                                            <p:cond delay="0"/>
                                          </p:stCondLst>
                                        </p:cTn>
                                        <p:tgtEl>
                                          <p:spTgt spid="494"/>
                                        </p:tgtEl>
                                        <p:attrNameLst>
                                          <p:attrName>style.visibility</p:attrName>
                                        </p:attrNameLst>
                                      </p:cBhvr>
                                      <p:to>
                                        <p:strVal val="visible"/>
                                      </p:to>
                                    </p:set>
                                    <p:anim calcmode="lin" valueType="num">
                                      <p:cBhvr>
                                        <p:cTn id="229" dur="500" fill="hold"/>
                                        <p:tgtEl>
                                          <p:spTgt spid="494"/>
                                        </p:tgtEl>
                                        <p:attrNameLst>
                                          <p:attrName>ppt_w</p:attrName>
                                        </p:attrNameLst>
                                      </p:cBhvr>
                                      <p:tavLst>
                                        <p:tav tm="0">
                                          <p:val>
                                            <p:strVal val="4/3*#ppt_w"/>
                                          </p:val>
                                        </p:tav>
                                        <p:tav tm="100000">
                                          <p:val>
                                            <p:strVal val="#ppt_w"/>
                                          </p:val>
                                        </p:tav>
                                      </p:tavLst>
                                    </p:anim>
                                    <p:anim calcmode="lin" valueType="num">
                                      <p:cBhvr>
                                        <p:cTn id="230" dur="500" fill="hold"/>
                                        <p:tgtEl>
                                          <p:spTgt spid="494"/>
                                        </p:tgtEl>
                                        <p:attrNameLst>
                                          <p:attrName>ppt_h</p:attrName>
                                        </p:attrNameLst>
                                      </p:cBhvr>
                                      <p:tavLst>
                                        <p:tav tm="0">
                                          <p:val>
                                            <p:strVal val="4/3*#ppt_h"/>
                                          </p:val>
                                        </p:tav>
                                        <p:tav tm="100000">
                                          <p:val>
                                            <p:strVal val="#ppt_h"/>
                                          </p:val>
                                        </p:tav>
                                      </p:tavLst>
                                    </p:anim>
                                  </p:childTnLst>
                                </p:cTn>
                              </p:par>
                              <p:par>
                                <p:cTn id="231" presetID="10" presetClass="entr" presetSubtype="0" fill="hold" nodeType="withEffect">
                                  <p:stCondLst>
                                    <p:cond delay="500"/>
                                  </p:stCondLst>
                                  <p:childTnLst>
                                    <p:set>
                                      <p:cBhvr>
                                        <p:cTn id="232" dur="1" fill="hold">
                                          <p:stCondLst>
                                            <p:cond delay="0"/>
                                          </p:stCondLst>
                                        </p:cTn>
                                        <p:tgtEl>
                                          <p:spTgt spid="474"/>
                                        </p:tgtEl>
                                        <p:attrNameLst>
                                          <p:attrName>style.visibility</p:attrName>
                                        </p:attrNameLst>
                                      </p:cBhvr>
                                      <p:to>
                                        <p:strVal val="visible"/>
                                      </p:to>
                                    </p:set>
                                    <p:animEffect transition="in" filter="fade">
                                      <p:cBhvr>
                                        <p:cTn id="233" dur="500"/>
                                        <p:tgtEl>
                                          <p:spTgt spid="474"/>
                                        </p:tgtEl>
                                      </p:cBhvr>
                                    </p:animEffect>
                                  </p:childTnLst>
                                </p:cTn>
                              </p:par>
                              <p:par>
                                <p:cTn id="234" presetID="23" presetClass="entr" presetSubtype="288" fill="hold" nodeType="withEffect">
                                  <p:stCondLst>
                                    <p:cond delay="500"/>
                                  </p:stCondLst>
                                  <p:childTnLst>
                                    <p:set>
                                      <p:cBhvr>
                                        <p:cTn id="235" dur="1" fill="hold">
                                          <p:stCondLst>
                                            <p:cond delay="0"/>
                                          </p:stCondLst>
                                        </p:cTn>
                                        <p:tgtEl>
                                          <p:spTgt spid="474"/>
                                        </p:tgtEl>
                                        <p:attrNameLst>
                                          <p:attrName>style.visibility</p:attrName>
                                        </p:attrNameLst>
                                      </p:cBhvr>
                                      <p:to>
                                        <p:strVal val="visible"/>
                                      </p:to>
                                    </p:set>
                                    <p:anim calcmode="lin" valueType="num">
                                      <p:cBhvr>
                                        <p:cTn id="236" dur="500" fill="hold"/>
                                        <p:tgtEl>
                                          <p:spTgt spid="474"/>
                                        </p:tgtEl>
                                        <p:attrNameLst>
                                          <p:attrName>ppt_w</p:attrName>
                                        </p:attrNameLst>
                                      </p:cBhvr>
                                      <p:tavLst>
                                        <p:tav tm="0">
                                          <p:val>
                                            <p:strVal val="4/3*#ppt_w"/>
                                          </p:val>
                                        </p:tav>
                                        <p:tav tm="100000">
                                          <p:val>
                                            <p:strVal val="#ppt_w"/>
                                          </p:val>
                                        </p:tav>
                                      </p:tavLst>
                                    </p:anim>
                                    <p:anim calcmode="lin" valueType="num">
                                      <p:cBhvr>
                                        <p:cTn id="237" dur="500" fill="hold"/>
                                        <p:tgtEl>
                                          <p:spTgt spid="474"/>
                                        </p:tgtEl>
                                        <p:attrNameLst>
                                          <p:attrName>ppt_h</p:attrName>
                                        </p:attrNameLst>
                                      </p:cBhvr>
                                      <p:tavLst>
                                        <p:tav tm="0">
                                          <p:val>
                                            <p:strVal val="4/3*#ppt_h"/>
                                          </p:val>
                                        </p:tav>
                                        <p:tav tm="100000">
                                          <p:val>
                                            <p:strVal val="#ppt_h"/>
                                          </p:val>
                                        </p:tav>
                                      </p:tavLst>
                                    </p:anim>
                                  </p:childTnLst>
                                </p:cTn>
                              </p:par>
                              <p:par>
                                <p:cTn id="238" presetID="10" presetClass="entr" presetSubtype="0" fill="hold" nodeType="withEffect">
                                  <p:stCondLst>
                                    <p:cond delay="500"/>
                                  </p:stCondLst>
                                  <p:childTnLst>
                                    <p:set>
                                      <p:cBhvr>
                                        <p:cTn id="239" dur="1" fill="hold">
                                          <p:stCondLst>
                                            <p:cond delay="0"/>
                                          </p:stCondLst>
                                        </p:cTn>
                                        <p:tgtEl>
                                          <p:spTgt spid="483"/>
                                        </p:tgtEl>
                                        <p:attrNameLst>
                                          <p:attrName>style.visibility</p:attrName>
                                        </p:attrNameLst>
                                      </p:cBhvr>
                                      <p:to>
                                        <p:strVal val="visible"/>
                                      </p:to>
                                    </p:set>
                                    <p:animEffect transition="in" filter="fade">
                                      <p:cBhvr>
                                        <p:cTn id="240" dur="500"/>
                                        <p:tgtEl>
                                          <p:spTgt spid="483"/>
                                        </p:tgtEl>
                                      </p:cBhvr>
                                    </p:animEffect>
                                  </p:childTnLst>
                                </p:cTn>
                              </p:par>
                              <p:par>
                                <p:cTn id="241" presetID="23" presetClass="entr" presetSubtype="288" fill="hold" nodeType="withEffect">
                                  <p:stCondLst>
                                    <p:cond delay="500"/>
                                  </p:stCondLst>
                                  <p:childTnLst>
                                    <p:set>
                                      <p:cBhvr>
                                        <p:cTn id="242" dur="1" fill="hold">
                                          <p:stCondLst>
                                            <p:cond delay="0"/>
                                          </p:stCondLst>
                                        </p:cTn>
                                        <p:tgtEl>
                                          <p:spTgt spid="483"/>
                                        </p:tgtEl>
                                        <p:attrNameLst>
                                          <p:attrName>style.visibility</p:attrName>
                                        </p:attrNameLst>
                                      </p:cBhvr>
                                      <p:to>
                                        <p:strVal val="visible"/>
                                      </p:to>
                                    </p:set>
                                    <p:anim calcmode="lin" valueType="num">
                                      <p:cBhvr>
                                        <p:cTn id="243" dur="500" fill="hold"/>
                                        <p:tgtEl>
                                          <p:spTgt spid="483"/>
                                        </p:tgtEl>
                                        <p:attrNameLst>
                                          <p:attrName>ppt_w</p:attrName>
                                        </p:attrNameLst>
                                      </p:cBhvr>
                                      <p:tavLst>
                                        <p:tav tm="0">
                                          <p:val>
                                            <p:strVal val="4/3*#ppt_w"/>
                                          </p:val>
                                        </p:tav>
                                        <p:tav tm="100000">
                                          <p:val>
                                            <p:strVal val="#ppt_w"/>
                                          </p:val>
                                        </p:tav>
                                      </p:tavLst>
                                    </p:anim>
                                    <p:anim calcmode="lin" valueType="num">
                                      <p:cBhvr>
                                        <p:cTn id="244" dur="500" fill="hold"/>
                                        <p:tgtEl>
                                          <p:spTgt spid="483"/>
                                        </p:tgtEl>
                                        <p:attrNameLst>
                                          <p:attrName>ppt_h</p:attrName>
                                        </p:attrNameLst>
                                      </p:cBhvr>
                                      <p:tavLst>
                                        <p:tav tm="0">
                                          <p:val>
                                            <p:strVal val="4/3*#ppt_h"/>
                                          </p:val>
                                        </p:tav>
                                        <p:tav tm="100000">
                                          <p:val>
                                            <p:strVal val="#ppt_h"/>
                                          </p:val>
                                        </p:tav>
                                      </p:tavLst>
                                    </p:anim>
                                  </p:childTnLst>
                                </p:cTn>
                              </p:par>
                              <p:par>
                                <p:cTn id="245" presetID="10" presetClass="entr" presetSubtype="0" fill="hold" nodeType="withEffect">
                                  <p:stCondLst>
                                    <p:cond delay="500"/>
                                  </p:stCondLst>
                                  <p:childTnLst>
                                    <p:set>
                                      <p:cBhvr>
                                        <p:cTn id="246" dur="1" fill="hold">
                                          <p:stCondLst>
                                            <p:cond delay="0"/>
                                          </p:stCondLst>
                                        </p:cTn>
                                        <p:tgtEl>
                                          <p:spTgt spid="26"/>
                                        </p:tgtEl>
                                        <p:attrNameLst>
                                          <p:attrName>style.visibility</p:attrName>
                                        </p:attrNameLst>
                                      </p:cBhvr>
                                      <p:to>
                                        <p:strVal val="visible"/>
                                      </p:to>
                                    </p:set>
                                    <p:animEffect transition="in" filter="fade">
                                      <p:cBhvr>
                                        <p:cTn id="247" dur="500"/>
                                        <p:tgtEl>
                                          <p:spTgt spid="26"/>
                                        </p:tgtEl>
                                      </p:cBhvr>
                                    </p:animEffect>
                                  </p:childTnLst>
                                </p:cTn>
                              </p:par>
                              <p:par>
                                <p:cTn id="248" presetID="23" presetClass="entr" presetSubtype="288" fill="hold" nodeType="withEffect">
                                  <p:stCondLst>
                                    <p:cond delay="500"/>
                                  </p:stCondLst>
                                  <p:childTnLst>
                                    <p:set>
                                      <p:cBhvr>
                                        <p:cTn id="249" dur="1" fill="hold">
                                          <p:stCondLst>
                                            <p:cond delay="0"/>
                                          </p:stCondLst>
                                        </p:cTn>
                                        <p:tgtEl>
                                          <p:spTgt spid="26"/>
                                        </p:tgtEl>
                                        <p:attrNameLst>
                                          <p:attrName>style.visibility</p:attrName>
                                        </p:attrNameLst>
                                      </p:cBhvr>
                                      <p:to>
                                        <p:strVal val="visible"/>
                                      </p:to>
                                    </p:set>
                                    <p:anim calcmode="lin" valueType="num">
                                      <p:cBhvr>
                                        <p:cTn id="250" dur="500" fill="hold"/>
                                        <p:tgtEl>
                                          <p:spTgt spid="26"/>
                                        </p:tgtEl>
                                        <p:attrNameLst>
                                          <p:attrName>ppt_w</p:attrName>
                                        </p:attrNameLst>
                                      </p:cBhvr>
                                      <p:tavLst>
                                        <p:tav tm="0">
                                          <p:val>
                                            <p:strVal val="4/3*#ppt_w"/>
                                          </p:val>
                                        </p:tav>
                                        <p:tav tm="100000">
                                          <p:val>
                                            <p:strVal val="#ppt_w"/>
                                          </p:val>
                                        </p:tav>
                                      </p:tavLst>
                                    </p:anim>
                                    <p:anim calcmode="lin" valueType="num">
                                      <p:cBhvr>
                                        <p:cTn id="251" dur="500" fill="hold"/>
                                        <p:tgtEl>
                                          <p:spTgt spid="26"/>
                                        </p:tgtEl>
                                        <p:attrNameLst>
                                          <p:attrName>ppt_h</p:attrName>
                                        </p:attrNameLst>
                                      </p:cBhvr>
                                      <p:tavLst>
                                        <p:tav tm="0">
                                          <p:val>
                                            <p:strVal val="4/3*#ppt_h"/>
                                          </p:val>
                                        </p:tav>
                                        <p:tav tm="100000">
                                          <p:val>
                                            <p:strVal val="#ppt_h"/>
                                          </p:val>
                                        </p:tav>
                                      </p:tavLst>
                                    </p:anim>
                                  </p:childTnLst>
                                </p:cTn>
                              </p:par>
                              <p:par>
                                <p:cTn id="252" presetID="10" presetClass="entr" presetSubtype="0" fill="hold" nodeType="withEffect">
                                  <p:stCondLst>
                                    <p:cond delay="500"/>
                                  </p:stCondLst>
                                  <p:childTnLst>
                                    <p:set>
                                      <p:cBhvr>
                                        <p:cTn id="253" dur="1" fill="hold">
                                          <p:stCondLst>
                                            <p:cond delay="0"/>
                                          </p:stCondLst>
                                        </p:cTn>
                                        <p:tgtEl>
                                          <p:spTgt spid="496"/>
                                        </p:tgtEl>
                                        <p:attrNameLst>
                                          <p:attrName>style.visibility</p:attrName>
                                        </p:attrNameLst>
                                      </p:cBhvr>
                                      <p:to>
                                        <p:strVal val="visible"/>
                                      </p:to>
                                    </p:set>
                                    <p:animEffect transition="in" filter="fade">
                                      <p:cBhvr>
                                        <p:cTn id="254" dur="500"/>
                                        <p:tgtEl>
                                          <p:spTgt spid="496"/>
                                        </p:tgtEl>
                                      </p:cBhvr>
                                    </p:animEffect>
                                  </p:childTnLst>
                                </p:cTn>
                              </p:par>
                              <p:par>
                                <p:cTn id="255" presetID="23" presetClass="entr" presetSubtype="288" fill="hold" nodeType="withEffect">
                                  <p:stCondLst>
                                    <p:cond delay="500"/>
                                  </p:stCondLst>
                                  <p:childTnLst>
                                    <p:set>
                                      <p:cBhvr>
                                        <p:cTn id="256" dur="1" fill="hold">
                                          <p:stCondLst>
                                            <p:cond delay="0"/>
                                          </p:stCondLst>
                                        </p:cTn>
                                        <p:tgtEl>
                                          <p:spTgt spid="496"/>
                                        </p:tgtEl>
                                        <p:attrNameLst>
                                          <p:attrName>style.visibility</p:attrName>
                                        </p:attrNameLst>
                                      </p:cBhvr>
                                      <p:to>
                                        <p:strVal val="visible"/>
                                      </p:to>
                                    </p:set>
                                    <p:anim calcmode="lin" valueType="num">
                                      <p:cBhvr>
                                        <p:cTn id="257" dur="500" fill="hold"/>
                                        <p:tgtEl>
                                          <p:spTgt spid="496"/>
                                        </p:tgtEl>
                                        <p:attrNameLst>
                                          <p:attrName>ppt_w</p:attrName>
                                        </p:attrNameLst>
                                      </p:cBhvr>
                                      <p:tavLst>
                                        <p:tav tm="0">
                                          <p:val>
                                            <p:strVal val="4/3*#ppt_w"/>
                                          </p:val>
                                        </p:tav>
                                        <p:tav tm="100000">
                                          <p:val>
                                            <p:strVal val="#ppt_w"/>
                                          </p:val>
                                        </p:tav>
                                      </p:tavLst>
                                    </p:anim>
                                    <p:anim calcmode="lin" valueType="num">
                                      <p:cBhvr>
                                        <p:cTn id="258" dur="500" fill="hold"/>
                                        <p:tgtEl>
                                          <p:spTgt spid="496"/>
                                        </p:tgtEl>
                                        <p:attrNameLst>
                                          <p:attrName>ppt_h</p:attrName>
                                        </p:attrNameLst>
                                      </p:cBhvr>
                                      <p:tavLst>
                                        <p:tav tm="0">
                                          <p:val>
                                            <p:strVal val="4/3*#ppt_h"/>
                                          </p:val>
                                        </p:tav>
                                        <p:tav tm="100000">
                                          <p:val>
                                            <p:strVal val="#ppt_h"/>
                                          </p:val>
                                        </p:tav>
                                      </p:tavLst>
                                    </p:anim>
                                  </p:childTnLst>
                                </p:cTn>
                              </p:par>
                              <p:par>
                                <p:cTn id="259" presetID="22" presetClass="entr" presetSubtype="4" fill="hold" grpId="0" nodeType="withEffect">
                                  <p:stCondLst>
                                    <p:cond delay="1500"/>
                                  </p:stCondLst>
                                  <p:childTnLst>
                                    <p:set>
                                      <p:cBhvr>
                                        <p:cTn id="260" dur="1" fill="hold">
                                          <p:stCondLst>
                                            <p:cond delay="0"/>
                                          </p:stCondLst>
                                        </p:cTn>
                                        <p:tgtEl>
                                          <p:spTgt spid="500"/>
                                        </p:tgtEl>
                                        <p:attrNameLst>
                                          <p:attrName>style.visibility</p:attrName>
                                        </p:attrNameLst>
                                      </p:cBhvr>
                                      <p:to>
                                        <p:strVal val="visible"/>
                                      </p:to>
                                    </p:set>
                                    <p:animEffect transition="in" filter="wipe(down)">
                                      <p:cBhvr>
                                        <p:cTn id="261" dur="500"/>
                                        <p:tgtEl>
                                          <p:spTgt spid="500"/>
                                        </p:tgtEl>
                                      </p:cBhvr>
                                    </p:animEffect>
                                  </p:childTnLst>
                                </p:cTn>
                              </p:par>
                              <p:par>
                                <p:cTn id="262" presetID="22" presetClass="entr" presetSubtype="4" fill="hold" grpId="0" nodeType="withEffect">
                                  <p:stCondLst>
                                    <p:cond delay="1500"/>
                                  </p:stCondLst>
                                  <p:childTnLst>
                                    <p:set>
                                      <p:cBhvr>
                                        <p:cTn id="263" dur="1" fill="hold">
                                          <p:stCondLst>
                                            <p:cond delay="0"/>
                                          </p:stCondLst>
                                        </p:cTn>
                                        <p:tgtEl>
                                          <p:spTgt spid="501"/>
                                        </p:tgtEl>
                                        <p:attrNameLst>
                                          <p:attrName>style.visibility</p:attrName>
                                        </p:attrNameLst>
                                      </p:cBhvr>
                                      <p:to>
                                        <p:strVal val="visible"/>
                                      </p:to>
                                    </p:set>
                                    <p:animEffect transition="in" filter="wipe(down)">
                                      <p:cBhvr>
                                        <p:cTn id="264" dur="500"/>
                                        <p:tgtEl>
                                          <p:spTgt spid="501"/>
                                        </p:tgtEl>
                                      </p:cBhvr>
                                    </p:animEffect>
                                  </p:childTnLst>
                                </p:cTn>
                              </p:par>
                              <p:par>
                                <p:cTn id="265" presetID="22" presetClass="entr" presetSubtype="4" fill="hold" grpId="0" nodeType="withEffect">
                                  <p:stCondLst>
                                    <p:cond delay="1500"/>
                                  </p:stCondLst>
                                  <p:childTnLst>
                                    <p:set>
                                      <p:cBhvr>
                                        <p:cTn id="266" dur="1" fill="hold">
                                          <p:stCondLst>
                                            <p:cond delay="0"/>
                                          </p:stCondLst>
                                        </p:cTn>
                                        <p:tgtEl>
                                          <p:spTgt spid="502"/>
                                        </p:tgtEl>
                                        <p:attrNameLst>
                                          <p:attrName>style.visibility</p:attrName>
                                        </p:attrNameLst>
                                      </p:cBhvr>
                                      <p:to>
                                        <p:strVal val="visible"/>
                                      </p:to>
                                    </p:set>
                                    <p:animEffect transition="in" filter="wipe(down)">
                                      <p:cBhvr>
                                        <p:cTn id="267" dur="500"/>
                                        <p:tgtEl>
                                          <p:spTgt spid="502"/>
                                        </p:tgtEl>
                                      </p:cBhvr>
                                    </p:animEffect>
                                  </p:childTnLst>
                                </p:cTn>
                              </p:par>
                              <p:par>
                                <p:cTn id="268" presetID="22" presetClass="entr" presetSubtype="4" fill="hold" grpId="0" nodeType="withEffect">
                                  <p:stCondLst>
                                    <p:cond delay="1500"/>
                                  </p:stCondLst>
                                  <p:childTnLst>
                                    <p:set>
                                      <p:cBhvr>
                                        <p:cTn id="269" dur="1" fill="hold">
                                          <p:stCondLst>
                                            <p:cond delay="0"/>
                                          </p:stCondLst>
                                        </p:cTn>
                                        <p:tgtEl>
                                          <p:spTgt spid="576"/>
                                        </p:tgtEl>
                                        <p:attrNameLst>
                                          <p:attrName>style.visibility</p:attrName>
                                        </p:attrNameLst>
                                      </p:cBhvr>
                                      <p:to>
                                        <p:strVal val="visible"/>
                                      </p:to>
                                    </p:set>
                                    <p:animEffect transition="in" filter="wipe(down)">
                                      <p:cBhvr>
                                        <p:cTn id="270" dur="500"/>
                                        <p:tgtEl>
                                          <p:spTgt spid="576"/>
                                        </p:tgtEl>
                                      </p:cBhvr>
                                    </p:animEffect>
                                  </p:childTnLst>
                                </p:cTn>
                              </p:par>
                              <p:par>
                                <p:cTn id="271" presetID="22" presetClass="entr" presetSubtype="4" fill="hold" grpId="0" nodeType="withEffect">
                                  <p:stCondLst>
                                    <p:cond delay="1500"/>
                                  </p:stCondLst>
                                  <p:childTnLst>
                                    <p:set>
                                      <p:cBhvr>
                                        <p:cTn id="272" dur="1" fill="hold">
                                          <p:stCondLst>
                                            <p:cond delay="0"/>
                                          </p:stCondLst>
                                        </p:cTn>
                                        <p:tgtEl>
                                          <p:spTgt spid="577"/>
                                        </p:tgtEl>
                                        <p:attrNameLst>
                                          <p:attrName>style.visibility</p:attrName>
                                        </p:attrNameLst>
                                      </p:cBhvr>
                                      <p:to>
                                        <p:strVal val="visible"/>
                                      </p:to>
                                    </p:set>
                                    <p:animEffect transition="in" filter="wipe(down)">
                                      <p:cBhvr>
                                        <p:cTn id="273" dur="500"/>
                                        <p:tgtEl>
                                          <p:spTgt spid="577"/>
                                        </p:tgtEl>
                                      </p:cBhvr>
                                    </p:animEffect>
                                  </p:childTnLst>
                                </p:cTn>
                              </p:par>
                              <p:par>
                                <p:cTn id="274" presetID="10" presetClass="entr" presetSubtype="0" fill="hold" nodeType="withEffect">
                                  <p:stCondLst>
                                    <p:cond delay="500"/>
                                  </p:stCondLst>
                                  <p:childTnLst>
                                    <p:set>
                                      <p:cBhvr>
                                        <p:cTn id="275" dur="1" fill="hold">
                                          <p:stCondLst>
                                            <p:cond delay="0"/>
                                          </p:stCondLst>
                                        </p:cTn>
                                        <p:tgtEl>
                                          <p:spTgt spid="503"/>
                                        </p:tgtEl>
                                        <p:attrNameLst>
                                          <p:attrName>style.visibility</p:attrName>
                                        </p:attrNameLst>
                                      </p:cBhvr>
                                      <p:to>
                                        <p:strVal val="visible"/>
                                      </p:to>
                                    </p:set>
                                    <p:animEffect transition="in" filter="fade">
                                      <p:cBhvr>
                                        <p:cTn id="276" dur="500"/>
                                        <p:tgtEl>
                                          <p:spTgt spid="503"/>
                                        </p:tgtEl>
                                      </p:cBhvr>
                                    </p:animEffect>
                                  </p:childTnLst>
                                </p:cTn>
                              </p:par>
                              <p:par>
                                <p:cTn id="277" presetID="23" presetClass="entr" presetSubtype="288" fill="hold" nodeType="withEffect">
                                  <p:stCondLst>
                                    <p:cond delay="500"/>
                                  </p:stCondLst>
                                  <p:childTnLst>
                                    <p:set>
                                      <p:cBhvr>
                                        <p:cTn id="278" dur="1" fill="hold">
                                          <p:stCondLst>
                                            <p:cond delay="0"/>
                                          </p:stCondLst>
                                        </p:cTn>
                                        <p:tgtEl>
                                          <p:spTgt spid="503"/>
                                        </p:tgtEl>
                                        <p:attrNameLst>
                                          <p:attrName>style.visibility</p:attrName>
                                        </p:attrNameLst>
                                      </p:cBhvr>
                                      <p:to>
                                        <p:strVal val="visible"/>
                                      </p:to>
                                    </p:set>
                                    <p:anim calcmode="lin" valueType="num">
                                      <p:cBhvr>
                                        <p:cTn id="279" dur="500" fill="hold"/>
                                        <p:tgtEl>
                                          <p:spTgt spid="503"/>
                                        </p:tgtEl>
                                        <p:attrNameLst>
                                          <p:attrName>ppt_w</p:attrName>
                                        </p:attrNameLst>
                                      </p:cBhvr>
                                      <p:tavLst>
                                        <p:tav tm="0">
                                          <p:val>
                                            <p:strVal val="4/3*#ppt_w"/>
                                          </p:val>
                                        </p:tav>
                                        <p:tav tm="100000">
                                          <p:val>
                                            <p:strVal val="#ppt_w"/>
                                          </p:val>
                                        </p:tav>
                                      </p:tavLst>
                                    </p:anim>
                                    <p:anim calcmode="lin" valueType="num">
                                      <p:cBhvr>
                                        <p:cTn id="280" dur="500" fill="hold"/>
                                        <p:tgtEl>
                                          <p:spTgt spid="503"/>
                                        </p:tgtEl>
                                        <p:attrNameLst>
                                          <p:attrName>ppt_h</p:attrName>
                                        </p:attrNameLst>
                                      </p:cBhvr>
                                      <p:tavLst>
                                        <p:tav tm="0">
                                          <p:val>
                                            <p:strVal val="4/3*#ppt_h"/>
                                          </p:val>
                                        </p:tav>
                                        <p:tav tm="100000">
                                          <p:val>
                                            <p:strVal val="#ppt_h"/>
                                          </p:val>
                                        </p:tav>
                                      </p:tavLst>
                                    </p:anim>
                                  </p:childTnLst>
                                </p:cTn>
                              </p:par>
                              <p:par>
                                <p:cTn id="281" presetID="10" presetClass="entr" presetSubtype="0" fill="hold" nodeType="withEffect">
                                  <p:stCondLst>
                                    <p:cond delay="500"/>
                                  </p:stCondLst>
                                  <p:childTnLst>
                                    <p:set>
                                      <p:cBhvr>
                                        <p:cTn id="282" dur="1" fill="hold">
                                          <p:stCondLst>
                                            <p:cond delay="0"/>
                                          </p:stCondLst>
                                        </p:cTn>
                                        <p:tgtEl>
                                          <p:spTgt spid="578"/>
                                        </p:tgtEl>
                                        <p:attrNameLst>
                                          <p:attrName>style.visibility</p:attrName>
                                        </p:attrNameLst>
                                      </p:cBhvr>
                                      <p:to>
                                        <p:strVal val="visible"/>
                                      </p:to>
                                    </p:set>
                                    <p:animEffect transition="in" filter="fade">
                                      <p:cBhvr>
                                        <p:cTn id="283" dur="500"/>
                                        <p:tgtEl>
                                          <p:spTgt spid="578"/>
                                        </p:tgtEl>
                                      </p:cBhvr>
                                    </p:animEffect>
                                  </p:childTnLst>
                                </p:cTn>
                              </p:par>
                              <p:par>
                                <p:cTn id="284" presetID="23" presetClass="entr" presetSubtype="288" fill="hold" nodeType="withEffect">
                                  <p:stCondLst>
                                    <p:cond delay="500"/>
                                  </p:stCondLst>
                                  <p:childTnLst>
                                    <p:set>
                                      <p:cBhvr>
                                        <p:cTn id="285" dur="1" fill="hold">
                                          <p:stCondLst>
                                            <p:cond delay="0"/>
                                          </p:stCondLst>
                                        </p:cTn>
                                        <p:tgtEl>
                                          <p:spTgt spid="578"/>
                                        </p:tgtEl>
                                        <p:attrNameLst>
                                          <p:attrName>style.visibility</p:attrName>
                                        </p:attrNameLst>
                                      </p:cBhvr>
                                      <p:to>
                                        <p:strVal val="visible"/>
                                      </p:to>
                                    </p:set>
                                    <p:anim calcmode="lin" valueType="num">
                                      <p:cBhvr>
                                        <p:cTn id="286" dur="500" fill="hold"/>
                                        <p:tgtEl>
                                          <p:spTgt spid="578"/>
                                        </p:tgtEl>
                                        <p:attrNameLst>
                                          <p:attrName>ppt_w</p:attrName>
                                        </p:attrNameLst>
                                      </p:cBhvr>
                                      <p:tavLst>
                                        <p:tav tm="0">
                                          <p:val>
                                            <p:strVal val="4/3*#ppt_w"/>
                                          </p:val>
                                        </p:tav>
                                        <p:tav tm="100000">
                                          <p:val>
                                            <p:strVal val="#ppt_w"/>
                                          </p:val>
                                        </p:tav>
                                      </p:tavLst>
                                    </p:anim>
                                    <p:anim calcmode="lin" valueType="num">
                                      <p:cBhvr>
                                        <p:cTn id="287" dur="500" fill="hold"/>
                                        <p:tgtEl>
                                          <p:spTgt spid="578"/>
                                        </p:tgtEl>
                                        <p:attrNameLst>
                                          <p:attrName>ppt_h</p:attrName>
                                        </p:attrNameLst>
                                      </p:cBhvr>
                                      <p:tavLst>
                                        <p:tav tm="0">
                                          <p:val>
                                            <p:strVal val="4/3*#ppt_h"/>
                                          </p:val>
                                        </p:tav>
                                        <p:tav tm="100000">
                                          <p:val>
                                            <p:strVal val="#ppt_h"/>
                                          </p:val>
                                        </p:tav>
                                      </p:tavLst>
                                    </p:anim>
                                  </p:childTnLst>
                                </p:cTn>
                              </p:par>
                              <p:par>
                                <p:cTn id="288" presetID="22" presetClass="entr" presetSubtype="4" fill="hold" grpId="0" nodeType="withEffect">
                                  <p:stCondLst>
                                    <p:cond delay="1500"/>
                                  </p:stCondLst>
                                  <p:childTnLst>
                                    <p:set>
                                      <p:cBhvr>
                                        <p:cTn id="289" dur="1" fill="hold">
                                          <p:stCondLst>
                                            <p:cond delay="0"/>
                                          </p:stCondLst>
                                        </p:cTn>
                                        <p:tgtEl>
                                          <p:spTgt spid="597"/>
                                        </p:tgtEl>
                                        <p:attrNameLst>
                                          <p:attrName>style.visibility</p:attrName>
                                        </p:attrNameLst>
                                      </p:cBhvr>
                                      <p:to>
                                        <p:strVal val="visible"/>
                                      </p:to>
                                    </p:set>
                                    <p:animEffect transition="in" filter="wipe(down)">
                                      <p:cBhvr>
                                        <p:cTn id="290" dur="500"/>
                                        <p:tgtEl>
                                          <p:spTgt spid="597"/>
                                        </p:tgtEl>
                                      </p:cBhvr>
                                    </p:animEffect>
                                  </p:childTnLst>
                                </p:cTn>
                              </p:par>
                              <p:par>
                                <p:cTn id="291" presetID="10" presetClass="entr" presetSubtype="0" fill="hold" nodeType="withEffect">
                                  <p:stCondLst>
                                    <p:cond delay="500"/>
                                  </p:stCondLst>
                                  <p:childTnLst>
                                    <p:set>
                                      <p:cBhvr>
                                        <p:cTn id="292" dur="1" fill="hold">
                                          <p:stCondLst>
                                            <p:cond delay="0"/>
                                          </p:stCondLst>
                                        </p:cTn>
                                        <p:tgtEl>
                                          <p:spTgt spid="598"/>
                                        </p:tgtEl>
                                        <p:attrNameLst>
                                          <p:attrName>style.visibility</p:attrName>
                                        </p:attrNameLst>
                                      </p:cBhvr>
                                      <p:to>
                                        <p:strVal val="visible"/>
                                      </p:to>
                                    </p:set>
                                    <p:animEffect transition="in" filter="fade">
                                      <p:cBhvr>
                                        <p:cTn id="293" dur="500"/>
                                        <p:tgtEl>
                                          <p:spTgt spid="598"/>
                                        </p:tgtEl>
                                      </p:cBhvr>
                                    </p:animEffect>
                                  </p:childTnLst>
                                </p:cTn>
                              </p:par>
                              <p:par>
                                <p:cTn id="294" presetID="23" presetClass="entr" presetSubtype="288" fill="hold" nodeType="withEffect">
                                  <p:stCondLst>
                                    <p:cond delay="500"/>
                                  </p:stCondLst>
                                  <p:childTnLst>
                                    <p:set>
                                      <p:cBhvr>
                                        <p:cTn id="295" dur="1" fill="hold">
                                          <p:stCondLst>
                                            <p:cond delay="0"/>
                                          </p:stCondLst>
                                        </p:cTn>
                                        <p:tgtEl>
                                          <p:spTgt spid="598"/>
                                        </p:tgtEl>
                                        <p:attrNameLst>
                                          <p:attrName>style.visibility</p:attrName>
                                        </p:attrNameLst>
                                      </p:cBhvr>
                                      <p:to>
                                        <p:strVal val="visible"/>
                                      </p:to>
                                    </p:set>
                                    <p:anim calcmode="lin" valueType="num">
                                      <p:cBhvr>
                                        <p:cTn id="296" dur="500" fill="hold"/>
                                        <p:tgtEl>
                                          <p:spTgt spid="598"/>
                                        </p:tgtEl>
                                        <p:attrNameLst>
                                          <p:attrName>ppt_w</p:attrName>
                                        </p:attrNameLst>
                                      </p:cBhvr>
                                      <p:tavLst>
                                        <p:tav tm="0">
                                          <p:val>
                                            <p:strVal val="4/3*#ppt_w"/>
                                          </p:val>
                                        </p:tav>
                                        <p:tav tm="100000">
                                          <p:val>
                                            <p:strVal val="#ppt_w"/>
                                          </p:val>
                                        </p:tav>
                                      </p:tavLst>
                                    </p:anim>
                                    <p:anim calcmode="lin" valueType="num">
                                      <p:cBhvr>
                                        <p:cTn id="297" dur="500" fill="hold"/>
                                        <p:tgtEl>
                                          <p:spTgt spid="598"/>
                                        </p:tgtEl>
                                        <p:attrNameLst>
                                          <p:attrName>ppt_h</p:attrName>
                                        </p:attrNameLst>
                                      </p:cBhvr>
                                      <p:tavLst>
                                        <p:tav tm="0">
                                          <p:val>
                                            <p:strVal val="4/3*#ppt_h"/>
                                          </p:val>
                                        </p:tav>
                                        <p:tav tm="100000">
                                          <p:val>
                                            <p:strVal val="#ppt_h"/>
                                          </p:val>
                                        </p:tav>
                                      </p:tavLst>
                                    </p:anim>
                                  </p:childTnLst>
                                </p:cTn>
                              </p:par>
                              <p:par>
                                <p:cTn id="298" presetID="10" presetClass="entr" presetSubtype="0" fill="hold" nodeType="withEffect">
                                  <p:stCondLst>
                                    <p:cond delay="500"/>
                                  </p:stCondLst>
                                  <p:childTnLst>
                                    <p:set>
                                      <p:cBhvr>
                                        <p:cTn id="299" dur="1" fill="hold">
                                          <p:stCondLst>
                                            <p:cond delay="0"/>
                                          </p:stCondLst>
                                        </p:cTn>
                                        <p:tgtEl>
                                          <p:spTgt spid="601"/>
                                        </p:tgtEl>
                                        <p:attrNameLst>
                                          <p:attrName>style.visibility</p:attrName>
                                        </p:attrNameLst>
                                      </p:cBhvr>
                                      <p:to>
                                        <p:strVal val="visible"/>
                                      </p:to>
                                    </p:set>
                                    <p:animEffect transition="in" filter="fade">
                                      <p:cBhvr>
                                        <p:cTn id="300" dur="500"/>
                                        <p:tgtEl>
                                          <p:spTgt spid="601"/>
                                        </p:tgtEl>
                                      </p:cBhvr>
                                    </p:animEffect>
                                  </p:childTnLst>
                                </p:cTn>
                              </p:par>
                              <p:par>
                                <p:cTn id="301" presetID="23" presetClass="entr" presetSubtype="288" fill="hold" nodeType="withEffect">
                                  <p:stCondLst>
                                    <p:cond delay="500"/>
                                  </p:stCondLst>
                                  <p:childTnLst>
                                    <p:set>
                                      <p:cBhvr>
                                        <p:cTn id="302" dur="1" fill="hold">
                                          <p:stCondLst>
                                            <p:cond delay="0"/>
                                          </p:stCondLst>
                                        </p:cTn>
                                        <p:tgtEl>
                                          <p:spTgt spid="601"/>
                                        </p:tgtEl>
                                        <p:attrNameLst>
                                          <p:attrName>style.visibility</p:attrName>
                                        </p:attrNameLst>
                                      </p:cBhvr>
                                      <p:to>
                                        <p:strVal val="visible"/>
                                      </p:to>
                                    </p:set>
                                    <p:anim calcmode="lin" valueType="num">
                                      <p:cBhvr>
                                        <p:cTn id="303" dur="500" fill="hold"/>
                                        <p:tgtEl>
                                          <p:spTgt spid="601"/>
                                        </p:tgtEl>
                                        <p:attrNameLst>
                                          <p:attrName>ppt_w</p:attrName>
                                        </p:attrNameLst>
                                      </p:cBhvr>
                                      <p:tavLst>
                                        <p:tav tm="0">
                                          <p:val>
                                            <p:strVal val="4/3*#ppt_w"/>
                                          </p:val>
                                        </p:tav>
                                        <p:tav tm="100000">
                                          <p:val>
                                            <p:strVal val="#ppt_w"/>
                                          </p:val>
                                        </p:tav>
                                      </p:tavLst>
                                    </p:anim>
                                    <p:anim calcmode="lin" valueType="num">
                                      <p:cBhvr>
                                        <p:cTn id="304" dur="500" fill="hold"/>
                                        <p:tgtEl>
                                          <p:spTgt spid="601"/>
                                        </p:tgtEl>
                                        <p:attrNameLst>
                                          <p:attrName>ppt_h</p:attrName>
                                        </p:attrNameLst>
                                      </p:cBhvr>
                                      <p:tavLst>
                                        <p:tav tm="0">
                                          <p:val>
                                            <p:strVal val="4/3*#ppt_h"/>
                                          </p:val>
                                        </p:tav>
                                        <p:tav tm="100000">
                                          <p:val>
                                            <p:strVal val="#ppt_h"/>
                                          </p:val>
                                        </p:tav>
                                      </p:tavLst>
                                    </p:anim>
                                  </p:childTnLst>
                                </p:cTn>
                              </p:par>
                              <p:par>
                                <p:cTn id="305" presetID="22" presetClass="entr" presetSubtype="4" fill="hold" grpId="0" nodeType="withEffect">
                                  <p:stCondLst>
                                    <p:cond delay="1500"/>
                                  </p:stCondLst>
                                  <p:childTnLst>
                                    <p:set>
                                      <p:cBhvr>
                                        <p:cTn id="306" dur="1" fill="hold">
                                          <p:stCondLst>
                                            <p:cond delay="0"/>
                                          </p:stCondLst>
                                        </p:cTn>
                                        <p:tgtEl>
                                          <p:spTgt spid="604"/>
                                        </p:tgtEl>
                                        <p:attrNameLst>
                                          <p:attrName>style.visibility</p:attrName>
                                        </p:attrNameLst>
                                      </p:cBhvr>
                                      <p:to>
                                        <p:strVal val="visible"/>
                                      </p:to>
                                    </p:set>
                                    <p:animEffect transition="in" filter="wipe(down)">
                                      <p:cBhvr>
                                        <p:cTn id="307" dur="500"/>
                                        <p:tgtEl>
                                          <p:spTgt spid="604"/>
                                        </p:tgtEl>
                                      </p:cBhvr>
                                    </p:animEffect>
                                  </p:childTnLst>
                                </p:cTn>
                              </p:par>
                              <p:par>
                                <p:cTn id="308" presetID="10" presetClass="entr" presetSubtype="0" fill="hold" nodeType="withEffect">
                                  <p:stCondLst>
                                    <p:cond delay="500"/>
                                  </p:stCondLst>
                                  <p:childTnLst>
                                    <p:set>
                                      <p:cBhvr>
                                        <p:cTn id="309" dur="1" fill="hold">
                                          <p:stCondLst>
                                            <p:cond delay="0"/>
                                          </p:stCondLst>
                                        </p:cTn>
                                        <p:tgtEl>
                                          <p:spTgt spid="595"/>
                                        </p:tgtEl>
                                        <p:attrNameLst>
                                          <p:attrName>style.visibility</p:attrName>
                                        </p:attrNameLst>
                                      </p:cBhvr>
                                      <p:to>
                                        <p:strVal val="visible"/>
                                      </p:to>
                                    </p:set>
                                    <p:animEffect transition="in" filter="fade">
                                      <p:cBhvr>
                                        <p:cTn id="310" dur="500"/>
                                        <p:tgtEl>
                                          <p:spTgt spid="595"/>
                                        </p:tgtEl>
                                      </p:cBhvr>
                                    </p:animEffect>
                                  </p:childTnLst>
                                </p:cTn>
                              </p:par>
                              <p:par>
                                <p:cTn id="311" presetID="23" presetClass="entr" presetSubtype="288" fill="hold" nodeType="withEffect">
                                  <p:stCondLst>
                                    <p:cond delay="500"/>
                                  </p:stCondLst>
                                  <p:childTnLst>
                                    <p:set>
                                      <p:cBhvr>
                                        <p:cTn id="312" dur="1" fill="hold">
                                          <p:stCondLst>
                                            <p:cond delay="0"/>
                                          </p:stCondLst>
                                        </p:cTn>
                                        <p:tgtEl>
                                          <p:spTgt spid="595"/>
                                        </p:tgtEl>
                                        <p:attrNameLst>
                                          <p:attrName>style.visibility</p:attrName>
                                        </p:attrNameLst>
                                      </p:cBhvr>
                                      <p:to>
                                        <p:strVal val="visible"/>
                                      </p:to>
                                    </p:set>
                                    <p:anim calcmode="lin" valueType="num">
                                      <p:cBhvr>
                                        <p:cTn id="313" dur="500" fill="hold"/>
                                        <p:tgtEl>
                                          <p:spTgt spid="595"/>
                                        </p:tgtEl>
                                        <p:attrNameLst>
                                          <p:attrName>ppt_w</p:attrName>
                                        </p:attrNameLst>
                                      </p:cBhvr>
                                      <p:tavLst>
                                        <p:tav tm="0">
                                          <p:val>
                                            <p:strVal val="4/3*#ppt_w"/>
                                          </p:val>
                                        </p:tav>
                                        <p:tav tm="100000">
                                          <p:val>
                                            <p:strVal val="#ppt_w"/>
                                          </p:val>
                                        </p:tav>
                                      </p:tavLst>
                                    </p:anim>
                                    <p:anim calcmode="lin" valueType="num">
                                      <p:cBhvr>
                                        <p:cTn id="314" dur="500" fill="hold"/>
                                        <p:tgtEl>
                                          <p:spTgt spid="595"/>
                                        </p:tgtEl>
                                        <p:attrNameLst>
                                          <p:attrName>ppt_h</p:attrName>
                                        </p:attrNameLst>
                                      </p:cBhvr>
                                      <p:tavLst>
                                        <p:tav tm="0">
                                          <p:val>
                                            <p:strVal val="4/3*#ppt_h"/>
                                          </p:val>
                                        </p:tav>
                                        <p:tav tm="100000">
                                          <p:val>
                                            <p:strVal val="#ppt_h"/>
                                          </p:val>
                                        </p:tav>
                                      </p:tavLst>
                                    </p:anim>
                                  </p:childTnLst>
                                </p:cTn>
                              </p:par>
                              <p:par>
                                <p:cTn id="315" presetID="10" presetClass="entr" presetSubtype="0" fill="hold" nodeType="withEffect">
                                  <p:stCondLst>
                                    <p:cond delay="500"/>
                                  </p:stCondLst>
                                  <p:childTnLst>
                                    <p:set>
                                      <p:cBhvr>
                                        <p:cTn id="316" dur="1" fill="hold">
                                          <p:stCondLst>
                                            <p:cond delay="0"/>
                                          </p:stCondLst>
                                        </p:cTn>
                                        <p:tgtEl>
                                          <p:spTgt spid="596"/>
                                        </p:tgtEl>
                                        <p:attrNameLst>
                                          <p:attrName>style.visibility</p:attrName>
                                        </p:attrNameLst>
                                      </p:cBhvr>
                                      <p:to>
                                        <p:strVal val="visible"/>
                                      </p:to>
                                    </p:set>
                                    <p:animEffect transition="in" filter="fade">
                                      <p:cBhvr>
                                        <p:cTn id="317" dur="500"/>
                                        <p:tgtEl>
                                          <p:spTgt spid="596"/>
                                        </p:tgtEl>
                                      </p:cBhvr>
                                    </p:animEffect>
                                  </p:childTnLst>
                                </p:cTn>
                              </p:par>
                              <p:par>
                                <p:cTn id="318" presetID="23" presetClass="entr" presetSubtype="288" fill="hold" nodeType="withEffect">
                                  <p:stCondLst>
                                    <p:cond delay="500"/>
                                  </p:stCondLst>
                                  <p:childTnLst>
                                    <p:set>
                                      <p:cBhvr>
                                        <p:cTn id="319" dur="1" fill="hold">
                                          <p:stCondLst>
                                            <p:cond delay="0"/>
                                          </p:stCondLst>
                                        </p:cTn>
                                        <p:tgtEl>
                                          <p:spTgt spid="596"/>
                                        </p:tgtEl>
                                        <p:attrNameLst>
                                          <p:attrName>style.visibility</p:attrName>
                                        </p:attrNameLst>
                                      </p:cBhvr>
                                      <p:to>
                                        <p:strVal val="visible"/>
                                      </p:to>
                                    </p:set>
                                    <p:anim calcmode="lin" valueType="num">
                                      <p:cBhvr>
                                        <p:cTn id="320" dur="500" fill="hold"/>
                                        <p:tgtEl>
                                          <p:spTgt spid="596"/>
                                        </p:tgtEl>
                                        <p:attrNameLst>
                                          <p:attrName>ppt_w</p:attrName>
                                        </p:attrNameLst>
                                      </p:cBhvr>
                                      <p:tavLst>
                                        <p:tav tm="0">
                                          <p:val>
                                            <p:strVal val="4/3*#ppt_w"/>
                                          </p:val>
                                        </p:tav>
                                        <p:tav tm="100000">
                                          <p:val>
                                            <p:strVal val="#ppt_w"/>
                                          </p:val>
                                        </p:tav>
                                      </p:tavLst>
                                    </p:anim>
                                    <p:anim calcmode="lin" valueType="num">
                                      <p:cBhvr>
                                        <p:cTn id="321" dur="500" fill="hold"/>
                                        <p:tgtEl>
                                          <p:spTgt spid="596"/>
                                        </p:tgtEl>
                                        <p:attrNameLst>
                                          <p:attrName>ppt_h</p:attrName>
                                        </p:attrNameLst>
                                      </p:cBhvr>
                                      <p:tavLst>
                                        <p:tav tm="0">
                                          <p:val>
                                            <p:strVal val="4/3*#ppt_h"/>
                                          </p:val>
                                        </p:tav>
                                        <p:tav tm="100000">
                                          <p:val>
                                            <p:strVal val="#ppt_h"/>
                                          </p:val>
                                        </p:tav>
                                      </p:tavLst>
                                    </p:anim>
                                  </p:childTnLst>
                                </p:cTn>
                              </p:par>
                              <p:par>
                                <p:cTn id="322" presetID="10" presetClass="entr" presetSubtype="0" fill="hold" grpId="0" nodeType="withEffect">
                                  <p:stCondLst>
                                    <p:cond delay="500"/>
                                  </p:stCondLst>
                                  <p:childTnLst>
                                    <p:set>
                                      <p:cBhvr>
                                        <p:cTn id="323" dur="1" fill="hold">
                                          <p:stCondLst>
                                            <p:cond delay="0"/>
                                          </p:stCondLst>
                                        </p:cTn>
                                        <p:tgtEl>
                                          <p:spTgt spid="609"/>
                                        </p:tgtEl>
                                        <p:attrNameLst>
                                          <p:attrName>style.visibility</p:attrName>
                                        </p:attrNameLst>
                                      </p:cBhvr>
                                      <p:to>
                                        <p:strVal val="visible"/>
                                      </p:to>
                                    </p:set>
                                    <p:animEffect transition="in" filter="fade">
                                      <p:cBhvr>
                                        <p:cTn id="324" dur="500"/>
                                        <p:tgtEl>
                                          <p:spTgt spid="609"/>
                                        </p:tgtEl>
                                      </p:cBhvr>
                                    </p:animEffect>
                                  </p:childTnLst>
                                </p:cTn>
                              </p:par>
                              <p:par>
                                <p:cTn id="325" presetID="23" presetClass="entr" presetSubtype="288" fill="hold" grpId="1" nodeType="withEffect">
                                  <p:stCondLst>
                                    <p:cond delay="500"/>
                                  </p:stCondLst>
                                  <p:childTnLst>
                                    <p:set>
                                      <p:cBhvr>
                                        <p:cTn id="326" dur="1" fill="hold">
                                          <p:stCondLst>
                                            <p:cond delay="0"/>
                                          </p:stCondLst>
                                        </p:cTn>
                                        <p:tgtEl>
                                          <p:spTgt spid="609"/>
                                        </p:tgtEl>
                                        <p:attrNameLst>
                                          <p:attrName>style.visibility</p:attrName>
                                        </p:attrNameLst>
                                      </p:cBhvr>
                                      <p:to>
                                        <p:strVal val="visible"/>
                                      </p:to>
                                    </p:set>
                                    <p:anim calcmode="lin" valueType="num">
                                      <p:cBhvr>
                                        <p:cTn id="327" dur="500" fill="hold"/>
                                        <p:tgtEl>
                                          <p:spTgt spid="609"/>
                                        </p:tgtEl>
                                        <p:attrNameLst>
                                          <p:attrName>ppt_w</p:attrName>
                                        </p:attrNameLst>
                                      </p:cBhvr>
                                      <p:tavLst>
                                        <p:tav tm="0">
                                          <p:val>
                                            <p:strVal val="4/3*#ppt_w"/>
                                          </p:val>
                                        </p:tav>
                                        <p:tav tm="100000">
                                          <p:val>
                                            <p:strVal val="#ppt_w"/>
                                          </p:val>
                                        </p:tav>
                                      </p:tavLst>
                                    </p:anim>
                                    <p:anim calcmode="lin" valueType="num">
                                      <p:cBhvr>
                                        <p:cTn id="328" dur="500" fill="hold"/>
                                        <p:tgtEl>
                                          <p:spTgt spid="609"/>
                                        </p:tgtEl>
                                        <p:attrNameLst>
                                          <p:attrName>ppt_h</p:attrName>
                                        </p:attrNameLst>
                                      </p:cBhvr>
                                      <p:tavLst>
                                        <p:tav tm="0">
                                          <p:val>
                                            <p:strVal val="4/3*#ppt_h"/>
                                          </p:val>
                                        </p:tav>
                                        <p:tav tm="100000">
                                          <p:val>
                                            <p:strVal val="#ppt_h"/>
                                          </p:val>
                                        </p:tav>
                                      </p:tavLst>
                                    </p:anim>
                                  </p:childTnLst>
                                </p:cTn>
                              </p:par>
                              <p:par>
                                <p:cTn id="329" presetID="10" presetClass="entr" presetSubtype="0" fill="hold" nodeType="withEffect">
                                  <p:stCondLst>
                                    <p:cond delay="500"/>
                                  </p:stCondLst>
                                  <p:childTnLst>
                                    <p:set>
                                      <p:cBhvr>
                                        <p:cTn id="330" dur="1" fill="hold">
                                          <p:stCondLst>
                                            <p:cond delay="0"/>
                                          </p:stCondLst>
                                        </p:cTn>
                                        <p:tgtEl>
                                          <p:spTgt spid="610"/>
                                        </p:tgtEl>
                                        <p:attrNameLst>
                                          <p:attrName>style.visibility</p:attrName>
                                        </p:attrNameLst>
                                      </p:cBhvr>
                                      <p:to>
                                        <p:strVal val="visible"/>
                                      </p:to>
                                    </p:set>
                                    <p:animEffect transition="in" filter="fade">
                                      <p:cBhvr>
                                        <p:cTn id="331" dur="500"/>
                                        <p:tgtEl>
                                          <p:spTgt spid="610"/>
                                        </p:tgtEl>
                                      </p:cBhvr>
                                    </p:animEffect>
                                  </p:childTnLst>
                                </p:cTn>
                              </p:par>
                              <p:par>
                                <p:cTn id="332" presetID="23" presetClass="entr" presetSubtype="288" fill="hold" nodeType="withEffect">
                                  <p:stCondLst>
                                    <p:cond delay="500"/>
                                  </p:stCondLst>
                                  <p:childTnLst>
                                    <p:set>
                                      <p:cBhvr>
                                        <p:cTn id="333" dur="1" fill="hold">
                                          <p:stCondLst>
                                            <p:cond delay="0"/>
                                          </p:stCondLst>
                                        </p:cTn>
                                        <p:tgtEl>
                                          <p:spTgt spid="610"/>
                                        </p:tgtEl>
                                        <p:attrNameLst>
                                          <p:attrName>style.visibility</p:attrName>
                                        </p:attrNameLst>
                                      </p:cBhvr>
                                      <p:to>
                                        <p:strVal val="visible"/>
                                      </p:to>
                                    </p:set>
                                    <p:anim calcmode="lin" valueType="num">
                                      <p:cBhvr>
                                        <p:cTn id="334" dur="500" fill="hold"/>
                                        <p:tgtEl>
                                          <p:spTgt spid="610"/>
                                        </p:tgtEl>
                                        <p:attrNameLst>
                                          <p:attrName>ppt_w</p:attrName>
                                        </p:attrNameLst>
                                      </p:cBhvr>
                                      <p:tavLst>
                                        <p:tav tm="0">
                                          <p:val>
                                            <p:strVal val="4/3*#ppt_w"/>
                                          </p:val>
                                        </p:tav>
                                        <p:tav tm="100000">
                                          <p:val>
                                            <p:strVal val="#ppt_w"/>
                                          </p:val>
                                        </p:tav>
                                      </p:tavLst>
                                    </p:anim>
                                    <p:anim calcmode="lin" valueType="num">
                                      <p:cBhvr>
                                        <p:cTn id="335" dur="500" fill="hold"/>
                                        <p:tgtEl>
                                          <p:spTgt spid="610"/>
                                        </p:tgtEl>
                                        <p:attrNameLst>
                                          <p:attrName>ppt_h</p:attrName>
                                        </p:attrNameLst>
                                      </p:cBhvr>
                                      <p:tavLst>
                                        <p:tav tm="0">
                                          <p:val>
                                            <p:strVal val="4/3*#ppt_h"/>
                                          </p:val>
                                        </p:tav>
                                        <p:tav tm="100000">
                                          <p:val>
                                            <p:strVal val="#ppt_h"/>
                                          </p:val>
                                        </p:tav>
                                      </p:tavLst>
                                    </p:anim>
                                  </p:childTnLst>
                                </p:cTn>
                              </p:par>
                              <p:par>
                                <p:cTn id="336" presetID="10" presetClass="entr" presetSubtype="0" fill="hold" grpId="0" nodeType="withEffect">
                                  <p:stCondLst>
                                    <p:cond delay="500"/>
                                  </p:stCondLst>
                                  <p:childTnLst>
                                    <p:set>
                                      <p:cBhvr>
                                        <p:cTn id="337" dur="1" fill="hold">
                                          <p:stCondLst>
                                            <p:cond delay="0"/>
                                          </p:stCondLst>
                                        </p:cTn>
                                        <p:tgtEl>
                                          <p:spTgt spid="613"/>
                                        </p:tgtEl>
                                        <p:attrNameLst>
                                          <p:attrName>style.visibility</p:attrName>
                                        </p:attrNameLst>
                                      </p:cBhvr>
                                      <p:to>
                                        <p:strVal val="visible"/>
                                      </p:to>
                                    </p:set>
                                    <p:animEffect transition="in" filter="fade">
                                      <p:cBhvr>
                                        <p:cTn id="338" dur="500"/>
                                        <p:tgtEl>
                                          <p:spTgt spid="613"/>
                                        </p:tgtEl>
                                      </p:cBhvr>
                                    </p:animEffect>
                                  </p:childTnLst>
                                </p:cTn>
                              </p:par>
                              <p:par>
                                <p:cTn id="339" presetID="23" presetClass="entr" presetSubtype="288" fill="hold" grpId="1" nodeType="withEffect">
                                  <p:stCondLst>
                                    <p:cond delay="500"/>
                                  </p:stCondLst>
                                  <p:childTnLst>
                                    <p:set>
                                      <p:cBhvr>
                                        <p:cTn id="340" dur="1" fill="hold">
                                          <p:stCondLst>
                                            <p:cond delay="0"/>
                                          </p:stCondLst>
                                        </p:cTn>
                                        <p:tgtEl>
                                          <p:spTgt spid="613"/>
                                        </p:tgtEl>
                                        <p:attrNameLst>
                                          <p:attrName>style.visibility</p:attrName>
                                        </p:attrNameLst>
                                      </p:cBhvr>
                                      <p:to>
                                        <p:strVal val="visible"/>
                                      </p:to>
                                    </p:set>
                                    <p:anim calcmode="lin" valueType="num">
                                      <p:cBhvr>
                                        <p:cTn id="341" dur="500" fill="hold"/>
                                        <p:tgtEl>
                                          <p:spTgt spid="613"/>
                                        </p:tgtEl>
                                        <p:attrNameLst>
                                          <p:attrName>ppt_w</p:attrName>
                                        </p:attrNameLst>
                                      </p:cBhvr>
                                      <p:tavLst>
                                        <p:tav tm="0">
                                          <p:val>
                                            <p:strVal val="4/3*#ppt_w"/>
                                          </p:val>
                                        </p:tav>
                                        <p:tav tm="100000">
                                          <p:val>
                                            <p:strVal val="#ppt_w"/>
                                          </p:val>
                                        </p:tav>
                                      </p:tavLst>
                                    </p:anim>
                                    <p:anim calcmode="lin" valueType="num">
                                      <p:cBhvr>
                                        <p:cTn id="342" dur="500" fill="hold"/>
                                        <p:tgtEl>
                                          <p:spTgt spid="613"/>
                                        </p:tgtEl>
                                        <p:attrNameLst>
                                          <p:attrName>ppt_h</p:attrName>
                                        </p:attrNameLst>
                                      </p:cBhvr>
                                      <p:tavLst>
                                        <p:tav tm="0">
                                          <p:val>
                                            <p:strVal val="4/3*#ppt_h"/>
                                          </p:val>
                                        </p:tav>
                                        <p:tav tm="100000">
                                          <p:val>
                                            <p:strVal val="#ppt_h"/>
                                          </p:val>
                                        </p:tav>
                                      </p:tavLst>
                                    </p:anim>
                                  </p:childTnLst>
                                </p:cTn>
                              </p:par>
                              <p:par>
                                <p:cTn id="343" presetID="22" presetClass="entr" presetSubtype="4" fill="hold" nodeType="withEffect">
                                  <p:stCondLst>
                                    <p:cond delay="1500"/>
                                  </p:stCondLst>
                                  <p:childTnLst>
                                    <p:set>
                                      <p:cBhvr>
                                        <p:cTn id="344" dur="1" fill="hold">
                                          <p:stCondLst>
                                            <p:cond delay="0"/>
                                          </p:stCondLst>
                                        </p:cTn>
                                        <p:tgtEl>
                                          <p:spTgt spid="2"/>
                                        </p:tgtEl>
                                        <p:attrNameLst>
                                          <p:attrName>style.visibility</p:attrName>
                                        </p:attrNameLst>
                                      </p:cBhvr>
                                      <p:to>
                                        <p:strVal val="visible"/>
                                      </p:to>
                                    </p:set>
                                    <p:animEffect transition="in" filter="wipe(down)">
                                      <p:cBhvr>
                                        <p:cTn id="345" dur="500"/>
                                        <p:tgtEl>
                                          <p:spTgt spid="2"/>
                                        </p:tgtEl>
                                      </p:cBhvr>
                                    </p:animEffect>
                                  </p:childTnLst>
                                </p:cTn>
                              </p:par>
                              <p:par>
                                <p:cTn id="346" presetID="22" presetClass="entr" presetSubtype="4" fill="hold" nodeType="withEffect">
                                  <p:stCondLst>
                                    <p:cond delay="1500"/>
                                  </p:stCondLst>
                                  <p:childTnLst>
                                    <p:set>
                                      <p:cBhvr>
                                        <p:cTn id="347" dur="1" fill="hold">
                                          <p:stCondLst>
                                            <p:cond delay="0"/>
                                          </p:stCondLst>
                                        </p:cTn>
                                        <p:tgtEl>
                                          <p:spTgt spid="3"/>
                                        </p:tgtEl>
                                        <p:attrNameLst>
                                          <p:attrName>style.visibility</p:attrName>
                                        </p:attrNameLst>
                                      </p:cBhvr>
                                      <p:to>
                                        <p:strVal val="visible"/>
                                      </p:to>
                                    </p:set>
                                    <p:animEffect transition="in" filter="wipe(down)">
                                      <p:cBhvr>
                                        <p:cTn id="348" dur="500"/>
                                        <p:tgtEl>
                                          <p:spTgt spid="3"/>
                                        </p:tgtEl>
                                      </p:cBhvr>
                                    </p:animEffect>
                                  </p:childTnLst>
                                </p:cTn>
                              </p:par>
                              <p:par>
                                <p:cTn id="349" presetID="22" presetClass="entr" presetSubtype="4" fill="hold" nodeType="withEffect">
                                  <p:stCondLst>
                                    <p:cond delay="1500"/>
                                  </p:stCondLst>
                                  <p:childTnLst>
                                    <p:set>
                                      <p:cBhvr>
                                        <p:cTn id="350" dur="1" fill="hold">
                                          <p:stCondLst>
                                            <p:cond delay="0"/>
                                          </p:stCondLst>
                                        </p:cTn>
                                        <p:tgtEl>
                                          <p:spTgt spid="5"/>
                                        </p:tgtEl>
                                        <p:attrNameLst>
                                          <p:attrName>style.visibility</p:attrName>
                                        </p:attrNameLst>
                                      </p:cBhvr>
                                      <p:to>
                                        <p:strVal val="visible"/>
                                      </p:to>
                                    </p:set>
                                    <p:animEffect transition="in" filter="wipe(down)">
                                      <p:cBhvr>
                                        <p:cTn id="351" dur="500"/>
                                        <p:tgtEl>
                                          <p:spTgt spid="5"/>
                                        </p:tgtEl>
                                      </p:cBhvr>
                                    </p:animEffect>
                                  </p:childTnLst>
                                </p:cTn>
                              </p:par>
                              <p:par>
                                <p:cTn id="352" presetID="22" presetClass="entr" presetSubtype="4" fill="hold" nodeType="withEffect">
                                  <p:stCondLst>
                                    <p:cond delay="1500"/>
                                  </p:stCondLst>
                                  <p:childTnLst>
                                    <p:set>
                                      <p:cBhvr>
                                        <p:cTn id="353" dur="1" fill="hold">
                                          <p:stCondLst>
                                            <p:cond delay="0"/>
                                          </p:stCondLst>
                                        </p:cTn>
                                        <p:tgtEl>
                                          <p:spTgt spid="8"/>
                                        </p:tgtEl>
                                        <p:attrNameLst>
                                          <p:attrName>style.visibility</p:attrName>
                                        </p:attrNameLst>
                                      </p:cBhvr>
                                      <p:to>
                                        <p:strVal val="visible"/>
                                      </p:to>
                                    </p:set>
                                    <p:animEffect transition="in" filter="wipe(down)">
                                      <p:cBhvr>
                                        <p:cTn id="354" dur="500"/>
                                        <p:tgtEl>
                                          <p:spTgt spid="8"/>
                                        </p:tgtEl>
                                      </p:cBhvr>
                                    </p:animEffect>
                                  </p:childTnLst>
                                </p:cTn>
                              </p:par>
                              <p:par>
                                <p:cTn id="355" presetID="22" presetClass="entr" presetSubtype="4" fill="hold" nodeType="withEffect">
                                  <p:stCondLst>
                                    <p:cond delay="1500"/>
                                  </p:stCondLst>
                                  <p:childTnLst>
                                    <p:set>
                                      <p:cBhvr>
                                        <p:cTn id="356" dur="1" fill="hold">
                                          <p:stCondLst>
                                            <p:cond delay="0"/>
                                          </p:stCondLst>
                                        </p:cTn>
                                        <p:tgtEl>
                                          <p:spTgt spid="9"/>
                                        </p:tgtEl>
                                        <p:attrNameLst>
                                          <p:attrName>style.visibility</p:attrName>
                                        </p:attrNameLst>
                                      </p:cBhvr>
                                      <p:to>
                                        <p:strVal val="visible"/>
                                      </p:to>
                                    </p:set>
                                    <p:animEffect transition="in" filter="wipe(down)">
                                      <p:cBhvr>
                                        <p:cTn id="35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6" grpId="0"/>
      <p:bldP spid="4" grpId="0"/>
      <p:bldP spid="4" grpId="1"/>
      <p:bldP spid="25" grpId="0"/>
      <p:bldP spid="25" grpId="1"/>
      <p:bldP spid="469" grpId="0" animBg="1"/>
      <p:bldP spid="469" grpId="1" animBg="1"/>
      <p:bldP spid="470" grpId="0" animBg="1"/>
      <p:bldP spid="470" grpId="1" animBg="1"/>
      <p:bldP spid="471" grpId="0" animBg="1"/>
      <p:bldP spid="471" grpId="1" animBg="1"/>
      <p:bldP spid="472" grpId="0" animBg="1"/>
      <p:bldP spid="472" grpId="1" animBg="1"/>
      <p:bldP spid="478" grpId="0" animBg="1"/>
      <p:bldP spid="478" grpId="1" animBg="1"/>
      <p:bldP spid="479" grpId="0" animBg="1"/>
      <p:bldP spid="479" grpId="1" animBg="1"/>
      <p:bldP spid="480" grpId="0" animBg="1"/>
      <p:bldP spid="480" grpId="1" animBg="1"/>
      <p:bldP spid="481" grpId="0"/>
      <p:bldP spid="481" grpId="1"/>
      <p:bldP spid="482" grpId="0" animBg="1"/>
      <p:bldP spid="482" grpId="1" animBg="1"/>
      <p:bldP spid="484" grpId="0" animBg="1"/>
      <p:bldP spid="484" grpId="1" animBg="1"/>
      <p:bldP spid="485" grpId="0" animBg="1"/>
      <p:bldP spid="485" grpId="1" animBg="1"/>
      <p:bldP spid="487" grpId="0" animBg="1"/>
      <p:bldP spid="487" grpId="1" animBg="1"/>
      <p:bldP spid="488" grpId="0" animBg="1"/>
      <p:bldP spid="488" grpId="1" animBg="1"/>
      <p:bldP spid="489" grpId="0" animBg="1"/>
      <p:bldP spid="489" grpId="1" animBg="1"/>
      <p:bldP spid="490" grpId="0" animBg="1"/>
      <p:bldP spid="490" grpId="1" animBg="1"/>
      <p:bldP spid="491" grpId="0" animBg="1"/>
      <p:bldP spid="491" grpId="1" animBg="1"/>
      <p:bldP spid="492" grpId="0" animBg="1"/>
      <p:bldP spid="492" grpId="1" animBg="1"/>
      <p:bldP spid="493" grpId="0" animBg="1"/>
      <p:bldP spid="493" grpId="1" animBg="1"/>
      <p:bldP spid="497" grpId="0" animBg="1"/>
      <p:bldP spid="497" grpId="1" animBg="1"/>
      <p:bldP spid="500" grpId="0"/>
      <p:bldP spid="501" grpId="0"/>
      <p:bldP spid="502" grpId="0"/>
      <p:bldP spid="576" grpId="0"/>
      <p:bldP spid="577" grpId="0"/>
      <p:bldP spid="597" grpId="0"/>
      <p:bldP spid="604" grpId="0"/>
      <p:bldP spid="609" grpId="0"/>
      <p:bldP spid="609" grpId="1"/>
      <p:bldP spid="613" grpId="0" animBg="1"/>
      <p:bldP spid="613" grpId="1"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m 6" descr="Imagem em branco e azul&#10;&#10;Descrição gerada automaticamente com confiança média">
            <a:extLst>
              <a:ext uri="{FF2B5EF4-FFF2-40B4-BE49-F238E27FC236}">
                <a16:creationId xmlns:a16="http://schemas.microsoft.com/office/drawing/2014/main" id="{E7C6D529-48CE-FF0F-683F-63EE8616224E}"/>
              </a:ext>
            </a:extLst>
          </p:cNvPr>
          <p:cNvPicPr>
            <a:picLocks noChangeAspect="1"/>
          </p:cNvPicPr>
          <p:nvPr>
            <p:custDataLst>
              <p:tags r:id="rId1"/>
            </p:custDataLst>
          </p:nvPr>
        </p:nvPicPr>
        <p:blipFill>
          <a:blip r:embed="rId6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134" name="Imagem 133" descr="Fundo preto com letras brancas&#10;&#10;Descrição gerada automaticamente com confiança média">
            <a:extLst>
              <a:ext uri="{FF2B5EF4-FFF2-40B4-BE49-F238E27FC236}">
                <a16:creationId xmlns:a16="http://schemas.microsoft.com/office/drawing/2014/main" id="{C7E473D9-8D51-63B4-F27D-55728DA1D151}"/>
              </a:ext>
            </a:extLst>
          </p:cNvPr>
          <p:cNvPicPr>
            <a:picLocks noChangeAspect="1"/>
          </p:cNvPicPr>
          <p:nvPr>
            <p:custDataLst>
              <p:tags r:id="rId2"/>
            </p:custDataLst>
          </p:nvPr>
        </p:nvPicPr>
        <p:blipFill>
          <a:blip r:embed="rId62">
            <a:extLst>
              <a:ext uri="{28A0092B-C50C-407E-A947-70E740481C1C}">
                <a14:useLocalDpi xmlns:a14="http://schemas.microsoft.com/office/drawing/2010/main"/>
              </a:ext>
            </a:extLst>
          </a:blip>
          <a:srcRect l="1" t="53816" r="49890"/>
          <a:stretch>
            <a:fillRect/>
          </a:stretch>
        </p:blipFill>
        <p:spPr>
          <a:xfrm flipH="1">
            <a:off x="-1" y="0"/>
            <a:ext cx="3182359" cy="2947566"/>
          </a:xfrm>
          <a:prstGeom prst="rect">
            <a:avLst/>
          </a:prstGeom>
        </p:spPr>
      </p:pic>
      <p:graphicFrame>
        <p:nvGraphicFramePr>
          <p:cNvPr id="43" name="Objeto 42" hidden="1">
            <a:extLst>
              <a:ext uri="{FF2B5EF4-FFF2-40B4-BE49-F238E27FC236}">
                <a16:creationId xmlns:a16="http://schemas.microsoft.com/office/drawing/2014/main" id="{90AD4F1C-C9D3-82D3-E0C6-78C4D262BD87}"/>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3" imgW="0" imgH="0" progId="TCLayout.ActiveDocument.1">
                  <p:embed/>
                </p:oleObj>
              </mc:Choice>
              <mc:Fallback>
                <p:oleObj name="Slide do think-cell" r:id="rId63" imgW="0" imgH="0" progId="TCLayout.ActiveDocument.1">
                  <p:embed/>
                  <p:pic>
                    <p:nvPicPr>
                      <p:cNvPr id="0" name=""/>
                      <p:cNvPicPr/>
                      <p:nvPr/>
                    </p:nvPicPr>
                    <p:blipFill>
                      <a:blip r:embed="rId64"/>
                      <a:stretch>
                        <a:fillRect/>
                      </a:stretch>
                    </p:blipFill>
                    <p:spPr>
                      <a:xfrm>
                        <a:off x="1588" y="1588"/>
                        <a:ext cx="1588" cy="1588"/>
                      </a:xfrm>
                      <a:prstGeom prst="rect">
                        <a:avLst/>
                      </a:prstGeom>
                    </p:spPr>
                  </p:pic>
                </p:oleObj>
              </mc:Fallback>
            </mc:AlternateContent>
          </a:graphicData>
        </a:graphic>
      </p:graphicFrame>
      <p:sp>
        <p:nvSpPr>
          <p:cNvPr id="29" name="CaixaDeTexto 28">
            <a:extLst>
              <a:ext uri="{FF2B5EF4-FFF2-40B4-BE49-F238E27FC236}">
                <a16:creationId xmlns:a16="http://schemas.microsoft.com/office/drawing/2014/main" id="{6E91B956-3783-3874-A71C-8E073ECB2470}"/>
              </a:ext>
            </a:extLst>
          </p:cNvPr>
          <p:cNvSpPr txBox="1"/>
          <p:nvPr>
            <p:custDataLst>
              <p:tags r:id="rId4"/>
            </p:custDataLst>
          </p:nvPr>
        </p:nvSpPr>
        <p:spPr>
          <a:xfrm>
            <a:off x="1557015" y="577938"/>
            <a:ext cx="5885509" cy="610210"/>
          </a:xfrm>
          <a:prstGeom prst="rect">
            <a:avLst/>
          </a:prstGeom>
          <a:noFill/>
        </p:spPr>
        <p:txBody>
          <a:bodyPr wrap="square" rtlCol="0">
            <a:spAutoFit/>
          </a:bodyPr>
          <a:lstStyle/>
          <a:p>
            <a:pPr lvl="0" algn="ctr" defTabSz="675010">
              <a:lnSpc>
                <a:spcPct val="85000"/>
              </a:lnSpc>
              <a:spcBef>
                <a:spcPts val="148"/>
              </a:spcBef>
              <a:spcAft>
                <a:spcPts val="148"/>
              </a:spcAft>
              <a:defRPr/>
            </a:pPr>
            <a:r>
              <a:rPr lang="en-US" sz="2000" b="0" i="0" u="none" strike="noStrike" cap="none" spc="600" baseline="0" dirty="0">
                <a:solidFill>
                  <a:srgbClr val="002581"/>
                </a:solidFill>
                <a:effectLst/>
                <a:uFillTx/>
                <a:latin typeface="Segoe UI Light"/>
              </a:rPr>
              <a:t>COMMITMENT TO CREATING</a:t>
            </a:r>
            <a:r>
              <a:rPr lang="en-US" sz="2000" b="0" i="0" u="none" strike="noStrike" cap="none" baseline="0" dirty="0">
                <a:solidFill>
                  <a:srgbClr val="002581"/>
                </a:solidFill>
                <a:effectLst/>
                <a:uFillTx/>
                <a:latin typeface="Segoe UI Light"/>
              </a:rPr>
              <a:t> </a:t>
            </a:r>
            <a:r>
              <a:rPr lang="en-US" sz="2000" b="0" i="0" u="none" strike="noStrike" cap="none" spc="600" baseline="0" dirty="0">
                <a:solidFill>
                  <a:srgbClr val="002581"/>
                </a:solidFill>
                <a:effectLst/>
                <a:uFillTx/>
                <a:latin typeface="Segoe UI Black"/>
              </a:rPr>
              <a:t>SUSTAINABLE VALUE</a:t>
            </a:r>
          </a:p>
        </p:txBody>
      </p:sp>
      <p:sp>
        <p:nvSpPr>
          <p:cNvPr id="49" name="CaixaDeTexto 48">
            <a:extLst>
              <a:ext uri="{FF2B5EF4-FFF2-40B4-BE49-F238E27FC236}">
                <a16:creationId xmlns:a16="http://schemas.microsoft.com/office/drawing/2014/main" id="{A2FD15ED-1EA9-773C-271B-DA2F6C90603D}"/>
              </a:ext>
            </a:extLst>
          </p:cNvPr>
          <p:cNvSpPr txBox="1"/>
          <p:nvPr>
            <p:custDataLst>
              <p:tags r:id="rId5"/>
            </p:custDataLst>
          </p:nvPr>
        </p:nvSpPr>
        <p:spPr>
          <a:xfrm>
            <a:off x="2523192" y="1118086"/>
            <a:ext cx="3953156"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solidFill>
                  <a:srgbClr val="005FD7"/>
                </a:solidFill>
                <a:effectLst/>
                <a:uFillTx/>
                <a:latin typeface="Segoe UI"/>
              </a:rPr>
              <a:t>Pipeline of investment projects</a:t>
            </a:r>
          </a:p>
        </p:txBody>
      </p:sp>
      <p:grpSp>
        <p:nvGrpSpPr>
          <p:cNvPr id="55" name="Agrupar 54">
            <a:extLst>
              <a:ext uri="{FF2B5EF4-FFF2-40B4-BE49-F238E27FC236}">
                <a16:creationId xmlns:a16="http://schemas.microsoft.com/office/drawing/2014/main" id="{935BC496-B3DD-2E43-7B12-14F5007E8A95}"/>
              </a:ext>
            </a:extLst>
          </p:cNvPr>
          <p:cNvGrpSpPr/>
          <p:nvPr>
            <p:custDataLst>
              <p:tags r:id="rId6"/>
            </p:custDataLst>
          </p:nvPr>
        </p:nvGrpSpPr>
        <p:grpSpPr>
          <a:xfrm>
            <a:off x="199438" y="1462807"/>
            <a:ext cx="3896993" cy="279615"/>
            <a:chOff x="360649" y="1212713"/>
            <a:chExt cx="3163715" cy="279615"/>
          </a:xfrm>
        </p:grpSpPr>
        <p:sp>
          <p:nvSpPr>
            <p:cNvPr id="57" name="Retângulo: Cantos Arredondados 56">
              <a:extLst>
                <a:ext uri="{FF2B5EF4-FFF2-40B4-BE49-F238E27FC236}">
                  <a16:creationId xmlns:a16="http://schemas.microsoft.com/office/drawing/2014/main" id="{DEAC9426-07E5-266A-3B62-9B9CD2C8A98F}"/>
                </a:ext>
              </a:extLst>
            </p:cNvPr>
            <p:cNvSpPr/>
            <p:nvPr>
              <p:custDataLst>
                <p:tags r:id="rId57"/>
              </p:custDataLst>
            </p:nvPr>
          </p:nvSpPr>
          <p:spPr>
            <a:xfrm>
              <a:off x="360649" y="1212713"/>
              <a:ext cx="3163715" cy="26392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200"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58" name="CaixaDeTexto 57">
              <a:extLst>
                <a:ext uri="{FF2B5EF4-FFF2-40B4-BE49-F238E27FC236}">
                  <a16:creationId xmlns:a16="http://schemas.microsoft.com/office/drawing/2014/main" id="{76487813-2AC9-8F43-741D-09FB223476D9}"/>
                </a:ext>
              </a:extLst>
            </p:cNvPr>
            <p:cNvSpPr txBox="1"/>
            <p:nvPr>
              <p:custDataLst>
                <p:tags r:id="rId58"/>
              </p:custDataLst>
            </p:nvPr>
          </p:nvSpPr>
          <p:spPr>
            <a:xfrm>
              <a:off x="815595" y="1227640"/>
              <a:ext cx="2325452"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Evolution of investments¹</a:t>
              </a:r>
            </a:p>
          </p:txBody>
        </p:sp>
      </p:grpSp>
      <p:graphicFrame>
        <p:nvGraphicFramePr>
          <p:cNvPr id="59" name="Chart 3">
            <a:extLst>
              <a:ext uri="{FF2B5EF4-FFF2-40B4-BE49-F238E27FC236}">
                <a16:creationId xmlns:a16="http://schemas.microsoft.com/office/drawing/2014/main" id="{14CC44D3-F0E0-8AE3-58EE-F6600FD2C5BE}"/>
              </a:ext>
            </a:extLst>
          </p:cNvPr>
          <p:cNvGraphicFramePr/>
          <p:nvPr>
            <p:custDataLst>
              <p:tags r:id="rId7"/>
            </p:custDataLst>
            <p:extLst>
              <p:ext uri="{D42A27DB-BD31-4B8C-83A1-F6EECF244321}">
                <p14:modId xmlns:p14="http://schemas.microsoft.com/office/powerpoint/2010/main" val="4074684040"/>
              </p:ext>
            </p:extLst>
          </p:nvPr>
        </p:nvGraphicFramePr>
        <p:xfrm>
          <a:off x="156989" y="2408271"/>
          <a:ext cx="8685560" cy="2043086"/>
        </p:xfrm>
        <a:graphic>
          <a:graphicData uri="http://schemas.openxmlformats.org/drawingml/2006/chart">
            <c:chart xmlns:c="http://schemas.openxmlformats.org/drawingml/2006/chart" xmlns:r="http://schemas.openxmlformats.org/officeDocument/2006/relationships" r:id="rId65"/>
          </a:graphicData>
        </a:graphic>
      </p:graphicFrame>
      <p:grpSp>
        <p:nvGrpSpPr>
          <p:cNvPr id="102" name="Agrupar 101">
            <a:extLst>
              <a:ext uri="{FF2B5EF4-FFF2-40B4-BE49-F238E27FC236}">
                <a16:creationId xmlns:a16="http://schemas.microsoft.com/office/drawing/2014/main" id="{C64323AF-167B-E0FC-3C16-57B11356A3EA}"/>
              </a:ext>
            </a:extLst>
          </p:cNvPr>
          <p:cNvGrpSpPr/>
          <p:nvPr>
            <p:custDataLst>
              <p:tags r:id="rId8"/>
            </p:custDataLst>
          </p:nvPr>
        </p:nvGrpSpPr>
        <p:grpSpPr>
          <a:xfrm>
            <a:off x="4079162" y="4220957"/>
            <a:ext cx="101440" cy="220876"/>
            <a:chOff x="4081463" y="3791742"/>
            <a:chExt cx="96838" cy="146051"/>
          </a:xfrm>
        </p:grpSpPr>
        <p:sp useBgFill="1">
          <p:nvSpPr>
            <p:cNvPr id="60" name="Forma Livre: Forma 59">
              <a:extLst>
                <a:ext uri="{FF2B5EF4-FFF2-40B4-BE49-F238E27FC236}">
                  <a16:creationId xmlns:a16="http://schemas.microsoft.com/office/drawing/2014/main" id="{8BA7A756-FA00-6F08-E64D-2D51BF92E074}"/>
                </a:ext>
              </a:extLst>
            </p:cNvPr>
            <p:cNvSpPr/>
            <p:nvPr>
              <p:custDataLst>
                <p:tags r:id="rId54"/>
              </p:custDataLst>
            </p:nvPr>
          </p:nvSpPr>
          <p:spPr bwMode="auto">
            <a:xfrm>
              <a:off x="4081463" y="3791742"/>
              <a:ext cx="96838" cy="146051"/>
            </a:xfrm>
            <a:custGeom>
              <a:avLst/>
              <a:gdLst/>
              <a:ahLst/>
              <a:cxnLst/>
              <a:rect l="0" t="0" r="0" b="0"/>
              <a:pathLst>
                <a:path w="96838" h="146051">
                  <a:moveTo>
                    <a:pt x="96837" y="0"/>
                  </a:moveTo>
                  <a:lnTo>
                    <a:pt x="57150" y="146050"/>
                  </a:lnTo>
                  <a:lnTo>
                    <a:pt x="0" y="146050"/>
                  </a:lnTo>
                  <a:lnTo>
                    <a:pt x="39687" y="0"/>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62" name="Forma Livre: Forma 61">
              <a:extLst>
                <a:ext uri="{FF2B5EF4-FFF2-40B4-BE49-F238E27FC236}">
                  <a16:creationId xmlns:a16="http://schemas.microsoft.com/office/drawing/2014/main" id="{805849A4-7A43-E48E-725E-2B99A2BD75DD}"/>
                </a:ext>
              </a:extLst>
            </p:cNvPr>
            <p:cNvSpPr/>
            <p:nvPr>
              <p:custDataLst>
                <p:tags r:id="rId55"/>
              </p:custDataLst>
            </p:nvPr>
          </p:nvSpPr>
          <p:spPr bwMode="auto">
            <a:xfrm>
              <a:off x="4081463" y="3791742"/>
              <a:ext cx="39688" cy="146051"/>
            </a:xfrm>
            <a:custGeom>
              <a:avLst/>
              <a:gdLst/>
              <a:ahLst/>
              <a:cxnLst/>
              <a:rect l="0" t="0" r="0" b="0"/>
              <a:pathLst>
                <a:path w="39688" h="146051">
                  <a:moveTo>
                    <a:pt x="39687" y="0"/>
                  </a:moveTo>
                  <a:lnTo>
                    <a:pt x="0" y="146050"/>
                  </a:lnTo>
                </a:path>
              </a:pathLst>
            </a:custGeom>
            <a:ln w="9525" cap="flat" cmpd="sng" algn="ctr">
              <a:solidFill>
                <a:schemeClr val="bg1">
                  <a:lumMod val="7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sp>
          <p:nvSpPr>
            <p:cNvPr id="70" name="Forma Livre: Forma 69">
              <a:extLst>
                <a:ext uri="{FF2B5EF4-FFF2-40B4-BE49-F238E27FC236}">
                  <a16:creationId xmlns:a16="http://schemas.microsoft.com/office/drawing/2014/main" id="{F0359645-28FE-0AE5-667F-F6A98891CBF0}"/>
                </a:ext>
              </a:extLst>
            </p:cNvPr>
            <p:cNvSpPr/>
            <p:nvPr>
              <p:custDataLst>
                <p:tags r:id="rId56"/>
              </p:custDataLst>
            </p:nvPr>
          </p:nvSpPr>
          <p:spPr bwMode="auto">
            <a:xfrm>
              <a:off x="4138613" y="3791742"/>
              <a:ext cx="39688" cy="146051"/>
            </a:xfrm>
            <a:custGeom>
              <a:avLst/>
              <a:gdLst/>
              <a:ahLst/>
              <a:cxnLst/>
              <a:rect l="0" t="0" r="0" b="0"/>
              <a:pathLst>
                <a:path w="39688" h="146051">
                  <a:moveTo>
                    <a:pt x="39687" y="0"/>
                  </a:moveTo>
                  <a:lnTo>
                    <a:pt x="0" y="146050"/>
                  </a:lnTo>
                </a:path>
              </a:pathLst>
            </a:custGeom>
            <a:ln w="9525" cap="flat" cmpd="sng" algn="ctr">
              <a:solidFill>
                <a:schemeClr val="bg1">
                  <a:lumMod val="75000"/>
                </a:schemeClr>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Segoe UI" panose="020B0502040204020203" pitchFamily="34" charset="0"/>
                <a:cs typeface="Segoe UI" panose="020B0502040204020203" pitchFamily="34" charset="0"/>
              </a:endParaRPr>
            </a:p>
          </p:txBody>
        </p:sp>
      </p:grpSp>
      <p:sp>
        <p:nvSpPr>
          <p:cNvPr id="71" name="Text Placeholder 2">
            <a:extLst>
              <a:ext uri="{FF2B5EF4-FFF2-40B4-BE49-F238E27FC236}">
                <a16:creationId xmlns:a16="http://schemas.microsoft.com/office/drawing/2014/main" id="{69A83F11-B0E3-B12F-2960-976757529106}"/>
              </a:ext>
            </a:extLst>
          </p:cNvPr>
          <p:cNvSpPr>
            <a:spLocks noGrp="1"/>
          </p:cNvSpPr>
          <p:nvPr>
            <p:custDataLst>
              <p:tags r:id="rId9"/>
            </p:custDataLst>
          </p:nvPr>
        </p:nvSpPr>
        <p:spPr bwMode="gray">
          <a:xfrm>
            <a:off x="362318" y="4079693"/>
            <a:ext cx="166294" cy="187263"/>
          </a:xfrm>
          <a:prstGeom prst="rect">
            <a:avLst/>
          </a:prstGeom>
          <a:solidFill>
            <a:srgbClr val="364D6E"/>
          </a:solidFill>
          <a:ln>
            <a:noFill/>
          </a:ln>
          <a:effectLst/>
        </p:spPr>
        <p:txBody>
          <a:bodyPr vert="horz" wrap="none" lIns="16405" tIns="0" rIns="16405"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EB51F5B2-2C00-46A7-9924-3C77677C27A1}" type="datetime'''''''''''''''''''''''''''''''''''''''''''''''''''''''2''''4'">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4</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72" name="Text Placeholder 2">
            <a:extLst>
              <a:ext uri="{FF2B5EF4-FFF2-40B4-BE49-F238E27FC236}">
                <a16:creationId xmlns:a16="http://schemas.microsoft.com/office/drawing/2014/main" id="{1D4690AA-10F6-02C6-BF42-1C1880E97833}"/>
              </a:ext>
            </a:extLst>
          </p:cNvPr>
          <p:cNvSpPr>
            <a:spLocks noGrp="1"/>
          </p:cNvSpPr>
          <p:nvPr>
            <p:custDataLst>
              <p:tags r:id="rId10"/>
            </p:custDataLst>
          </p:nvPr>
        </p:nvSpPr>
        <p:spPr bwMode="gray">
          <a:xfrm>
            <a:off x="500179" y="4271010"/>
            <a:ext cx="232812" cy="187263"/>
          </a:xfrm>
          <a:prstGeom prst="rect">
            <a:avLst/>
          </a:prstGeom>
          <a:solidFill>
            <a:srgbClr val="003087"/>
          </a:solidFill>
          <a:ln>
            <a:noFill/>
          </a:ln>
          <a:effectLst/>
        </p:spPr>
        <p:txBody>
          <a:bodyPr vert="horz" wrap="none" lIns="16405" tIns="0" rIns="16405"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15D8870A-FCC1-4C4A-9284-6CC5B9F7F6F5}" type="datetime'''''''1''''''4''''''2'''''''''''''''''''''''''''">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142</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75" name="Text Placeholder 2">
            <a:extLst>
              <a:ext uri="{FF2B5EF4-FFF2-40B4-BE49-F238E27FC236}">
                <a16:creationId xmlns:a16="http://schemas.microsoft.com/office/drawing/2014/main" id="{6E84E141-3DB2-AB2B-B1D2-5408CDF7FD0F}"/>
              </a:ext>
            </a:extLst>
          </p:cNvPr>
          <p:cNvSpPr>
            <a:spLocks noGrp="1"/>
          </p:cNvSpPr>
          <p:nvPr>
            <p:custDataLst>
              <p:tags r:id="rId11"/>
            </p:custDataLst>
          </p:nvPr>
        </p:nvSpPr>
        <p:spPr bwMode="gray">
          <a:xfrm>
            <a:off x="2793029" y="2616211"/>
            <a:ext cx="325938"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09E8CCF6-A4C2-42E7-A888-55876F4B66E0}" type="datetime'3'',''''''''''''''''2''''''''''''''''9''''''''''''''''''7'''">
              <a:rPr kumimoji="0" lang="pt-BR" altLang="en-US" sz="1400" b="1"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3,297</a:t>
            </a:fld>
            <a:endParaRPr kumimoji="0" lang="pt-BR" sz="1400" b="1"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77" name="Text Placeholder 2">
            <a:extLst>
              <a:ext uri="{FF2B5EF4-FFF2-40B4-BE49-F238E27FC236}">
                <a16:creationId xmlns:a16="http://schemas.microsoft.com/office/drawing/2014/main" id="{0103F707-46AC-58A9-3021-2BB75510BB76}"/>
              </a:ext>
            </a:extLst>
          </p:cNvPr>
          <p:cNvSpPr>
            <a:spLocks noGrp="1"/>
          </p:cNvSpPr>
          <p:nvPr>
            <p:custDataLst>
              <p:tags r:id="rId12"/>
            </p:custDataLst>
          </p:nvPr>
        </p:nvSpPr>
        <p:spPr bwMode="gray">
          <a:xfrm>
            <a:off x="525579" y="3959384"/>
            <a:ext cx="227824"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2B16CE22-0B75-4F28-9B70-903909BB8B52}" type="datetime'3''''''''''''''''8''''''''''''''''''''''''''''''''''''6'">
              <a:rPr kumimoji="0" lang="pt-BR" altLang="en-US" sz="1400" b="1"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386</a:t>
            </a:fld>
            <a:endParaRPr kumimoji="0" lang="pt-BR" sz="1400" b="1"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78" name="Text Placeholder 2">
            <a:extLst>
              <a:ext uri="{FF2B5EF4-FFF2-40B4-BE49-F238E27FC236}">
                <a16:creationId xmlns:a16="http://schemas.microsoft.com/office/drawing/2014/main" id="{71D1AAAC-878E-3AB4-065C-4B6CC0F0047D}"/>
              </a:ext>
            </a:extLst>
          </p:cNvPr>
          <p:cNvSpPr>
            <a:spLocks noGrp="1"/>
          </p:cNvSpPr>
          <p:nvPr>
            <p:custDataLst>
              <p:tags r:id="rId13"/>
            </p:custDataLst>
          </p:nvPr>
        </p:nvSpPr>
        <p:spPr bwMode="gray">
          <a:xfrm>
            <a:off x="525579" y="4101805"/>
            <a:ext cx="232812" cy="187263"/>
          </a:xfrm>
          <a:prstGeom prst="rect">
            <a:avLst/>
          </a:prstGeom>
          <a:solidFill>
            <a:srgbClr val="23A0FE"/>
          </a:solidFill>
          <a:ln>
            <a:noFill/>
          </a:ln>
          <a:effectLst/>
        </p:spPr>
        <p:txBody>
          <a:bodyPr vert="horz" wrap="none" lIns="15875" tIns="0" rIns="15875" bIns="0" numCol="1" spcCol="0" rtlCol="0" anchor="ctr" anchorCtr="0">
            <a:noAutofit/>
          </a:bodyPr>
          <a:lstStyle>
            <a:lvl1pPr marL="168753" indent="-168753" algn="l" defTabSz="675010" rtl="0" eaLnBrk="1" latinLnBrk="0" hangingPunct="1">
              <a:lnSpc>
                <a:spcPct val="90000"/>
              </a:lnSpc>
              <a:spcBef>
                <a:spcPts val="738"/>
              </a:spcBef>
              <a:buFont typeface="Arial" panose="020B0604020202020204" pitchFamily="34" charset="0"/>
              <a:buChar char="•"/>
              <a:defRPr sz="2067" kern="1200">
                <a:solidFill>
                  <a:schemeClr val="tx1"/>
                </a:solidFill>
                <a:latin typeface="+mn-lt"/>
                <a:ea typeface="+mn-ea"/>
                <a:cs typeface="+mn-cs"/>
              </a:defRPr>
            </a:lvl1pPr>
            <a:lvl2pPr marL="506258" indent="-168753" algn="l" defTabSz="675010" rtl="0" eaLnBrk="1" latinLnBrk="0" hangingPunct="1">
              <a:lnSpc>
                <a:spcPct val="90000"/>
              </a:lnSpc>
              <a:spcBef>
                <a:spcPts val="369"/>
              </a:spcBef>
              <a:buFont typeface="Arial" panose="020B0604020202020204" pitchFamily="34" charset="0"/>
              <a:buChar char="•"/>
              <a:defRPr sz="1772" kern="1200">
                <a:solidFill>
                  <a:schemeClr val="tx1"/>
                </a:solidFill>
                <a:latin typeface="+mn-lt"/>
                <a:ea typeface="+mn-ea"/>
                <a:cs typeface="+mn-cs"/>
              </a:defRPr>
            </a:lvl2pPr>
            <a:lvl3pPr marL="843763" indent="-168753" algn="l" defTabSz="675010" rtl="0" eaLnBrk="1" latinLnBrk="0" hangingPunct="1">
              <a:lnSpc>
                <a:spcPct val="90000"/>
              </a:lnSpc>
              <a:spcBef>
                <a:spcPts val="369"/>
              </a:spcBef>
              <a:buFont typeface="Arial" panose="020B0604020202020204" pitchFamily="34" charset="0"/>
              <a:buChar char="•"/>
              <a:defRPr sz="1476" kern="1200">
                <a:solidFill>
                  <a:schemeClr val="tx1"/>
                </a:solidFill>
                <a:latin typeface="+mn-lt"/>
                <a:ea typeface="+mn-ea"/>
                <a:cs typeface="+mn-cs"/>
              </a:defRPr>
            </a:lvl3pPr>
            <a:lvl4pPr marL="118126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4pPr>
            <a:lvl5pPr marL="151877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5pPr>
            <a:lvl6pPr marL="185627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6pPr>
            <a:lvl7pPr marL="219378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7pPr>
            <a:lvl8pPr marL="253128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8pPr>
            <a:lvl9pPr marL="286879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9pPr>
          </a:lstStyle>
          <a:p>
            <a:pPr marL="0" marR="0" lvl="0" indent="0" algn="ctr" defTabSz="675010" rtl="0" eaLnBrk="1" fontAlgn="auto" latinLnBrk="0" hangingPunct="1">
              <a:lnSpc>
                <a:spcPct val="90000"/>
              </a:lnSpc>
              <a:spcBef>
                <a:spcPct val="0"/>
              </a:spcBef>
              <a:spcAft>
                <a:spcPct val="0"/>
              </a:spcAft>
              <a:buClrTx/>
              <a:buSzTx/>
              <a:buFont typeface="Arial" panose="020B0604020202020204" pitchFamily="34" charset="0"/>
              <a:buNone/>
              <a:defRPr/>
            </a:pPr>
            <a:fld id="{CBE2661E-B804-47A0-B163-EF7502866C0E}" type="datetime'''''2''''''''1''''''''''''''''''''''''''''''''''''9'''">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675010" rtl="0" eaLnBrk="1" fontAlgn="auto" latinLnBrk="0" hangingPunct="1">
                <a:lnSpc>
                  <a:spcPct val="90000"/>
                </a:lnSpc>
                <a:spcBef>
                  <a:spcPct val="0"/>
                </a:spcBef>
                <a:spcAft>
                  <a:spcPct val="0"/>
                </a:spcAft>
                <a:buClrTx/>
                <a:buSzTx/>
                <a:buFont typeface="Arial" panose="020B0604020202020204" pitchFamily="34" charset="0"/>
                <a:buNone/>
                <a:defRPr/>
              </a:pPr>
              <a:t>219</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79" name="Text Placeholder 2">
            <a:extLst>
              <a:ext uri="{FF2B5EF4-FFF2-40B4-BE49-F238E27FC236}">
                <a16:creationId xmlns:a16="http://schemas.microsoft.com/office/drawing/2014/main" id="{95F0A3C4-158D-B718-F959-71E359CBD0ED}"/>
              </a:ext>
            </a:extLst>
          </p:cNvPr>
          <p:cNvSpPr>
            <a:spLocks noGrp="1"/>
          </p:cNvSpPr>
          <p:nvPr>
            <p:custDataLst>
              <p:tags r:id="rId14"/>
            </p:custDataLst>
          </p:nvPr>
        </p:nvSpPr>
        <p:spPr bwMode="auto">
          <a:xfrm>
            <a:off x="668502"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A4163CB0-EC6D-4669-BDBF-5365D210D76D}" type="datetime'''''''''''2''0''''''1''''''''''''''''''''''''''''''8'">
              <a:rPr kumimoji="0" lang="pt-BR" altLang="en-US" sz="886"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8</a:t>
            </a:fld>
            <a:endParaRPr kumimoji="0" lang="pt-BR" sz="886"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0" name="Text Placeholder 2">
            <a:extLst>
              <a:ext uri="{FF2B5EF4-FFF2-40B4-BE49-F238E27FC236}">
                <a16:creationId xmlns:a16="http://schemas.microsoft.com/office/drawing/2014/main" id="{341B844C-EC7A-9FF0-8D99-F4B0A6532824}"/>
              </a:ext>
            </a:extLst>
          </p:cNvPr>
          <p:cNvSpPr>
            <a:spLocks noGrp="1"/>
          </p:cNvSpPr>
          <p:nvPr>
            <p:custDataLst>
              <p:tags r:id="rId15"/>
            </p:custDataLst>
          </p:nvPr>
        </p:nvSpPr>
        <p:spPr bwMode="gray">
          <a:xfrm>
            <a:off x="1281711" y="4208530"/>
            <a:ext cx="232812" cy="187263"/>
          </a:xfrm>
          <a:prstGeom prst="rect">
            <a:avLst/>
          </a:prstGeom>
          <a:solidFill>
            <a:srgbClr val="003087"/>
          </a:solidFill>
          <a:ln>
            <a:noFill/>
          </a:ln>
          <a:effectLst/>
        </p:spPr>
        <p:txBody>
          <a:bodyPr vert="horz" wrap="none" lIns="16405" tIns="0" rIns="16405"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C8157C21-9D90-48B7-840D-84945BDEE0ED}" type="datetime'''''''''''1''''''''''''''''''''3''3'">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133</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2" name="Espaço Reservado para Texto 2">
            <a:extLst>
              <a:ext uri="{FF2B5EF4-FFF2-40B4-BE49-F238E27FC236}">
                <a16:creationId xmlns:a16="http://schemas.microsoft.com/office/drawing/2014/main" id="{E1F6C93E-1C44-E469-A3F6-35D244C3684B}"/>
              </a:ext>
            </a:extLst>
          </p:cNvPr>
          <p:cNvSpPr>
            <a:spLocks noGrp="1"/>
          </p:cNvSpPr>
          <p:nvPr>
            <p:custDataLst>
              <p:tags r:id="rId16"/>
            </p:custDataLst>
          </p:nvPr>
        </p:nvSpPr>
        <p:spPr bwMode="gray">
          <a:xfrm>
            <a:off x="2008415" y="3902205"/>
            <a:ext cx="332588" cy="187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fld id="{732DCD0A-05BB-48AD-9211-21CCAFF43E0A}" type="datetime'''1'''''''',''''''''''''''''''''0''''''''74'">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t>1,074</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4" name="Text Placeholder 2">
            <a:extLst>
              <a:ext uri="{FF2B5EF4-FFF2-40B4-BE49-F238E27FC236}">
                <a16:creationId xmlns:a16="http://schemas.microsoft.com/office/drawing/2014/main" id="{BD8A61D3-7413-741E-1A5F-0E1BD7EDF4D3}"/>
              </a:ext>
            </a:extLst>
          </p:cNvPr>
          <p:cNvSpPr>
            <a:spLocks noGrp="1"/>
          </p:cNvSpPr>
          <p:nvPr>
            <p:custDataLst>
              <p:tags r:id="rId17"/>
            </p:custDataLst>
          </p:nvPr>
        </p:nvSpPr>
        <p:spPr bwMode="gray">
          <a:xfrm>
            <a:off x="3563647" y="3236337"/>
            <a:ext cx="325938"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0A7CFDE3-9E16-440A-A1CA-017D58EACF60}" type="datetime'''''1'''''''''''''''',92''''9'''''''">
              <a:rPr kumimoji="0" lang="pt-BR" altLang="en-US" sz="1400" b="1"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1,929</a:t>
            </a:fld>
            <a:endParaRPr kumimoji="0" lang="pt-BR" sz="1400" b="1"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5" name="Text Placeholder 2">
            <a:extLst>
              <a:ext uri="{FF2B5EF4-FFF2-40B4-BE49-F238E27FC236}">
                <a16:creationId xmlns:a16="http://schemas.microsoft.com/office/drawing/2014/main" id="{5D0B2E57-7272-4201-8AF8-55D1C712505D}"/>
              </a:ext>
            </a:extLst>
          </p:cNvPr>
          <p:cNvSpPr>
            <a:spLocks noGrp="1"/>
          </p:cNvSpPr>
          <p:nvPr>
            <p:custDataLst>
              <p:tags r:id="rId18"/>
            </p:custDataLst>
          </p:nvPr>
        </p:nvSpPr>
        <p:spPr bwMode="auto">
          <a:xfrm>
            <a:off x="1406689"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AE8E102D-277C-4AD7-81AA-7F627AC92A74}" type="datetime'''''''''''''2''''''''''''''''''''''''0''''''''''''''19'">
              <a:rPr kumimoji="0" lang="pt-BR" altLang="en-US" sz="886"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9</a:t>
            </a:fld>
            <a:endParaRPr kumimoji="0" lang="pt-BR" sz="886"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6" name="Text Placeholder 2">
            <a:extLst>
              <a:ext uri="{FF2B5EF4-FFF2-40B4-BE49-F238E27FC236}">
                <a16:creationId xmlns:a16="http://schemas.microsoft.com/office/drawing/2014/main" id="{66142C6D-5D6E-845B-67B7-6AA514A300B1}"/>
              </a:ext>
            </a:extLst>
          </p:cNvPr>
          <p:cNvSpPr>
            <a:spLocks noGrp="1"/>
          </p:cNvSpPr>
          <p:nvPr>
            <p:custDataLst>
              <p:tags r:id="rId19"/>
            </p:custDataLst>
          </p:nvPr>
        </p:nvSpPr>
        <p:spPr bwMode="gray">
          <a:xfrm>
            <a:off x="2075644" y="4177847"/>
            <a:ext cx="232812" cy="187263"/>
          </a:xfrm>
          <a:prstGeom prst="rect">
            <a:avLst/>
          </a:prstGeom>
          <a:solidFill>
            <a:srgbClr val="003087"/>
          </a:solidFill>
          <a:ln>
            <a:noFill/>
          </a:ln>
          <a:effectLst/>
        </p:spPr>
        <p:txBody>
          <a:bodyPr vert="horz" wrap="none" lIns="15875" tIns="0" rIns="15875" bIns="0" numCol="1" spcCol="0" rtlCol="0" anchor="ctr" anchorCtr="0">
            <a:noAutofit/>
          </a:bodyPr>
          <a:lstStyle>
            <a:lvl1pPr marL="168753" indent="-168753" algn="l" defTabSz="675010" rtl="0" eaLnBrk="1" latinLnBrk="0" hangingPunct="1">
              <a:lnSpc>
                <a:spcPct val="90000"/>
              </a:lnSpc>
              <a:spcBef>
                <a:spcPts val="738"/>
              </a:spcBef>
              <a:buFont typeface="Arial" panose="020B0604020202020204" pitchFamily="34" charset="0"/>
              <a:buChar char="•"/>
              <a:defRPr sz="2067" kern="1200">
                <a:solidFill>
                  <a:schemeClr val="tx1"/>
                </a:solidFill>
                <a:latin typeface="+mn-lt"/>
                <a:ea typeface="+mn-ea"/>
                <a:cs typeface="+mn-cs"/>
              </a:defRPr>
            </a:lvl1pPr>
            <a:lvl2pPr marL="506258" indent="-168753" algn="l" defTabSz="675010" rtl="0" eaLnBrk="1" latinLnBrk="0" hangingPunct="1">
              <a:lnSpc>
                <a:spcPct val="90000"/>
              </a:lnSpc>
              <a:spcBef>
                <a:spcPts val="369"/>
              </a:spcBef>
              <a:buFont typeface="Arial" panose="020B0604020202020204" pitchFamily="34" charset="0"/>
              <a:buChar char="•"/>
              <a:defRPr sz="1772" kern="1200">
                <a:solidFill>
                  <a:schemeClr val="tx1"/>
                </a:solidFill>
                <a:latin typeface="+mn-lt"/>
                <a:ea typeface="+mn-ea"/>
                <a:cs typeface="+mn-cs"/>
              </a:defRPr>
            </a:lvl2pPr>
            <a:lvl3pPr marL="843763" indent="-168753" algn="l" defTabSz="675010" rtl="0" eaLnBrk="1" latinLnBrk="0" hangingPunct="1">
              <a:lnSpc>
                <a:spcPct val="90000"/>
              </a:lnSpc>
              <a:spcBef>
                <a:spcPts val="369"/>
              </a:spcBef>
              <a:buFont typeface="Arial" panose="020B0604020202020204" pitchFamily="34" charset="0"/>
              <a:buChar char="•"/>
              <a:defRPr sz="1476" kern="1200">
                <a:solidFill>
                  <a:schemeClr val="tx1"/>
                </a:solidFill>
                <a:latin typeface="+mn-lt"/>
                <a:ea typeface="+mn-ea"/>
                <a:cs typeface="+mn-cs"/>
              </a:defRPr>
            </a:lvl3pPr>
            <a:lvl4pPr marL="118126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4pPr>
            <a:lvl5pPr marL="151877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5pPr>
            <a:lvl6pPr marL="185627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6pPr>
            <a:lvl7pPr marL="219378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7pPr>
            <a:lvl8pPr marL="2531288"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8pPr>
            <a:lvl9pPr marL="2868793" indent="-168753" algn="l" defTabSz="675010" rtl="0" eaLnBrk="1" latinLnBrk="0" hangingPunct="1">
              <a:lnSpc>
                <a:spcPct val="90000"/>
              </a:lnSpc>
              <a:spcBef>
                <a:spcPts val="369"/>
              </a:spcBef>
              <a:buFont typeface="Arial" panose="020B0604020202020204" pitchFamily="34" charset="0"/>
              <a:buChar char="•"/>
              <a:defRPr sz="1329" kern="1200">
                <a:solidFill>
                  <a:schemeClr val="tx1"/>
                </a:solidFill>
                <a:latin typeface="+mn-lt"/>
                <a:ea typeface="+mn-ea"/>
                <a:cs typeface="+mn-cs"/>
              </a:defRPr>
            </a:lvl9pPr>
          </a:lstStyle>
          <a:p>
            <a:pPr marL="0" marR="0" lvl="0" indent="0" algn="ctr" defTabSz="675010" rtl="0" eaLnBrk="1" fontAlgn="auto" latinLnBrk="0" hangingPunct="1">
              <a:lnSpc>
                <a:spcPct val="90000"/>
              </a:lnSpc>
              <a:spcBef>
                <a:spcPct val="0"/>
              </a:spcBef>
              <a:spcAft>
                <a:spcPct val="0"/>
              </a:spcAft>
              <a:buClrTx/>
              <a:buSzTx/>
              <a:buFont typeface="Arial" panose="020B0604020202020204" pitchFamily="34" charset="0"/>
              <a:buNone/>
              <a:defRPr/>
            </a:pPr>
            <a:fld id="{BD10888E-1108-4950-8BAB-3A8C6D158652}" type="datetime'''23''''''''''''''''''''''''2'''''''''''''''''">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675010" rtl="0" eaLnBrk="1" fontAlgn="auto" latinLnBrk="0" hangingPunct="1">
                <a:lnSpc>
                  <a:spcPct val="90000"/>
                </a:lnSpc>
                <a:spcBef>
                  <a:spcPct val="0"/>
                </a:spcBef>
                <a:spcAft>
                  <a:spcPct val="0"/>
                </a:spcAft>
                <a:buClrTx/>
                <a:buSzTx/>
                <a:buFont typeface="Arial" panose="020B0604020202020204" pitchFamily="34" charset="0"/>
                <a:buNone/>
                <a:defRPr/>
              </a:pPr>
              <a:t>232</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7" name="Text Placeholder 2">
            <a:extLst>
              <a:ext uri="{FF2B5EF4-FFF2-40B4-BE49-F238E27FC236}">
                <a16:creationId xmlns:a16="http://schemas.microsoft.com/office/drawing/2014/main" id="{04CCF362-8819-ECF6-21B0-8BD7469C2FCD}"/>
              </a:ext>
            </a:extLst>
          </p:cNvPr>
          <p:cNvSpPr>
            <a:spLocks noGrp="1"/>
          </p:cNvSpPr>
          <p:nvPr>
            <p:custDataLst>
              <p:tags r:id="rId20"/>
            </p:custDataLst>
          </p:nvPr>
        </p:nvSpPr>
        <p:spPr bwMode="auto">
          <a:xfrm>
            <a:off x="2146464"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4C9F87CE-134F-4D94-9C82-7EB32799923F}" type="datetime'''2''0''''''''''''2''''''''''''''''''''0'''''''''''''">
              <a:rPr kumimoji="0" lang="pt-BR" altLang="en-US" sz="886"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0</a:t>
            </a:fld>
            <a:endParaRPr kumimoji="0" lang="pt-BR" sz="886"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8" name="Text Placeholder 2">
            <a:extLst>
              <a:ext uri="{FF2B5EF4-FFF2-40B4-BE49-F238E27FC236}">
                <a16:creationId xmlns:a16="http://schemas.microsoft.com/office/drawing/2014/main" id="{AF9E2A47-D9C9-9C60-0FB8-8B9F7CC13D50}"/>
              </a:ext>
            </a:extLst>
          </p:cNvPr>
          <p:cNvSpPr>
            <a:spLocks noGrp="1"/>
          </p:cNvSpPr>
          <p:nvPr>
            <p:custDataLst>
              <p:tags r:id="rId21"/>
            </p:custDataLst>
          </p:nvPr>
        </p:nvSpPr>
        <p:spPr bwMode="gray">
          <a:xfrm>
            <a:off x="2782928" y="3164663"/>
            <a:ext cx="332588" cy="187263"/>
          </a:xfrm>
          <a:prstGeom prst="rect">
            <a:avLst/>
          </a:prstGeom>
          <a:noFill/>
          <a:ln>
            <a:noFill/>
          </a:ln>
          <a:effectLst/>
          <a:extLst>
            <a:ext uri="{909E8E84-426E-40DD-AFC4-6F175D3DCCD1}">
              <a14:hiddenFill xmlns:a14="http://schemas.microsoft.com/office/drawing/2010/main">
                <a:solidFill>
                  <a:srgbClr val="364D6E"/>
                </a:solidFill>
              </a14:hiddenFill>
            </a:ext>
          </a:extLst>
        </p:spPr>
        <p:txBody>
          <a:bodyPr vert="horz" wrap="none" lIns="16405" tIns="0" rIns="16405"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C708310F-191B-446F-828E-1E9D2C28FB03}" type="datetime'''''''1'''''''''''''''',''''9''''''''''0''''''1'''''">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1,901</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89" name="Text Placeholder 2">
            <a:extLst>
              <a:ext uri="{FF2B5EF4-FFF2-40B4-BE49-F238E27FC236}">
                <a16:creationId xmlns:a16="http://schemas.microsoft.com/office/drawing/2014/main" id="{6A706DDF-167F-56D6-9E02-55BF471F3D68}"/>
              </a:ext>
            </a:extLst>
          </p:cNvPr>
          <p:cNvSpPr>
            <a:spLocks noGrp="1"/>
          </p:cNvSpPr>
          <p:nvPr>
            <p:custDataLst>
              <p:tags r:id="rId22"/>
            </p:custDataLst>
          </p:nvPr>
        </p:nvSpPr>
        <p:spPr bwMode="auto">
          <a:xfrm>
            <a:off x="8056727"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C35B2150-656B-42D2-8811-A0F795234614}" type="datetime'''''''''''2''''''''''''''''''''''''0''2''''''''''8'''''">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8</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0" name="Espaço Reservado para Texto 2">
            <a:extLst>
              <a:ext uri="{FF2B5EF4-FFF2-40B4-BE49-F238E27FC236}">
                <a16:creationId xmlns:a16="http://schemas.microsoft.com/office/drawing/2014/main" id="{90225E3C-2306-E571-FCCF-7402777A7358}"/>
              </a:ext>
            </a:extLst>
          </p:cNvPr>
          <p:cNvSpPr>
            <a:spLocks noGrp="1"/>
          </p:cNvSpPr>
          <p:nvPr>
            <p:custDataLst>
              <p:tags r:id="rId23"/>
            </p:custDataLst>
          </p:nvPr>
        </p:nvSpPr>
        <p:spPr bwMode="gray">
          <a:xfrm>
            <a:off x="2782928" y="3836189"/>
            <a:ext cx="332588" cy="187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fld id="{547674DF-4A9B-48E8-B5B2-C35A75226877}" type="datetime'''''''''''''''''''''1,''''''0''''''''''''''''''''''29'''''''''">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t>1,029</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1" name="Text Placeholder 2">
            <a:extLst>
              <a:ext uri="{FF2B5EF4-FFF2-40B4-BE49-F238E27FC236}">
                <a16:creationId xmlns:a16="http://schemas.microsoft.com/office/drawing/2014/main" id="{DA6E8549-A8F0-97AE-67E7-4D3D531EAF6D}"/>
              </a:ext>
            </a:extLst>
          </p:cNvPr>
          <p:cNvSpPr>
            <a:spLocks noGrp="1"/>
          </p:cNvSpPr>
          <p:nvPr>
            <p:custDataLst>
              <p:tags r:id="rId24"/>
            </p:custDataLst>
          </p:nvPr>
        </p:nvSpPr>
        <p:spPr bwMode="auto">
          <a:xfrm>
            <a:off x="2884652"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E10190A5-9EC3-4B05-9B2F-1F54425B5035}" type="datetime'''''''2''''''''''''''''''''''''''''0''''''''''''21'''">
              <a:rPr kumimoji="0" lang="pt-BR" altLang="en-US" sz="886"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1</a:t>
            </a:fld>
            <a:endParaRPr kumimoji="0" lang="pt-BR" sz="886"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2" name="Text Placeholder 2">
            <a:extLst>
              <a:ext uri="{FF2B5EF4-FFF2-40B4-BE49-F238E27FC236}">
                <a16:creationId xmlns:a16="http://schemas.microsoft.com/office/drawing/2014/main" id="{627C2B71-FE31-7B0C-840B-142D6468268E}"/>
              </a:ext>
            </a:extLst>
          </p:cNvPr>
          <p:cNvSpPr>
            <a:spLocks noGrp="1"/>
          </p:cNvSpPr>
          <p:nvPr>
            <p:custDataLst>
              <p:tags r:id="rId25"/>
            </p:custDataLst>
          </p:nvPr>
        </p:nvSpPr>
        <p:spPr bwMode="auto">
          <a:xfrm>
            <a:off x="4362614"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8EC91150-D529-48B7-9560-1BA78D729746}" type="datetime'2''''''''''0''''2''''3'''''''''''''''''''''''''''''''''''''''">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3</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3" name="Espaço Reservado para Texto 2">
            <a:extLst>
              <a:ext uri="{FF2B5EF4-FFF2-40B4-BE49-F238E27FC236}">
                <a16:creationId xmlns:a16="http://schemas.microsoft.com/office/drawing/2014/main" id="{0FF4BFF9-A39C-93C0-5C42-1CFB452B39ED}"/>
              </a:ext>
            </a:extLst>
          </p:cNvPr>
          <p:cNvSpPr>
            <a:spLocks noGrp="1"/>
          </p:cNvSpPr>
          <p:nvPr>
            <p:custDataLst>
              <p:tags r:id="rId26"/>
            </p:custDataLst>
          </p:nvPr>
        </p:nvSpPr>
        <p:spPr bwMode="gray">
          <a:xfrm>
            <a:off x="3556997" y="3630649"/>
            <a:ext cx="332588" cy="1872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fld id="{46B2BCE1-2740-48D7-BE7B-0D6B9C300E8B}" type="datetime'''''''1'',''1''0''''''''''''''4'''''''''''''''''''''''''''''">
              <a:rPr kumimoji="0" lang="pt-BR" altLang="en-US" sz="900" b="1" i="0" u="none" strike="noStrike" kern="1200" cap="none" normalizeH="0" baseline="0" noProof="0" smtClean="0">
                <a:ln>
                  <a:noFill/>
                </a:ln>
                <a:solidFill>
                  <a:prstClr val="white"/>
                </a:solidFill>
                <a:effectLst/>
                <a:uLnTx/>
                <a:uFillTx/>
                <a:latin typeface="Segoe UI" panose="020B0502040204020203" pitchFamily="34" charset="0"/>
                <a:cs typeface="Segoe UI" panose="020B0502040204020203"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defRPr/>
              </a:pPr>
              <a:t>1,104</a:t>
            </a:fld>
            <a:endParaRPr kumimoji="0" lang="pt-BR" sz="900" b="1"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4" name="Text Placeholder 2">
            <a:extLst>
              <a:ext uri="{FF2B5EF4-FFF2-40B4-BE49-F238E27FC236}">
                <a16:creationId xmlns:a16="http://schemas.microsoft.com/office/drawing/2014/main" id="{4BC40B7F-41DD-6152-7165-E4B799A6947C}"/>
              </a:ext>
            </a:extLst>
          </p:cNvPr>
          <p:cNvSpPr>
            <a:spLocks noGrp="1"/>
          </p:cNvSpPr>
          <p:nvPr>
            <p:custDataLst>
              <p:tags r:id="rId27"/>
            </p:custDataLst>
          </p:nvPr>
        </p:nvSpPr>
        <p:spPr bwMode="auto">
          <a:xfrm>
            <a:off x="3622839"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1B931459-FB96-4300-B411-9068A81A9849}" type="datetime'''''''20''''''''''''''''''''''''''''''''''22'">
              <a:rPr kumimoji="0" lang="pt-BR" altLang="en-US" sz="886"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2</a:t>
            </a:fld>
            <a:endParaRPr kumimoji="0" lang="pt-BR" sz="886"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5" name="Text Placeholder 2">
            <a:extLst>
              <a:ext uri="{FF2B5EF4-FFF2-40B4-BE49-F238E27FC236}">
                <a16:creationId xmlns:a16="http://schemas.microsoft.com/office/drawing/2014/main" id="{7FF10750-619C-73DB-0828-BE7459F981BF}"/>
              </a:ext>
            </a:extLst>
          </p:cNvPr>
          <p:cNvSpPr>
            <a:spLocks noGrp="1"/>
          </p:cNvSpPr>
          <p:nvPr>
            <p:custDataLst>
              <p:tags r:id="rId28"/>
            </p:custDataLst>
          </p:nvPr>
        </p:nvSpPr>
        <p:spPr bwMode="auto">
          <a:xfrm>
            <a:off x="5100802"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5072F84B-7412-44B6-80C8-3161320B3A3D}" type="datetime'''''''''''''''''''''''2''''''''''0''''''''''''''''2''''''''4'">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4</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6" name="Text Placeholder 2">
            <a:extLst>
              <a:ext uri="{FF2B5EF4-FFF2-40B4-BE49-F238E27FC236}">
                <a16:creationId xmlns:a16="http://schemas.microsoft.com/office/drawing/2014/main" id="{5F556082-0F87-4CA8-466F-12227AE08F36}"/>
              </a:ext>
            </a:extLst>
          </p:cNvPr>
          <p:cNvSpPr>
            <a:spLocks noGrp="1"/>
          </p:cNvSpPr>
          <p:nvPr>
            <p:custDataLst>
              <p:tags r:id="rId29"/>
            </p:custDataLst>
          </p:nvPr>
        </p:nvSpPr>
        <p:spPr bwMode="auto">
          <a:xfrm>
            <a:off x="5840577"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7D663980-D0D9-4CDB-9366-A3CD20600E63}" type="datetime'''''''''''''''2''''''''''''''''0''2''''''''''''''''5'''''">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5</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7" name="Text Placeholder 2">
            <a:extLst>
              <a:ext uri="{FF2B5EF4-FFF2-40B4-BE49-F238E27FC236}">
                <a16:creationId xmlns:a16="http://schemas.microsoft.com/office/drawing/2014/main" id="{80F53EF5-6BDA-6E4D-B68A-7519856BADBD}"/>
              </a:ext>
            </a:extLst>
          </p:cNvPr>
          <p:cNvSpPr>
            <a:spLocks noGrp="1"/>
          </p:cNvSpPr>
          <p:nvPr>
            <p:custDataLst>
              <p:tags r:id="rId30"/>
            </p:custDataLst>
          </p:nvPr>
        </p:nvSpPr>
        <p:spPr bwMode="auto">
          <a:xfrm>
            <a:off x="6578764"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4D11BB91-0330-4B0A-915F-09853E92139C}" type="datetime'''2''''''''02''''''''''''6'''''''''''''''''''''''">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6</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8" name="Text Placeholder 2">
            <a:extLst>
              <a:ext uri="{FF2B5EF4-FFF2-40B4-BE49-F238E27FC236}">
                <a16:creationId xmlns:a16="http://schemas.microsoft.com/office/drawing/2014/main" id="{D76049E0-5F73-5729-15CC-8BF30699BD7B}"/>
              </a:ext>
            </a:extLst>
          </p:cNvPr>
          <p:cNvSpPr>
            <a:spLocks noGrp="1"/>
          </p:cNvSpPr>
          <p:nvPr>
            <p:custDataLst>
              <p:tags r:id="rId31"/>
            </p:custDataLst>
          </p:nvPr>
        </p:nvSpPr>
        <p:spPr bwMode="auto">
          <a:xfrm>
            <a:off x="7316952" y="4385556"/>
            <a:ext cx="272722"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2664CCB3-DCAE-4304-A6BF-DA57F589BF11}" type="datetime'''''''''2''''''02''''''''''''''''''''''''7'''''''''''">
              <a:rPr kumimoji="0" lang="pt-BR" altLang="en-US" sz="886" b="0" i="1"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7</a:t>
            </a:fld>
            <a:endParaRPr kumimoji="0" lang="pt-BR" sz="886" b="0" i="1"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99" name="Text Placeholder 2">
            <a:extLst>
              <a:ext uri="{FF2B5EF4-FFF2-40B4-BE49-F238E27FC236}">
                <a16:creationId xmlns:a16="http://schemas.microsoft.com/office/drawing/2014/main" id="{1F97ADC9-09F0-063C-E1EA-871D5D3DCE79}"/>
              </a:ext>
            </a:extLst>
          </p:cNvPr>
          <p:cNvSpPr>
            <a:spLocks noGrp="1"/>
          </p:cNvSpPr>
          <p:nvPr>
            <p:custDataLst>
              <p:tags r:id="rId32"/>
            </p:custDataLst>
          </p:nvPr>
        </p:nvSpPr>
        <p:spPr bwMode="gray">
          <a:xfrm>
            <a:off x="1312732" y="3777712"/>
            <a:ext cx="227824"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694DFC6A-60CE-4270-932B-377031A4A7AE}" type="datetime'''''''''7''''''''''''7''''''''''''''''''''''''''''''1'''''">
              <a:rPr kumimoji="0" lang="pt-BR" altLang="en-US" sz="1400" b="1"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771</a:t>
            </a:fld>
            <a:endParaRPr kumimoji="0" lang="pt-BR" sz="1400" b="1"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100" name="Text Placeholder 2">
            <a:extLst>
              <a:ext uri="{FF2B5EF4-FFF2-40B4-BE49-F238E27FC236}">
                <a16:creationId xmlns:a16="http://schemas.microsoft.com/office/drawing/2014/main" id="{2C32B0F8-75CE-BC49-F84D-4ACF524207A9}"/>
              </a:ext>
            </a:extLst>
          </p:cNvPr>
          <p:cNvSpPr>
            <a:spLocks noGrp="1"/>
          </p:cNvSpPr>
          <p:nvPr>
            <p:custDataLst>
              <p:tags r:id="rId33"/>
            </p:custDataLst>
          </p:nvPr>
        </p:nvSpPr>
        <p:spPr bwMode="gray">
          <a:xfrm>
            <a:off x="2012934" y="3525003"/>
            <a:ext cx="325938" cy="1848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6405" tIns="0" rIns="1640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6302E640-2A5B-4C2A-A43B-4ECFFAF1CBD0}" type="datetime'''''''''''1'',''''''''''''''''3''''''''''''0''''''''''''6'''">
              <a:rPr kumimoji="0" lang="pt-BR" altLang="en-US" sz="1400" b="1"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1,306</a:t>
            </a:fld>
            <a:endParaRPr kumimoji="0" lang="pt-BR" sz="1400" b="1"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Arial" panose="020B0604020202020204" pitchFamily="34" charset="0"/>
            </a:endParaRPr>
          </a:p>
        </p:txBody>
      </p:sp>
      <p:sp>
        <p:nvSpPr>
          <p:cNvPr id="103" name="Retângulo 102">
            <a:extLst>
              <a:ext uri="{FF2B5EF4-FFF2-40B4-BE49-F238E27FC236}">
                <a16:creationId xmlns:a16="http://schemas.microsoft.com/office/drawing/2014/main" id="{D6BA04AA-1C64-B122-9CFD-B19E555256A4}"/>
              </a:ext>
            </a:extLst>
          </p:cNvPr>
          <p:cNvSpPr/>
          <p:nvPr>
            <p:custDataLst>
              <p:tags r:id="rId34"/>
            </p:custDataLst>
          </p:nvPr>
        </p:nvSpPr>
        <p:spPr bwMode="auto">
          <a:xfrm>
            <a:off x="4769014" y="4742452"/>
            <a:ext cx="131763" cy="98425"/>
          </a:xfrm>
          <a:prstGeom prst="rect">
            <a:avLst/>
          </a:prstGeom>
          <a:solidFill>
            <a:srgbClr val="011F57"/>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00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p:txBody>
      </p:sp>
      <p:sp>
        <p:nvSpPr>
          <p:cNvPr id="104" name="Retângulo 103">
            <a:extLst>
              <a:ext uri="{FF2B5EF4-FFF2-40B4-BE49-F238E27FC236}">
                <a16:creationId xmlns:a16="http://schemas.microsoft.com/office/drawing/2014/main" id="{324A81C9-3C54-5C33-C918-7F297A532EE7}"/>
              </a:ext>
            </a:extLst>
          </p:cNvPr>
          <p:cNvSpPr/>
          <p:nvPr>
            <p:custDataLst>
              <p:tags r:id="rId35"/>
            </p:custDataLst>
          </p:nvPr>
        </p:nvSpPr>
        <p:spPr bwMode="auto">
          <a:xfrm>
            <a:off x="2951743" y="4742452"/>
            <a:ext cx="131763" cy="98425"/>
          </a:xfrm>
          <a:prstGeom prst="rect">
            <a:avLst/>
          </a:prstGeom>
          <a:solidFill>
            <a:srgbClr val="4894F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00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p:txBody>
      </p:sp>
      <p:sp>
        <p:nvSpPr>
          <p:cNvPr id="105" name="Retângulo 104">
            <a:extLst>
              <a:ext uri="{FF2B5EF4-FFF2-40B4-BE49-F238E27FC236}">
                <a16:creationId xmlns:a16="http://schemas.microsoft.com/office/drawing/2014/main" id="{95348B3F-F080-39E1-4AF2-5E447CB853EB}"/>
              </a:ext>
            </a:extLst>
          </p:cNvPr>
          <p:cNvSpPr/>
          <p:nvPr>
            <p:custDataLst>
              <p:tags r:id="rId36"/>
            </p:custDataLst>
          </p:nvPr>
        </p:nvSpPr>
        <p:spPr bwMode="auto">
          <a:xfrm>
            <a:off x="3907658" y="4742452"/>
            <a:ext cx="131763" cy="98425"/>
          </a:xfrm>
          <a:prstGeom prst="rect">
            <a:avLst/>
          </a:prstGeom>
          <a:solidFill>
            <a:srgbClr val="005FD7"/>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00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p:txBody>
      </p:sp>
      <p:sp>
        <p:nvSpPr>
          <p:cNvPr id="106" name="Text Placeholder 2">
            <a:extLst>
              <a:ext uri="{FF2B5EF4-FFF2-40B4-BE49-F238E27FC236}">
                <a16:creationId xmlns:a16="http://schemas.microsoft.com/office/drawing/2014/main" id="{FE9BFF13-CD0D-CE5D-64B3-9AF64DA9D103}"/>
              </a:ext>
            </a:extLst>
          </p:cNvPr>
          <p:cNvSpPr>
            <a:spLocks noGrp="1"/>
          </p:cNvSpPr>
          <p:nvPr>
            <p:custDataLst>
              <p:tags r:id="rId37"/>
            </p:custDataLst>
          </p:nvPr>
        </p:nvSpPr>
        <p:spPr bwMode="auto">
          <a:xfrm>
            <a:off x="3134305" y="4747214"/>
            <a:ext cx="469900" cy="101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000" b="0" i="0" u="none" strike="noStrike" cap="none" baseline="0" dirty="0">
                <a:solidFill>
                  <a:srgbClr val="011F57"/>
                </a:solidFill>
                <a:effectLst/>
                <a:uFillTx/>
                <a:latin typeface="Segoe UI"/>
              </a:rPr>
              <a:t>Brownfield²</a:t>
            </a:r>
          </a:p>
        </p:txBody>
      </p:sp>
      <p:sp>
        <p:nvSpPr>
          <p:cNvPr id="107" name="Text Placeholder 2">
            <a:extLst>
              <a:ext uri="{FF2B5EF4-FFF2-40B4-BE49-F238E27FC236}">
                <a16:creationId xmlns:a16="http://schemas.microsoft.com/office/drawing/2014/main" id="{B8B52A8B-E9EC-0FA4-D348-B0CC44D43919}"/>
              </a:ext>
            </a:extLst>
          </p:cNvPr>
          <p:cNvSpPr>
            <a:spLocks noGrp="1"/>
          </p:cNvSpPr>
          <p:nvPr>
            <p:custDataLst>
              <p:tags r:id="rId38"/>
            </p:custDataLst>
          </p:nvPr>
        </p:nvSpPr>
        <p:spPr bwMode="auto">
          <a:xfrm>
            <a:off x="4951577" y="4747214"/>
            <a:ext cx="889000" cy="101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000" b="0" i="0" u="none" strike="noStrike" cap="none" baseline="0" dirty="0">
                <a:solidFill>
                  <a:srgbClr val="011F57"/>
                </a:solidFill>
                <a:effectLst/>
                <a:uFillTx/>
                <a:latin typeface="Segoe UI"/>
              </a:rPr>
              <a:t>Retrofitting projects</a:t>
            </a:r>
          </a:p>
        </p:txBody>
      </p:sp>
      <p:sp>
        <p:nvSpPr>
          <p:cNvPr id="108" name="Text Placeholder 2">
            <a:extLst>
              <a:ext uri="{FF2B5EF4-FFF2-40B4-BE49-F238E27FC236}">
                <a16:creationId xmlns:a16="http://schemas.microsoft.com/office/drawing/2014/main" id="{14AFCB4A-309C-A2E0-A241-3E857A7D3E62}"/>
              </a:ext>
            </a:extLst>
          </p:cNvPr>
          <p:cNvSpPr>
            <a:spLocks noGrp="1"/>
          </p:cNvSpPr>
          <p:nvPr>
            <p:custDataLst>
              <p:tags r:id="rId39"/>
            </p:custDataLst>
          </p:nvPr>
        </p:nvSpPr>
        <p:spPr bwMode="auto">
          <a:xfrm>
            <a:off x="4090221" y="4747214"/>
            <a:ext cx="433388" cy="1016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000" b="0" i="0" u="none" strike="noStrike" cap="none" baseline="0" dirty="0">
                <a:solidFill>
                  <a:srgbClr val="011F57"/>
                </a:solidFill>
                <a:effectLst/>
                <a:uFillTx/>
                <a:latin typeface="Segoe UI"/>
              </a:rPr>
              <a:t>Greenfield</a:t>
            </a:r>
          </a:p>
        </p:txBody>
      </p:sp>
      <p:sp>
        <p:nvSpPr>
          <p:cNvPr id="28" name="Rectángulo redondeado 1">
            <a:extLst>
              <a:ext uri="{FF2B5EF4-FFF2-40B4-BE49-F238E27FC236}">
                <a16:creationId xmlns:a16="http://schemas.microsoft.com/office/drawing/2014/main" id="{932ECBD3-E614-1A9C-AD7A-CC4869807D9F}"/>
              </a:ext>
            </a:extLst>
          </p:cNvPr>
          <p:cNvSpPr/>
          <p:nvPr>
            <p:custDataLst>
              <p:tags r:id="rId40"/>
            </p:custDataLst>
          </p:nvPr>
        </p:nvSpPr>
        <p:spPr>
          <a:xfrm>
            <a:off x="4122055" y="2377292"/>
            <a:ext cx="4691888" cy="2239332"/>
          </a:xfrm>
          <a:prstGeom prst="roundRect">
            <a:avLst>
              <a:gd name="adj" fmla="val 4355"/>
            </a:avLst>
          </a:prstGeom>
          <a:solidFill>
            <a:schemeClr val="bg1">
              <a:alpha val="60000"/>
            </a:schemeClr>
          </a:solidFill>
          <a:ln w="19050">
            <a:gradFill flip="none" rotWithShape="1">
              <a:gsLst>
                <a:gs pos="0">
                  <a:srgbClr val="F8681E"/>
                </a:gs>
                <a:gs pos="100000">
                  <a:srgbClr val="F8681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s-CO"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09" name="CaixaDeTexto 108">
            <a:extLst>
              <a:ext uri="{FF2B5EF4-FFF2-40B4-BE49-F238E27FC236}">
                <a16:creationId xmlns:a16="http://schemas.microsoft.com/office/drawing/2014/main" id="{CA234030-28F0-F825-5A39-F620CAAB7FB2}"/>
              </a:ext>
            </a:extLst>
          </p:cNvPr>
          <p:cNvSpPr txBox="1"/>
          <p:nvPr>
            <p:custDataLst>
              <p:tags r:id="rId41"/>
            </p:custDataLst>
          </p:nvPr>
        </p:nvSpPr>
        <p:spPr>
          <a:xfrm>
            <a:off x="5773007" y="1724751"/>
            <a:ext cx="1642335" cy="492443"/>
          </a:xfrm>
          <a:prstGeom prst="rect">
            <a:avLst/>
          </a:prstGeom>
          <a:noFill/>
        </p:spPr>
        <p:txBody>
          <a:bodyPr wrap="square"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400" b="1" i="0" u="none" strike="noStrike" cap="none" baseline="0" dirty="0">
                <a:solidFill>
                  <a:srgbClr val="F8681E"/>
                </a:solidFill>
                <a:effectLst/>
                <a:uFillTx/>
                <a:latin typeface="Segoe UI"/>
              </a:rPr>
              <a:t>R$15.6 billion</a:t>
            </a:r>
          </a:p>
          <a:p>
            <a:pPr marL="0" marR="0" lvl="0" indent="0" algn="ctr" defTabSz="457200" rtl="0" eaLnBrk="1" fontAlgn="auto" latinLnBrk="0" hangingPunct="1">
              <a:lnSpc>
                <a:spcPct val="100000"/>
              </a:lnSpc>
              <a:spcBef>
                <a:spcPct val="0"/>
              </a:spcBef>
              <a:spcAft>
                <a:spcPct val="0"/>
              </a:spcAft>
              <a:buClrTx/>
              <a:buSzTx/>
              <a:buFontTx/>
              <a:buNone/>
              <a:defRPr/>
            </a:pPr>
            <a:r>
              <a:rPr lang="en-US" sz="1200" b="0" i="0" u="none" strike="noStrike" cap="none" baseline="0" dirty="0">
                <a:solidFill>
                  <a:srgbClr val="011F57"/>
                </a:solidFill>
                <a:effectLst/>
                <a:uFillTx/>
                <a:latin typeface="Segoe UI"/>
              </a:rPr>
              <a:t>257 projects</a:t>
            </a:r>
          </a:p>
        </p:txBody>
      </p:sp>
      <p:sp>
        <p:nvSpPr>
          <p:cNvPr id="119" name="CaixaDeTexto 118">
            <a:extLst>
              <a:ext uri="{FF2B5EF4-FFF2-40B4-BE49-F238E27FC236}">
                <a16:creationId xmlns:a16="http://schemas.microsoft.com/office/drawing/2014/main" id="{12ECEC8C-CDCB-063A-9D0E-B81DECC0CB03}"/>
              </a:ext>
            </a:extLst>
          </p:cNvPr>
          <p:cNvSpPr txBox="1"/>
          <p:nvPr>
            <p:custDataLst>
              <p:tags r:id="rId42"/>
            </p:custDataLst>
          </p:nvPr>
        </p:nvSpPr>
        <p:spPr>
          <a:xfrm>
            <a:off x="3880901" y="1724751"/>
            <a:ext cx="188784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F8681E"/>
                </a:solidFill>
                <a:effectLst/>
                <a:uFillTx/>
                <a:latin typeface="Segoe UI"/>
              </a:rPr>
              <a:t>Retrofitting projects</a:t>
            </a:r>
          </a:p>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F8681E"/>
                </a:solidFill>
                <a:effectLst/>
                <a:uFillTx/>
                <a:latin typeface="Segoe UI"/>
              </a:rPr>
              <a:t>R$5.0 billion</a:t>
            </a:r>
          </a:p>
          <a:p>
            <a:pPr marL="0" marR="0" lvl="0" indent="0" algn="ctr" defTabSz="457200" rtl="0" eaLnBrk="1" fontAlgn="auto" latinLnBrk="0" hangingPunct="1">
              <a:lnSpc>
                <a:spcPct val="100000"/>
              </a:lnSpc>
              <a:spcBef>
                <a:spcPct val="0"/>
              </a:spcBef>
              <a:spcAft>
                <a:spcPct val="0"/>
              </a:spcAft>
              <a:buClrTx/>
              <a:buSzTx/>
              <a:buFontTx/>
              <a:buNone/>
              <a:defRPr/>
            </a:pPr>
            <a:r>
              <a:rPr lang="en-US" sz="1200" b="0" i="0" u="none" strike="noStrike" cap="none" baseline="0" dirty="0">
                <a:solidFill>
                  <a:srgbClr val="011F57"/>
                </a:solidFill>
                <a:effectLst/>
                <a:uFillTx/>
                <a:latin typeface="Segoe UI"/>
              </a:rPr>
              <a:t>250 projects</a:t>
            </a:r>
          </a:p>
        </p:txBody>
      </p:sp>
      <p:sp>
        <p:nvSpPr>
          <p:cNvPr id="120" name="CaixaDeTexto 119">
            <a:extLst>
              <a:ext uri="{FF2B5EF4-FFF2-40B4-BE49-F238E27FC236}">
                <a16:creationId xmlns:a16="http://schemas.microsoft.com/office/drawing/2014/main" id="{9CE8D894-517D-7368-85A7-F058C149D10F}"/>
              </a:ext>
            </a:extLst>
          </p:cNvPr>
          <p:cNvSpPr txBox="1"/>
          <p:nvPr>
            <p:custDataLst>
              <p:tags r:id="rId43"/>
            </p:custDataLst>
          </p:nvPr>
        </p:nvSpPr>
        <p:spPr>
          <a:xfrm>
            <a:off x="7327077" y="1724751"/>
            <a:ext cx="1887844"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F8681E"/>
                </a:solidFill>
                <a:effectLst/>
                <a:uFillTx/>
                <a:latin typeface="Segoe UI"/>
              </a:rPr>
              <a:t>Greenfield</a:t>
            </a:r>
          </a:p>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F8681E"/>
                </a:solidFill>
                <a:effectLst/>
                <a:uFillTx/>
                <a:latin typeface="Segoe UI"/>
              </a:rPr>
              <a:t>R$10.6 billion</a:t>
            </a:r>
          </a:p>
          <a:p>
            <a:pPr marL="0" marR="0" lvl="0" indent="0" algn="ctr" defTabSz="457200" rtl="0" eaLnBrk="1" fontAlgn="auto" latinLnBrk="0" hangingPunct="1">
              <a:lnSpc>
                <a:spcPct val="100000"/>
              </a:lnSpc>
              <a:spcBef>
                <a:spcPct val="0"/>
              </a:spcBef>
              <a:spcAft>
                <a:spcPct val="0"/>
              </a:spcAft>
              <a:buClrTx/>
              <a:buSzTx/>
              <a:buFontTx/>
              <a:buNone/>
              <a:defRPr/>
            </a:pPr>
            <a:r>
              <a:rPr lang="en-US" sz="1200" b="0" i="0" u="none" strike="noStrike" cap="none" baseline="0" dirty="0">
                <a:solidFill>
                  <a:srgbClr val="011F57"/>
                </a:solidFill>
                <a:effectLst/>
                <a:uFillTx/>
                <a:latin typeface="Segoe UI"/>
              </a:rPr>
              <a:t>7 projects</a:t>
            </a:r>
          </a:p>
        </p:txBody>
      </p:sp>
      <p:grpSp>
        <p:nvGrpSpPr>
          <p:cNvPr id="132" name="Agrupar 131">
            <a:extLst>
              <a:ext uri="{FF2B5EF4-FFF2-40B4-BE49-F238E27FC236}">
                <a16:creationId xmlns:a16="http://schemas.microsoft.com/office/drawing/2014/main" id="{C6A7F986-3F07-A25A-8C7D-4EC959A951E0}"/>
              </a:ext>
            </a:extLst>
          </p:cNvPr>
          <p:cNvGrpSpPr/>
          <p:nvPr>
            <p:custDataLst>
              <p:tags r:id="rId44"/>
            </p:custDataLst>
          </p:nvPr>
        </p:nvGrpSpPr>
        <p:grpSpPr>
          <a:xfrm>
            <a:off x="616585" y="1949599"/>
            <a:ext cx="3076590" cy="1727741"/>
            <a:chOff x="616585" y="2049613"/>
            <a:chExt cx="3076590" cy="1727741"/>
          </a:xfrm>
        </p:grpSpPr>
        <p:cxnSp>
          <p:nvCxnSpPr>
            <p:cNvPr id="127" name="Conector reto 126">
              <a:extLst>
                <a:ext uri="{FF2B5EF4-FFF2-40B4-BE49-F238E27FC236}">
                  <a16:creationId xmlns:a16="http://schemas.microsoft.com/office/drawing/2014/main" id="{6812AEFB-82B1-022A-6EC1-18958C490FFA}"/>
                </a:ext>
              </a:extLst>
            </p:cNvPr>
            <p:cNvCxnSpPr/>
            <p:nvPr>
              <p:custDataLst>
                <p:tags r:id="rId52"/>
              </p:custDataLst>
            </p:nvPr>
          </p:nvCxnSpPr>
          <p:spPr>
            <a:xfrm flipV="1">
              <a:off x="616585" y="2049613"/>
              <a:ext cx="3076590" cy="1727741"/>
            </a:xfrm>
            <a:prstGeom prst="line">
              <a:avLst/>
            </a:prstGeom>
            <a:noFill/>
            <a:ln w="19050">
              <a:gradFill>
                <a:gsLst>
                  <a:gs pos="0">
                    <a:srgbClr val="F8681E">
                      <a:alpha val="0"/>
                    </a:srgbClr>
                  </a:gs>
                  <a:gs pos="50000">
                    <a:srgbClr val="F8681E"/>
                  </a:gs>
                  <a:gs pos="100000">
                    <a:srgbClr val="F8681E"/>
                  </a:gs>
                </a:gsLst>
                <a:lin ang="6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sp>
          <p:nvSpPr>
            <p:cNvPr id="131" name="CaixaDeTexto 130">
              <a:extLst>
                <a:ext uri="{FF2B5EF4-FFF2-40B4-BE49-F238E27FC236}">
                  <a16:creationId xmlns:a16="http://schemas.microsoft.com/office/drawing/2014/main" id="{A9C00FB2-BB01-68F2-D2B0-D1721F8327BD}"/>
                </a:ext>
              </a:extLst>
            </p:cNvPr>
            <p:cNvSpPr txBox="1"/>
            <p:nvPr>
              <p:custDataLst>
                <p:tags r:id="rId53"/>
              </p:custDataLst>
            </p:nvPr>
          </p:nvSpPr>
          <p:spPr>
            <a:xfrm>
              <a:off x="1706386" y="2386723"/>
              <a:ext cx="939707"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a:solidFill>
                    <a:srgbClr val="F8681E"/>
                  </a:solidFill>
                  <a:effectLst/>
                  <a:uFillTx/>
                  <a:latin typeface="Segoe UI"/>
                </a:rPr>
                <a:t>+49.5</a:t>
              </a:r>
              <a:r>
                <a:rPr lang="en-US" sz="1600" b="1" i="0" u="none" strike="noStrike" cap="none" spc="0" baseline="0" dirty="0">
                  <a:solidFill>
                    <a:srgbClr val="F8681E"/>
                  </a:solidFill>
                  <a:effectLst/>
                  <a:uFillTx/>
                  <a:latin typeface="Segoe UI"/>
                </a:rPr>
                <a:t>%</a:t>
              </a:r>
            </a:p>
          </p:txBody>
        </p:sp>
      </p:grpSp>
      <p:grpSp>
        <p:nvGrpSpPr>
          <p:cNvPr id="12" name="Agrupar 11">
            <a:extLst>
              <a:ext uri="{FF2B5EF4-FFF2-40B4-BE49-F238E27FC236}">
                <a16:creationId xmlns:a16="http://schemas.microsoft.com/office/drawing/2014/main" id="{DF39EA2E-6CB7-4C6D-0254-565CE498FD48}"/>
              </a:ext>
            </a:extLst>
          </p:cNvPr>
          <p:cNvGrpSpPr/>
          <p:nvPr>
            <p:custDataLst>
              <p:tags r:id="rId45"/>
            </p:custDataLst>
          </p:nvPr>
        </p:nvGrpSpPr>
        <p:grpSpPr>
          <a:xfrm>
            <a:off x="5624300" y="2047916"/>
            <a:ext cx="1983901" cy="0"/>
            <a:chOff x="5624300" y="2047916"/>
            <a:chExt cx="1983901" cy="0"/>
          </a:xfrm>
        </p:grpSpPr>
        <p:cxnSp>
          <p:nvCxnSpPr>
            <p:cNvPr id="8" name="Conector de Seta Reta 7">
              <a:extLst>
                <a:ext uri="{FF2B5EF4-FFF2-40B4-BE49-F238E27FC236}">
                  <a16:creationId xmlns:a16="http://schemas.microsoft.com/office/drawing/2014/main" id="{D7B15632-6883-3FD2-97A8-75B9FFFF854B}"/>
                </a:ext>
              </a:extLst>
            </p:cNvPr>
            <p:cNvCxnSpPr/>
            <p:nvPr>
              <p:custDataLst>
                <p:tags r:id="rId50"/>
              </p:custDataLst>
            </p:nvPr>
          </p:nvCxnSpPr>
          <p:spPr>
            <a:xfrm flipH="1">
              <a:off x="5624300" y="2047916"/>
              <a:ext cx="280181" cy="0"/>
            </a:xfrm>
            <a:prstGeom prst="straightConnector1">
              <a:avLst/>
            </a:prstGeom>
            <a:noFill/>
            <a:ln w="19050">
              <a:gradFill>
                <a:gsLst>
                  <a:gs pos="74000">
                    <a:srgbClr val="F8681E"/>
                  </a:gs>
                  <a:gs pos="0">
                    <a:srgbClr val="F8681E">
                      <a:alpha val="0"/>
                    </a:srgbClr>
                  </a:gs>
                </a:gsLst>
                <a:lin ang="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cxnSp>
          <p:nvCxnSpPr>
            <p:cNvPr id="11" name="Conector de Seta Reta 10">
              <a:extLst>
                <a:ext uri="{FF2B5EF4-FFF2-40B4-BE49-F238E27FC236}">
                  <a16:creationId xmlns:a16="http://schemas.microsoft.com/office/drawing/2014/main" id="{D3D96DC9-373F-70A9-1075-BD7A23B57F55}"/>
                </a:ext>
              </a:extLst>
            </p:cNvPr>
            <p:cNvCxnSpPr/>
            <p:nvPr>
              <p:custDataLst>
                <p:tags r:id="rId51"/>
              </p:custDataLst>
            </p:nvPr>
          </p:nvCxnSpPr>
          <p:spPr>
            <a:xfrm>
              <a:off x="7328020" y="2047916"/>
              <a:ext cx="280181" cy="0"/>
            </a:xfrm>
            <a:prstGeom prst="straightConnector1">
              <a:avLst/>
            </a:prstGeom>
            <a:noFill/>
            <a:ln w="19050">
              <a:gradFill>
                <a:gsLst>
                  <a:gs pos="74000">
                    <a:srgbClr val="F8681E"/>
                  </a:gs>
                  <a:gs pos="0">
                    <a:srgbClr val="F8681E">
                      <a:alpha val="0"/>
                    </a:srgbClr>
                  </a:gs>
                </a:gsLst>
                <a:lin ang="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grpSp>
      <p:sp>
        <p:nvSpPr>
          <p:cNvPr id="14" name="CaixaDeTexto 13">
            <a:extLst>
              <a:ext uri="{FF2B5EF4-FFF2-40B4-BE49-F238E27FC236}">
                <a16:creationId xmlns:a16="http://schemas.microsoft.com/office/drawing/2014/main" id="{1BBC1001-2DFF-422D-A25C-DE8AD41D7AFC}"/>
              </a:ext>
            </a:extLst>
          </p:cNvPr>
          <p:cNvSpPr txBox="1"/>
          <p:nvPr>
            <p:custDataLst>
              <p:tags r:id="rId46"/>
            </p:custDataLst>
          </p:nvPr>
        </p:nvSpPr>
        <p:spPr>
          <a:xfrm>
            <a:off x="4956147" y="1433606"/>
            <a:ext cx="3023703" cy="307777"/>
          </a:xfrm>
          <a:prstGeom prst="rect">
            <a:avLst/>
          </a:prstGeom>
          <a:noFill/>
        </p:spPr>
        <p:txBody>
          <a:bodyPr wrap="square">
            <a:spAutoFit/>
          </a:bodyPr>
          <a:lstStyle/>
          <a:p>
            <a:pPr algn="ctr"/>
            <a:r>
              <a:rPr lang="en-US" sz="1400" b="1" i="0" u="none" strike="noStrike" cap="none" baseline="0" dirty="0">
                <a:solidFill>
                  <a:srgbClr val="011F57"/>
                </a:solidFill>
                <a:effectLst/>
                <a:uFillTx/>
                <a:latin typeface="Segoe UI"/>
              </a:rPr>
              <a:t>Projects authorized through 2028</a:t>
            </a:r>
          </a:p>
        </p:txBody>
      </p:sp>
      <p:sp>
        <p:nvSpPr>
          <p:cNvPr id="21" name="CaixaDeTexto 20">
            <a:extLst>
              <a:ext uri="{FF2B5EF4-FFF2-40B4-BE49-F238E27FC236}">
                <a16:creationId xmlns:a16="http://schemas.microsoft.com/office/drawing/2014/main" id="{87840321-F1F7-282D-C30B-0ACD988FD9EB}"/>
              </a:ext>
            </a:extLst>
          </p:cNvPr>
          <p:cNvSpPr txBox="1"/>
          <p:nvPr>
            <p:custDataLst>
              <p:tags r:id="rId47"/>
            </p:custDataLst>
          </p:nvPr>
        </p:nvSpPr>
        <p:spPr>
          <a:xfrm>
            <a:off x="646912" y="123231"/>
            <a:ext cx="1805035" cy="58477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EXCELLENCE IN</a:t>
            </a:r>
            <a:br>
              <a:rPr sz="1000" spc="0" dirty="0">
                <a:latin typeface="Segoe UI" panose="020B0502040204020203" pitchFamily="34" charset="0"/>
                <a:ea typeface="Segoe UI" panose="020B0502040204020203" pitchFamily="34" charset="0"/>
                <a:cs typeface="Segoe UI" panose="020B0502040204020203" pitchFamily="34" charset="0"/>
              </a:rPr>
            </a:br>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JECT MANAGEMENT</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isciplined structuring and execution</a:t>
            </a:r>
          </a:p>
        </p:txBody>
      </p:sp>
      <p:sp>
        <p:nvSpPr>
          <p:cNvPr id="2" name="CaixaDeTexto 1">
            <a:extLst>
              <a:ext uri="{FF2B5EF4-FFF2-40B4-BE49-F238E27FC236}">
                <a16:creationId xmlns:a16="http://schemas.microsoft.com/office/drawing/2014/main" id="{8000D21F-E099-5814-AD1E-EC5AF4275D32}"/>
              </a:ext>
            </a:extLst>
          </p:cNvPr>
          <p:cNvSpPr txBox="1"/>
          <p:nvPr>
            <p:custDataLst>
              <p:tags r:id="rId48"/>
            </p:custDataLst>
          </p:nvPr>
        </p:nvSpPr>
        <p:spPr>
          <a:xfrm>
            <a:off x="1126433" y="2334292"/>
            <a:ext cx="882298" cy="196977"/>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defRPr/>
            </a:pPr>
            <a:r>
              <a:rPr lang="en-US" sz="800" b="1" i="0" u="none" strike="noStrike" cap="none" baseline="0" dirty="0">
                <a:solidFill>
                  <a:srgbClr val="ED7D31"/>
                </a:solidFill>
                <a:effectLst/>
                <a:uFillTx/>
                <a:latin typeface="Segoe UI"/>
              </a:rPr>
              <a:t>CAGR³:</a:t>
            </a:r>
          </a:p>
        </p:txBody>
      </p:sp>
      <p:sp>
        <p:nvSpPr>
          <p:cNvPr id="3" name="CaixaDeTexto 2">
            <a:extLst>
              <a:ext uri="{FF2B5EF4-FFF2-40B4-BE49-F238E27FC236}">
                <a16:creationId xmlns:a16="http://schemas.microsoft.com/office/drawing/2014/main" id="{CD79B262-BD6B-16D9-E296-E0C3533E1E23}"/>
              </a:ext>
            </a:extLst>
          </p:cNvPr>
          <p:cNvSpPr txBox="1"/>
          <p:nvPr>
            <p:custDataLst>
              <p:tags r:id="rId49"/>
            </p:custDataLst>
          </p:nvPr>
        </p:nvSpPr>
        <p:spPr>
          <a:xfrm>
            <a:off x="6985" y="4895019"/>
            <a:ext cx="5599151" cy="170816"/>
          </a:xfrm>
          <a:prstGeom prst="rect">
            <a:avLst/>
          </a:prstGeom>
          <a:noFill/>
        </p:spPr>
        <p:txBody>
          <a:bodyPr wrap="square" anchor="b">
            <a:spAutoFit/>
          </a:bodyPr>
          <a:lstStyle/>
          <a:p>
            <a:pPr marL="0" marR="0" lvl="0" indent="0" algn="l" defTabSz="457200" rtl="0" eaLnBrk="1" fontAlgn="auto" latinLnBrk="0" hangingPunct="1">
              <a:lnSpc>
                <a:spcPct val="85000"/>
              </a:lnSpc>
              <a:spcBef>
                <a:spcPts val="148"/>
              </a:spcBef>
              <a:spcAft>
                <a:spcPts val="148"/>
              </a:spcAft>
              <a:buClr>
                <a:srgbClr val="326E96"/>
              </a:buClr>
              <a:buSzTx/>
              <a:buFontTx/>
              <a:buNone/>
              <a:defRPr/>
            </a:pPr>
            <a:r>
              <a:rPr lang="en-US" sz="591" b="0" i="0" u="none" strike="noStrike" cap="none" baseline="0" dirty="0">
                <a:solidFill>
                  <a:srgbClr val="5D5D5D"/>
                </a:solidFill>
                <a:effectLst/>
                <a:uFillTx/>
                <a:latin typeface="Arial"/>
              </a:rPr>
              <a:t>¹ </a:t>
            </a:r>
            <a:r>
              <a:rPr lang="en-US" sz="600" b="0" i="0" u="none" strike="noStrike" cap="none" baseline="0" dirty="0">
                <a:solidFill>
                  <a:srgbClr val="203864"/>
                </a:solidFill>
                <a:effectLst/>
                <a:uFillTx/>
                <a:latin typeface="Segoe UI"/>
              </a:rPr>
              <a:t>Cost of Construction, IFRS Accounting |  </a:t>
            </a:r>
            <a:r>
              <a:rPr lang="en-US" sz="600" b="0" i="1" u="none" strike="noStrike" cap="none" baseline="0" dirty="0">
                <a:solidFill>
                  <a:srgbClr val="203864"/>
                </a:solidFill>
                <a:effectLst/>
                <a:uFillTx/>
                <a:latin typeface="Segoe UI"/>
              </a:rPr>
              <a:t>² Enterprise Value (EV)</a:t>
            </a:r>
            <a:r>
              <a:rPr lang="en-US" sz="600" b="0" i="0" u="none" strike="noStrike" cap="none" baseline="0" dirty="0">
                <a:solidFill>
                  <a:srgbClr val="203864"/>
                </a:solidFill>
                <a:effectLst/>
                <a:uFillTx/>
                <a:latin typeface="Segoe UI"/>
              </a:rPr>
              <a:t> | ³ CAGR: Compound Annual Growth Rate </a:t>
            </a:r>
          </a:p>
        </p:txBody>
      </p:sp>
      <p:grpSp>
        <p:nvGrpSpPr>
          <p:cNvPr id="4" name="Agrupar 3">
            <a:extLst>
              <a:ext uri="{FF2B5EF4-FFF2-40B4-BE49-F238E27FC236}">
                <a16:creationId xmlns:a16="http://schemas.microsoft.com/office/drawing/2014/main" id="{36AF1111-01AD-7098-004E-64E0A1B2ECEE}"/>
              </a:ext>
            </a:extLst>
          </p:cNvPr>
          <p:cNvGrpSpPr/>
          <p:nvPr/>
        </p:nvGrpSpPr>
        <p:grpSpPr>
          <a:xfrm>
            <a:off x="194193" y="166754"/>
            <a:ext cx="362316" cy="288292"/>
            <a:chOff x="194193" y="166754"/>
            <a:chExt cx="362316" cy="288292"/>
          </a:xfrm>
        </p:grpSpPr>
        <p:sp>
          <p:nvSpPr>
            <p:cNvPr id="5" name="Forma Livre: Forma 4">
              <a:extLst>
                <a:ext uri="{FF2B5EF4-FFF2-40B4-BE49-F238E27FC236}">
                  <a16:creationId xmlns:a16="http://schemas.microsoft.com/office/drawing/2014/main" id="{DC28FCBF-7C2D-06C1-8F0D-F7E36FDD0879}"/>
                </a:ext>
              </a:extLst>
            </p:cNvPr>
            <p:cNvSpPr/>
            <p:nvPr/>
          </p:nvSpPr>
          <p:spPr>
            <a:xfrm>
              <a:off x="194193" y="166754"/>
              <a:ext cx="362316" cy="253696"/>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a:p>
          </p:txBody>
        </p:sp>
        <p:sp>
          <p:nvSpPr>
            <p:cNvPr id="6" name="CaixaDeTexto 5">
              <a:extLst>
                <a:ext uri="{FF2B5EF4-FFF2-40B4-BE49-F238E27FC236}">
                  <a16:creationId xmlns:a16="http://schemas.microsoft.com/office/drawing/2014/main" id="{D3465B1D-12BD-8A51-08D0-AD0194D12A91}"/>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4</a:t>
              </a:r>
            </a:p>
          </p:txBody>
        </p:sp>
      </p:grpSp>
      <p:pic>
        <p:nvPicPr>
          <p:cNvPr id="9" name="Imagem 8" descr="Uma imagem contendo Interface gráfica do usuário&#10;&#10;Descrição gerada automaticamente">
            <a:extLst>
              <a:ext uri="{FF2B5EF4-FFF2-40B4-BE49-F238E27FC236}">
                <a16:creationId xmlns:a16="http://schemas.microsoft.com/office/drawing/2014/main" id="{390770D5-8DB5-CAC3-3E6B-293035F3FB11}"/>
              </a:ext>
            </a:extLst>
          </p:cNvPr>
          <p:cNvPicPr>
            <a:picLocks noChangeAspect="1"/>
          </p:cNvPicPr>
          <p:nvPr/>
        </p:nvPicPr>
        <p:blipFill>
          <a:blip r:embed="rId66"/>
          <a:stretch>
            <a:fillRect/>
          </a:stretch>
        </p:blipFill>
        <p:spPr>
          <a:xfrm>
            <a:off x="8039840" y="60434"/>
            <a:ext cx="920231" cy="509571"/>
          </a:xfrm>
          <a:prstGeom prst="rect">
            <a:avLst/>
          </a:prstGeom>
        </p:spPr>
      </p:pic>
      <p:sp>
        <p:nvSpPr>
          <p:cNvPr id="10" name="CaixaDeTexto 9">
            <a:extLst>
              <a:ext uri="{FF2B5EF4-FFF2-40B4-BE49-F238E27FC236}">
                <a16:creationId xmlns:a16="http://schemas.microsoft.com/office/drawing/2014/main" id="{10079343-5207-115B-55ED-90779B1ACDAE}"/>
              </a:ext>
            </a:extLst>
          </p:cNvPr>
          <p:cNvSpPr txBox="1"/>
          <p:nvPr/>
        </p:nvSpPr>
        <p:spPr>
          <a:xfrm>
            <a:off x="298250" y="1767044"/>
            <a:ext cx="4500796" cy="246221"/>
          </a:xfrm>
          <a:prstGeom prst="rect">
            <a:avLst/>
          </a:prstGeom>
          <a:noFill/>
        </p:spPr>
        <p:txBody>
          <a:bodyPr wrap="square">
            <a:spAutoFit/>
          </a:bodyPr>
          <a:lstStyle/>
          <a:p>
            <a:r>
              <a:rPr kumimoji="0" lang="pt-BR" altLang="en-US" sz="1000" b="0" i="0" u="none" strike="noStrike" kern="1200" cap="none" spc="0" normalizeH="0" noProof="0">
                <a:ln>
                  <a:noFill/>
                </a:ln>
                <a:solidFill>
                  <a:schemeClr val="bg1">
                    <a:lumMod val="50000"/>
                  </a:schemeClr>
                </a:solidFill>
                <a:effectLst/>
                <a:uLnTx/>
                <a:uFillTx/>
                <a:latin typeface="Segoe UI" panose="020B0502040204020203" pitchFamily="34" charset="0"/>
                <a:cs typeface="Segoe UI" panose="020B0502040204020203" pitchFamily="34" charset="0"/>
              </a:rPr>
              <a:t>R$ million</a:t>
            </a:r>
            <a:endParaRPr lang="pt-BR" sz="1000">
              <a:solidFill>
                <a:schemeClr val="bg1">
                  <a:lumMod val="50000"/>
                </a:schemeClr>
              </a:solidFill>
            </a:endParaRPr>
          </a:p>
        </p:txBody>
      </p:sp>
    </p:spTree>
    <p:extLst>
      <p:ext uri="{BB962C8B-B14F-4D97-AF65-F5344CB8AC3E}">
        <p14:creationId xmlns:p14="http://schemas.microsoft.com/office/powerpoint/2010/main" val="1496912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35" presetClass="path" presetSubtype="0" accel="17000" decel="83000" fill="hold" grpId="1" nodeType="withEffect">
                                  <p:stCondLst>
                                    <p:cond delay="0"/>
                                  </p:stCondLst>
                                  <p:childTnLst>
                                    <p:animMotion origin="layout" path="M -0.02152 -4.44967E-06 L -1.80102E-06 -4.44967E-06" pathEditMode="relative" rAng="0" ptsTypes="AA">
                                      <p:cBhvr>
                                        <p:cTn id="9" dur="1100" fill="hold"/>
                                        <p:tgtEl>
                                          <p:spTgt spid="49"/>
                                        </p:tgtEl>
                                        <p:attrNameLst>
                                          <p:attrName>ppt_x</p:attrName>
                                          <p:attrName>ppt_y</p:attrName>
                                        </p:attrNameLst>
                                      </p:cBhvr>
                                      <p:rCtr x="1076" y="0"/>
                                    </p:animMotion>
                                  </p:childTnLst>
                                </p:cTn>
                              </p:par>
                              <p:par>
                                <p:cTn id="10" presetID="10" presetClass="entr" presetSubtype="0" fill="hold" grpId="0" nodeType="with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35" presetClass="path" presetSubtype="0" accel="17000" decel="83000" fill="hold" grpId="1" nodeType="withEffect">
                                  <p:stCondLst>
                                    <p:cond delay="0"/>
                                  </p:stCondLst>
                                  <p:childTnLst>
                                    <p:animMotion origin="layout" path="M 0.02046 3.51834E-06 L -1.80102E-06 3.51834E-06" pathEditMode="relative" rAng="0" ptsTypes="AA">
                                      <p:cBhvr>
                                        <p:cTn id="14" dur="1100" fill="hold"/>
                                        <p:tgtEl>
                                          <p:spTgt spid="29"/>
                                        </p:tgtEl>
                                        <p:attrNameLst>
                                          <p:attrName>ppt_x</p:attrName>
                                          <p:attrName>ppt_y</p:attrName>
                                        </p:attrNameLst>
                                      </p:cBhvr>
                                      <p:rCtr x="-1023" y="0"/>
                                    </p:animMotion>
                                  </p:childTnLst>
                                </p:cTn>
                              </p:par>
                              <p:par>
                                <p:cTn id="15" presetID="10" presetClass="entr" presetSubtype="0" fill="hold" nodeType="withEffect">
                                  <p:stCondLst>
                                    <p:cond delay="25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500"/>
                                        <p:tgtEl>
                                          <p:spTgt spid="55"/>
                                        </p:tgtEl>
                                      </p:cBhvr>
                                    </p:animEffect>
                                  </p:childTnLst>
                                </p:cTn>
                              </p:par>
                              <p:par>
                                <p:cTn id="18" presetID="23" presetClass="entr" presetSubtype="288" fill="hold" nodeType="withEffect">
                                  <p:stCondLst>
                                    <p:cond delay="250"/>
                                  </p:stCondLst>
                                  <p:childTnLst>
                                    <p:set>
                                      <p:cBhvr>
                                        <p:cTn id="19" dur="1" fill="hold">
                                          <p:stCondLst>
                                            <p:cond delay="0"/>
                                          </p:stCondLst>
                                        </p:cTn>
                                        <p:tgtEl>
                                          <p:spTgt spid="55"/>
                                        </p:tgtEl>
                                        <p:attrNameLst>
                                          <p:attrName>style.visibility</p:attrName>
                                        </p:attrNameLst>
                                      </p:cBhvr>
                                      <p:to>
                                        <p:strVal val="visible"/>
                                      </p:to>
                                    </p:set>
                                    <p:anim calcmode="lin" valueType="num">
                                      <p:cBhvr>
                                        <p:cTn id="20" dur="500" fill="hold"/>
                                        <p:tgtEl>
                                          <p:spTgt spid="55"/>
                                        </p:tgtEl>
                                        <p:attrNameLst>
                                          <p:attrName>ppt_w</p:attrName>
                                        </p:attrNameLst>
                                      </p:cBhvr>
                                      <p:tavLst>
                                        <p:tav tm="0">
                                          <p:val>
                                            <p:strVal val="4/3*#ppt_w"/>
                                          </p:val>
                                        </p:tav>
                                        <p:tav tm="100000">
                                          <p:val>
                                            <p:strVal val="#ppt_w"/>
                                          </p:val>
                                        </p:tav>
                                      </p:tavLst>
                                    </p:anim>
                                    <p:anim calcmode="lin" valueType="num">
                                      <p:cBhvr>
                                        <p:cTn id="21" dur="500" fill="hold"/>
                                        <p:tgtEl>
                                          <p:spTgt spid="55"/>
                                        </p:tgtEl>
                                        <p:attrNameLst>
                                          <p:attrName>ppt_h</p:attrName>
                                        </p:attrNameLst>
                                      </p:cBhvr>
                                      <p:tavLst>
                                        <p:tav tm="0">
                                          <p:val>
                                            <p:strVal val="4/3*#ppt_h"/>
                                          </p:val>
                                        </p:tav>
                                        <p:tav tm="100000">
                                          <p:val>
                                            <p:strVal val="#ppt_h"/>
                                          </p:val>
                                        </p:tav>
                                      </p:tavLst>
                                    </p:anim>
                                  </p:childTnLst>
                                </p:cTn>
                              </p:par>
                              <p:par>
                                <p:cTn id="22" presetID="10" presetClass="entr" presetSubtype="0" fill="hold" nodeType="withEffect">
                                  <p:stCondLst>
                                    <p:cond delay="500"/>
                                  </p:stCondLst>
                                  <p:childTnLst>
                                    <p:set>
                                      <p:cBhvr>
                                        <p:cTn id="23" dur="1" fill="hold">
                                          <p:stCondLst>
                                            <p:cond delay="0"/>
                                          </p:stCondLst>
                                        </p:cTn>
                                        <p:tgtEl>
                                          <p:spTgt spid="102"/>
                                        </p:tgtEl>
                                        <p:attrNameLst>
                                          <p:attrName>style.visibility</p:attrName>
                                        </p:attrNameLst>
                                      </p:cBhvr>
                                      <p:to>
                                        <p:strVal val="visible"/>
                                      </p:to>
                                    </p:set>
                                    <p:animEffect transition="in" filter="fade">
                                      <p:cBhvr>
                                        <p:cTn id="24" dur="500"/>
                                        <p:tgtEl>
                                          <p:spTgt spid="102"/>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71"/>
                                        </p:tgtEl>
                                        <p:attrNameLst>
                                          <p:attrName>style.visibility</p:attrName>
                                        </p:attrNameLst>
                                      </p:cBhvr>
                                      <p:to>
                                        <p:strVal val="visible"/>
                                      </p:to>
                                    </p:set>
                                    <p:animEffect transition="in" filter="fade">
                                      <p:cBhvr>
                                        <p:cTn id="27" dur="500"/>
                                        <p:tgtEl>
                                          <p:spTgt spid="71"/>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72"/>
                                        </p:tgtEl>
                                        <p:attrNameLst>
                                          <p:attrName>style.visibility</p:attrName>
                                        </p:attrNameLst>
                                      </p:cBhvr>
                                      <p:to>
                                        <p:strVal val="visible"/>
                                      </p:to>
                                    </p:set>
                                    <p:animEffect transition="in" filter="fade">
                                      <p:cBhvr>
                                        <p:cTn id="30" dur="500"/>
                                        <p:tgtEl>
                                          <p:spTgt spid="72"/>
                                        </p:tgtEl>
                                      </p:cBhvr>
                                    </p:animEffect>
                                  </p:childTnLst>
                                </p:cTn>
                              </p:par>
                              <p:par>
                                <p:cTn id="31" presetID="10" presetClass="entr" presetSubtype="0" fill="hold" grpId="0" nodeType="withEffect">
                                  <p:stCondLst>
                                    <p:cond delay="500"/>
                                  </p:stCondLst>
                                  <p:childTnLst>
                                    <p:set>
                                      <p:cBhvr>
                                        <p:cTn id="32" dur="1" fill="hold">
                                          <p:stCondLst>
                                            <p:cond delay="0"/>
                                          </p:stCondLst>
                                        </p:cTn>
                                        <p:tgtEl>
                                          <p:spTgt spid="75"/>
                                        </p:tgtEl>
                                        <p:attrNameLst>
                                          <p:attrName>style.visibility</p:attrName>
                                        </p:attrNameLst>
                                      </p:cBhvr>
                                      <p:to>
                                        <p:strVal val="visible"/>
                                      </p:to>
                                    </p:set>
                                    <p:animEffect transition="in" filter="fade">
                                      <p:cBhvr>
                                        <p:cTn id="33" dur="500"/>
                                        <p:tgtEl>
                                          <p:spTgt spid="75"/>
                                        </p:tgtEl>
                                      </p:cBhvr>
                                    </p:animEffect>
                                  </p:childTnLst>
                                </p:cTn>
                              </p:par>
                              <p:par>
                                <p:cTn id="34" presetID="10" presetClass="entr" presetSubtype="0" fill="hold" grpId="0" nodeType="withEffect">
                                  <p:stCondLst>
                                    <p:cond delay="500"/>
                                  </p:stCondLst>
                                  <p:childTnLst>
                                    <p:set>
                                      <p:cBhvr>
                                        <p:cTn id="35" dur="1" fill="hold">
                                          <p:stCondLst>
                                            <p:cond delay="0"/>
                                          </p:stCondLst>
                                        </p:cTn>
                                        <p:tgtEl>
                                          <p:spTgt spid="77"/>
                                        </p:tgtEl>
                                        <p:attrNameLst>
                                          <p:attrName>style.visibility</p:attrName>
                                        </p:attrNameLst>
                                      </p:cBhvr>
                                      <p:to>
                                        <p:strVal val="visible"/>
                                      </p:to>
                                    </p:set>
                                    <p:animEffect transition="in" filter="fade">
                                      <p:cBhvr>
                                        <p:cTn id="36" dur="500"/>
                                        <p:tgtEl>
                                          <p:spTgt spid="77"/>
                                        </p:tgtEl>
                                      </p:cBhvr>
                                    </p:animEffect>
                                  </p:childTnLst>
                                </p:cTn>
                              </p:par>
                              <p:par>
                                <p:cTn id="37" presetID="10" presetClass="entr" presetSubtype="0" fill="hold" grpId="0" nodeType="withEffect">
                                  <p:stCondLst>
                                    <p:cond delay="500"/>
                                  </p:stCondLst>
                                  <p:childTnLst>
                                    <p:set>
                                      <p:cBhvr>
                                        <p:cTn id="38" dur="1" fill="hold">
                                          <p:stCondLst>
                                            <p:cond delay="0"/>
                                          </p:stCondLst>
                                        </p:cTn>
                                        <p:tgtEl>
                                          <p:spTgt spid="78"/>
                                        </p:tgtEl>
                                        <p:attrNameLst>
                                          <p:attrName>style.visibility</p:attrName>
                                        </p:attrNameLst>
                                      </p:cBhvr>
                                      <p:to>
                                        <p:strVal val="visible"/>
                                      </p:to>
                                    </p:set>
                                    <p:animEffect transition="in" filter="fade">
                                      <p:cBhvr>
                                        <p:cTn id="39" dur="500"/>
                                        <p:tgtEl>
                                          <p:spTgt spid="78"/>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79"/>
                                        </p:tgtEl>
                                        <p:attrNameLst>
                                          <p:attrName>style.visibility</p:attrName>
                                        </p:attrNameLst>
                                      </p:cBhvr>
                                      <p:to>
                                        <p:strVal val="visible"/>
                                      </p:to>
                                    </p:set>
                                    <p:animEffect transition="in" filter="fade">
                                      <p:cBhvr>
                                        <p:cTn id="42" dur="500"/>
                                        <p:tgtEl>
                                          <p:spTgt spid="79"/>
                                        </p:tgtEl>
                                      </p:cBhvr>
                                    </p:animEffect>
                                  </p:childTnLst>
                                </p:cTn>
                              </p:par>
                              <p:par>
                                <p:cTn id="43" presetID="10" presetClass="entr" presetSubtype="0" fill="hold" grpId="0" nodeType="withEffect">
                                  <p:stCondLst>
                                    <p:cond delay="500"/>
                                  </p:stCondLst>
                                  <p:childTnLst>
                                    <p:set>
                                      <p:cBhvr>
                                        <p:cTn id="44" dur="1" fill="hold">
                                          <p:stCondLst>
                                            <p:cond delay="0"/>
                                          </p:stCondLst>
                                        </p:cTn>
                                        <p:tgtEl>
                                          <p:spTgt spid="80"/>
                                        </p:tgtEl>
                                        <p:attrNameLst>
                                          <p:attrName>style.visibility</p:attrName>
                                        </p:attrNameLst>
                                      </p:cBhvr>
                                      <p:to>
                                        <p:strVal val="visible"/>
                                      </p:to>
                                    </p:set>
                                    <p:animEffect transition="in" filter="fade">
                                      <p:cBhvr>
                                        <p:cTn id="45" dur="500"/>
                                        <p:tgtEl>
                                          <p:spTgt spid="80"/>
                                        </p:tgtEl>
                                      </p:cBhvr>
                                    </p:animEffect>
                                  </p:childTnLst>
                                </p:cTn>
                              </p:par>
                              <p:par>
                                <p:cTn id="46" presetID="10" presetClass="entr" presetSubtype="0" fill="hold" grpId="0" nodeType="withEffect">
                                  <p:stCondLst>
                                    <p:cond delay="500"/>
                                  </p:stCondLst>
                                  <p:childTnLst>
                                    <p:set>
                                      <p:cBhvr>
                                        <p:cTn id="47" dur="1" fill="hold">
                                          <p:stCondLst>
                                            <p:cond delay="0"/>
                                          </p:stCondLst>
                                        </p:cTn>
                                        <p:tgtEl>
                                          <p:spTgt spid="82"/>
                                        </p:tgtEl>
                                        <p:attrNameLst>
                                          <p:attrName>style.visibility</p:attrName>
                                        </p:attrNameLst>
                                      </p:cBhvr>
                                      <p:to>
                                        <p:strVal val="visible"/>
                                      </p:to>
                                    </p:set>
                                    <p:animEffect transition="in" filter="fade">
                                      <p:cBhvr>
                                        <p:cTn id="48" dur="500"/>
                                        <p:tgtEl>
                                          <p:spTgt spid="82"/>
                                        </p:tgtEl>
                                      </p:cBhvr>
                                    </p:animEffect>
                                  </p:childTnLst>
                                </p:cTn>
                              </p:par>
                              <p:par>
                                <p:cTn id="49" presetID="10" presetClass="entr" presetSubtype="0" fill="hold" grpId="0" nodeType="withEffect">
                                  <p:stCondLst>
                                    <p:cond delay="500"/>
                                  </p:stCondLst>
                                  <p:childTnLst>
                                    <p:set>
                                      <p:cBhvr>
                                        <p:cTn id="50" dur="1" fill="hold">
                                          <p:stCondLst>
                                            <p:cond delay="0"/>
                                          </p:stCondLst>
                                        </p:cTn>
                                        <p:tgtEl>
                                          <p:spTgt spid="84"/>
                                        </p:tgtEl>
                                        <p:attrNameLst>
                                          <p:attrName>style.visibility</p:attrName>
                                        </p:attrNameLst>
                                      </p:cBhvr>
                                      <p:to>
                                        <p:strVal val="visible"/>
                                      </p:to>
                                    </p:set>
                                    <p:animEffect transition="in" filter="fade">
                                      <p:cBhvr>
                                        <p:cTn id="51" dur="500"/>
                                        <p:tgtEl>
                                          <p:spTgt spid="84"/>
                                        </p:tgtEl>
                                      </p:cBhvr>
                                    </p:animEffect>
                                  </p:childTnLst>
                                </p:cTn>
                              </p:par>
                              <p:par>
                                <p:cTn id="52" presetID="10" presetClass="entr" presetSubtype="0" fill="hold" grpId="0" nodeType="withEffect">
                                  <p:stCondLst>
                                    <p:cond delay="500"/>
                                  </p:stCondLst>
                                  <p:childTnLst>
                                    <p:set>
                                      <p:cBhvr>
                                        <p:cTn id="53" dur="1" fill="hold">
                                          <p:stCondLst>
                                            <p:cond delay="0"/>
                                          </p:stCondLst>
                                        </p:cTn>
                                        <p:tgtEl>
                                          <p:spTgt spid="85"/>
                                        </p:tgtEl>
                                        <p:attrNameLst>
                                          <p:attrName>style.visibility</p:attrName>
                                        </p:attrNameLst>
                                      </p:cBhvr>
                                      <p:to>
                                        <p:strVal val="visible"/>
                                      </p:to>
                                    </p:set>
                                    <p:animEffect transition="in" filter="fade">
                                      <p:cBhvr>
                                        <p:cTn id="54" dur="500"/>
                                        <p:tgtEl>
                                          <p:spTgt spid="85"/>
                                        </p:tgtEl>
                                      </p:cBhvr>
                                    </p:animEffect>
                                  </p:childTnLst>
                                </p:cTn>
                              </p:par>
                              <p:par>
                                <p:cTn id="55" presetID="10" presetClass="entr" presetSubtype="0" fill="hold" grpId="0" nodeType="withEffect">
                                  <p:stCondLst>
                                    <p:cond delay="500"/>
                                  </p:stCondLst>
                                  <p:childTnLst>
                                    <p:set>
                                      <p:cBhvr>
                                        <p:cTn id="56" dur="1" fill="hold">
                                          <p:stCondLst>
                                            <p:cond delay="0"/>
                                          </p:stCondLst>
                                        </p:cTn>
                                        <p:tgtEl>
                                          <p:spTgt spid="86"/>
                                        </p:tgtEl>
                                        <p:attrNameLst>
                                          <p:attrName>style.visibility</p:attrName>
                                        </p:attrNameLst>
                                      </p:cBhvr>
                                      <p:to>
                                        <p:strVal val="visible"/>
                                      </p:to>
                                    </p:set>
                                    <p:animEffect transition="in" filter="fade">
                                      <p:cBhvr>
                                        <p:cTn id="57" dur="500"/>
                                        <p:tgtEl>
                                          <p:spTgt spid="86"/>
                                        </p:tgtEl>
                                      </p:cBhvr>
                                    </p:animEffect>
                                  </p:childTnLst>
                                </p:cTn>
                              </p:par>
                              <p:par>
                                <p:cTn id="58" presetID="10" presetClass="entr" presetSubtype="0" fill="hold" grpId="0" nodeType="withEffect">
                                  <p:stCondLst>
                                    <p:cond delay="500"/>
                                  </p:stCondLst>
                                  <p:childTnLst>
                                    <p:set>
                                      <p:cBhvr>
                                        <p:cTn id="59" dur="1" fill="hold">
                                          <p:stCondLst>
                                            <p:cond delay="0"/>
                                          </p:stCondLst>
                                        </p:cTn>
                                        <p:tgtEl>
                                          <p:spTgt spid="87"/>
                                        </p:tgtEl>
                                        <p:attrNameLst>
                                          <p:attrName>style.visibility</p:attrName>
                                        </p:attrNameLst>
                                      </p:cBhvr>
                                      <p:to>
                                        <p:strVal val="visible"/>
                                      </p:to>
                                    </p:set>
                                    <p:animEffect transition="in" filter="fade">
                                      <p:cBhvr>
                                        <p:cTn id="60" dur="500"/>
                                        <p:tgtEl>
                                          <p:spTgt spid="87"/>
                                        </p:tgtEl>
                                      </p:cBhvr>
                                    </p:animEffect>
                                  </p:childTnLst>
                                </p:cTn>
                              </p:par>
                              <p:par>
                                <p:cTn id="61" presetID="10" presetClass="entr" presetSubtype="0" fill="hold" grpId="0" nodeType="withEffect">
                                  <p:stCondLst>
                                    <p:cond delay="500"/>
                                  </p:stCondLst>
                                  <p:childTnLst>
                                    <p:set>
                                      <p:cBhvr>
                                        <p:cTn id="62" dur="1" fill="hold">
                                          <p:stCondLst>
                                            <p:cond delay="0"/>
                                          </p:stCondLst>
                                        </p:cTn>
                                        <p:tgtEl>
                                          <p:spTgt spid="88"/>
                                        </p:tgtEl>
                                        <p:attrNameLst>
                                          <p:attrName>style.visibility</p:attrName>
                                        </p:attrNameLst>
                                      </p:cBhvr>
                                      <p:to>
                                        <p:strVal val="visible"/>
                                      </p:to>
                                    </p:set>
                                    <p:animEffect transition="in" filter="fade">
                                      <p:cBhvr>
                                        <p:cTn id="63" dur="500"/>
                                        <p:tgtEl>
                                          <p:spTgt spid="88"/>
                                        </p:tgtEl>
                                      </p:cBhvr>
                                    </p:animEffect>
                                  </p:childTnLst>
                                </p:cTn>
                              </p:par>
                              <p:par>
                                <p:cTn id="64" presetID="10" presetClass="entr" presetSubtype="0" fill="hold" grpId="0" nodeType="withEffect">
                                  <p:stCondLst>
                                    <p:cond delay="500"/>
                                  </p:stCondLst>
                                  <p:childTnLst>
                                    <p:set>
                                      <p:cBhvr>
                                        <p:cTn id="65" dur="1" fill="hold">
                                          <p:stCondLst>
                                            <p:cond delay="0"/>
                                          </p:stCondLst>
                                        </p:cTn>
                                        <p:tgtEl>
                                          <p:spTgt spid="89"/>
                                        </p:tgtEl>
                                        <p:attrNameLst>
                                          <p:attrName>style.visibility</p:attrName>
                                        </p:attrNameLst>
                                      </p:cBhvr>
                                      <p:to>
                                        <p:strVal val="visible"/>
                                      </p:to>
                                    </p:set>
                                    <p:animEffect transition="in" filter="fade">
                                      <p:cBhvr>
                                        <p:cTn id="66" dur="500"/>
                                        <p:tgtEl>
                                          <p:spTgt spid="89"/>
                                        </p:tgtEl>
                                      </p:cBhvr>
                                    </p:animEffect>
                                  </p:childTnLst>
                                </p:cTn>
                              </p:par>
                              <p:par>
                                <p:cTn id="67" presetID="10" presetClass="entr" presetSubtype="0" fill="hold" grpId="0" nodeType="withEffect">
                                  <p:stCondLst>
                                    <p:cond delay="500"/>
                                  </p:stCondLst>
                                  <p:childTnLst>
                                    <p:set>
                                      <p:cBhvr>
                                        <p:cTn id="68" dur="1" fill="hold">
                                          <p:stCondLst>
                                            <p:cond delay="0"/>
                                          </p:stCondLst>
                                        </p:cTn>
                                        <p:tgtEl>
                                          <p:spTgt spid="90"/>
                                        </p:tgtEl>
                                        <p:attrNameLst>
                                          <p:attrName>style.visibility</p:attrName>
                                        </p:attrNameLst>
                                      </p:cBhvr>
                                      <p:to>
                                        <p:strVal val="visible"/>
                                      </p:to>
                                    </p:set>
                                    <p:animEffect transition="in" filter="fade">
                                      <p:cBhvr>
                                        <p:cTn id="69" dur="500"/>
                                        <p:tgtEl>
                                          <p:spTgt spid="90"/>
                                        </p:tgtEl>
                                      </p:cBhvr>
                                    </p:animEffect>
                                  </p:childTnLst>
                                </p:cTn>
                              </p:par>
                              <p:par>
                                <p:cTn id="70" presetID="10" presetClass="entr" presetSubtype="0" fill="hold" grpId="0" nodeType="withEffect">
                                  <p:stCondLst>
                                    <p:cond delay="500"/>
                                  </p:stCondLst>
                                  <p:childTnLst>
                                    <p:set>
                                      <p:cBhvr>
                                        <p:cTn id="71" dur="1" fill="hold">
                                          <p:stCondLst>
                                            <p:cond delay="0"/>
                                          </p:stCondLst>
                                        </p:cTn>
                                        <p:tgtEl>
                                          <p:spTgt spid="91"/>
                                        </p:tgtEl>
                                        <p:attrNameLst>
                                          <p:attrName>style.visibility</p:attrName>
                                        </p:attrNameLst>
                                      </p:cBhvr>
                                      <p:to>
                                        <p:strVal val="visible"/>
                                      </p:to>
                                    </p:set>
                                    <p:animEffect transition="in" filter="fade">
                                      <p:cBhvr>
                                        <p:cTn id="72" dur="500"/>
                                        <p:tgtEl>
                                          <p:spTgt spid="91"/>
                                        </p:tgtEl>
                                      </p:cBhvr>
                                    </p:animEffect>
                                  </p:childTnLst>
                                </p:cTn>
                              </p:par>
                              <p:par>
                                <p:cTn id="73" presetID="10" presetClass="entr" presetSubtype="0" fill="hold" grpId="0" nodeType="withEffect">
                                  <p:stCondLst>
                                    <p:cond delay="500"/>
                                  </p:stCondLst>
                                  <p:childTnLst>
                                    <p:set>
                                      <p:cBhvr>
                                        <p:cTn id="74" dur="1" fill="hold">
                                          <p:stCondLst>
                                            <p:cond delay="0"/>
                                          </p:stCondLst>
                                        </p:cTn>
                                        <p:tgtEl>
                                          <p:spTgt spid="92"/>
                                        </p:tgtEl>
                                        <p:attrNameLst>
                                          <p:attrName>style.visibility</p:attrName>
                                        </p:attrNameLst>
                                      </p:cBhvr>
                                      <p:to>
                                        <p:strVal val="visible"/>
                                      </p:to>
                                    </p:set>
                                    <p:animEffect transition="in" filter="fade">
                                      <p:cBhvr>
                                        <p:cTn id="75" dur="500"/>
                                        <p:tgtEl>
                                          <p:spTgt spid="92"/>
                                        </p:tgtEl>
                                      </p:cBhvr>
                                    </p:animEffect>
                                  </p:childTnLst>
                                </p:cTn>
                              </p:par>
                              <p:par>
                                <p:cTn id="76" presetID="10" presetClass="entr" presetSubtype="0" fill="hold" grpId="0" nodeType="withEffect">
                                  <p:stCondLst>
                                    <p:cond delay="500"/>
                                  </p:stCondLst>
                                  <p:childTnLst>
                                    <p:set>
                                      <p:cBhvr>
                                        <p:cTn id="77" dur="1" fill="hold">
                                          <p:stCondLst>
                                            <p:cond delay="0"/>
                                          </p:stCondLst>
                                        </p:cTn>
                                        <p:tgtEl>
                                          <p:spTgt spid="93"/>
                                        </p:tgtEl>
                                        <p:attrNameLst>
                                          <p:attrName>style.visibility</p:attrName>
                                        </p:attrNameLst>
                                      </p:cBhvr>
                                      <p:to>
                                        <p:strVal val="visible"/>
                                      </p:to>
                                    </p:set>
                                    <p:animEffect transition="in" filter="fade">
                                      <p:cBhvr>
                                        <p:cTn id="78" dur="500"/>
                                        <p:tgtEl>
                                          <p:spTgt spid="93"/>
                                        </p:tgtEl>
                                      </p:cBhvr>
                                    </p:animEffect>
                                  </p:childTnLst>
                                </p:cTn>
                              </p:par>
                              <p:par>
                                <p:cTn id="79" presetID="10" presetClass="entr" presetSubtype="0" fill="hold" grpId="0" nodeType="withEffect">
                                  <p:stCondLst>
                                    <p:cond delay="500"/>
                                  </p:stCondLst>
                                  <p:childTnLst>
                                    <p:set>
                                      <p:cBhvr>
                                        <p:cTn id="80" dur="1" fill="hold">
                                          <p:stCondLst>
                                            <p:cond delay="0"/>
                                          </p:stCondLst>
                                        </p:cTn>
                                        <p:tgtEl>
                                          <p:spTgt spid="94"/>
                                        </p:tgtEl>
                                        <p:attrNameLst>
                                          <p:attrName>style.visibility</p:attrName>
                                        </p:attrNameLst>
                                      </p:cBhvr>
                                      <p:to>
                                        <p:strVal val="visible"/>
                                      </p:to>
                                    </p:set>
                                    <p:animEffect transition="in" filter="fade">
                                      <p:cBhvr>
                                        <p:cTn id="81" dur="500"/>
                                        <p:tgtEl>
                                          <p:spTgt spid="94"/>
                                        </p:tgtEl>
                                      </p:cBhvr>
                                    </p:animEffect>
                                  </p:childTnLst>
                                </p:cTn>
                              </p:par>
                              <p:par>
                                <p:cTn id="82" presetID="10" presetClass="entr" presetSubtype="0" fill="hold" grpId="0" nodeType="withEffect">
                                  <p:stCondLst>
                                    <p:cond delay="500"/>
                                  </p:stCondLst>
                                  <p:childTnLst>
                                    <p:set>
                                      <p:cBhvr>
                                        <p:cTn id="83" dur="1" fill="hold">
                                          <p:stCondLst>
                                            <p:cond delay="0"/>
                                          </p:stCondLst>
                                        </p:cTn>
                                        <p:tgtEl>
                                          <p:spTgt spid="95"/>
                                        </p:tgtEl>
                                        <p:attrNameLst>
                                          <p:attrName>style.visibility</p:attrName>
                                        </p:attrNameLst>
                                      </p:cBhvr>
                                      <p:to>
                                        <p:strVal val="visible"/>
                                      </p:to>
                                    </p:set>
                                    <p:animEffect transition="in" filter="fade">
                                      <p:cBhvr>
                                        <p:cTn id="84" dur="500"/>
                                        <p:tgtEl>
                                          <p:spTgt spid="95"/>
                                        </p:tgtEl>
                                      </p:cBhvr>
                                    </p:animEffect>
                                  </p:childTnLst>
                                </p:cTn>
                              </p:par>
                              <p:par>
                                <p:cTn id="85" presetID="10" presetClass="entr" presetSubtype="0" fill="hold" grpId="0" nodeType="withEffect">
                                  <p:stCondLst>
                                    <p:cond delay="500"/>
                                  </p:stCondLst>
                                  <p:childTnLst>
                                    <p:set>
                                      <p:cBhvr>
                                        <p:cTn id="86" dur="1" fill="hold">
                                          <p:stCondLst>
                                            <p:cond delay="0"/>
                                          </p:stCondLst>
                                        </p:cTn>
                                        <p:tgtEl>
                                          <p:spTgt spid="96"/>
                                        </p:tgtEl>
                                        <p:attrNameLst>
                                          <p:attrName>style.visibility</p:attrName>
                                        </p:attrNameLst>
                                      </p:cBhvr>
                                      <p:to>
                                        <p:strVal val="visible"/>
                                      </p:to>
                                    </p:set>
                                    <p:animEffect transition="in" filter="fade">
                                      <p:cBhvr>
                                        <p:cTn id="87" dur="500"/>
                                        <p:tgtEl>
                                          <p:spTgt spid="96"/>
                                        </p:tgtEl>
                                      </p:cBhvr>
                                    </p:animEffect>
                                  </p:childTnLst>
                                </p:cTn>
                              </p:par>
                              <p:par>
                                <p:cTn id="88" presetID="10" presetClass="entr" presetSubtype="0" fill="hold" grpId="0" nodeType="withEffect">
                                  <p:stCondLst>
                                    <p:cond delay="500"/>
                                  </p:stCondLst>
                                  <p:childTnLst>
                                    <p:set>
                                      <p:cBhvr>
                                        <p:cTn id="89" dur="1" fill="hold">
                                          <p:stCondLst>
                                            <p:cond delay="0"/>
                                          </p:stCondLst>
                                        </p:cTn>
                                        <p:tgtEl>
                                          <p:spTgt spid="97"/>
                                        </p:tgtEl>
                                        <p:attrNameLst>
                                          <p:attrName>style.visibility</p:attrName>
                                        </p:attrNameLst>
                                      </p:cBhvr>
                                      <p:to>
                                        <p:strVal val="visible"/>
                                      </p:to>
                                    </p:set>
                                    <p:animEffect transition="in" filter="fade">
                                      <p:cBhvr>
                                        <p:cTn id="90" dur="500"/>
                                        <p:tgtEl>
                                          <p:spTgt spid="97"/>
                                        </p:tgtEl>
                                      </p:cBhvr>
                                    </p:animEffect>
                                  </p:childTnLst>
                                </p:cTn>
                              </p:par>
                              <p:par>
                                <p:cTn id="91" presetID="10" presetClass="entr" presetSubtype="0" fill="hold" grpId="0" nodeType="withEffect">
                                  <p:stCondLst>
                                    <p:cond delay="500"/>
                                  </p:stCondLst>
                                  <p:childTnLst>
                                    <p:set>
                                      <p:cBhvr>
                                        <p:cTn id="92" dur="1" fill="hold">
                                          <p:stCondLst>
                                            <p:cond delay="0"/>
                                          </p:stCondLst>
                                        </p:cTn>
                                        <p:tgtEl>
                                          <p:spTgt spid="98"/>
                                        </p:tgtEl>
                                        <p:attrNameLst>
                                          <p:attrName>style.visibility</p:attrName>
                                        </p:attrNameLst>
                                      </p:cBhvr>
                                      <p:to>
                                        <p:strVal val="visible"/>
                                      </p:to>
                                    </p:set>
                                    <p:animEffect transition="in" filter="fade">
                                      <p:cBhvr>
                                        <p:cTn id="93" dur="500"/>
                                        <p:tgtEl>
                                          <p:spTgt spid="98"/>
                                        </p:tgtEl>
                                      </p:cBhvr>
                                    </p:animEffect>
                                  </p:childTnLst>
                                </p:cTn>
                              </p:par>
                              <p:par>
                                <p:cTn id="94" presetID="10" presetClass="entr" presetSubtype="0" fill="hold" grpId="0" nodeType="withEffect">
                                  <p:stCondLst>
                                    <p:cond delay="500"/>
                                  </p:stCondLst>
                                  <p:childTnLst>
                                    <p:set>
                                      <p:cBhvr>
                                        <p:cTn id="95" dur="1" fill="hold">
                                          <p:stCondLst>
                                            <p:cond delay="0"/>
                                          </p:stCondLst>
                                        </p:cTn>
                                        <p:tgtEl>
                                          <p:spTgt spid="99"/>
                                        </p:tgtEl>
                                        <p:attrNameLst>
                                          <p:attrName>style.visibility</p:attrName>
                                        </p:attrNameLst>
                                      </p:cBhvr>
                                      <p:to>
                                        <p:strVal val="visible"/>
                                      </p:to>
                                    </p:set>
                                    <p:animEffect transition="in" filter="fade">
                                      <p:cBhvr>
                                        <p:cTn id="96" dur="500"/>
                                        <p:tgtEl>
                                          <p:spTgt spid="99"/>
                                        </p:tgtEl>
                                      </p:cBhvr>
                                    </p:animEffect>
                                  </p:childTnLst>
                                </p:cTn>
                              </p:par>
                              <p:par>
                                <p:cTn id="97" presetID="10" presetClass="entr" presetSubtype="0" fill="hold" grpId="0" nodeType="withEffect">
                                  <p:stCondLst>
                                    <p:cond delay="500"/>
                                  </p:stCondLst>
                                  <p:childTnLst>
                                    <p:set>
                                      <p:cBhvr>
                                        <p:cTn id="98" dur="1" fill="hold">
                                          <p:stCondLst>
                                            <p:cond delay="0"/>
                                          </p:stCondLst>
                                        </p:cTn>
                                        <p:tgtEl>
                                          <p:spTgt spid="100"/>
                                        </p:tgtEl>
                                        <p:attrNameLst>
                                          <p:attrName>style.visibility</p:attrName>
                                        </p:attrNameLst>
                                      </p:cBhvr>
                                      <p:to>
                                        <p:strVal val="visible"/>
                                      </p:to>
                                    </p:set>
                                    <p:animEffect transition="in" filter="fade">
                                      <p:cBhvr>
                                        <p:cTn id="99" dur="500"/>
                                        <p:tgtEl>
                                          <p:spTgt spid="100"/>
                                        </p:tgtEl>
                                      </p:cBhvr>
                                    </p:animEffect>
                                  </p:childTnLst>
                                </p:cTn>
                              </p:par>
                              <p:par>
                                <p:cTn id="100" presetID="10" presetClass="entr" presetSubtype="0" fill="hold" grpId="0" nodeType="withEffect">
                                  <p:stCondLst>
                                    <p:cond delay="500"/>
                                  </p:stCondLst>
                                  <p:childTnLst>
                                    <p:set>
                                      <p:cBhvr>
                                        <p:cTn id="101" dur="1" fill="hold">
                                          <p:stCondLst>
                                            <p:cond delay="0"/>
                                          </p:stCondLst>
                                        </p:cTn>
                                        <p:tgtEl>
                                          <p:spTgt spid="59"/>
                                        </p:tgtEl>
                                        <p:attrNameLst>
                                          <p:attrName>style.visibility</p:attrName>
                                        </p:attrNameLst>
                                      </p:cBhvr>
                                      <p:to>
                                        <p:strVal val="visible"/>
                                      </p:to>
                                    </p:set>
                                    <p:animEffect transition="in" filter="fade">
                                      <p:cBhvr>
                                        <p:cTn id="102" dur="500"/>
                                        <p:tgtEl>
                                          <p:spTgt spid="59"/>
                                        </p:tgtEl>
                                      </p:cBhvr>
                                    </p:animEffect>
                                  </p:childTnLst>
                                </p:cTn>
                              </p:par>
                              <p:par>
                                <p:cTn id="103" presetID="22" presetClass="entr" presetSubtype="8" fill="hold" nodeType="withEffect">
                                  <p:stCondLst>
                                    <p:cond delay="750"/>
                                  </p:stCondLst>
                                  <p:childTnLst>
                                    <p:set>
                                      <p:cBhvr>
                                        <p:cTn id="104" dur="1" fill="hold">
                                          <p:stCondLst>
                                            <p:cond delay="0"/>
                                          </p:stCondLst>
                                        </p:cTn>
                                        <p:tgtEl>
                                          <p:spTgt spid="132"/>
                                        </p:tgtEl>
                                        <p:attrNameLst>
                                          <p:attrName>style.visibility</p:attrName>
                                        </p:attrNameLst>
                                      </p:cBhvr>
                                      <p:to>
                                        <p:strVal val="visible"/>
                                      </p:to>
                                    </p:set>
                                    <p:animEffect transition="in" filter="wipe(left)">
                                      <p:cBhvr>
                                        <p:cTn id="105" dur="500"/>
                                        <p:tgtEl>
                                          <p:spTgt spid="132"/>
                                        </p:tgtEl>
                                      </p:cBhvr>
                                    </p:animEffect>
                                  </p:childTnLst>
                                </p:cTn>
                              </p:par>
                              <p:par>
                                <p:cTn id="106" presetID="10" presetClass="entr" presetSubtype="0" fill="hold" grpId="0" nodeType="withEffect">
                                  <p:stCondLst>
                                    <p:cond delay="750"/>
                                  </p:stCondLst>
                                  <p:childTnLst>
                                    <p:set>
                                      <p:cBhvr>
                                        <p:cTn id="107" dur="1" fill="hold">
                                          <p:stCondLst>
                                            <p:cond delay="0"/>
                                          </p:stCondLst>
                                        </p:cTn>
                                        <p:tgtEl>
                                          <p:spTgt spid="103"/>
                                        </p:tgtEl>
                                        <p:attrNameLst>
                                          <p:attrName>style.visibility</p:attrName>
                                        </p:attrNameLst>
                                      </p:cBhvr>
                                      <p:to>
                                        <p:strVal val="visible"/>
                                      </p:to>
                                    </p:set>
                                    <p:animEffect transition="in" filter="fade">
                                      <p:cBhvr>
                                        <p:cTn id="108" dur="500"/>
                                        <p:tgtEl>
                                          <p:spTgt spid="103"/>
                                        </p:tgtEl>
                                      </p:cBhvr>
                                    </p:animEffect>
                                  </p:childTnLst>
                                </p:cTn>
                              </p:par>
                              <p:par>
                                <p:cTn id="109" presetID="10" presetClass="entr" presetSubtype="0" fill="hold" grpId="0" nodeType="withEffect">
                                  <p:stCondLst>
                                    <p:cond delay="750"/>
                                  </p:stCondLst>
                                  <p:childTnLst>
                                    <p:set>
                                      <p:cBhvr>
                                        <p:cTn id="110" dur="1" fill="hold">
                                          <p:stCondLst>
                                            <p:cond delay="0"/>
                                          </p:stCondLst>
                                        </p:cTn>
                                        <p:tgtEl>
                                          <p:spTgt spid="104"/>
                                        </p:tgtEl>
                                        <p:attrNameLst>
                                          <p:attrName>style.visibility</p:attrName>
                                        </p:attrNameLst>
                                      </p:cBhvr>
                                      <p:to>
                                        <p:strVal val="visible"/>
                                      </p:to>
                                    </p:set>
                                    <p:animEffect transition="in" filter="fade">
                                      <p:cBhvr>
                                        <p:cTn id="111" dur="500"/>
                                        <p:tgtEl>
                                          <p:spTgt spid="104"/>
                                        </p:tgtEl>
                                      </p:cBhvr>
                                    </p:animEffect>
                                  </p:childTnLst>
                                </p:cTn>
                              </p:par>
                              <p:par>
                                <p:cTn id="112" presetID="10" presetClass="entr" presetSubtype="0" fill="hold" grpId="0" nodeType="withEffect">
                                  <p:stCondLst>
                                    <p:cond delay="750"/>
                                  </p:stCondLst>
                                  <p:childTnLst>
                                    <p:set>
                                      <p:cBhvr>
                                        <p:cTn id="113" dur="1" fill="hold">
                                          <p:stCondLst>
                                            <p:cond delay="0"/>
                                          </p:stCondLst>
                                        </p:cTn>
                                        <p:tgtEl>
                                          <p:spTgt spid="105"/>
                                        </p:tgtEl>
                                        <p:attrNameLst>
                                          <p:attrName>style.visibility</p:attrName>
                                        </p:attrNameLst>
                                      </p:cBhvr>
                                      <p:to>
                                        <p:strVal val="visible"/>
                                      </p:to>
                                    </p:set>
                                    <p:animEffect transition="in" filter="fade">
                                      <p:cBhvr>
                                        <p:cTn id="114" dur="500"/>
                                        <p:tgtEl>
                                          <p:spTgt spid="105"/>
                                        </p:tgtEl>
                                      </p:cBhvr>
                                    </p:animEffect>
                                  </p:childTnLst>
                                </p:cTn>
                              </p:par>
                              <p:par>
                                <p:cTn id="115" presetID="10" presetClass="entr" presetSubtype="0" fill="hold" grpId="0" nodeType="withEffect">
                                  <p:stCondLst>
                                    <p:cond delay="750"/>
                                  </p:stCondLst>
                                  <p:childTnLst>
                                    <p:set>
                                      <p:cBhvr>
                                        <p:cTn id="116" dur="1" fill="hold">
                                          <p:stCondLst>
                                            <p:cond delay="0"/>
                                          </p:stCondLst>
                                        </p:cTn>
                                        <p:tgtEl>
                                          <p:spTgt spid="106"/>
                                        </p:tgtEl>
                                        <p:attrNameLst>
                                          <p:attrName>style.visibility</p:attrName>
                                        </p:attrNameLst>
                                      </p:cBhvr>
                                      <p:to>
                                        <p:strVal val="visible"/>
                                      </p:to>
                                    </p:set>
                                    <p:animEffect transition="in" filter="fade">
                                      <p:cBhvr>
                                        <p:cTn id="117" dur="500"/>
                                        <p:tgtEl>
                                          <p:spTgt spid="106"/>
                                        </p:tgtEl>
                                      </p:cBhvr>
                                    </p:animEffect>
                                  </p:childTnLst>
                                </p:cTn>
                              </p:par>
                              <p:par>
                                <p:cTn id="118" presetID="10" presetClass="entr" presetSubtype="0" fill="hold" grpId="0" nodeType="withEffect">
                                  <p:stCondLst>
                                    <p:cond delay="750"/>
                                  </p:stCondLst>
                                  <p:childTnLst>
                                    <p:set>
                                      <p:cBhvr>
                                        <p:cTn id="119" dur="1" fill="hold">
                                          <p:stCondLst>
                                            <p:cond delay="0"/>
                                          </p:stCondLst>
                                        </p:cTn>
                                        <p:tgtEl>
                                          <p:spTgt spid="107"/>
                                        </p:tgtEl>
                                        <p:attrNameLst>
                                          <p:attrName>style.visibility</p:attrName>
                                        </p:attrNameLst>
                                      </p:cBhvr>
                                      <p:to>
                                        <p:strVal val="visible"/>
                                      </p:to>
                                    </p:set>
                                    <p:animEffect transition="in" filter="fade">
                                      <p:cBhvr>
                                        <p:cTn id="120" dur="500"/>
                                        <p:tgtEl>
                                          <p:spTgt spid="107"/>
                                        </p:tgtEl>
                                      </p:cBhvr>
                                    </p:animEffect>
                                  </p:childTnLst>
                                </p:cTn>
                              </p:par>
                              <p:par>
                                <p:cTn id="121" presetID="10" presetClass="entr" presetSubtype="0" fill="hold" grpId="0" nodeType="withEffect">
                                  <p:stCondLst>
                                    <p:cond delay="750"/>
                                  </p:stCondLst>
                                  <p:childTnLst>
                                    <p:set>
                                      <p:cBhvr>
                                        <p:cTn id="122" dur="1" fill="hold">
                                          <p:stCondLst>
                                            <p:cond delay="0"/>
                                          </p:stCondLst>
                                        </p:cTn>
                                        <p:tgtEl>
                                          <p:spTgt spid="108"/>
                                        </p:tgtEl>
                                        <p:attrNameLst>
                                          <p:attrName>style.visibility</p:attrName>
                                        </p:attrNameLst>
                                      </p:cBhvr>
                                      <p:to>
                                        <p:strVal val="visible"/>
                                      </p:to>
                                    </p:set>
                                    <p:animEffect transition="in" filter="fade">
                                      <p:cBhvr>
                                        <p:cTn id="123" dur="500"/>
                                        <p:tgtEl>
                                          <p:spTgt spid="108"/>
                                        </p:tgtEl>
                                      </p:cBhvr>
                                    </p:animEffect>
                                  </p:childTnLst>
                                </p:cTn>
                              </p:par>
                              <p:par>
                                <p:cTn id="124" presetID="22" presetClass="entr" presetSubtype="1" fill="hold" grpId="0" nodeType="withEffect">
                                  <p:stCondLst>
                                    <p:cond delay="1250"/>
                                  </p:stCondLst>
                                  <p:childTnLst>
                                    <p:set>
                                      <p:cBhvr>
                                        <p:cTn id="125" dur="1" fill="hold">
                                          <p:stCondLst>
                                            <p:cond delay="0"/>
                                          </p:stCondLst>
                                        </p:cTn>
                                        <p:tgtEl>
                                          <p:spTgt spid="28"/>
                                        </p:tgtEl>
                                        <p:attrNameLst>
                                          <p:attrName>style.visibility</p:attrName>
                                        </p:attrNameLst>
                                      </p:cBhvr>
                                      <p:to>
                                        <p:strVal val="visible"/>
                                      </p:to>
                                    </p:set>
                                    <p:animEffect transition="in" filter="wipe(up)">
                                      <p:cBhvr>
                                        <p:cTn id="126" dur="500"/>
                                        <p:tgtEl>
                                          <p:spTgt spid="28"/>
                                        </p:tgtEl>
                                      </p:cBhvr>
                                    </p:animEffect>
                                  </p:childTnLst>
                                </p:cTn>
                              </p:par>
                              <p:par>
                                <p:cTn id="127" presetID="10" presetClass="entr" presetSubtype="0" fill="hold" grpId="0" nodeType="withEffect">
                                  <p:stCondLst>
                                    <p:cond delay="1250"/>
                                  </p:stCondLst>
                                  <p:childTnLst>
                                    <p:set>
                                      <p:cBhvr>
                                        <p:cTn id="128" dur="1" fill="hold">
                                          <p:stCondLst>
                                            <p:cond delay="0"/>
                                          </p:stCondLst>
                                        </p:cTn>
                                        <p:tgtEl>
                                          <p:spTgt spid="109"/>
                                        </p:tgtEl>
                                        <p:attrNameLst>
                                          <p:attrName>style.visibility</p:attrName>
                                        </p:attrNameLst>
                                      </p:cBhvr>
                                      <p:to>
                                        <p:strVal val="visible"/>
                                      </p:to>
                                    </p:set>
                                    <p:animEffect transition="in" filter="fade">
                                      <p:cBhvr>
                                        <p:cTn id="129" dur="500"/>
                                        <p:tgtEl>
                                          <p:spTgt spid="109"/>
                                        </p:tgtEl>
                                      </p:cBhvr>
                                    </p:animEffect>
                                  </p:childTnLst>
                                </p:cTn>
                              </p:par>
                              <p:par>
                                <p:cTn id="130" presetID="35" presetClass="path" presetSubtype="0" accel="17000" decel="83000" fill="hold" grpId="1" nodeType="withEffect">
                                  <p:stCondLst>
                                    <p:cond delay="1250"/>
                                  </p:stCondLst>
                                  <p:childTnLst>
                                    <p:animMotion origin="layout" path="M 0.00176 0.05143 L 2.89998E-06 -2.03826E-07" pathEditMode="relative" rAng="0" ptsTypes="AA">
                                      <p:cBhvr>
                                        <p:cTn id="131" dur="1100" fill="hold"/>
                                        <p:tgtEl>
                                          <p:spTgt spid="109"/>
                                        </p:tgtEl>
                                        <p:attrNameLst>
                                          <p:attrName>ppt_x</p:attrName>
                                          <p:attrName>ppt_y</p:attrName>
                                        </p:attrNameLst>
                                      </p:cBhvr>
                                      <p:rCtr x="-88" y="-2571"/>
                                    </p:animMotion>
                                  </p:childTnLst>
                                </p:cTn>
                              </p:par>
                              <p:par>
                                <p:cTn id="132" presetID="10" presetClass="entr" presetSubtype="0" fill="hold" grpId="0" nodeType="withEffect">
                                  <p:stCondLst>
                                    <p:cond delay="1750"/>
                                  </p:stCondLst>
                                  <p:childTnLst>
                                    <p:set>
                                      <p:cBhvr>
                                        <p:cTn id="133" dur="1" fill="hold">
                                          <p:stCondLst>
                                            <p:cond delay="0"/>
                                          </p:stCondLst>
                                        </p:cTn>
                                        <p:tgtEl>
                                          <p:spTgt spid="119"/>
                                        </p:tgtEl>
                                        <p:attrNameLst>
                                          <p:attrName>style.visibility</p:attrName>
                                        </p:attrNameLst>
                                      </p:cBhvr>
                                      <p:to>
                                        <p:strVal val="visible"/>
                                      </p:to>
                                    </p:set>
                                    <p:animEffect transition="in" filter="fade">
                                      <p:cBhvr>
                                        <p:cTn id="134" dur="500"/>
                                        <p:tgtEl>
                                          <p:spTgt spid="119"/>
                                        </p:tgtEl>
                                      </p:cBhvr>
                                    </p:animEffect>
                                  </p:childTnLst>
                                </p:cTn>
                              </p:par>
                              <p:par>
                                <p:cTn id="135" presetID="35" presetClass="path" presetSubtype="0" accel="17000" decel="83000" fill="hold" grpId="1" nodeType="withEffect">
                                  <p:stCondLst>
                                    <p:cond delay="1750"/>
                                  </p:stCondLst>
                                  <p:childTnLst>
                                    <p:animMotion origin="layout" path="M -0.02434 0.00094 L -3.38155E-06 4.47789E-06" pathEditMode="relative" rAng="0" ptsTypes="AA">
                                      <p:cBhvr>
                                        <p:cTn id="136" dur="500" fill="hold"/>
                                        <p:tgtEl>
                                          <p:spTgt spid="119"/>
                                        </p:tgtEl>
                                        <p:attrNameLst>
                                          <p:attrName>ppt_x</p:attrName>
                                          <p:attrName>ppt_y</p:attrName>
                                        </p:attrNameLst>
                                      </p:cBhvr>
                                      <p:rCtr x="1217" y="-63"/>
                                    </p:animMotion>
                                  </p:childTnLst>
                                </p:cTn>
                              </p:par>
                              <p:par>
                                <p:cTn id="137" presetID="10" presetClass="entr" presetSubtype="0" fill="hold" grpId="0" nodeType="withEffect">
                                  <p:stCondLst>
                                    <p:cond delay="1750"/>
                                  </p:stCondLst>
                                  <p:childTnLst>
                                    <p:set>
                                      <p:cBhvr>
                                        <p:cTn id="138" dur="1" fill="hold">
                                          <p:stCondLst>
                                            <p:cond delay="0"/>
                                          </p:stCondLst>
                                        </p:cTn>
                                        <p:tgtEl>
                                          <p:spTgt spid="120"/>
                                        </p:tgtEl>
                                        <p:attrNameLst>
                                          <p:attrName>style.visibility</p:attrName>
                                        </p:attrNameLst>
                                      </p:cBhvr>
                                      <p:to>
                                        <p:strVal val="visible"/>
                                      </p:to>
                                    </p:set>
                                    <p:animEffect transition="in" filter="fade">
                                      <p:cBhvr>
                                        <p:cTn id="139" dur="500"/>
                                        <p:tgtEl>
                                          <p:spTgt spid="120"/>
                                        </p:tgtEl>
                                      </p:cBhvr>
                                    </p:animEffect>
                                  </p:childTnLst>
                                </p:cTn>
                              </p:par>
                              <p:par>
                                <p:cTn id="140" presetID="35" presetClass="path" presetSubtype="0" accel="17000" decel="83000" fill="hold" grpId="1" nodeType="withEffect">
                                  <p:stCondLst>
                                    <p:cond delay="1750"/>
                                  </p:stCondLst>
                                  <p:childTnLst>
                                    <p:animMotion origin="layout" path="M 0.02364 4.47789E-06 L -3.33921E-06 4.47789E-06" pathEditMode="relative" rAng="0" ptsTypes="AA">
                                      <p:cBhvr>
                                        <p:cTn id="141" dur="500" fill="hold"/>
                                        <p:tgtEl>
                                          <p:spTgt spid="120"/>
                                        </p:tgtEl>
                                        <p:attrNameLst>
                                          <p:attrName>ppt_x</p:attrName>
                                          <p:attrName>ppt_y</p:attrName>
                                        </p:attrNameLst>
                                      </p:cBhvr>
                                      <p:rCtr x="-1182" y="0"/>
                                    </p:animMotion>
                                  </p:childTnLst>
                                </p:cTn>
                              </p:par>
                              <p:par>
                                <p:cTn id="142" presetID="22" presetClass="entr" presetSubtype="1" fill="hold" nodeType="withEffect">
                                  <p:stCondLst>
                                    <p:cond delay="1500"/>
                                  </p:stCondLst>
                                  <p:childTnLst>
                                    <p:set>
                                      <p:cBhvr>
                                        <p:cTn id="143" dur="1" fill="hold">
                                          <p:stCondLst>
                                            <p:cond delay="0"/>
                                          </p:stCondLst>
                                        </p:cTn>
                                        <p:tgtEl>
                                          <p:spTgt spid="12"/>
                                        </p:tgtEl>
                                        <p:attrNameLst>
                                          <p:attrName>style.visibility</p:attrName>
                                        </p:attrNameLst>
                                      </p:cBhvr>
                                      <p:to>
                                        <p:strVal val="visible"/>
                                      </p:to>
                                    </p:set>
                                    <p:animEffect transition="in" filter="wipe(up)">
                                      <p:cBhvr>
                                        <p:cTn id="144" dur="500"/>
                                        <p:tgtEl>
                                          <p:spTgt spid="12"/>
                                        </p:tgtEl>
                                      </p:cBhvr>
                                    </p:animEffect>
                                  </p:childTnLst>
                                </p:cTn>
                              </p:par>
                              <p:par>
                                <p:cTn id="145" presetID="10" presetClass="entr" presetSubtype="0" fill="hold" grpId="0" nodeType="withEffect">
                                  <p:stCondLst>
                                    <p:cond delay="1250"/>
                                  </p:stCondLst>
                                  <p:childTnLst>
                                    <p:set>
                                      <p:cBhvr>
                                        <p:cTn id="146" dur="1" fill="hold">
                                          <p:stCondLst>
                                            <p:cond delay="0"/>
                                          </p:stCondLst>
                                        </p:cTn>
                                        <p:tgtEl>
                                          <p:spTgt spid="14"/>
                                        </p:tgtEl>
                                        <p:attrNameLst>
                                          <p:attrName>style.visibility</p:attrName>
                                        </p:attrNameLst>
                                      </p:cBhvr>
                                      <p:to>
                                        <p:strVal val="visible"/>
                                      </p:to>
                                    </p:set>
                                    <p:animEffect transition="in" filter="fade">
                                      <p:cBhvr>
                                        <p:cTn id="147" dur="500"/>
                                        <p:tgtEl>
                                          <p:spTgt spid="14"/>
                                        </p:tgtEl>
                                      </p:cBhvr>
                                    </p:animEffect>
                                  </p:childTnLst>
                                </p:cTn>
                              </p:par>
                              <p:par>
                                <p:cTn id="148" presetID="35" presetClass="path" presetSubtype="0" accel="17000" decel="83000" fill="hold" grpId="1" nodeType="withEffect">
                                  <p:stCondLst>
                                    <p:cond delay="1250"/>
                                  </p:stCondLst>
                                  <p:childTnLst>
                                    <p:animMotion origin="layout" path="M 0.0007 -0.02948 L 4.73629E-06 2.07589E-06" pathEditMode="relative" rAng="0" ptsTypes="AA">
                                      <p:cBhvr>
                                        <p:cTn id="149" dur="1100" fill="hold"/>
                                        <p:tgtEl>
                                          <p:spTgt spid="14"/>
                                        </p:tgtEl>
                                        <p:attrNameLst>
                                          <p:attrName>ppt_x</p:attrName>
                                          <p:attrName>ppt_y</p:attrName>
                                        </p:attrNameLst>
                                      </p:cBhvr>
                                      <p:rCtr x="-35" y="1474"/>
                                    </p:animMotion>
                                  </p:childTnLst>
                                </p:cTn>
                              </p:par>
                              <p:par>
                                <p:cTn id="150" presetID="10" presetClass="entr" presetSubtype="0" fill="hold" grpId="0" nodeType="withEffect">
                                  <p:stCondLst>
                                    <p:cond delay="1000"/>
                                  </p:stCondLst>
                                  <p:childTnLst>
                                    <p:set>
                                      <p:cBhvr>
                                        <p:cTn id="151" dur="1" fill="hold">
                                          <p:stCondLst>
                                            <p:cond delay="0"/>
                                          </p:stCondLst>
                                        </p:cTn>
                                        <p:tgtEl>
                                          <p:spTgt spid="2"/>
                                        </p:tgtEl>
                                        <p:attrNameLst>
                                          <p:attrName>style.visibility</p:attrName>
                                        </p:attrNameLst>
                                      </p:cBhvr>
                                      <p:to>
                                        <p:strVal val="visible"/>
                                      </p:to>
                                    </p:set>
                                    <p:animEffect transition="in" filter="fade">
                                      <p:cBhvr>
                                        <p:cTn id="15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9" grpId="1"/>
      <p:bldP spid="49" grpId="0"/>
      <p:bldP spid="49" grpId="1"/>
      <p:bldGraphic spid="59" grpId="0">
        <p:bldAsOne/>
      </p:bldGraphic>
      <p:bldP spid="71" grpId="0" animBg="1"/>
      <p:bldP spid="72" grpId="0" animBg="1"/>
      <p:bldP spid="75" grpId="0"/>
      <p:bldP spid="77" grpId="0"/>
      <p:bldP spid="78" grpId="0" animBg="1"/>
      <p:bldP spid="79" grpId="0"/>
      <p:bldP spid="80" grpId="0" animBg="1"/>
      <p:bldP spid="82" grpId="0"/>
      <p:bldP spid="84" grpId="0"/>
      <p:bldP spid="85" grpId="0"/>
      <p:bldP spid="86" grpId="0" animBg="1"/>
      <p:bldP spid="87" grpId="0"/>
      <p:bldP spid="88" grpId="0"/>
      <p:bldP spid="89" grpId="0"/>
      <p:bldP spid="90" grpId="0"/>
      <p:bldP spid="91" grpId="0"/>
      <p:bldP spid="92" grpId="0"/>
      <p:bldP spid="93" grpId="0"/>
      <p:bldP spid="94" grpId="0"/>
      <p:bldP spid="95" grpId="0"/>
      <p:bldP spid="96" grpId="0"/>
      <p:bldP spid="97" grpId="0"/>
      <p:bldP spid="98" grpId="0"/>
      <p:bldP spid="99" grpId="0"/>
      <p:bldP spid="100" grpId="0"/>
      <p:bldP spid="103" grpId="0" animBg="1"/>
      <p:bldP spid="104" grpId="0" animBg="1"/>
      <p:bldP spid="105" grpId="0" animBg="1"/>
      <p:bldP spid="106" grpId="0"/>
      <p:bldP spid="107" grpId="0"/>
      <p:bldP spid="108" grpId="0"/>
      <p:bldP spid="28" grpId="0" animBg="1"/>
      <p:bldP spid="109" grpId="0"/>
      <p:bldP spid="109" grpId="1"/>
      <p:bldP spid="119" grpId="0"/>
      <p:bldP spid="119" grpId="1"/>
      <p:bldP spid="120" grpId="0"/>
      <p:bldP spid="120" grpId="1"/>
      <p:bldP spid="14" grpId="0"/>
      <p:bldP spid="14" grpId="1"/>
      <p:bldP spid="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D8920CA4-D469-2ECA-A99A-D13BE1CA1F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9" imgW="0" imgH="0" progId="TCLayout.ActiveDocument.1">
                  <p:embed/>
                </p:oleObj>
              </mc:Choice>
              <mc:Fallback>
                <p:oleObj name="Slide do think-cell" r:id="rId69" imgW="0" imgH="0" progId="TCLayout.ActiveDocument.1">
                  <p:embed/>
                  <p:pic>
                    <p:nvPicPr>
                      <p:cNvPr id="0" name=""/>
                      <p:cNvPicPr/>
                      <p:nvPr/>
                    </p:nvPicPr>
                    <p:blipFill>
                      <a:blip r:embed="rId70"/>
                      <a:stretch>
                        <a:fillRect/>
                      </a:stretch>
                    </p:blipFill>
                    <p:spPr>
                      <a:xfrm>
                        <a:off x="1588" y="1588"/>
                        <a:ext cx="1588" cy="1588"/>
                      </a:xfrm>
                      <a:prstGeom prst="rect">
                        <a:avLst/>
                      </a:prstGeom>
                    </p:spPr>
                  </p:pic>
                </p:oleObj>
              </mc:Fallback>
            </mc:AlternateContent>
          </a:graphicData>
        </a:graphic>
      </p:graphicFrame>
      <p:pic>
        <p:nvPicPr>
          <p:cNvPr id="33" name="Imagem 32" descr="Imagem em branco e azul&#10;&#10;Descrição gerada automaticamente com confiança média">
            <a:extLst>
              <a:ext uri="{FF2B5EF4-FFF2-40B4-BE49-F238E27FC236}">
                <a16:creationId xmlns:a16="http://schemas.microsoft.com/office/drawing/2014/main" id="{161BCADA-E60F-1F17-36B9-845E277017E8}"/>
              </a:ext>
            </a:extLst>
          </p:cNvPr>
          <p:cNvPicPr>
            <a:picLocks noChangeAspect="1"/>
          </p:cNvPicPr>
          <p:nvPr>
            <p:custDataLst>
              <p:tags r:id="rId2"/>
            </p:custDataLst>
          </p:nvPr>
        </p:nvPicPr>
        <p:blipFill>
          <a:blip r:embed="rId7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34" name="Imagem 33" descr="Fundo preto com letras brancas&#10;&#10;Descrição gerada automaticamente com confiança média">
            <a:extLst>
              <a:ext uri="{FF2B5EF4-FFF2-40B4-BE49-F238E27FC236}">
                <a16:creationId xmlns:a16="http://schemas.microsoft.com/office/drawing/2014/main" id="{D866AA53-17B1-BC21-E8D7-8761F7D5B25E}"/>
              </a:ext>
            </a:extLst>
          </p:cNvPr>
          <p:cNvPicPr>
            <a:picLocks noChangeAspect="1"/>
          </p:cNvPicPr>
          <p:nvPr>
            <p:custDataLst>
              <p:tags r:id="rId3"/>
            </p:custDataLst>
          </p:nvPr>
        </p:nvPicPr>
        <p:blipFill>
          <a:blip r:embed="rId72">
            <a:extLst>
              <a:ext uri="{28A0092B-C50C-407E-A947-70E740481C1C}">
                <a14:useLocalDpi xmlns:a14="http://schemas.microsoft.com/office/drawing/2010/main"/>
              </a:ext>
            </a:extLst>
          </a:blip>
          <a:srcRect l="1" t="53816" r="49890"/>
          <a:stretch>
            <a:fillRect/>
          </a:stretch>
        </p:blipFill>
        <p:spPr>
          <a:xfrm flipH="1" flipV="1">
            <a:off x="-1" y="2278722"/>
            <a:ext cx="3005565" cy="2783816"/>
          </a:xfrm>
          <a:prstGeom prst="rect">
            <a:avLst/>
          </a:prstGeom>
        </p:spPr>
      </p:pic>
      <p:sp>
        <p:nvSpPr>
          <p:cNvPr id="45" name="CaixaDeTexto 44">
            <a:extLst>
              <a:ext uri="{FF2B5EF4-FFF2-40B4-BE49-F238E27FC236}">
                <a16:creationId xmlns:a16="http://schemas.microsoft.com/office/drawing/2014/main" id="{DE0D7AE7-DEEC-0523-676E-4D7CCED040FD}"/>
              </a:ext>
            </a:extLst>
          </p:cNvPr>
          <p:cNvSpPr txBox="1"/>
          <p:nvPr>
            <p:custDataLst>
              <p:tags r:id="rId4"/>
            </p:custDataLst>
          </p:nvPr>
        </p:nvSpPr>
        <p:spPr>
          <a:xfrm>
            <a:off x="1603876" y="583916"/>
            <a:ext cx="5797579" cy="301621"/>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defRPr/>
            </a:pPr>
            <a:r>
              <a:rPr lang="en-US" sz="1600" b="0" i="0" u="none" strike="noStrike" cap="none" spc="300" baseline="0" dirty="0">
                <a:solidFill>
                  <a:srgbClr val="002581"/>
                </a:solidFill>
                <a:effectLst/>
                <a:uFillTx/>
                <a:latin typeface="Segoe UI Light"/>
              </a:rPr>
              <a:t>WITH EXCELLENCE IN CONSTRUCTION</a:t>
            </a:r>
          </a:p>
        </p:txBody>
      </p:sp>
      <p:sp>
        <p:nvSpPr>
          <p:cNvPr id="46" name="CaixaDeTexto 45">
            <a:extLst>
              <a:ext uri="{FF2B5EF4-FFF2-40B4-BE49-F238E27FC236}">
                <a16:creationId xmlns:a16="http://schemas.microsoft.com/office/drawing/2014/main" id="{CE60BB13-9ABE-3E5B-7602-77565F8F78AF}"/>
              </a:ext>
            </a:extLst>
          </p:cNvPr>
          <p:cNvSpPr txBox="1"/>
          <p:nvPr>
            <p:custDataLst>
              <p:tags r:id="rId5"/>
            </p:custDataLst>
          </p:nvPr>
        </p:nvSpPr>
        <p:spPr>
          <a:xfrm>
            <a:off x="2519265" y="258491"/>
            <a:ext cx="3961010" cy="402738"/>
          </a:xfrm>
          <a:prstGeom prst="rect">
            <a:avLst/>
          </a:prstGeom>
          <a:noFill/>
        </p:spPr>
        <p:txBody>
          <a:bodyPr wrap="square" rtlCol="0">
            <a:spAutoFit/>
          </a:bodyPr>
          <a:lstStyle/>
          <a:p>
            <a:pPr lvl="0" algn="ctr" defTabSz="675010">
              <a:lnSpc>
                <a:spcPct val="85000"/>
              </a:lnSpc>
              <a:spcBef>
                <a:spcPts val="148"/>
              </a:spcBef>
              <a:spcAft>
                <a:spcPts val="148"/>
              </a:spcAft>
              <a:defRPr/>
            </a:pPr>
            <a:r>
              <a:rPr lang="en-US" sz="2400" b="1" i="0" u="none" strike="noStrike" cap="none" baseline="0" dirty="0">
                <a:solidFill>
                  <a:srgbClr val="002581"/>
                </a:solidFill>
                <a:effectLst/>
                <a:uFillTx/>
                <a:latin typeface="Segoe UI Black"/>
              </a:rPr>
              <a:t>PROJECTS CONCLUDED</a:t>
            </a:r>
          </a:p>
        </p:txBody>
      </p:sp>
      <p:grpSp>
        <p:nvGrpSpPr>
          <p:cNvPr id="1146" name="Agrupar 1145">
            <a:extLst>
              <a:ext uri="{FF2B5EF4-FFF2-40B4-BE49-F238E27FC236}">
                <a16:creationId xmlns:a16="http://schemas.microsoft.com/office/drawing/2014/main" id="{91297AC5-CE0F-1327-C6F5-9372647C8934}"/>
              </a:ext>
            </a:extLst>
          </p:cNvPr>
          <p:cNvGrpSpPr/>
          <p:nvPr>
            <p:custDataLst>
              <p:tags r:id="rId6"/>
            </p:custDataLst>
          </p:nvPr>
        </p:nvGrpSpPr>
        <p:grpSpPr>
          <a:xfrm>
            <a:off x="970960" y="916134"/>
            <a:ext cx="4864760" cy="4020532"/>
            <a:chOff x="970960" y="986230"/>
            <a:chExt cx="5231928" cy="3906771"/>
          </a:xfrm>
        </p:grpSpPr>
        <p:sp>
          <p:nvSpPr>
            <p:cNvPr id="47" name="Retângulo: Cantos Arredondados 46">
              <a:extLst>
                <a:ext uri="{FF2B5EF4-FFF2-40B4-BE49-F238E27FC236}">
                  <a16:creationId xmlns:a16="http://schemas.microsoft.com/office/drawing/2014/main" id="{10CEDC2D-1FDA-83F9-5161-6A29B80F8CEF}"/>
                </a:ext>
              </a:extLst>
            </p:cNvPr>
            <p:cNvSpPr/>
            <p:nvPr>
              <p:custDataLst>
                <p:tags r:id="rId63"/>
              </p:custDataLst>
            </p:nvPr>
          </p:nvSpPr>
          <p:spPr>
            <a:xfrm rot="16200000" flipH="1">
              <a:off x="3266439" y="-1309249"/>
              <a:ext cx="640969" cy="5231928"/>
            </a:xfrm>
            <a:prstGeom prst="roundRect">
              <a:avLst>
                <a:gd name="adj" fmla="val 14468"/>
              </a:avLst>
            </a:prstGeom>
            <a:gradFill>
              <a:gsLst>
                <a:gs pos="20000">
                  <a:schemeClr val="bg1">
                    <a:alpha val="0"/>
                  </a:schemeClr>
                </a:gs>
                <a:gs pos="60000">
                  <a:schemeClr val="bg1">
                    <a:alpha val="80000"/>
                  </a:schemeClr>
                </a:gs>
              </a:gsLst>
              <a:lin ang="5400000" scaled="0"/>
            </a:gradFill>
            <a:ln w="19050">
              <a:gradFill flip="none" rotWithShape="1">
                <a:gsLst>
                  <a:gs pos="0">
                    <a:srgbClr val="00FFFF"/>
                  </a:gs>
                  <a:gs pos="100000">
                    <a:srgbClr val="00FFFF">
                      <a:alpha val="0"/>
                    </a:srgb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20" name="Retângulo: Cantos Arredondados 1119">
              <a:extLst>
                <a:ext uri="{FF2B5EF4-FFF2-40B4-BE49-F238E27FC236}">
                  <a16:creationId xmlns:a16="http://schemas.microsoft.com/office/drawing/2014/main" id="{E3332AC9-1764-82B2-4234-4925299190E8}"/>
                </a:ext>
              </a:extLst>
            </p:cNvPr>
            <p:cNvSpPr/>
            <p:nvPr>
              <p:custDataLst>
                <p:tags r:id="rId64"/>
              </p:custDataLst>
            </p:nvPr>
          </p:nvSpPr>
          <p:spPr>
            <a:xfrm rot="16200000" flipH="1">
              <a:off x="3266439" y="-630782"/>
              <a:ext cx="640969" cy="5231928"/>
            </a:xfrm>
            <a:prstGeom prst="roundRect">
              <a:avLst>
                <a:gd name="adj" fmla="val 14468"/>
              </a:avLst>
            </a:prstGeom>
            <a:gradFill>
              <a:gsLst>
                <a:gs pos="20000">
                  <a:schemeClr val="bg1">
                    <a:alpha val="0"/>
                  </a:schemeClr>
                </a:gs>
                <a:gs pos="60000">
                  <a:schemeClr val="bg1">
                    <a:alpha val="80000"/>
                  </a:schemeClr>
                </a:gs>
              </a:gsLst>
              <a:lin ang="5400000" scaled="0"/>
            </a:gradFill>
            <a:ln w="19050">
              <a:gradFill flip="none" rotWithShape="1">
                <a:gsLst>
                  <a:gs pos="0">
                    <a:srgbClr val="00FFFF"/>
                  </a:gs>
                  <a:gs pos="100000">
                    <a:srgbClr val="00FFFF">
                      <a:alpha val="0"/>
                    </a:srgb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21" name="Retângulo: Cantos Arredondados 1120">
              <a:extLst>
                <a:ext uri="{FF2B5EF4-FFF2-40B4-BE49-F238E27FC236}">
                  <a16:creationId xmlns:a16="http://schemas.microsoft.com/office/drawing/2014/main" id="{385558E1-D313-CECF-05F7-FE5C2342D0C4}"/>
                </a:ext>
              </a:extLst>
            </p:cNvPr>
            <p:cNvSpPr/>
            <p:nvPr>
              <p:custDataLst>
                <p:tags r:id="rId65"/>
              </p:custDataLst>
            </p:nvPr>
          </p:nvSpPr>
          <p:spPr>
            <a:xfrm rot="16200000" flipH="1">
              <a:off x="3266439" y="47686"/>
              <a:ext cx="640969" cy="5231928"/>
            </a:xfrm>
            <a:prstGeom prst="roundRect">
              <a:avLst>
                <a:gd name="adj" fmla="val 14468"/>
              </a:avLst>
            </a:prstGeom>
            <a:gradFill>
              <a:gsLst>
                <a:gs pos="20000">
                  <a:schemeClr val="bg1">
                    <a:alpha val="0"/>
                  </a:schemeClr>
                </a:gs>
                <a:gs pos="60000">
                  <a:schemeClr val="bg1">
                    <a:alpha val="80000"/>
                  </a:schemeClr>
                </a:gs>
              </a:gsLst>
              <a:lin ang="5400000" scaled="0"/>
            </a:gradFill>
            <a:ln w="19050">
              <a:gradFill flip="none" rotWithShape="1">
                <a:gsLst>
                  <a:gs pos="0">
                    <a:srgbClr val="00FFFF"/>
                  </a:gs>
                  <a:gs pos="100000">
                    <a:srgbClr val="00FFFF">
                      <a:alpha val="0"/>
                    </a:srgb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22" name="Retângulo: Cantos Arredondados 1121">
              <a:extLst>
                <a:ext uri="{FF2B5EF4-FFF2-40B4-BE49-F238E27FC236}">
                  <a16:creationId xmlns:a16="http://schemas.microsoft.com/office/drawing/2014/main" id="{B60FCAA8-D1D8-6A52-0C05-3BD2223D58CB}"/>
                </a:ext>
              </a:extLst>
            </p:cNvPr>
            <p:cNvSpPr/>
            <p:nvPr>
              <p:custDataLst>
                <p:tags r:id="rId66"/>
              </p:custDataLst>
            </p:nvPr>
          </p:nvSpPr>
          <p:spPr>
            <a:xfrm rot="16200000" flipH="1">
              <a:off x="2990473" y="1002121"/>
              <a:ext cx="1192903" cy="5231927"/>
            </a:xfrm>
            <a:prstGeom prst="roundRect">
              <a:avLst>
                <a:gd name="adj" fmla="val 5831"/>
              </a:avLst>
            </a:prstGeom>
            <a:gradFill>
              <a:gsLst>
                <a:gs pos="20000">
                  <a:schemeClr val="bg1">
                    <a:alpha val="0"/>
                  </a:schemeClr>
                </a:gs>
                <a:gs pos="60000">
                  <a:schemeClr val="bg1">
                    <a:alpha val="80000"/>
                  </a:schemeClr>
                </a:gs>
              </a:gsLst>
              <a:lin ang="5400000" scaled="0"/>
            </a:gradFill>
            <a:ln w="19050">
              <a:gradFill flip="none" rotWithShape="1">
                <a:gsLst>
                  <a:gs pos="0">
                    <a:srgbClr val="00FFFF"/>
                  </a:gs>
                  <a:gs pos="100000">
                    <a:srgbClr val="00FFFF">
                      <a:alpha val="0"/>
                    </a:srgb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23" name="Retângulo: Cantos Arredondados 1122">
              <a:extLst>
                <a:ext uri="{FF2B5EF4-FFF2-40B4-BE49-F238E27FC236}">
                  <a16:creationId xmlns:a16="http://schemas.microsoft.com/office/drawing/2014/main" id="{35A8AB98-FDE7-3298-C6B1-90B62D401743}"/>
                </a:ext>
              </a:extLst>
            </p:cNvPr>
            <p:cNvSpPr/>
            <p:nvPr>
              <p:custDataLst>
                <p:tags r:id="rId67"/>
              </p:custDataLst>
            </p:nvPr>
          </p:nvSpPr>
          <p:spPr>
            <a:xfrm rot="16200000" flipH="1">
              <a:off x="3266439" y="1956552"/>
              <a:ext cx="640970" cy="5231928"/>
            </a:xfrm>
            <a:prstGeom prst="roundRect">
              <a:avLst>
                <a:gd name="adj" fmla="val 14468"/>
              </a:avLst>
            </a:prstGeom>
            <a:gradFill>
              <a:gsLst>
                <a:gs pos="20000">
                  <a:schemeClr val="bg1">
                    <a:alpha val="0"/>
                  </a:schemeClr>
                </a:gs>
                <a:gs pos="60000">
                  <a:schemeClr val="bg1">
                    <a:alpha val="80000"/>
                  </a:schemeClr>
                </a:gs>
              </a:gsLst>
              <a:lin ang="5400000" scaled="0"/>
            </a:gradFill>
            <a:ln w="19050">
              <a:gradFill flip="none" rotWithShape="1">
                <a:gsLst>
                  <a:gs pos="0">
                    <a:srgbClr val="00FFFF"/>
                  </a:gs>
                  <a:gs pos="100000">
                    <a:srgbClr val="00FFFF">
                      <a:alpha val="0"/>
                    </a:srgbClr>
                  </a:gs>
                </a:gsLst>
                <a:lin ang="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grpSp>
      <p:grpSp>
        <p:nvGrpSpPr>
          <p:cNvPr id="1242" name="Agrupar 1241">
            <a:extLst>
              <a:ext uri="{FF2B5EF4-FFF2-40B4-BE49-F238E27FC236}">
                <a16:creationId xmlns:a16="http://schemas.microsoft.com/office/drawing/2014/main" id="{A9E5EE93-EFB3-ECA9-CB47-0B2462E0148B}"/>
              </a:ext>
            </a:extLst>
          </p:cNvPr>
          <p:cNvGrpSpPr/>
          <p:nvPr>
            <p:custDataLst>
              <p:tags r:id="rId7"/>
            </p:custDataLst>
          </p:nvPr>
        </p:nvGrpSpPr>
        <p:grpSpPr>
          <a:xfrm>
            <a:off x="209081" y="1167837"/>
            <a:ext cx="761879" cy="3619499"/>
            <a:chOff x="209081" y="1227659"/>
            <a:chExt cx="761879" cy="3619499"/>
          </a:xfrm>
        </p:grpSpPr>
        <p:grpSp>
          <p:nvGrpSpPr>
            <p:cNvPr id="1140" name="Agrupar 1139">
              <a:extLst>
                <a:ext uri="{FF2B5EF4-FFF2-40B4-BE49-F238E27FC236}">
                  <a16:creationId xmlns:a16="http://schemas.microsoft.com/office/drawing/2014/main" id="{5AE79755-E33B-209D-D20D-F58EA8A23519}"/>
                </a:ext>
              </a:extLst>
            </p:cNvPr>
            <p:cNvGrpSpPr/>
            <p:nvPr>
              <p:custDataLst>
                <p:tags r:id="rId48"/>
              </p:custDataLst>
            </p:nvPr>
          </p:nvGrpSpPr>
          <p:grpSpPr>
            <a:xfrm>
              <a:off x="209081" y="1227659"/>
              <a:ext cx="761879" cy="249299"/>
              <a:chOff x="209081" y="1340673"/>
              <a:chExt cx="761879" cy="249299"/>
            </a:xfrm>
          </p:grpSpPr>
          <p:sp>
            <p:nvSpPr>
              <p:cNvPr id="1124" name="Retângulo: Cantos Arredondados 1123">
                <a:extLst>
                  <a:ext uri="{FF2B5EF4-FFF2-40B4-BE49-F238E27FC236}">
                    <a16:creationId xmlns:a16="http://schemas.microsoft.com/office/drawing/2014/main" id="{1D829C6C-B299-0DFD-E495-46C265FB65A6}"/>
                  </a:ext>
                </a:extLst>
              </p:cNvPr>
              <p:cNvSpPr/>
              <p:nvPr>
                <p:custDataLst>
                  <p:tags r:id="rId61"/>
                </p:custDataLst>
              </p:nvPr>
            </p:nvSpPr>
            <p:spPr>
              <a:xfrm>
                <a:off x="209081" y="1350756"/>
                <a:ext cx="761879" cy="213086"/>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26" name="CaixaDeTexto 1125">
                <a:extLst>
                  <a:ext uri="{FF2B5EF4-FFF2-40B4-BE49-F238E27FC236}">
                    <a16:creationId xmlns:a16="http://schemas.microsoft.com/office/drawing/2014/main" id="{E8F61FE4-7ED3-8F75-EDFB-C6981029EBE2}"/>
                  </a:ext>
                </a:extLst>
              </p:cNvPr>
              <p:cNvSpPr txBox="1"/>
              <p:nvPr>
                <p:custDataLst>
                  <p:tags r:id="rId62"/>
                </p:custDataLst>
              </p:nvPr>
            </p:nvSpPr>
            <p:spPr>
              <a:xfrm>
                <a:off x="220781" y="1340673"/>
                <a:ext cx="656286" cy="249299"/>
              </a:xfrm>
              <a:prstGeom prst="rect">
                <a:avLst/>
              </a:prstGeom>
              <a:noFill/>
            </p:spPr>
            <p:txBody>
              <a:bodyPr wrap="square" rtlCol="0">
                <a:spAutoFit/>
              </a:bodyPr>
              <a:lstStyle/>
              <a:p>
                <a:pPr lvl="0" defTabSz="675010">
                  <a:lnSpc>
                    <a:spcPct val="85000"/>
                  </a:lnSpc>
                  <a:spcBef>
                    <a:spcPts val="148"/>
                  </a:spcBef>
                  <a:spcAft>
                    <a:spcPts val="148"/>
                  </a:spcAft>
                  <a:defRPr/>
                </a:pPr>
                <a:r>
                  <a:rPr lang="pt-BR" sz="1200"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2019</a:t>
                </a:r>
              </a:p>
            </p:txBody>
          </p:sp>
        </p:grpSp>
        <p:grpSp>
          <p:nvGrpSpPr>
            <p:cNvPr id="1141" name="Agrupar 1140">
              <a:extLst>
                <a:ext uri="{FF2B5EF4-FFF2-40B4-BE49-F238E27FC236}">
                  <a16:creationId xmlns:a16="http://schemas.microsoft.com/office/drawing/2014/main" id="{96F53EE5-46A4-E24E-1F91-39B69753C71D}"/>
                </a:ext>
              </a:extLst>
            </p:cNvPr>
            <p:cNvGrpSpPr/>
            <p:nvPr>
              <p:custDataLst>
                <p:tags r:id="rId49"/>
              </p:custDataLst>
            </p:nvPr>
          </p:nvGrpSpPr>
          <p:grpSpPr>
            <a:xfrm>
              <a:off x="209081" y="1912173"/>
              <a:ext cx="761879" cy="249299"/>
              <a:chOff x="209081" y="2014913"/>
              <a:chExt cx="761879" cy="249299"/>
            </a:xfrm>
          </p:grpSpPr>
          <p:sp>
            <p:nvSpPr>
              <p:cNvPr id="1129" name="Retângulo: Cantos Arredondados 1128">
                <a:extLst>
                  <a:ext uri="{FF2B5EF4-FFF2-40B4-BE49-F238E27FC236}">
                    <a16:creationId xmlns:a16="http://schemas.microsoft.com/office/drawing/2014/main" id="{F3B29179-DB54-E736-B3F8-01CB7E01B323}"/>
                  </a:ext>
                </a:extLst>
              </p:cNvPr>
              <p:cNvSpPr/>
              <p:nvPr>
                <p:custDataLst>
                  <p:tags r:id="rId59"/>
                </p:custDataLst>
              </p:nvPr>
            </p:nvSpPr>
            <p:spPr>
              <a:xfrm>
                <a:off x="209081" y="2024996"/>
                <a:ext cx="761879" cy="213086"/>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30" name="CaixaDeTexto 1129">
                <a:extLst>
                  <a:ext uri="{FF2B5EF4-FFF2-40B4-BE49-F238E27FC236}">
                    <a16:creationId xmlns:a16="http://schemas.microsoft.com/office/drawing/2014/main" id="{D3DC7805-63D1-9672-B6C1-C2EF69796F19}"/>
                  </a:ext>
                </a:extLst>
              </p:cNvPr>
              <p:cNvSpPr txBox="1"/>
              <p:nvPr>
                <p:custDataLst>
                  <p:tags r:id="rId60"/>
                </p:custDataLst>
              </p:nvPr>
            </p:nvSpPr>
            <p:spPr>
              <a:xfrm>
                <a:off x="220781" y="2014913"/>
                <a:ext cx="656286" cy="249299"/>
              </a:xfrm>
              <a:prstGeom prst="rect">
                <a:avLst/>
              </a:prstGeom>
              <a:noFill/>
            </p:spPr>
            <p:txBody>
              <a:bodyPr wrap="square" rtlCol="0">
                <a:spAutoFit/>
              </a:bodyPr>
              <a:lstStyle/>
              <a:p>
                <a:pPr lvl="0" defTabSz="675010">
                  <a:lnSpc>
                    <a:spcPct val="85000"/>
                  </a:lnSpc>
                  <a:spcBef>
                    <a:spcPts val="148"/>
                  </a:spcBef>
                  <a:spcAft>
                    <a:spcPts val="148"/>
                  </a:spcAft>
                  <a:defRPr/>
                </a:pPr>
                <a:r>
                  <a:rPr lang="pt-BR" sz="1200"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2020</a:t>
                </a:r>
              </a:p>
            </p:txBody>
          </p:sp>
        </p:grpSp>
        <p:grpSp>
          <p:nvGrpSpPr>
            <p:cNvPr id="1142" name="Agrupar 1141">
              <a:extLst>
                <a:ext uri="{FF2B5EF4-FFF2-40B4-BE49-F238E27FC236}">
                  <a16:creationId xmlns:a16="http://schemas.microsoft.com/office/drawing/2014/main" id="{92F33210-89D1-1A25-6379-FF470F4CD809}"/>
                </a:ext>
              </a:extLst>
            </p:cNvPr>
            <p:cNvGrpSpPr/>
            <p:nvPr>
              <p:custDataLst>
                <p:tags r:id="rId50"/>
              </p:custDataLst>
            </p:nvPr>
          </p:nvGrpSpPr>
          <p:grpSpPr>
            <a:xfrm>
              <a:off x="209081" y="2612614"/>
              <a:ext cx="761879" cy="249299"/>
              <a:chOff x="209081" y="2694806"/>
              <a:chExt cx="761879" cy="249299"/>
            </a:xfrm>
          </p:grpSpPr>
          <p:sp>
            <p:nvSpPr>
              <p:cNvPr id="1132" name="Retângulo: Cantos Arredondados 1131">
                <a:extLst>
                  <a:ext uri="{FF2B5EF4-FFF2-40B4-BE49-F238E27FC236}">
                    <a16:creationId xmlns:a16="http://schemas.microsoft.com/office/drawing/2014/main" id="{D7ABE924-F887-A81C-D465-4520C2C3FF3C}"/>
                  </a:ext>
                </a:extLst>
              </p:cNvPr>
              <p:cNvSpPr/>
              <p:nvPr>
                <p:custDataLst>
                  <p:tags r:id="rId57"/>
                </p:custDataLst>
              </p:nvPr>
            </p:nvSpPr>
            <p:spPr>
              <a:xfrm>
                <a:off x="209081" y="2704889"/>
                <a:ext cx="761879" cy="213086"/>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33" name="CaixaDeTexto 1132">
                <a:extLst>
                  <a:ext uri="{FF2B5EF4-FFF2-40B4-BE49-F238E27FC236}">
                    <a16:creationId xmlns:a16="http://schemas.microsoft.com/office/drawing/2014/main" id="{7790FBE5-4C40-4925-DF67-3351D90758ED}"/>
                  </a:ext>
                </a:extLst>
              </p:cNvPr>
              <p:cNvSpPr txBox="1"/>
              <p:nvPr>
                <p:custDataLst>
                  <p:tags r:id="rId58"/>
                </p:custDataLst>
              </p:nvPr>
            </p:nvSpPr>
            <p:spPr>
              <a:xfrm>
                <a:off x="220781" y="2694806"/>
                <a:ext cx="656286" cy="249299"/>
              </a:xfrm>
              <a:prstGeom prst="rect">
                <a:avLst/>
              </a:prstGeom>
              <a:noFill/>
            </p:spPr>
            <p:txBody>
              <a:bodyPr wrap="square" rtlCol="0">
                <a:spAutoFit/>
              </a:bodyPr>
              <a:lstStyle/>
              <a:p>
                <a:pPr lvl="0" defTabSz="675010">
                  <a:lnSpc>
                    <a:spcPct val="85000"/>
                  </a:lnSpc>
                  <a:spcBef>
                    <a:spcPts val="148"/>
                  </a:spcBef>
                  <a:spcAft>
                    <a:spcPts val="148"/>
                  </a:spcAft>
                  <a:defRPr/>
                </a:pPr>
                <a:r>
                  <a:rPr lang="pt-BR" sz="1200"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2021</a:t>
                </a:r>
              </a:p>
            </p:txBody>
          </p:sp>
        </p:grpSp>
        <p:grpSp>
          <p:nvGrpSpPr>
            <p:cNvPr id="1143" name="Agrupar 1142">
              <a:extLst>
                <a:ext uri="{FF2B5EF4-FFF2-40B4-BE49-F238E27FC236}">
                  <a16:creationId xmlns:a16="http://schemas.microsoft.com/office/drawing/2014/main" id="{B9AA65FD-C44C-450F-9137-FC3F5C557963}"/>
                </a:ext>
              </a:extLst>
            </p:cNvPr>
            <p:cNvGrpSpPr/>
            <p:nvPr>
              <p:custDataLst>
                <p:tags r:id="rId51"/>
              </p:custDataLst>
            </p:nvPr>
          </p:nvGrpSpPr>
          <p:grpSpPr>
            <a:xfrm>
              <a:off x="209081" y="3597698"/>
              <a:ext cx="761879" cy="249299"/>
              <a:chOff x="209081" y="3628520"/>
              <a:chExt cx="761879" cy="249299"/>
            </a:xfrm>
          </p:grpSpPr>
          <p:sp>
            <p:nvSpPr>
              <p:cNvPr id="1135" name="Retângulo: Cantos Arredondados 1134">
                <a:extLst>
                  <a:ext uri="{FF2B5EF4-FFF2-40B4-BE49-F238E27FC236}">
                    <a16:creationId xmlns:a16="http://schemas.microsoft.com/office/drawing/2014/main" id="{B5F7B63E-72EE-F99C-3B43-8790BD43FCA0}"/>
                  </a:ext>
                </a:extLst>
              </p:cNvPr>
              <p:cNvSpPr/>
              <p:nvPr>
                <p:custDataLst>
                  <p:tags r:id="rId55"/>
                </p:custDataLst>
              </p:nvPr>
            </p:nvSpPr>
            <p:spPr>
              <a:xfrm>
                <a:off x="209081" y="3638603"/>
                <a:ext cx="761879" cy="213086"/>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36" name="CaixaDeTexto 1135">
                <a:extLst>
                  <a:ext uri="{FF2B5EF4-FFF2-40B4-BE49-F238E27FC236}">
                    <a16:creationId xmlns:a16="http://schemas.microsoft.com/office/drawing/2014/main" id="{9CFE2E04-F509-630D-EB96-153DFA165199}"/>
                  </a:ext>
                </a:extLst>
              </p:cNvPr>
              <p:cNvSpPr txBox="1"/>
              <p:nvPr>
                <p:custDataLst>
                  <p:tags r:id="rId56"/>
                </p:custDataLst>
              </p:nvPr>
            </p:nvSpPr>
            <p:spPr>
              <a:xfrm>
                <a:off x="220781" y="3628520"/>
                <a:ext cx="656286" cy="249299"/>
              </a:xfrm>
              <a:prstGeom prst="rect">
                <a:avLst/>
              </a:prstGeom>
              <a:noFill/>
            </p:spPr>
            <p:txBody>
              <a:bodyPr wrap="square" rtlCol="0">
                <a:spAutoFit/>
              </a:bodyPr>
              <a:lstStyle/>
              <a:p>
                <a:pPr lvl="0" defTabSz="675010">
                  <a:lnSpc>
                    <a:spcPct val="85000"/>
                  </a:lnSpc>
                  <a:spcBef>
                    <a:spcPts val="148"/>
                  </a:spcBef>
                  <a:spcAft>
                    <a:spcPts val="148"/>
                  </a:spcAft>
                  <a:defRPr/>
                </a:pPr>
                <a:r>
                  <a:rPr lang="pt-BR" sz="1200"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2022</a:t>
                </a:r>
              </a:p>
            </p:txBody>
          </p:sp>
        </p:grpSp>
        <p:grpSp>
          <p:nvGrpSpPr>
            <p:cNvPr id="1144" name="Agrupar 1143">
              <a:extLst>
                <a:ext uri="{FF2B5EF4-FFF2-40B4-BE49-F238E27FC236}">
                  <a16:creationId xmlns:a16="http://schemas.microsoft.com/office/drawing/2014/main" id="{0EADE15A-44C0-69FE-6154-53386B3A4826}"/>
                </a:ext>
              </a:extLst>
            </p:cNvPr>
            <p:cNvGrpSpPr/>
            <p:nvPr>
              <p:custDataLst>
                <p:tags r:id="rId52"/>
              </p:custDataLst>
            </p:nvPr>
          </p:nvGrpSpPr>
          <p:grpSpPr>
            <a:xfrm>
              <a:off x="209081" y="4597859"/>
              <a:ext cx="761879" cy="249299"/>
              <a:chOff x="209081" y="4608133"/>
              <a:chExt cx="761879" cy="249299"/>
            </a:xfrm>
          </p:grpSpPr>
          <p:sp>
            <p:nvSpPr>
              <p:cNvPr id="1138" name="Retângulo: Cantos Arredondados 1137">
                <a:extLst>
                  <a:ext uri="{FF2B5EF4-FFF2-40B4-BE49-F238E27FC236}">
                    <a16:creationId xmlns:a16="http://schemas.microsoft.com/office/drawing/2014/main" id="{F267338E-D0D7-86D5-E1CA-2074D51D98B3}"/>
                  </a:ext>
                </a:extLst>
              </p:cNvPr>
              <p:cNvSpPr/>
              <p:nvPr>
                <p:custDataLst>
                  <p:tags r:id="rId53"/>
                </p:custDataLst>
              </p:nvPr>
            </p:nvSpPr>
            <p:spPr>
              <a:xfrm>
                <a:off x="209081" y="4618216"/>
                <a:ext cx="761879" cy="213086"/>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139" name="CaixaDeTexto 1138">
                <a:extLst>
                  <a:ext uri="{FF2B5EF4-FFF2-40B4-BE49-F238E27FC236}">
                    <a16:creationId xmlns:a16="http://schemas.microsoft.com/office/drawing/2014/main" id="{43D6723E-366A-9DB1-B94F-FA3E7853E0BB}"/>
                  </a:ext>
                </a:extLst>
              </p:cNvPr>
              <p:cNvSpPr txBox="1"/>
              <p:nvPr>
                <p:custDataLst>
                  <p:tags r:id="rId54"/>
                </p:custDataLst>
              </p:nvPr>
            </p:nvSpPr>
            <p:spPr>
              <a:xfrm>
                <a:off x="220781" y="4608133"/>
                <a:ext cx="656286" cy="249299"/>
              </a:xfrm>
              <a:prstGeom prst="rect">
                <a:avLst/>
              </a:prstGeom>
              <a:noFill/>
            </p:spPr>
            <p:txBody>
              <a:bodyPr wrap="square" rtlCol="0">
                <a:spAutoFit/>
              </a:bodyPr>
              <a:lstStyle/>
              <a:p>
                <a:pPr lvl="0" defTabSz="675010">
                  <a:lnSpc>
                    <a:spcPct val="85000"/>
                  </a:lnSpc>
                  <a:spcBef>
                    <a:spcPts val="148"/>
                  </a:spcBef>
                  <a:spcAft>
                    <a:spcPts val="148"/>
                  </a:spcAft>
                  <a:defRPr/>
                </a:pPr>
                <a:r>
                  <a:rPr lang="pt-BR" sz="1200" b="1" dirty="0">
                    <a:solidFill>
                      <a:schemeClr val="bg1"/>
                    </a:solidFill>
                    <a:latin typeface="Segoe UI" panose="020B0502040204020203" pitchFamily="34" charset="0"/>
                    <a:ea typeface="Segoe UI Black" panose="020B0A02040204020203" pitchFamily="34" charset="0"/>
                    <a:cs typeface="Segoe UI" panose="020B0502040204020203" pitchFamily="34" charset="0"/>
                  </a:rPr>
                  <a:t>2023</a:t>
                </a:r>
              </a:p>
            </p:txBody>
          </p:sp>
        </p:grpSp>
      </p:grpSp>
      <p:sp>
        <p:nvSpPr>
          <p:cNvPr id="1145" name="CaixaDeTexto 1144">
            <a:extLst>
              <a:ext uri="{FF2B5EF4-FFF2-40B4-BE49-F238E27FC236}">
                <a16:creationId xmlns:a16="http://schemas.microsoft.com/office/drawing/2014/main" id="{FBF65755-DA42-7DAA-3803-898820F0E1D0}"/>
              </a:ext>
            </a:extLst>
          </p:cNvPr>
          <p:cNvSpPr txBox="1"/>
          <p:nvPr>
            <p:custDataLst>
              <p:tags r:id="rId8"/>
            </p:custDataLst>
          </p:nvPr>
        </p:nvSpPr>
        <p:spPr>
          <a:xfrm>
            <a:off x="1236082" y="1107042"/>
            <a:ext cx="183560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Itapura Bauru</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13.5 million</a:t>
            </a:r>
          </a:p>
        </p:txBody>
      </p:sp>
      <p:sp>
        <p:nvSpPr>
          <p:cNvPr id="1147" name="CaixaDeTexto 1146">
            <a:extLst>
              <a:ext uri="{FF2B5EF4-FFF2-40B4-BE49-F238E27FC236}">
                <a16:creationId xmlns:a16="http://schemas.microsoft.com/office/drawing/2014/main" id="{4B7DD133-9F62-1135-A6E3-679ADEC8AE04}"/>
              </a:ext>
            </a:extLst>
          </p:cNvPr>
          <p:cNvSpPr txBox="1"/>
          <p:nvPr>
            <p:custDataLst>
              <p:tags r:id="rId9"/>
            </p:custDataLst>
          </p:nvPr>
        </p:nvSpPr>
        <p:spPr>
          <a:xfrm>
            <a:off x="1275565" y="1832536"/>
            <a:ext cx="1819789"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Itaquerê</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62.9 million</a:t>
            </a:r>
          </a:p>
        </p:txBody>
      </p:sp>
      <p:sp>
        <p:nvSpPr>
          <p:cNvPr id="1148" name="CaixaDeTexto 1147">
            <a:extLst>
              <a:ext uri="{FF2B5EF4-FFF2-40B4-BE49-F238E27FC236}">
                <a16:creationId xmlns:a16="http://schemas.microsoft.com/office/drawing/2014/main" id="{9EEAA2D9-8A25-2438-D49C-339AE034963B}"/>
              </a:ext>
            </a:extLst>
          </p:cNvPr>
          <p:cNvSpPr txBox="1"/>
          <p:nvPr>
            <p:custDataLst>
              <p:tags r:id="rId10"/>
            </p:custDataLst>
          </p:nvPr>
        </p:nvSpPr>
        <p:spPr>
          <a:xfrm>
            <a:off x="1268978" y="2528879"/>
            <a:ext cx="183560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Aguapeí</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74.2 million</a:t>
            </a:r>
          </a:p>
        </p:txBody>
      </p:sp>
      <p:sp>
        <p:nvSpPr>
          <p:cNvPr id="1149" name="CaixaDeTexto 1148">
            <a:extLst>
              <a:ext uri="{FF2B5EF4-FFF2-40B4-BE49-F238E27FC236}">
                <a16:creationId xmlns:a16="http://schemas.microsoft.com/office/drawing/2014/main" id="{1E3D1FED-3688-0A48-72D8-2FAF80C2EEE1}"/>
              </a:ext>
            </a:extLst>
          </p:cNvPr>
          <p:cNvSpPr txBox="1"/>
          <p:nvPr>
            <p:custDataLst>
              <p:tags r:id="rId11"/>
            </p:custDataLst>
          </p:nvPr>
        </p:nvSpPr>
        <p:spPr>
          <a:xfrm>
            <a:off x="1255362" y="3239531"/>
            <a:ext cx="183560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Três Lagoas</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5.8 million</a:t>
            </a:r>
          </a:p>
        </p:txBody>
      </p:sp>
      <p:sp>
        <p:nvSpPr>
          <p:cNvPr id="1150" name="CaixaDeTexto 1149">
            <a:extLst>
              <a:ext uri="{FF2B5EF4-FFF2-40B4-BE49-F238E27FC236}">
                <a16:creationId xmlns:a16="http://schemas.microsoft.com/office/drawing/2014/main" id="{37A07580-5CCD-A785-21E7-F73140F5609A}"/>
              </a:ext>
            </a:extLst>
          </p:cNvPr>
          <p:cNvSpPr txBox="1"/>
          <p:nvPr>
            <p:custDataLst>
              <p:tags r:id="rId12"/>
            </p:custDataLst>
          </p:nvPr>
        </p:nvSpPr>
        <p:spPr>
          <a:xfrm>
            <a:off x="1257333" y="3799950"/>
            <a:ext cx="183560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Aimorés (50%)</a:t>
            </a:r>
          </a:p>
          <a:p>
            <a:pPr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47.9 million</a:t>
            </a:r>
          </a:p>
        </p:txBody>
      </p:sp>
      <p:sp>
        <p:nvSpPr>
          <p:cNvPr id="1151" name="CaixaDeTexto 1150">
            <a:extLst>
              <a:ext uri="{FF2B5EF4-FFF2-40B4-BE49-F238E27FC236}">
                <a16:creationId xmlns:a16="http://schemas.microsoft.com/office/drawing/2014/main" id="{13778B8A-0670-B0A5-F24D-B2C6B2E2A73B}"/>
              </a:ext>
            </a:extLst>
          </p:cNvPr>
          <p:cNvSpPr txBox="1"/>
          <p:nvPr>
            <p:custDataLst>
              <p:tags r:id="rId13"/>
            </p:custDataLst>
          </p:nvPr>
        </p:nvSpPr>
        <p:spPr>
          <a:xfrm>
            <a:off x="1255362" y="4504761"/>
            <a:ext cx="183560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Itaúnas</a:t>
            </a:r>
          </a:p>
          <a:p>
            <a:pPr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65.0 million</a:t>
            </a:r>
          </a:p>
        </p:txBody>
      </p:sp>
      <p:grpSp>
        <p:nvGrpSpPr>
          <p:cNvPr id="1245" name="Agrupar 1244">
            <a:extLst>
              <a:ext uri="{FF2B5EF4-FFF2-40B4-BE49-F238E27FC236}">
                <a16:creationId xmlns:a16="http://schemas.microsoft.com/office/drawing/2014/main" id="{BDEA23AE-8267-FBBF-DEBF-3C5ECD2DE0A8}"/>
              </a:ext>
            </a:extLst>
          </p:cNvPr>
          <p:cNvGrpSpPr/>
          <p:nvPr>
            <p:custDataLst>
              <p:tags r:id="rId14"/>
            </p:custDataLst>
          </p:nvPr>
        </p:nvGrpSpPr>
        <p:grpSpPr>
          <a:xfrm>
            <a:off x="747306" y="1035909"/>
            <a:ext cx="489330" cy="3861169"/>
            <a:chOff x="747306" y="1095731"/>
            <a:chExt cx="489330" cy="3861169"/>
          </a:xfrm>
        </p:grpSpPr>
        <p:pic>
          <p:nvPicPr>
            <p:cNvPr id="53" name="Imagem 52">
              <a:extLst>
                <a:ext uri="{FF2B5EF4-FFF2-40B4-BE49-F238E27FC236}">
                  <a16:creationId xmlns:a16="http://schemas.microsoft.com/office/drawing/2014/main" id="{DB75FC43-C351-7077-9A03-D261C151E293}"/>
                </a:ext>
              </a:extLst>
            </p:cNvPr>
            <p:cNvPicPr>
              <a:picLocks noChangeAspect="1"/>
            </p:cNvPicPr>
            <p:nvPr>
              <p:custDataLst>
                <p:tags r:id="rId42"/>
              </p:custDataLst>
            </p:nvPr>
          </p:nvPicPr>
          <p:blipFill>
            <a:blip r:embed="rId73">
              <a:extLst>
                <a:ext uri="{BEBA8EAE-BF5A-486C-A8C5-ECC9F3942E4B}">
                  <a14:imgProps xmlns:a14="http://schemas.microsoft.com/office/drawing/2010/main">
                    <a14:imgLayer r:embed="rId74">
                      <a14:imgEffect>
                        <a14:brightnessContrast bright="40000"/>
                      </a14:imgEffect>
                    </a14:imgLayer>
                  </a14:imgProps>
                </a:ext>
                <a:ext uri="{28A0092B-C50C-407E-A947-70E740481C1C}">
                  <a14:useLocalDpi xmlns:a14="http://schemas.microsoft.com/office/drawing/2010/main"/>
                </a:ext>
              </a:extLst>
            </a:blip>
            <a:srcRect l="17527" r="27583"/>
            <a:stretch>
              <a:fillRect/>
            </a:stretch>
          </p:blipFill>
          <p:spPr>
            <a:xfrm>
              <a:off x="747860" y="1095731"/>
              <a:ext cx="488222" cy="488222"/>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069" name="Imagem 1068">
              <a:extLst>
                <a:ext uri="{FF2B5EF4-FFF2-40B4-BE49-F238E27FC236}">
                  <a16:creationId xmlns:a16="http://schemas.microsoft.com/office/drawing/2014/main" id="{4557F34F-BEC7-4F54-E495-032C293B0DA6}"/>
                </a:ext>
              </a:extLst>
            </p:cNvPr>
            <p:cNvPicPr>
              <a:picLocks noChangeAspect="1"/>
            </p:cNvPicPr>
            <p:nvPr>
              <p:custDataLst>
                <p:tags r:id="rId43"/>
              </p:custDataLst>
            </p:nvPr>
          </p:nvPicPr>
          <p:blipFill>
            <a:blip r:embed="rId75">
              <a:extLst>
                <a:ext uri="{28A0092B-C50C-407E-A947-70E740481C1C}">
                  <a14:useLocalDpi xmlns:a14="http://schemas.microsoft.com/office/drawing/2010/main"/>
                </a:ext>
              </a:extLst>
            </a:blip>
            <a:srcRect l="13966" r="18292"/>
            <a:stretch>
              <a:fillRect/>
            </a:stretch>
          </p:blipFill>
          <p:spPr>
            <a:xfrm>
              <a:off x="747306" y="1789150"/>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075" name="Imagem 1074">
              <a:extLst>
                <a:ext uri="{FF2B5EF4-FFF2-40B4-BE49-F238E27FC236}">
                  <a16:creationId xmlns:a16="http://schemas.microsoft.com/office/drawing/2014/main" id="{EC2ABB17-3FBD-CEE7-DC70-1EBE7D14E746}"/>
                </a:ext>
              </a:extLst>
            </p:cNvPr>
            <p:cNvPicPr>
              <a:picLocks noChangeAspect="1"/>
            </p:cNvPicPr>
            <p:nvPr>
              <p:custDataLst>
                <p:tags r:id="rId44"/>
              </p:custDataLst>
            </p:nvPr>
          </p:nvPicPr>
          <p:blipFill>
            <a:blip r:embed="rId76">
              <a:extLst>
                <a:ext uri="{28A0092B-C50C-407E-A947-70E740481C1C}">
                  <a14:useLocalDpi xmlns:a14="http://schemas.microsoft.com/office/drawing/2010/main"/>
                </a:ext>
              </a:extLst>
            </a:blip>
            <a:srcRect l="30430" t="124" r="16268" b="-124"/>
            <a:stretch>
              <a:fillRect/>
            </a:stretch>
          </p:blipFill>
          <p:spPr>
            <a:xfrm>
              <a:off x="747306" y="2492971"/>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02" name="Imagem 1101">
              <a:extLst>
                <a:ext uri="{FF2B5EF4-FFF2-40B4-BE49-F238E27FC236}">
                  <a16:creationId xmlns:a16="http://schemas.microsoft.com/office/drawing/2014/main" id="{A9D6AC09-E34C-251C-EBF9-65D7B443D87C}"/>
                </a:ext>
              </a:extLst>
            </p:cNvPr>
            <p:cNvPicPr>
              <a:picLocks noChangeAspect="1"/>
            </p:cNvPicPr>
            <p:nvPr>
              <p:custDataLst>
                <p:tags r:id="rId45"/>
              </p:custDataLst>
            </p:nvPr>
          </p:nvPicPr>
          <p:blipFill>
            <a:blip r:embed="rId77">
              <a:extLst>
                <a:ext uri="{28A0092B-C50C-407E-A947-70E740481C1C}">
                  <a14:useLocalDpi xmlns:a14="http://schemas.microsoft.com/office/drawing/2010/main"/>
                </a:ext>
              </a:extLst>
            </a:blip>
            <a:srcRect l="9541" t="-477" r="35165" b="477"/>
            <a:stretch>
              <a:fillRect/>
            </a:stretch>
          </p:blipFill>
          <p:spPr>
            <a:xfrm>
              <a:off x="747306" y="3197648"/>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05" name="Picture 4" descr="ISA Cteep (TRPL4) registra lucro líquido de R$ 306 milhões no primeiro  trimestre, alta anual de 172% - InfoMoney">
              <a:extLst>
                <a:ext uri="{FF2B5EF4-FFF2-40B4-BE49-F238E27FC236}">
                  <a16:creationId xmlns:a16="http://schemas.microsoft.com/office/drawing/2014/main" id="{FBFC3C6D-B6EF-F78E-94FF-61A656E7A140}"/>
                </a:ext>
              </a:extLst>
            </p:cNvPr>
            <p:cNvPicPr>
              <a:picLocks noChangeAspect="1" noChangeArrowheads="1"/>
            </p:cNvPicPr>
            <p:nvPr>
              <p:custDataLst>
                <p:tags r:id="rId46"/>
              </p:custDataLst>
            </p:nvPr>
          </p:nvPicPr>
          <p:blipFill>
            <a:blip r:embed="rId78">
              <a:extLst>
                <a:ext uri="{28A0092B-C50C-407E-A947-70E740481C1C}">
                  <a14:useLocalDpi xmlns:a14="http://schemas.microsoft.com/office/drawing/2010/main"/>
                </a:ext>
              </a:extLst>
            </a:blip>
            <a:srcRect l="11566" t="-572" r="28538" b="572"/>
            <a:stretch>
              <a:fillRect/>
            </a:stretch>
          </p:blipFill>
          <p:spPr bwMode="auto">
            <a:xfrm>
              <a:off x="747306" y="3739479"/>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14" name="Picture 10" descr="Isa Cteep inicia operação da interligação elétrica Itaúnas - Energia Hoje">
              <a:extLst>
                <a:ext uri="{FF2B5EF4-FFF2-40B4-BE49-F238E27FC236}">
                  <a16:creationId xmlns:a16="http://schemas.microsoft.com/office/drawing/2014/main" id="{D5DA7FD4-B10C-9371-383A-9897496DFAD6}"/>
                </a:ext>
              </a:extLst>
            </p:cNvPr>
            <p:cNvPicPr>
              <a:picLocks noChangeAspect="1" noChangeArrowheads="1"/>
            </p:cNvPicPr>
            <p:nvPr>
              <p:custDataLst>
                <p:tags r:id="rId47"/>
              </p:custDataLst>
            </p:nvPr>
          </p:nvPicPr>
          <p:blipFill>
            <a:blip r:embed="rId79">
              <a:extLst>
                <a:ext uri="{28A0092B-C50C-407E-A947-70E740481C1C}">
                  <a14:useLocalDpi xmlns:a14="http://schemas.microsoft.com/office/drawing/2010/main"/>
                </a:ext>
              </a:extLst>
            </a:blip>
            <a:srcRect l="21333" r="21333"/>
            <a:stretch>
              <a:fillRect/>
            </a:stretch>
          </p:blipFill>
          <p:spPr bwMode="auto">
            <a:xfrm>
              <a:off x="747306" y="4467570"/>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grpSp>
      <p:pic>
        <p:nvPicPr>
          <p:cNvPr id="1072" name="Picture 2" descr="Transmissão Paulista inicia da operação comercial de IE Tibagi - Finance  News">
            <a:extLst>
              <a:ext uri="{FF2B5EF4-FFF2-40B4-BE49-F238E27FC236}">
                <a16:creationId xmlns:a16="http://schemas.microsoft.com/office/drawing/2014/main" id="{ECD1303C-8FD9-AB6F-98B2-3439CF966552}"/>
              </a:ext>
            </a:extLst>
          </p:cNvPr>
          <p:cNvPicPr>
            <a:picLocks noChangeAspect="1" noChangeArrowheads="1"/>
          </p:cNvPicPr>
          <p:nvPr>
            <p:custDataLst>
              <p:tags r:id="rId15"/>
            </p:custDataLst>
          </p:nvPr>
        </p:nvPicPr>
        <p:blipFill>
          <a:blip r:embed="rId80">
            <a:extLst>
              <a:ext uri="{28A0092B-C50C-407E-A947-70E740481C1C}">
                <a14:useLocalDpi xmlns:a14="http://schemas.microsoft.com/office/drawing/2010/main"/>
              </a:ext>
            </a:extLst>
          </a:blip>
          <a:srcRect l="6533" r="37217"/>
          <a:stretch>
            <a:fillRect/>
          </a:stretch>
        </p:blipFill>
        <p:spPr bwMode="auto">
          <a:xfrm>
            <a:off x="2583079" y="1721740"/>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078" name="Imagem 1077">
            <a:extLst>
              <a:ext uri="{FF2B5EF4-FFF2-40B4-BE49-F238E27FC236}">
                <a16:creationId xmlns:a16="http://schemas.microsoft.com/office/drawing/2014/main" id="{63022CBF-0096-7949-ADFD-CA6DDAA7ECB3}"/>
              </a:ext>
            </a:extLst>
          </p:cNvPr>
          <p:cNvPicPr>
            <a:picLocks noChangeAspect="1"/>
          </p:cNvPicPr>
          <p:nvPr>
            <p:custDataLst>
              <p:tags r:id="rId16"/>
            </p:custDataLst>
          </p:nvPr>
        </p:nvPicPr>
        <p:blipFill>
          <a:blip r:embed="rId81">
            <a:extLst>
              <a:ext uri="{28A0092B-C50C-407E-A947-70E740481C1C}">
                <a14:useLocalDpi xmlns:a14="http://schemas.microsoft.com/office/drawing/2010/main"/>
              </a:ext>
            </a:extLst>
          </a:blip>
          <a:srcRect l="24341" r="24341"/>
          <a:stretch>
            <a:fillRect/>
          </a:stretch>
        </p:blipFill>
        <p:spPr>
          <a:xfrm>
            <a:off x="2571256" y="2404930"/>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08" name="Picture 6" descr="Projeto Biguaçu">
            <a:extLst>
              <a:ext uri="{FF2B5EF4-FFF2-40B4-BE49-F238E27FC236}">
                <a16:creationId xmlns:a16="http://schemas.microsoft.com/office/drawing/2014/main" id="{C5D0ABAF-C214-2F9A-6F18-8DC7CD2476B9}"/>
              </a:ext>
            </a:extLst>
          </p:cNvPr>
          <p:cNvPicPr>
            <a:picLocks noChangeAspect="1" noChangeArrowheads="1"/>
          </p:cNvPicPr>
          <p:nvPr>
            <p:custDataLst>
              <p:tags r:id="rId17"/>
            </p:custDataLst>
          </p:nvPr>
        </p:nvPicPr>
        <p:blipFill>
          <a:blip r:embed="rId82">
            <a:extLst>
              <a:ext uri="{28A0092B-C50C-407E-A947-70E740481C1C}">
                <a14:useLocalDpi xmlns:a14="http://schemas.microsoft.com/office/drawing/2010/main"/>
              </a:ext>
            </a:extLst>
          </a:blip>
          <a:srcRect l="18336" t="78" r="25444" b="-78"/>
          <a:stretch>
            <a:fillRect/>
          </a:stretch>
        </p:blipFill>
        <p:spPr bwMode="auto">
          <a:xfrm>
            <a:off x="2583079" y="3095599"/>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11" name="Imagem 1110" descr="Linhas de Transmissão - TS Infra">
            <a:extLst>
              <a:ext uri="{FF2B5EF4-FFF2-40B4-BE49-F238E27FC236}">
                <a16:creationId xmlns:a16="http://schemas.microsoft.com/office/drawing/2014/main" id="{54FFCA38-D22F-9473-AB3E-FC22C489B07B}"/>
              </a:ext>
            </a:extLst>
          </p:cNvPr>
          <p:cNvPicPr>
            <a:picLocks noChangeAspect="1" noChangeArrowheads="1"/>
          </p:cNvPicPr>
          <p:nvPr>
            <p:custDataLst>
              <p:tags r:id="rId18"/>
            </p:custDataLst>
          </p:nvPr>
        </p:nvPicPr>
        <p:blipFill>
          <a:blip r:embed="rId83">
            <a:extLst>
              <a:ext uri="{28A0092B-C50C-407E-A947-70E740481C1C}">
                <a14:useLocalDpi xmlns:a14="http://schemas.microsoft.com/office/drawing/2010/main"/>
              </a:ext>
            </a:extLst>
          </a:blip>
          <a:srcRect l="18698" t="5396" r="13728" b="3031"/>
          <a:stretch>
            <a:fillRect/>
          </a:stretch>
        </p:blipFill>
        <p:spPr bwMode="auto">
          <a:xfrm>
            <a:off x="2582497" y="3674031"/>
            <a:ext cx="491073"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pic>
        <p:nvPicPr>
          <p:cNvPr id="1117" name="Imagem 1116" descr="Ponte sobre a grama&#10;&#10;Descrição gerada automaticamente com confiança média">
            <a:extLst>
              <a:ext uri="{FF2B5EF4-FFF2-40B4-BE49-F238E27FC236}">
                <a16:creationId xmlns:a16="http://schemas.microsoft.com/office/drawing/2014/main" id="{7368546D-05EE-38E2-ABDD-3BB09921CA0E}"/>
              </a:ext>
            </a:extLst>
          </p:cNvPr>
          <p:cNvPicPr>
            <a:picLocks noChangeAspect="1"/>
          </p:cNvPicPr>
          <p:nvPr>
            <p:custDataLst>
              <p:tags r:id="rId19"/>
            </p:custDataLst>
          </p:nvPr>
        </p:nvPicPr>
        <p:blipFill>
          <a:blip r:embed="rId84">
            <a:extLst>
              <a:ext uri="{28A0092B-C50C-407E-A947-70E740481C1C}">
                <a14:useLocalDpi xmlns:a14="http://schemas.microsoft.com/office/drawing/2010/main"/>
              </a:ext>
            </a:extLst>
          </a:blip>
          <a:srcRect l="20298" r="20298"/>
          <a:stretch>
            <a:fillRect/>
          </a:stretch>
        </p:blipFill>
        <p:spPr>
          <a:xfrm>
            <a:off x="2582321" y="4371300"/>
            <a:ext cx="489330" cy="489330"/>
          </a:xfrm>
          <a:prstGeom prst="flowChartConnector">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pic>
      <p:sp>
        <p:nvSpPr>
          <p:cNvPr id="1153" name="CaixaDeTexto 1152">
            <a:extLst>
              <a:ext uri="{FF2B5EF4-FFF2-40B4-BE49-F238E27FC236}">
                <a16:creationId xmlns:a16="http://schemas.microsoft.com/office/drawing/2014/main" id="{8F0C5B53-BED0-679C-3D8B-D9F4FF7BDCCB}"/>
              </a:ext>
            </a:extLst>
          </p:cNvPr>
          <p:cNvSpPr txBox="1"/>
          <p:nvPr>
            <p:custDataLst>
              <p:tags r:id="rId20"/>
            </p:custDataLst>
          </p:nvPr>
        </p:nvSpPr>
        <p:spPr>
          <a:xfrm>
            <a:off x="3135244" y="1819008"/>
            <a:ext cx="197146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Tibagi</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21.5 million</a:t>
            </a:r>
          </a:p>
        </p:txBody>
      </p:sp>
      <p:sp>
        <p:nvSpPr>
          <p:cNvPr id="1154" name="CaixaDeTexto 1153">
            <a:extLst>
              <a:ext uri="{FF2B5EF4-FFF2-40B4-BE49-F238E27FC236}">
                <a16:creationId xmlns:a16="http://schemas.microsoft.com/office/drawing/2014/main" id="{40960681-339E-1A3A-2D91-90D023D7CBA8}"/>
              </a:ext>
            </a:extLst>
          </p:cNvPr>
          <p:cNvSpPr txBox="1"/>
          <p:nvPr>
            <p:custDataLst>
              <p:tags r:id="rId21"/>
            </p:custDataLst>
          </p:nvPr>
        </p:nvSpPr>
        <p:spPr>
          <a:xfrm>
            <a:off x="3150524" y="2483167"/>
            <a:ext cx="197146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Itapura Lorena</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14.3 million</a:t>
            </a:r>
          </a:p>
        </p:txBody>
      </p:sp>
      <p:sp>
        <p:nvSpPr>
          <p:cNvPr id="1155" name="CaixaDeTexto 1154">
            <a:extLst>
              <a:ext uri="{FF2B5EF4-FFF2-40B4-BE49-F238E27FC236}">
                <a16:creationId xmlns:a16="http://schemas.microsoft.com/office/drawing/2014/main" id="{F1663908-5C86-3BAD-8C8F-355CF0F6B649}"/>
              </a:ext>
            </a:extLst>
          </p:cNvPr>
          <p:cNvSpPr txBox="1"/>
          <p:nvPr>
            <p:custDataLst>
              <p:tags r:id="rId22"/>
            </p:custDataLst>
          </p:nvPr>
        </p:nvSpPr>
        <p:spPr>
          <a:xfrm>
            <a:off x="3060586" y="3106676"/>
            <a:ext cx="197146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Biguaçu</a:t>
            </a:r>
          </a:p>
          <a:p>
            <a:pPr lvl="0"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49.5 million</a:t>
            </a:r>
          </a:p>
        </p:txBody>
      </p:sp>
      <p:sp>
        <p:nvSpPr>
          <p:cNvPr id="1156" name="CaixaDeTexto 1155">
            <a:extLst>
              <a:ext uri="{FF2B5EF4-FFF2-40B4-BE49-F238E27FC236}">
                <a16:creationId xmlns:a16="http://schemas.microsoft.com/office/drawing/2014/main" id="{EDC39409-2DB5-53C3-38D0-0E1CEB937F66}"/>
              </a:ext>
            </a:extLst>
          </p:cNvPr>
          <p:cNvSpPr txBox="1"/>
          <p:nvPr>
            <p:custDataLst>
              <p:tags r:id="rId23"/>
            </p:custDataLst>
          </p:nvPr>
        </p:nvSpPr>
        <p:spPr>
          <a:xfrm>
            <a:off x="3045596" y="3700911"/>
            <a:ext cx="197146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Paraguaçu (50%)</a:t>
            </a:r>
          </a:p>
          <a:p>
            <a:pPr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66.8 million</a:t>
            </a:r>
          </a:p>
        </p:txBody>
      </p:sp>
      <p:sp>
        <p:nvSpPr>
          <p:cNvPr id="1157" name="CaixaDeTexto 1156">
            <a:extLst>
              <a:ext uri="{FF2B5EF4-FFF2-40B4-BE49-F238E27FC236}">
                <a16:creationId xmlns:a16="http://schemas.microsoft.com/office/drawing/2014/main" id="{21C3A400-98DF-D6F0-438F-C0CC3955BEFF}"/>
              </a:ext>
            </a:extLst>
          </p:cNvPr>
          <p:cNvSpPr txBox="1"/>
          <p:nvPr>
            <p:custDataLst>
              <p:tags r:id="rId24"/>
            </p:custDataLst>
          </p:nvPr>
        </p:nvSpPr>
        <p:spPr>
          <a:xfrm>
            <a:off x="3081698" y="4474063"/>
            <a:ext cx="1971466" cy="337272"/>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000" b="1" i="0" u="none" strike="noStrike" cap="none" spc="0" baseline="0" dirty="0">
                <a:solidFill>
                  <a:srgbClr val="005FD7"/>
                </a:solidFill>
                <a:effectLst/>
                <a:uFillTx/>
                <a:latin typeface="Segoe UI"/>
              </a:rPr>
              <a:t>Triângulo Mineiro</a:t>
            </a:r>
          </a:p>
          <a:p>
            <a:pPr algn="l">
              <a:lnSpc>
                <a:spcPct val="75000"/>
              </a:lnSpc>
              <a:spcBef>
                <a:spcPts val="100"/>
              </a:spcBef>
              <a:spcAft>
                <a:spcPts val="100"/>
              </a:spcAft>
              <a:defRPr/>
            </a:pPr>
            <a:r>
              <a:rPr lang="en-US" sz="900" b="0" i="0" u="none" strike="noStrike" cap="none" spc="0" baseline="0" dirty="0">
                <a:solidFill>
                  <a:srgbClr val="002581"/>
                </a:solidFill>
                <a:effectLst/>
                <a:uFillTx/>
                <a:latin typeface="Segoe UI"/>
              </a:rPr>
              <a:t>RAP²: </a:t>
            </a:r>
            <a:r>
              <a:rPr lang="en-US" sz="900" b="1" i="0" u="none" strike="noStrike" cap="none" spc="0" baseline="0" dirty="0">
                <a:solidFill>
                  <a:srgbClr val="002581"/>
                </a:solidFill>
                <a:effectLst/>
                <a:uFillTx/>
                <a:latin typeface="Segoe UI"/>
              </a:rPr>
              <a:t>R$42.1 million</a:t>
            </a:r>
          </a:p>
        </p:txBody>
      </p:sp>
      <p:grpSp>
        <p:nvGrpSpPr>
          <p:cNvPr id="1209" name="Agrupar 1208">
            <a:extLst>
              <a:ext uri="{FF2B5EF4-FFF2-40B4-BE49-F238E27FC236}">
                <a16:creationId xmlns:a16="http://schemas.microsoft.com/office/drawing/2014/main" id="{C7F0916F-D930-FD35-2AE6-F92134E12A49}"/>
              </a:ext>
            </a:extLst>
          </p:cNvPr>
          <p:cNvGrpSpPr/>
          <p:nvPr>
            <p:custDataLst>
              <p:tags r:id="rId25"/>
            </p:custDataLst>
          </p:nvPr>
        </p:nvGrpSpPr>
        <p:grpSpPr>
          <a:xfrm>
            <a:off x="6045583" y="954769"/>
            <a:ext cx="2350182" cy="628377"/>
            <a:chOff x="6045583" y="1026623"/>
            <a:chExt cx="2350182" cy="628377"/>
          </a:xfrm>
        </p:grpSpPr>
        <p:grpSp>
          <p:nvGrpSpPr>
            <p:cNvPr id="1196" name="Agrupar 1195">
              <a:extLst>
                <a:ext uri="{FF2B5EF4-FFF2-40B4-BE49-F238E27FC236}">
                  <a16:creationId xmlns:a16="http://schemas.microsoft.com/office/drawing/2014/main" id="{15534B4C-38B2-D7CF-95D4-E5761CCE4E91}"/>
                </a:ext>
              </a:extLst>
            </p:cNvPr>
            <p:cNvGrpSpPr/>
            <p:nvPr>
              <p:custDataLst>
                <p:tags r:id="rId38"/>
              </p:custDataLst>
            </p:nvPr>
          </p:nvGrpSpPr>
          <p:grpSpPr>
            <a:xfrm>
              <a:off x="6045583" y="1026623"/>
              <a:ext cx="2350182" cy="628377"/>
              <a:chOff x="6045583" y="1026623"/>
              <a:chExt cx="2350182" cy="628377"/>
            </a:xfrm>
          </p:grpSpPr>
          <p:sp>
            <p:nvSpPr>
              <p:cNvPr id="1178" name="Elipse 1177">
                <a:extLst>
                  <a:ext uri="{FF2B5EF4-FFF2-40B4-BE49-F238E27FC236}">
                    <a16:creationId xmlns:a16="http://schemas.microsoft.com/office/drawing/2014/main" id="{F03FA13E-192E-CFD2-2BFF-0C5D032035CC}"/>
                  </a:ext>
                </a:extLst>
              </p:cNvPr>
              <p:cNvSpPr/>
              <p:nvPr>
                <p:custDataLst>
                  <p:tags r:id="rId40"/>
                </p:custDataLst>
              </p:nvPr>
            </p:nvSpPr>
            <p:spPr>
              <a:xfrm>
                <a:off x="6045583" y="1033315"/>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1193" name="CaixaDeTexto 1192">
                <a:extLst>
                  <a:ext uri="{FF2B5EF4-FFF2-40B4-BE49-F238E27FC236}">
                    <a16:creationId xmlns:a16="http://schemas.microsoft.com/office/drawing/2014/main" id="{8958DD4D-33C1-8427-9112-6A78C238F063}"/>
                  </a:ext>
                </a:extLst>
              </p:cNvPr>
              <p:cNvSpPr txBox="1"/>
              <p:nvPr>
                <p:custDataLst>
                  <p:tags r:id="rId41"/>
                </p:custDataLst>
              </p:nvPr>
            </p:nvSpPr>
            <p:spPr>
              <a:xfrm>
                <a:off x="6613651" y="1026623"/>
                <a:ext cx="1782114" cy="628377"/>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200" b="1" i="0" u="none" strike="noStrike" cap="none" spc="0" baseline="0" dirty="0">
                    <a:solidFill>
                      <a:srgbClr val="002581"/>
                    </a:solidFill>
                    <a:effectLst/>
                    <a:uFillTx/>
                    <a:latin typeface="Segoe UI"/>
                  </a:rPr>
                  <a:t>Energized Projects</a:t>
                </a:r>
              </a:p>
              <a:p>
                <a:pPr lvl="0" algn="l">
                  <a:lnSpc>
                    <a:spcPct val="75000"/>
                  </a:lnSpc>
                  <a:spcBef>
                    <a:spcPts val="100"/>
                  </a:spcBef>
                  <a:spcAft>
                    <a:spcPts val="100"/>
                  </a:spcAft>
                  <a:defRPr/>
                </a:pPr>
                <a:r>
                  <a:rPr lang="pt-BR" sz="1200" spc="0" dirty="0">
                    <a:latin typeface="Segoe UI" panose="020B0502040204020203" pitchFamily="34" charset="0"/>
                    <a:cs typeface="Segoe UI" panose="020B0502040204020203" pitchFamily="34" charset="0"/>
                  </a:rPr>
                  <a:t>2019 - 2023</a:t>
                </a:r>
              </a:p>
              <a:p>
                <a:pPr lvl="0" algn="l">
                  <a:lnSpc>
                    <a:spcPct val="75000"/>
                  </a:lnSpc>
                  <a:spcBef>
                    <a:spcPts val="100"/>
                  </a:spcBef>
                  <a:spcAft>
                    <a:spcPts val="100"/>
                  </a:spcAft>
                  <a:defRPr/>
                </a:pPr>
                <a:r>
                  <a:rPr lang="pt-BR" sz="1800" b="1" spc="0" dirty="0">
                    <a:solidFill>
                      <a:srgbClr val="F8681E"/>
                    </a:solidFill>
                    <a:latin typeface="Segoe UI" panose="020B0502040204020203" pitchFamily="34" charset="0"/>
                    <a:cs typeface="Segoe UI" panose="020B0502040204020203" pitchFamily="34" charset="0"/>
                  </a:rPr>
                  <a:t>12</a:t>
                </a:r>
              </a:p>
            </p:txBody>
          </p:sp>
        </p:grpSp>
        <p:sp>
          <p:nvSpPr>
            <p:cNvPr id="1208" name="Forma Livre: Forma 1207">
              <a:extLst>
                <a:ext uri="{FF2B5EF4-FFF2-40B4-BE49-F238E27FC236}">
                  <a16:creationId xmlns:a16="http://schemas.microsoft.com/office/drawing/2014/main" id="{79AEE4D9-E5A1-BDEB-5FFD-E34827B2120D}"/>
                </a:ext>
              </a:extLst>
            </p:cNvPr>
            <p:cNvSpPr/>
            <p:nvPr>
              <p:custDataLst>
                <p:tags r:id="rId39"/>
              </p:custDataLst>
            </p:nvPr>
          </p:nvSpPr>
          <p:spPr>
            <a:xfrm>
              <a:off x="6221302" y="1131034"/>
              <a:ext cx="227141" cy="382656"/>
            </a:xfrm>
            <a:custGeom>
              <a:avLst/>
              <a:gdLst>
                <a:gd name="connsiteX0" fmla="*/ 21911 w 350526"/>
                <a:gd name="connsiteY0" fmla="*/ 351077 h 590519"/>
                <a:gd name="connsiteX1" fmla="*/ 112398 w 350526"/>
                <a:gd name="connsiteY1" fmla="*/ 351077 h 590519"/>
                <a:gd name="connsiteX2" fmla="*/ 59058 w 350526"/>
                <a:gd name="connsiteY2" fmla="*/ 562531 h 590519"/>
                <a:gd name="connsiteX3" fmla="*/ 98111 w 350526"/>
                <a:gd name="connsiteY3" fmla="*/ 582534 h 590519"/>
                <a:gd name="connsiteX4" fmla="*/ 345761 w 350526"/>
                <a:gd name="connsiteY4" fmla="*/ 275829 h 590519"/>
                <a:gd name="connsiteX5" fmla="*/ 328616 w 350526"/>
                <a:gd name="connsiteY5" fmla="*/ 239634 h 590519"/>
                <a:gd name="connsiteX6" fmla="*/ 238128 w 350526"/>
                <a:gd name="connsiteY6" fmla="*/ 239634 h 590519"/>
                <a:gd name="connsiteX7" fmla="*/ 291468 w 350526"/>
                <a:gd name="connsiteY7" fmla="*/ 28179 h 590519"/>
                <a:gd name="connsiteX8" fmla="*/ 252416 w 350526"/>
                <a:gd name="connsiteY8" fmla="*/ 8176 h 590519"/>
                <a:gd name="connsiteX9" fmla="*/ 4766 w 350526"/>
                <a:gd name="connsiteY9" fmla="*/ 314881 h 590519"/>
                <a:gd name="connsiteX10" fmla="*/ 21911 w 350526"/>
                <a:gd name="connsiteY10" fmla="*/ 351077 h 59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0526" h="590519">
                  <a:moveTo>
                    <a:pt x="21911" y="351077"/>
                  </a:moveTo>
                  <a:lnTo>
                    <a:pt x="112398" y="351077"/>
                  </a:lnTo>
                  <a:lnTo>
                    <a:pt x="59058" y="562531"/>
                  </a:lnTo>
                  <a:cubicBezTo>
                    <a:pt x="53343" y="585392"/>
                    <a:pt x="82871" y="600631"/>
                    <a:pt x="98111" y="582534"/>
                  </a:cubicBezTo>
                  <a:lnTo>
                    <a:pt x="345761" y="275829"/>
                  </a:lnTo>
                  <a:cubicBezTo>
                    <a:pt x="357191" y="261541"/>
                    <a:pt x="346713" y="239634"/>
                    <a:pt x="328616" y="239634"/>
                  </a:cubicBezTo>
                  <a:lnTo>
                    <a:pt x="238128" y="239634"/>
                  </a:lnTo>
                  <a:lnTo>
                    <a:pt x="291468" y="28179"/>
                  </a:lnTo>
                  <a:cubicBezTo>
                    <a:pt x="297183" y="4366"/>
                    <a:pt x="267656" y="-9921"/>
                    <a:pt x="252416" y="8176"/>
                  </a:cubicBezTo>
                  <a:lnTo>
                    <a:pt x="4766" y="314881"/>
                  </a:lnTo>
                  <a:cubicBezTo>
                    <a:pt x="-6664" y="329169"/>
                    <a:pt x="3813" y="351077"/>
                    <a:pt x="21911" y="351077"/>
                  </a:cubicBezTo>
                  <a:close/>
                </a:path>
              </a:pathLst>
            </a:custGeom>
            <a:solidFill>
              <a:schemeClr val="bg1"/>
            </a:solidFill>
            <a:ln w="9525" cap="flat">
              <a:noFill/>
              <a:prstDash val="solid"/>
              <a:miter/>
            </a:ln>
          </p:spPr>
          <p:txBody>
            <a:bodyPr rtlCol="0" anchor="ctr"/>
            <a:lstStyle/>
            <a:p>
              <a:endParaRPr lang="pt-BR" dirty="0">
                <a:latin typeface="Segoe UI" panose="020B0502040204020203" pitchFamily="34" charset="0"/>
                <a:cs typeface="Segoe UI" panose="020B0502040204020203" pitchFamily="34" charset="0"/>
              </a:endParaRPr>
            </a:p>
          </p:txBody>
        </p:sp>
      </p:grpSp>
      <p:grpSp>
        <p:nvGrpSpPr>
          <p:cNvPr id="1198" name="Agrupar 1197">
            <a:extLst>
              <a:ext uri="{FF2B5EF4-FFF2-40B4-BE49-F238E27FC236}">
                <a16:creationId xmlns:a16="http://schemas.microsoft.com/office/drawing/2014/main" id="{4A8FA82F-E271-2DD0-5E48-766609DE8567}"/>
              </a:ext>
            </a:extLst>
          </p:cNvPr>
          <p:cNvGrpSpPr/>
          <p:nvPr>
            <p:custDataLst>
              <p:tags r:id="rId26"/>
            </p:custDataLst>
          </p:nvPr>
        </p:nvGrpSpPr>
        <p:grpSpPr>
          <a:xfrm>
            <a:off x="6045583" y="2256970"/>
            <a:ext cx="1618194" cy="628377"/>
            <a:chOff x="6045583" y="2402774"/>
            <a:chExt cx="1618194" cy="628377"/>
          </a:xfrm>
        </p:grpSpPr>
        <p:sp>
          <p:nvSpPr>
            <p:cNvPr id="1185" name="Elipse 1184">
              <a:extLst>
                <a:ext uri="{FF2B5EF4-FFF2-40B4-BE49-F238E27FC236}">
                  <a16:creationId xmlns:a16="http://schemas.microsoft.com/office/drawing/2014/main" id="{267C8C71-628C-5742-8B55-316398B7D07A}"/>
                </a:ext>
              </a:extLst>
            </p:cNvPr>
            <p:cNvSpPr/>
            <p:nvPr>
              <p:custDataLst>
                <p:tags r:id="rId36"/>
              </p:custDataLst>
            </p:nvPr>
          </p:nvSpPr>
          <p:spPr>
            <a:xfrm>
              <a:off x="6045583" y="2414231"/>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1195" name="CaixaDeTexto 1194">
              <a:extLst>
                <a:ext uri="{FF2B5EF4-FFF2-40B4-BE49-F238E27FC236}">
                  <a16:creationId xmlns:a16="http://schemas.microsoft.com/office/drawing/2014/main" id="{5CEB6DD7-1E9A-687B-4772-398109999265}"/>
                </a:ext>
              </a:extLst>
            </p:cNvPr>
            <p:cNvSpPr txBox="1"/>
            <p:nvPr>
              <p:custDataLst>
                <p:tags r:id="rId37"/>
              </p:custDataLst>
            </p:nvPr>
          </p:nvSpPr>
          <p:spPr>
            <a:xfrm>
              <a:off x="6613654" y="2402774"/>
              <a:ext cx="1050123" cy="628377"/>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200" b="1" i="0" u="none" strike="noStrike" cap="none" spc="0" baseline="0" dirty="0">
                  <a:solidFill>
                    <a:srgbClr val="002581"/>
                  </a:solidFill>
                  <a:effectLst/>
                  <a:uFillTx/>
                  <a:latin typeface="Segoe UI"/>
                </a:rPr>
                <a:t>RAP²</a:t>
              </a:r>
            </a:p>
            <a:p>
              <a:pPr lvl="0" algn="l">
                <a:lnSpc>
                  <a:spcPct val="75000"/>
                </a:lnSpc>
                <a:spcBef>
                  <a:spcPts val="100"/>
                </a:spcBef>
                <a:spcAft>
                  <a:spcPts val="100"/>
                </a:spcAft>
                <a:defRPr/>
              </a:pPr>
              <a:r>
                <a:rPr lang="en-US" sz="1200" b="0" i="0" u="none" strike="noStrike" cap="none" spc="0" baseline="0" dirty="0">
                  <a:solidFill>
                    <a:srgbClr val="002581"/>
                  </a:solidFill>
                  <a:effectLst/>
                  <a:uFillTx/>
                  <a:latin typeface="Segoe UI"/>
                </a:rPr>
                <a:t>R$ million</a:t>
              </a:r>
            </a:p>
            <a:p>
              <a:pPr lvl="0" algn="l">
                <a:lnSpc>
                  <a:spcPct val="75000"/>
                </a:lnSpc>
                <a:spcBef>
                  <a:spcPts val="100"/>
                </a:spcBef>
                <a:spcAft>
                  <a:spcPts val="100"/>
                </a:spcAft>
                <a:defRPr/>
              </a:pPr>
              <a:r>
                <a:rPr lang="pt-BR" sz="1800" b="1" spc="0" dirty="0">
                  <a:solidFill>
                    <a:srgbClr val="F8681E"/>
                  </a:solidFill>
                  <a:latin typeface="Segoe UI" panose="020B0502040204020203" pitchFamily="34" charset="0"/>
                  <a:cs typeface="Segoe UI" panose="020B0502040204020203" pitchFamily="34" charset="0"/>
                </a:rPr>
                <a:t>644.8</a:t>
              </a:r>
            </a:p>
          </p:txBody>
        </p:sp>
      </p:grpSp>
      <p:grpSp>
        <p:nvGrpSpPr>
          <p:cNvPr id="1197" name="Agrupar 1196">
            <a:extLst>
              <a:ext uri="{FF2B5EF4-FFF2-40B4-BE49-F238E27FC236}">
                <a16:creationId xmlns:a16="http://schemas.microsoft.com/office/drawing/2014/main" id="{948E70BF-03D8-C192-5BD0-FF4206E48CC4}"/>
              </a:ext>
            </a:extLst>
          </p:cNvPr>
          <p:cNvGrpSpPr/>
          <p:nvPr>
            <p:custDataLst>
              <p:tags r:id="rId27"/>
            </p:custDataLst>
          </p:nvPr>
        </p:nvGrpSpPr>
        <p:grpSpPr>
          <a:xfrm>
            <a:off x="6045583" y="1584340"/>
            <a:ext cx="1856529" cy="628377"/>
            <a:chOff x="6045583" y="1694048"/>
            <a:chExt cx="1856529" cy="628377"/>
          </a:xfrm>
        </p:grpSpPr>
        <p:sp>
          <p:nvSpPr>
            <p:cNvPr id="1184" name="Elipse 1183">
              <a:extLst>
                <a:ext uri="{FF2B5EF4-FFF2-40B4-BE49-F238E27FC236}">
                  <a16:creationId xmlns:a16="http://schemas.microsoft.com/office/drawing/2014/main" id="{15417EB5-F363-C1D6-138D-A87DB29245C2}"/>
                </a:ext>
              </a:extLst>
            </p:cNvPr>
            <p:cNvSpPr/>
            <p:nvPr>
              <p:custDataLst>
                <p:tags r:id="rId34"/>
              </p:custDataLst>
            </p:nvPr>
          </p:nvSpPr>
          <p:spPr>
            <a:xfrm>
              <a:off x="6045583" y="1725779"/>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1194" name="CaixaDeTexto 1193">
              <a:extLst>
                <a:ext uri="{FF2B5EF4-FFF2-40B4-BE49-F238E27FC236}">
                  <a16:creationId xmlns:a16="http://schemas.microsoft.com/office/drawing/2014/main" id="{C19EA2D2-B70B-DBA4-8C83-4C11FE71801B}"/>
                </a:ext>
              </a:extLst>
            </p:cNvPr>
            <p:cNvSpPr txBox="1"/>
            <p:nvPr>
              <p:custDataLst>
                <p:tags r:id="rId35"/>
              </p:custDataLst>
            </p:nvPr>
          </p:nvSpPr>
          <p:spPr>
            <a:xfrm>
              <a:off x="6613651" y="1694048"/>
              <a:ext cx="1288461" cy="628377"/>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en-US" sz="1200" b="1" i="0" u="none" strike="noStrike" cap="none" spc="0" baseline="0" dirty="0">
                  <a:solidFill>
                    <a:srgbClr val="002581"/>
                  </a:solidFill>
                  <a:effectLst/>
                  <a:uFillTx/>
                  <a:latin typeface="Segoe UI"/>
                </a:rPr>
                <a:t>Investment¹</a:t>
              </a:r>
            </a:p>
            <a:p>
              <a:pPr lvl="0" algn="l">
                <a:lnSpc>
                  <a:spcPct val="75000"/>
                </a:lnSpc>
                <a:spcBef>
                  <a:spcPts val="100"/>
                </a:spcBef>
                <a:spcAft>
                  <a:spcPts val="100"/>
                </a:spcAft>
                <a:defRPr/>
              </a:pPr>
              <a:r>
                <a:rPr lang="en-US" sz="1200" b="0" i="0" u="none" strike="noStrike" cap="none" spc="0" baseline="0" dirty="0">
                  <a:solidFill>
                    <a:srgbClr val="002581"/>
                  </a:solidFill>
                  <a:effectLst/>
                  <a:uFillTx/>
                  <a:latin typeface="Segoe UI"/>
                </a:rPr>
                <a:t>R$ billion </a:t>
              </a:r>
            </a:p>
            <a:p>
              <a:pPr lvl="0" algn="l">
                <a:lnSpc>
                  <a:spcPct val="75000"/>
                </a:lnSpc>
                <a:spcBef>
                  <a:spcPts val="100"/>
                </a:spcBef>
                <a:spcAft>
                  <a:spcPts val="100"/>
                </a:spcAft>
                <a:defRPr/>
              </a:pPr>
              <a:r>
                <a:rPr lang="pt-BR" sz="1800" b="1" spc="0" dirty="0">
                  <a:solidFill>
                    <a:srgbClr val="F8681E"/>
                  </a:solidFill>
                  <a:latin typeface="Segoe UI" panose="020B0502040204020203" pitchFamily="34" charset="0"/>
                  <a:cs typeface="Segoe UI" panose="020B0502040204020203" pitchFamily="34" charset="0"/>
                </a:rPr>
                <a:t>3.8</a:t>
              </a:r>
            </a:p>
          </p:txBody>
        </p:sp>
      </p:grpSp>
      <p:pic>
        <p:nvPicPr>
          <p:cNvPr id="3" name="Picture 8">
            <a:extLst>
              <a:ext uri="{FF2B5EF4-FFF2-40B4-BE49-F238E27FC236}">
                <a16:creationId xmlns:a16="http://schemas.microsoft.com/office/drawing/2014/main" id="{3E3FD4BB-F82D-CFE5-240D-317FA8960FD7}"/>
              </a:ext>
            </a:extLst>
          </p:cNvPr>
          <p:cNvPicPr>
            <a:picLocks noChangeAspect="1" noChangeArrowheads="1"/>
          </p:cNvPicPr>
          <p:nvPr>
            <p:custDataLst>
              <p:tags r:id="rId28"/>
            </p:custDataLst>
          </p:nvPr>
        </p:nvPicPr>
        <p:blipFill>
          <a:blip r:embed="rId85">
            <a:extLst>
              <a:ext uri="{28A0092B-C50C-407E-A947-70E740481C1C}">
                <a14:useLocalDpi xmlns:a14="http://schemas.microsoft.com/office/drawing/2010/main"/>
              </a:ext>
            </a:extLst>
          </a:blip>
          <a:srcRect l="14498" t="-497" r="29285" b="497"/>
          <a:stretch>
            <a:fillRect/>
          </a:stretch>
        </p:blipFill>
        <p:spPr bwMode="auto">
          <a:xfrm>
            <a:off x="4358310" y="3346476"/>
            <a:ext cx="460277" cy="460277"/>
          </a:xfrm>
          <a:prstGeom prst="flowChartConnector">
            <a:avLst/>
          </a:prstGeom>
          <a:noFill/>
          <a:ln>
            <a:solidFill>
              <a:srgbClr val="00FFFF"/>
            </a:solidFill>
          </a:ln>
          <a:extLst>
            <a:ext uri="{909E8E84-426E-40DD-AFC4-6F175D3DCCD1}">
              <a14:hiddenFill xmlns:a14="http://schemas.microsoft.com/office/drawing/2010/main">
                <a:solidFill>
                  <a:srgbClr val="FFFFFF"/>
                </a:solidFill>
              </a14:hiddenFill>
            </a:ext>
          </a:extLst>
        </p:spPr>
      </p:pic>
      <p:sp>
        <p:nvSpPr>
          <p:cNvPr id="4" name="CaixaDeTexto 3">
            <a:extLst>
              <a:ext uri="{FF2B5EF4-FFF2-40B4-BE49-F238E27FC236}">
                <a16:creationId xmlns:a16="http://schemas.microsoft.com/office/drawing/2014/main" id="{528F7083-BBC1-0F21-B05D-B586B28DAB75}"/>
              </a:ext>
            </a:extLst>
          </p:cNvPr>
          <p:cNvSpPr txBox="1"/>
          <p:nvPr>
            <p:custDataLst>
              <p:tags r:id="rId29"/>
            </p:custDataLst>
          </p:nvPr>
        </p:nvSpPr>
        <p:spPr>
          <a:xfrm>
            <a:off x="4800952" y="3400928"/>
            <a:ext cx="1634826" cy="466987"/>
          </a:xfrm>
          <a:prstGeom prst="rect">
            <a:avLst/>
          </a:prstGeom>
          <a:noFill/>
        </p:spPr>
        <p:txBody>
          <a:bodyPr wrap="square" rtlCol="0">
            <a:spAutoFit/>
          </a:bodyPr>
          <a:lstStyle>
            <a:defPPr>
              <a:defRPr lang="en-US"/>
            </a:defPPr>
            <a:lvl1pPr lvl="0" defTabSz="675010">
              <a:lnSpc>
                <a:spcPct val="75000"/>
              </a:lnSpc>
              <a:spcBef>
                <a:spcPts val="100"/>
              </a:spcBef>
              <a:spcAft>
                <a:spcPts val="100"/>
              </a:spcAft>
              <a:defRPr sz="1000" b="1" spc="0">
                <a:solidFill>
                  <a:srgbClr val="005FD7"/>
                </a:solidFill>
                <a:latin typeface="Segoe UI" panose="020B0502040204020203" pitchFamily="34" charset="0"/>
                <a:ea typeface="Tahoma" panose="020B0604030504040204" pitchFamily="34" charset="0"/>
                <a:cs typeface="Segoe UI" panose="020B0502040204020203" pitchFamily="34" charset="0"/>
              </a:defRPr>
            </a:lvl1pPr>
          </a:lstStyle>
          <a:p>
            <a:r>
              <a:rPr lang="en-US" sz="1000" b="1" i="0" u="none" strike="noStrike" cap="none" baseline="0" dirty="0">
                <a:solidFill>
                  <a:srgbClr val="005FD7"/>
                </a:solidFill>
                <a:effectLst/>
                <a:uFillTx/>
                <a:latin typeface="Segoe UI"/>
              </a:rPr>
              <a:t>Ivaí (50%)</a:t>
            </a:r>
          </a:p>
          <a:p>
            <a:r>
              <a:rPr lang="en-US" sz="900" b="0" i="0" u="none" strike="noStrike" cap="none" baseline="0" dirty="0">
                <a:solidFill>
                  <a:srgbClr val="002581"/>
                </a:solidFill>
                <a:effectLst/>
                <a:uFillTx/>
                <a:latin typeface="Segoe UI"/>
              </a:rPr>
              <a:t>RAP²: </a:t>
            </a:r>
          </a:p>
          <a:p>
            <a:r>
              <a:rPr lang="en-US" sz="900" b="1" i="0" u="none" strike="noStrike" cap="none" baseline="0" dirty="0">
                <a:solidFill>
                  <a:srgbClr val="002581"/>
                </a:solidFill>
                <a:effectLst/>
                <a:uFillTx/>
                <a:latin typeface="Segoe UI"/>
              </a:rPr>
              <a:t>R$181.3 million</a:t>
            </a:r>
          </a:p>
        </p:txBody>
      </p:sp>
      <p:sp>
        <p:nvSpPr>
          <p:cNvPr id="9" name="CaixaDeTexto 8">
            <a:extLst>
              <a:ext uri="{FF2B5EF4-FFF2-40B4-BE49-F238E27FC236}">
                <a16:creationId xmlns:a16="http://schemas.microsoft.com/office/drawing/2014/main" id="{24E663F4-7C70-546E-97CD-0F352D80E41C}"/>
              </a:ext>
            </a:extLst>
          </p:cNvPr>
          <p:cNvSpPr txBox="1"/>
          <p:nvPr>
            <p:custDataLst>
              <p:tags r:id="rId30"/>
            </p:custDataLst>
          </p:nvPr>
        </p:nvSpPr>
        <p:spPr>
          <a:xfrm>
            <a:off x="646912" y="123231"/>
            <a:ext cx="1805034" cy="58477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EXCELLENCE IN</a:t>
            </a:r>
            <a:br>
              <a:rPr sz="1000" spc="0" dirty="0">
                <a:solidFill>
                  <a:srgbClr val="011F57"/>
                </a:solidFill>
                <a:latin typeface="Segoe UI" panose="020B0502040204020203" pitchFamily="34" charset="0"/>
                <a:ea typeface="Segoe UI" panose="020B0502040204020203" pitchFamily="34" charset="0"/>
                <a:cs typeface="Segoe UI" panose="020B0502040204020203" pitchFamily="34" charset="0"/>
              </a:rPr>
            </a:br>
            <a:r>
              <a:rPr lang="en-US" sz="1000" b="1"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PROJECT MANAGEMENT</a:t>
            </a:r>
          </a:p>
          <a:p>
            <a:pPr lvl="0" defTabSz="234364"/>
            <a:r>
              <a:rPr lang="en-US" sz="1000" b="0" i="0" u="none" strike="noStrike" cap="none" spc="0" baseline="0" dirty="0">
                <a:solidFill>
                  <a:srgbClr val="011F57"/>
                </a:solidFill>
                <a:effectLst/>
                <a:uFillTx/>
                <a:latin typeface="Segoe UI" panose="020B0502040204020203" pitchFamily="34" charset="0"/>
                <a:ea typeface="Segoe UI" panose="020B0502040204020203" pitchFamily="34" charset="0"/>
                <a:cs typeface="Segoe UI" panose="020B0502040204020203" pitchFamily="34" charset="0"/>
              </a:rPr>
              <a:t>Disciplined structuring and execution</a:t>
            </a:r>
          </a:p>
        </p:txBody>
      </p:sp>
      <p:sp>
        <p:nvSpPr>
          <p:cNvPr id="10" name="Rectángulo redondeado 1">
            <a:extLst>
              <a:ext uri="{FF2B5EF4-FFF2-40B4-BE49-F238E27FC236}">
                <a16:creationId xmlns:a16="http://schemas.microsoft.com/office/drawing/2014/main" id="{78ADE052-31D5-F8B6-2589-39440A3EE3FF}"/>
              </a:ext>
            </a:extLst>
          </p:cNvPr>
          <p:cNvSpPr/>
          <p:nvPr>
            <p:custDataLst>
              <p:tags r:id="rId31"/>
            </p:custDataLst>
          </p:nvPr>
        </p:nvSpPr>
        <p:spPr>
          <a:xfrm>
            <a:off x="6523996" y="3154393"/>
            <a:ext cx="2202561" cy="946684"/>
          </a:xfrm>
          <a:prstGeom prst="roundRect">
            <a:avLst>
              <a:gd name="adj" fmla="val 4355"/>
            </a:avLst>
          </a:prstGeom>
          <a:solidFill>
            <a:schemeClr val="bg1">
              <a:alpha val="60000"/>
            </a:schemeClr>
          </a:solidFill>
          <a:ln w="19050">
            <a:gradFill flip="none" rotWithShape="1">
              <a:gsLst>
                <a:gs pos="0">
                  <a:srgbClr val="F8681E"/>
                </a:gs>
                <a:gs pos="100000">
                  <a:srgbClr val="F8681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s-CO"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sp>
        <p:nvSpPr>
          <p:cNvPr id="1206" name="CaixaDeTexto 1205">
            <a:extLst>
              <a:ext uri="{FF2B5EF4-FFF2-40B4-BE49-F238E27FC236}">
                <a16:creationId xmlns:a16="http://schemas.microsoft.com/office/drawing/2014/main" id="{77E9FD37-6727-59C4-DA17-58025E4E229B}"/>
              </a:ext>
            </a:extLst>
          </p:cNvPr>
          <p:cNvSpPr txBox="1"/>
          <p:nvPr>
            <p:custDataLst>
              <p:tags r:id="rId32"/>
            </p:custDataLst>
          </p:nvPr>
        </p:nvSpPr>
        <p:spPr>
          <a:xfrm>
            <a:off x="6566368" y="3207255"/>
            <a:ext cx="2298977" cy="90229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spcBef>
                <a:spcPts val="200"/>
              </a:spcBef>
              <a:spcAft>
                <a:spcPts val="200"/>
              </a:spcAft>
              <a:defRPr/>
            </a:pPr>
            <a:r>
              <a:rPr lang="en-US" sz="1200" b="1" i="0" u="none" strike="noStrike" cap="none" spc="0" baseline="0" dirty="0">
                <a:solidFill>
                  <a:srgbClr val="002581"/>
                </a:solidFill>
                <a:effectLst/>
                <a:uFillTx/>
                <a:latin typeface="Segoe UI"/>
              </a:rPr>
              <a:t>Reference in the sector: </a:t>
            </a:r>
          </a:p>
          <a:p>
            <a:pPr lvl="0" algn="l">
              <a:spcBef>
                <a:spcPts val="200"/>
              </a:spcBef>
              <a:spcAft>
                <a:spcPts val="200"/>
              </a:spcAft>
              <a:defRPr/>
            </a:pPr>
            <a:r>
              <a:rPr lang="en-US" sz="1200" b="0" i="0" u="none" strike="noStrike" cap="none" spc="0" baseline="0" dirty="0">
                <a:solidFill>
                  <a:srgbClr val="002581"/>
                </a:solidFill>
                <a:effectLst/>
                <a:uFillTx/>
                <a:latin typeface="Segoe UI"/>
              </a:rPr>
              <a:t>Projects 100% controlled by ISA </a:t>
            </a:r>
            <a:r>
              <a:rPr lang="en-US" sz="1100" b="0" i="0" u="none" strike="noStrike" cap="none" spc="0" baseline="0" dirty="0">
                <a:solidFill>
                  <a:srgbClr val="002581"/>
                </a:solidFill>
                <a:effectLst/>
                <a:uFillTx/>
                <a:latin typeface="Segoe UI"/>
              </a:rPr>
              <a:t>CTEEP </a:t>
            </a:r>
            <a:r>
              <a:rPr lang="en-US" sz="1100" b="1" i="0" u="none" strike="noStrike" cap="none" spc="0" baseline="0" dirty="0">
                <a:solidFill>
                  <a:srgbClr val="F8681E"/>
                </a:solidFill>
                <a:effectLst/>
                <a:uFillTx/>
                <a:latin typeface="Segoe UI"/>
              </a:rPr>
              <a:t>concluded 7 months in advance³ and with average Capex efficiency of 37%</a:t>
            </a:r>
            <a:r>
              <a:rPr lang="en-US" sz="1100" b="1" i="0" u="none" strike="noStrike" cap="none" spc="0" baseline="30000" dirty="0">
                <a:solidFill>
                  <a:srgbClr val="F8681E"/>
                </a:solidFill>
                <a:effectLst/>
                <a:uFillTx/>
                <a:latin typeface="Segoe UI"/>
              </a:rPr>
              <a:t>4</a:t>
            </a:r>
          </a:p>
        </p:txBody>
      </p:sp>
      <p:sp>
        <p:nvSpPr>
          <p:cNvPr id="12" name="CaixaDeTexto 11">
            <a:extLst>
              <a:ext uri="{FF2B5EF4-FFF2-40B4-BE49-F238E27FC236}">
                <a16:creationId xmlns:a16="http://schemas.microsoft.com/office/drawing/2014/main" id="{DBA24455-F839-B7B6-9C85-2BE0D11724A9}"/>
              </a:ext>
            </a:extLst>
          </p:cNvPr>
          <p:cNvSpPr txBox="1"/>
          <p:nvPr>
            <p:custDataLst>
              <p:tags r:id="rId33"/>
            </p:custDataLst>
          </p:nvPr>
        </p:nvSpPr>
        <p:spPr>
          <a:xfrm>
            <a:off x="5835721" y="4566879"/>
            <a:ext cx="3330092" cy="457657"/>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ct val="0"/>
              </a:spcAft>
              <a:buClrTx/>
              <a:buSzTx/>
              <a:buFontTx/>
              <a:buNone/>
              <a:defRPr/>
            </a:pPr>
            <a:r>
              <a:rPr lang="en-US" sz="600" b="0" i="0" u="none" strike="noStrike" cap="none" baseline="0" dirty="0">
                <a:solidFill>
                  <a:srgbClr val="203864"/>
                </a:solidFill>
                <a:effectLst/>
                <a:uFillTx/>
                <a:latin typeface="Segoe UI"/>
              </a:rPr>
              <a:t>¹ Nominal (IFRS) Cost of Construction.</a:t>
            </a:r>
          </a:p>
          <a:p>
            <a:pPr marL="0" marR="0" lvl="0" indent="0" algn="l" defTabSz="457200" rtl="0" eaLnBrk="1" fontAlgn="auto" latinLnBrk="0" hangingPunct="1">
              <a:lnSpc>
                <a:spcPct val="100000"/>
              </a:lnSpc>
              <a:spcBef>
                <a:spcPct val="0"/>
              </a:spcBef>
              <a:spcAft>
                <a:spcPct val="0"/>
              </a:spcAft>
              <a:buClrTx/>
              <a:buSzTx/>
              <a:buFontTx/>
              <a:buNone/>
              <a:defRPr/>
            </a:pPr>
            <a:r>
              <a:rPr lang="en-US" sz="600" b="0" i="0" u="none" strike="noStrike" cap="none" baseline="0" dirty="0">
                <a:solidFill>
                  <a:srgbClr val="203864"/>
                </a:solidFill>
                <a:effectLst/>
                <a:uFillTx/>
                <a:latin typeface="Segoe UI"/>
              </a:rPr>
              <a:t>² RAP 23/24 cycle, weighted by ISA CTEEP's stake.</a:t>
            </a:r>
          </a:p>
          <a:p>
            <a:pPr marL="0" marR="0" lvl="0" indent="0" algn="l" defTabSz="457200" rtl="0" eaLnBrk="1" fontAlgn="auto" latinLnBrk="0" hangingPunct="1">
              <a:lnSpc>
                <a:spcPct val="100000"/>
              </a:lnSpc>
              <a:spcBef>
                <a:spcPct val="0"/>
              </a:spcBef>
              <a:spcAft>
                <a:spcPct val="0"/>
              </a:spcAft>
              <a:buClrTx/>
              <a:buSzTx/>
              <a:buFontTx/>
              <a:buNone/>
              <a:defRPr/>
            </a:pPr>
            <a:r>
              <a:rPr lang="en-US" sz="600" b="0" i="0" u="none" strike="noStrike" cap="none" baseline="0" dirty="0">
                <a:solidFill>
                  <a:srgbClr val="203864"/>
                </a:solidFill>
                <a:effectLst/>
                <a:uFillTx/>
                <a:latin typeface="Segoe UI"/>
              </a:rPr>
              <a:t>³ In relation to ANEEL's term.</a:t>
            </a:r>
          </a:p>
          <a:p>
            <a:pPr marL="0" marR="0" lvl="0" indent="0" algn="l" defTabSz="457200" rtl="0" eaLnBrk="1" fontAlgn="auto" latinLnBrk="0" hangingPunct="1">
              <a:lnSpc>
                <a:spcPct val="100000"/>
              </a:lnSpc>
              <a:spcBef>
                <a:spcPct val="0"/>
              </a:spcBef>
              <a:spcAft>
                <a:spcPct val="0"/>
              </a:spcAft>
              <a:buClrTx/>
              <a:buSzTx/>
              <a:buFontTx/>
              <a:buNone/>
              <a:defRPr/>
            </a:pPr>
            <a:r>
              <a:rPr lang="en-US" sz="600" b="0" i="0" u="none" strike="noStrike" cap="none" baseline="30000" dirty="0">
                <a:solidFill>
                  <a:srgbClr val="203864"/>
                </a:solidFill>
                <a:effectLst/>
                <a:uFillTx/>
                <a:latin typeface="Segoe UI"/>
              </a:rPr>
              <a:t>4  </a:t>
            </a:r>
            <a:r>
              <a:rPr lang="en-US" sz="600" b="0" i="0" u="none" strike="noStrike" cap="none" baseline="0" dirty="0">
                <a:solidFill>
                  <a:srgbClr val="203864"/>
                </a:solidFill>
                <a:effectLst/>
                <a:uFillTx/>
                <a:latin typeface="Segoe UI"/>
              </a:rPr>
              <a:t>Actual investment, baseline June/23, compared to ANEEL Capex.</a:t>
            </a:r>
          </a:p>
        </p:txBody>
      </p:sp>
      <p:grpSp>
        <p:nvGrpSpPr>
          <p:cNvPr id="13" name="Agrupar 12">
            <a:extLst>
              <a:ext uri="{FF2B5EF4-FFF2-40B4-BE49-F238E27FC236}">
                <a16:creationId xmlns:a16="http://schemas.microsoft.com/office/drawing/2014/main" id="{BC88DE32-F1ED-12A8-2AB4-7BF564ACF39D}"/>
              </a:ext>
            </a:extLst>
          </p:cNvPr>
          <p:cNvGrpSpPr/>
          <p:nvPr/>
        </p:nvGrpSpPr>
        <p:grpSpPr>
          <a:xfrm>
            <a:off x="194193" y="166754"/>
            <a:ext cx="362316" cy="288292"/>
            <a:chOff x="194193" y="166754"/>
            <a:chExt cx="362316" cy="288292"/>
          </a:xfrm>
        </p:grpSpPr>
        <p:sp>
          <p:nvSpPr>
            <p:cNvPr id="14" name="Forma Livre: Forma 13">
              <a:extLst>
                <a:ext uri="{FF2B5EF4-FFF2-40B4-BE49-F238E27FC236}">
                  <a16:creationId xmlns:a16="http://schemas.microsoft.com/office/drawing/2014/main" id="{C7A6588E-AD5D-957F-0622-42740495FECF}"/>
                </a:ext>
              </a:extLst>
            </p:cNvPr>
            <p:cNvSpPr/>
            <p:nvPr/>
          </p:nvSpPr>
          <p:spPr>
            <a:xfrm>
              <a:off x="194193" y="166754"/>
              <a:ext cx="362316" cy="253696"/>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a:p>
          </p:txBody>
        </p:sp>
        <p:sp>
          <p:nvSpPr>
            <p:cNvPr id="15" name="CaixaDeTexto 14">
              <a:extLst>
                <a:ext uri="{FF2B5EF4-FFF2-40B4-BE49-F238E27FC236}">
                  <a16:creationId xmlns:a16="http://schemas.microsoft.com/office/drawing/2014/main" id="{331C8A9C-CD16-8777-1F9B-2D1114527D4F}"/>
                </a:ext>
              </a:extLst>
            </p:cNvPr>
            <p:cNvSpPr txBox="1"/>
            <p:nvPr/>
          </p:nvSpPr>
          <p:spPr>
            <a:xfrm>
              <a:off x="323691" y="179586"/>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4</a:t>
              </a:r>
            </a:p>
          </p:txBody>
        </p:sp>
      </p:grpSp>
      <p:pic>
        <p:nvPicPr>
          <p:cNvPr id="2" name="Imagem 1" descr="Uma imagem contendo Interface gráfica do usuário&#10;&#10;Descrição gerada automaticamente">
            <a:extLst>
              <a:ext uri="{FF2B5EF4-FFF2-40B4-BE49-F238E27FC236}">
                <a16:creationId xmlns:a16="http://schemas.microsoft.com/office/drawing/2014/main" id="{F3BD32DC-92BB-17B9-5610-45D3F66425A6}"/>
              </a:ext>
            </a:extLst>
          </p:cNvPr>
          <p:cNvPicPr>
            <a:picLocks noChangeAspect="1"/>
          </p:cNvPicPr>
          <p:nvPr/>
        </p:nvPicPr>
        <p:blipFill>
          <a:blip r:embed="rId86"/>
          <a:stretch>
            <a:fillRect/>
          </a:stretch>
        </p:blipFill>
        <p:spPr>
          <a:xfrm>
            <a:off x="8039840" y="60434"/>
            <a:ext cx="920231" cy="509571"/>
          </a:xfrm>
          <a:prstGeom prst="rect">
            <a:avLst/>
          </a:prstGeom>
        </p:spPr>
      </p:pic>
      <p:grpSp>
        <p:nvGrpSpPr>
          <p:cNvPr id="5" name="Gráfico 154">
            <a:extLst>
              <a:ext uri="{FF2B5EF4-FFF2-40B4-BE49-F238E27FC236}">
                <a16:creationId xmlns:a16="http://schemas.microsoft.com/office/drawing/2014/main" id="{E36E995E-5508-A142-09C6-0BBCCEC3834B}"/>
              </a:ext>
            </a:extLst>
          </p:cNvPr>
          <p:cNvGrpSpPr/>
          <p:nvPr/>
        </p:nvGrpSpPr>
        <p:grpSpPr>
          <a:xfrm>
            <a:off x="6203618" y="1738188"/>
            <a:ext cx="252000" cy="288000"/>
            <a:chOff x="5150441" y="4860830"/>
            <a:chExt cx="372023" cy="457206"/>
          </a:xfrm>
          <a:solidFill>
            <a:schemeClr val="bg1"/>
          </a:solidFill>
        </p:grpSpPr>
        <p:sp>
          <p:nvSpPr>
            <p:cNvPr id="6" name="Forma Livre: Forma 5">
              <a:extLst>
                <a:ext uri="{FF2B5EF4-FFF2-40B4-BE49-F238E27FC236}">
                  <a16:creationId xmlns:a16="http://schemas.microsoft.com/office/drawing/2014/main" id="{2AD52E4E-D3F7-031E-97EF-61EFC020F72F}"/>
                </a:ext>
              </a:extLst>
            </p:cNvPr>
            <p:cNvSpPr/>
            <p:nvPr/>
          </p:nvSpPr>
          <p:spPr>
            <a:xfrm>
              <a:off x="5254216" y="4860830"/>
              <a:ext cx="167204" cy="106686"/>
            </a:xfrm>
            <a:custGeom>
              <a:avLst/>
              <a:gdLst>
                <a:gd name="connsiteX0" fmla="*/ 16524 w 167204"/>
                <a:gd name="connsiteY0" fmla="*/ 106687 h 106686"/>
                <a:gd name="connsiteX1" fmla="*/ 148922 w 167204"/>
                <a:gd name="connsiteY1" fmla="*/ 106687 h 106686"/>
                <a:gd name="connsiteX2" fmla="*/ 167019 w 167204"/>
                <a:gd name="connsiteY2" fmla="*/ 9532 h 106686"/>
                <a:gd name="connsiteX3" fmla="*/ 161304 w 167204"/>
                <a:gd name="connsiteY3" fmla="*/ 959 h 106686"/>
                <a:gd name="connsiteX4" fmla="*/ 10809 w 167204"/>
                <a:gd name="connsiteY4" fmla="*/ 12389 h 106686"/>
                <a:gd name="connsiteX5" fmla="*/ 332 w 167204"/>
                <a:gd name="connsiteY5" fmla="*/ 20009 h 106686"/>
                <a:gd name="connsiteX6" fmla="*/ 16524 w 167204"/>
                <a:gd name="connsiteY6" fmla="*/ 106687 h 10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204" h="106686">
                  <a:moveTo>
                    <a:pt x="16524" y="106687"/>
                  </a:moveTo>
                  <a:lnTo>
                    <a:pt x="148922" y="106687"/>
                  </a:lnTo>
                  <a:lnTo>
                    <a:pt x="167019" y="9532"/>
                  </a:lnTo>
                  <a:cubicBezTo>
                    <a:pt x="167972" y="5722"/>
                    <a:pt x="165114" y="959"/>
                    <a:pt x="161304" y="959"/>
                  </a:cubicBezTo>
                  <a:cubicBezTo>
                    <a:pt x="105107" y="-6661"/>
                    <a:pt x="53672" y="34297"/>
                    <a:pt x="10809" y="12389"/>
                  </a:cubicBezTo>
                  <a:cubicBezTo>
                    <a:pt x="5094" y="9532"/>
                    <a:pt x="-1573" y="14294"/>
                    <a:pt x="332" y="20009"/>
                  </a:cubicBezTo>
                  <a:lnTo>
                    <a:pt x="16524" y="106687"/>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Forma Livre: Forma 6">
              <a:extLst>
                <a:ext uri="{FF2B5EF4-FFF2-40B4-BE49-F238E27FC236}">
                  <a16:creationId xmlns:a16="http://schemas.microsoft.com/office/drawing/2014/main" id="{9F3E00A0-4B8B-8661-CF02-600EFA28CCE8}"/>
                </a:ext>
              </a:extLst>
            </p:cNvPr>
            <p:cNvSpPr/>
            <p:nvPr/>
          </p:nvSpPr>
          <p:spPr>
            <a:xfrm>
              <a:off x="5308840" y="5092294"/>
              <a:ext cx="22859" cy="40957"/>
            </a:xfrm>
            <a:custGeom>
              <a:avLst/>
              <a:gdLst>
                <a:gd name="connsiteX0" fmla="*/ 0 w 22859"/>
                <a:gd name="connsiteY0" fmla="*/ 20003 h 40957"/>
                <a:gd name="connsiteX1" fmla="*/ 22860 w 22859"/>
                <a:gd name="connsiteY1" fmla="*/ 40958 h 40957"/>
                <a:gd name="connsiteX2" fmla="*/ 22860 w 22859"/>
                <a:gd name="connsiteY2" fmla="*/ 0 h 40957"/>
                <a:gd name="connsiteX3" fmla="*/ 0 w 22859"/>
                <a:gd name="connsiteY3" fmla="*/ 20003 h 40957"/>
              </a:gdLst>
              <a:ahLst/>
              <a:cxnLst>
                <a:cxn ang="0">
                  <a:pos x="connsiteX0" y="connsiteY0"/>
                </a:cxn>
                <a:cxn ang="0">
                  <a:pos x="connsiteX1" y="connsiteY1"/>
                </a:cxn>
                <a:cxn ang="0">
                  <a:pos x="connsiteX2" y="connsiteY2"/>
                </a:cxn>
                <a:cxn ang="0">
                  <a:pos x="connsiteX3" y="connsiteY3"/>
                </a:cxn>
              </a:cxnLst>
              <a:rect l="l" t="t" r="r" b="b"/>
              <a:pathLst>
                <a:path w="22859" h="40957">
                  <a:moveTo>
                    <a:pt x="0" y="20003"/>
                  </a:moveTo>
                  <a:cubicBezTo>
                    <a:pt x="0" y="32385"/>
                    <a:pt x="8572" y="37148"/>
                    <a:pt x="22860" y="40958"/>
                  </a:cubicBezTo>
                  <a:lnTo>
                    <a:pt x="22860" y="0"/>
                  </a:lnTo>
                  <a:cubicBezTo>
                    <a:pt x="10478" y="953"/>
                    <a:pt x="0" y="7620"/>
                    <a:pt x="0" y="2000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orma Livre: Forma 7">
              <a:extLst>
                <a:ext uri="{FF2B5EF4-FFF2-40B4-BE49-F238E27FC236}">
                  <a16:creationId xmlns:a16="http://schemas.microsoft.com/office/drawing/2014/main" id="{73E56614-4197-7F1B-B8F2-8E134B7B22F5}"/>
                </a:ext>
              </a:extLst>
            </p:cNvPr>
            <p:cNvSpPr/>
            <p:nvPr/>
          </p:nvSpPr>
          <p:spPr>
            <a:xfrm>
              <a:off x="5345988" y="5166589"/>
              <a:ext cx="24765" cy="42862"/>
            </a:xfrm>
            <a:custGeom>
              <a:avLst/>
              <a:gdLst>
                <a:gd name="connsiteX0" fmla="*/ 0 w 24765"/>
                <a:gd name="connsiteY0" fmla="*/ 0 h 42862"/>
                <a:gd name="connsiteX1" fmla="*/ 0 w 24765"/>
                <a:gd name="connsiteY1" fmla="*/ 42863 h 42862"/>
                <a:gd name="connsiteX2" fmla="*/ 24765 w 24765"/>
                <a:gd name="connsiteY2" fmla="*/ 22860 h 42862"/>
                <a:gd name="connsiteX3" fmla="*/ 0 w 24765"/>
                <a:gd name="connsiteY3" fmla="*/ 0 h 42862"/>
              </a:gdLst>
              <a:ahLst/>
              <a:cxnLst>
                <a:cxn ang="0">
                  <a:pos x="connsiteX0" y="connsiteY0"/>
                </a:cxn>
                <a:cxn ang="0">
                  <a:pos x="connsiteX1" y="connsiteY1"/>
                </a:cxn>
                <a:cxn ang="0">
                  <a:pos x="connsiteX2" y="connsiteY2"/>
                </a:cxn>
                <a:cxn ang="0">
                  <a:pos x="connsiteX3" y="connsiteY3"/>
                </a:cxn>
              </a:cxnLst>
              <a:rect l="l" t="t" r="r" b="b"/>
              <a:pathLst>
                <a:path w="24765" h="42862">
                  <a:moveTo>
                    <a:pt x="0" y="0"/>
                  </a:moveTo>
                  <a:lnTo>
                    <a:pt x="0" y="42863"/>
                  </a:lnTo>
                  <a:cubicBezTo>
                    <a:pt x="13335" y="41910"/>
                    <a:pt x="24765" y="35243"/>
                    <a:pt x="24765" y="22860"/>
                  </a:cubicBezTo>
                  <a:cubicBezTo>
                    <a:pt x="24765" y="9525"/>
                    <a:pt x="16193" y="4763"/>
                    <a:pt x="0" y="0"/>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orma Livre: Forma 15">
              <a:extLst>
                <a:ext uri="{FF2B5EF4-FFF2-40B4-BE49-F238E27FC236}">
                  <a16:creationId xmlns:a16="http://schemas.microsoft.com/office/drawing/2014/main" id="{3159A0F3-02EB-6E09-59AD-802EA73B3661}"/>
                </a:ext>
              </a:extLst>
            </p:cNvPr>
            <p:cNvSpPr/>
            <p:nvPr/>
          </p:nvSpPr>
          <p:spPr>
            <a:xfrm>
              <a:off x="5150441" y="4989424"/>
              <a:ext cx="372023" cy="328612"/>
            </a:xfrm>
            <a:custGeom>
              <a:avLst/>
              <a:gdLst>
                <a:gd name="connsiteX0" fmla="*/ 355566 w 372023"/>
                <a:gd name="connsiteY0" fmla="*/ 166688 h 328612"/>
                <a:gd name="connsiteX1" fmla="*/ 251744 w 372023"/>
                <a:gd name="connsiteY1" fmla="*/ 0 h 328612"/>
                <a:gd name="connsiteX2" fmla="*/ 120299 w 372023"/>
                <a:gd name="connsiteY2" fmla="*/ 0 h 328612"/>
                <a:gd name="connsiteX3" fmla="*/ 16476 w 372023"/>
                <a:gd name="connsiteY3" fmla="*/ 166688 h 328612"/>
                <a:gd name="connsiteX4" fmla="*/ 90771 w 372023"/>
                <a:gd name="connsiteY4" fmla="*/ 328613 h 328612"/>
                <a:gd name="connsiteX5" fmla="*/ 280319 w 372023"/>
                <a:gd name="connsiteY5" fmla="*/ 328613 h 328612"/>
                <a:gd name="connsiteX6" fmla="*/ 355566 w 372023"/>
                <a:gd name="connsiteY6" fmla="*/ 166688 h 328612"/>
                <a:gd name="connsiteX7" fmla="*/ 195546 w 372023"/>
                <a:gd name="connsiteY7" fmla="*/ 244793 h 328612"/>
                <a:gd name="connsiteX8" fmla="*/ 195546 w 372023"/>
                <a:gd name="connsiteY8" fmla="*/ 261938 h 328612"/>
                <a:gd name="connsiteX9" fmla="*/ 180306 w 372023"/>
                <a:gd name="connsiteY9" fmla="*/ 261938 h 328612"/>
                <a:gd name="connsiteX10" fmla="*/ 180306 w 372023"/>
                <a:gd name="connsiteY10" fmla="*/ 244793 h 328612"/>
                <a:gd name="connsiteX11" fmla="*/ 122204 w 372023"/>
                <a:gd name="connsiteY11" fmla="*/ 219075 h 328612"/>
                <a:gd name="connsiteX12" fmla="*/ 139349 w 372023"/>
                <a:gd name="connsiteY12" fmla="*/ 198120 h 328612"/>
                <a:gd name="connsiteX13" fmla="*/ 180306 w 372023"/>
                <a:gd name="connsiteY13" fmla="*/ 219075 h 328612"/>
                <a:gd name="connsiteX14" fmla="*/ 180306 w 372023"/>
                <a:gd name="connsiteY14" fmla="*/ 173355 h 328612"/>
                <a:gd name="connsiteX15" fmla="*/ 128871 w 372023"/>
                <a:gd name="connsiteY15" fmla="*/ 125730 h 328612"/>
                <a:gd name="connsiteX16" fmla="*/ 180306 w 372023"/>
                <a:gd name="connsiteY16" fmla="*/ 78105 h 328612"/>
                <a:gd name="connsiteX17" fmla="*/ 180306 w 372023"/>
                <a:gd name="connsiteY17" fmla="*/ 66675 h 328612"/>
                <a:gd name="connsiteX18" fmla="*/ 195546 w 372023"/>
                <a:gd name="connsiteY18" fmla="*/ 66675 h 328612"/>
                <a:gd name="connsiteX19" fmla="*/ 195546 w 372023"/>
                <a:gd name="connsiteY19" fmla="*/ 79057 h 328612"/>
                <a:gd name="connsiteX20" fmla="*/ 245076 w 372023"/>
                <a:gd name="connsiteY20" fmla="*/ 97155 h 328612"/>
                <a:gd name="connsiteX21" fmla="*/ 229836 w 372023"/>
                <a:gd name="connsiteY21" fmla="*/ 119063 h 328612"/>
                <a:gd name="connsiteX22" fmla="*/ 196499 w 372023"/>
                <a:gd name="connsiteY22" fmla="*/ 105728 h 328612"/>
                <a:gd name="connsiteX23" fmla="*/ 196499 w 372023"/>
                <a:gd name="connsiteY23" fmla="*/ 150495 h 328612"/>
                <a:gd name="connsiteX24" fmla="*/ 197451 w 372023"/>
                <a:gd name="connsiteY24" fmla="*/ 150495 h 328612"/>
                <a:gd name="connsiteX25" fmla="*/ 249839 w 372023"/>
                <a:gd name="connsiteY25" fmla="*/ 199073 h 328612"/>
                <a:gd name="connsiteX26" fmla="*/ 195546 w 372023"/>
                <a:gd name="connsiteY26" fmla="*/ 244793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2023" h="328612">
                  <a:moveTo>
                    <a:pt x="355566" y="166688"/>
                  </a:moveTo>
                  <a:lnTo>
                    <a:pt x="251744" y="0"/>
                  </a:lnTo>
                  <a:lnTo>
                    <a:pt x="120299" y="0"/>
                  </a:lnTo>
                  <a:lnTo>
                    <a:pt x="16476" y="166688"/>
                  </a:lnTo>
                  <a:cubicBezTo>
                    <a:pt x="-25434" y="235268"/>
                    <a:pt x="17429" y="328613"/>
                    <a:pt x="90771" y="328613"/>
                  </a:cubicBezTo>
                  <a:lnTo>
                    <a:pt x="280319" y="328613"/>
                  </a:lnTo>
                  <a:cubicBezTo>
                    <a:pt x="354614" y="328613"/>
                    <a:pt x="397476" y="235268"/>
                    <a:pt x="355566" y="166688"/>
                  </a:cubicBezTo>
                  <a:close/>
                  <a:moveTo>
                    <a:pt x="195546" y="244793"/>
                  </a:moveTo>
                  <a:lnTo>
                    <a:pt x="195546" y="261938"/>
                  </a:lnTo>
                  <a:lnTo>
                    <a:pt x="180306" y="261938"/>
                  </a:lnTo>
                  <a:lnTo>
                    <a:pt x="180306" y="244793"/>
                  </a:lnTo>
                  <a:cubicBezTo>
                    <a:pt x="158399" y="242888"/>
                    <a:pt x="139349" y="234315"/>
                    <a:pt x="122204" y="219075"/>
                  </a:cubicBezTo>
                  <a:lnTo>
                    <a:pt x="139349" y="198120"/>
                  </a:lnTo>
                  <a:cubicBezTo>
                    <a:pt x="152684" y="209550"/>
                    <a:pt x="166019" y="216218"/>
                    <a:pt x="180306" y="219075"/>
                  </a:cubicBezTo>
                  <a:lnTo>
                    <a:pt x="180306" y="173355"/>
                  </a:lnTo>
                  <a:cubicBezTo>
                    <a:pt x="136491" y="162878"/>
                    <a:pt x="128871" y="146685"/>
                    <a:pt x="128871" y="125730"/>
                  </a:cubicBezTo>
                  <a:cubicBezTo>
                    <a:pt x="128871" y="97155"/>
                    <a:pt x="151731" y="80010"/>
                    <a:pt x="180306" y="78105"/>
                  </a:cubicBezTo>
                  <a:lnTo>
                    <a:pt x="180306" y="66675"/>
                  </a:lnTo>
                  <a:lnTo>
                    <a:pt x="195546" y="66675"/>
                  </a:lnTo>
                  <a:lnTo>
                    <a:pt x="195546" y="79057"/>
                  </a:lnTo>
                  <a:cubicBezTo>
                    <a:pt x="212691" y="80010"/>
                    <a:pt x="228884" y="85725"/>
                    <a:pt x="245076" y="97155"/>
                  </a:cubicBezTo>
                  <a:lnTo>
                    <a:pt x="229836" y="119063"/>
                  </a:lnTo>
                  <a:cubicBezTo>
                    <a:pt x="219359" y="111443"/>
                    <a:pt x="207929" y="106680"/>
                    <a:pt x="196499" y="105728"/>
                  </a:cubicBezTo>
                  <a:lnTo>
                    <a:pt x="196499" y="150495"/>
                  </a:lnTo>
                  <a:lnTo>
                    <a:pt x="197451" y="150495"/>
                  </a:lnTo>
                  <a:cubicBezTo>
                    <a:pt x="242219" y="160973"/>
                    <a:pt x="249839" y="178118"/>
                    <a:pt x="249839" y="199073"/>
                  </a:cubicBezTo>
                  <a:cubicBezTo>
                    <a:pt x="249839" y="226695"/>
                    <a:pt x="226026" y="243840"/>
                    <a:pt x="195546" y="244793"/>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7" name="Forma Livre: Forma 16">
            <a:extLst>
              <a:ext uri="{FF2B5EF4-FFF2-40B4-BE49-F238E27FC236}">
                <a16:creationId xmlns:a16="http://schemas.microsoft.com/office/drawing/2014/main" id="{198CDD8F-9337-B66A-530A-74BEF17BB9AD}"/>
              </a:ext>
            </a:extLst>
          </p:cNvPr>
          <p:cNvSpPr/>
          <p:nvPr/>
        </p:nvSpPr>
        <p:spPr>
          <a:xfrm>
            <a:off x="6154852" y="2454900"/>
            <a:ext cx="396000" cy="216000"/>
          </a:xfrm>
          <a:custGeom>
            <a:avLst/>
            <a:gdLst>
              <a:gd name="connsiteX0" fmla="*/ 230505 w 914400"/>
              <a:gd name="connsiteY0" fmla="*/ 230505 h 461962"/>
              <a:gd name="connsiteX1" fmla="*/ 371475 w 914400"/>
              <a:gd name="connsiteY1" fmla="*/ 371475 h 461962"/>
              <a:gd name="connsiteX2" fmla="*/ 513398 w 914400"/>
              <a:gd name="connsiteY2" fmla="*/ 230505 h 461962"/>
              <a:gd name="connsiteX3" fmla="*/ 372428 w 914400"/>
              <a:gd name="connsiteY3" fmla="*/ 89535 h 461962"/>
              <a:gd name="connsiteX4" fmla="*/ 230505 w 914400"/>
              <a:gd name="connsiteY4" fmla="*/ 230505 h 461962"/>
              <a:gd name="connsiteX5" fmla="*/ 384810 w 914400"/>
              <a:gd name="connsiteY5" fmla="*/ 145733 h 461962"/>
              <a:gd name="connsiteX6" fmla="*/ 393383 w 914400"/>
              <a:gd name="connsiteY6" fmla="*/ 155258 h 461962"/>
              <a:gd name="connsiteX7" fmla="*/ 412433 w 914400"/>
              <a:gd name="connsiteY7" fmla="*/ 160973 h 461962"/>
              <a:gd name="connsiteX8" fmla="*/ 416243 w 914400"/>
              <a:gd name="connsiteY8" fmla="*/ 168593 h 461962"/>
              <a:gd name="connsiteX9" fmla="*/ 411480 w 914400"/>
              <a:gd name="connsiteY9" fmla="*/ 183833 h 461962"/>
              <a:gd name="connsiteX10" fmla="*/ 403860 w 914400"/>
              <a:gd name="connsiteY10" fmla="*/ 187643 h 461962"/>
              <a:gd name="connsiteX11" fmla="*/ 374333 w 914400"/>
              <a:gd name="connsiteY11" fmla="*/ 181928 h 461962"/>
              <a:gd name="connsiteX12" fmla="*/ 366713 w 914400"/>
              <a:gd name="connsiteY12" fmla="*/ 183833 h 461962"/>
              <a:gd name="connsiteX13" fmla="*/ 363855 w 914400"/>
              <a:gd name="connsiteY13" fmla="*/ 203835 h 461962"/>
              <a:gd name="connsiteX14" fmla="*/ 377190 w 914400"/>
              <a:gd name="connsiteY14" fmla="*/ 211455 h 461962"/>
              <a:gd name="connsiteX15" fmla="*/ 401003 w 914400"/>
              <a:gd name="connsiteY15" fmla="*/ 221933 h 461962"/>
              <a:gd name="connsiteX16" fmla="*/ 414338 w 914400"/>
              <a:gd name="connsiteY16" fmla="*/ 286703 h 461962"/>
              <a:gd name="connsiteX17" fmla="*/ 390525 w 914400"/>
              <a:gd name="connsiteY17" fmla="*/ 301943 h 461962"/>
              <a:gd name="connsiteX18" fmla="*/ 384810 w 914400"/>
              <a:gd name="connsiteY18" fmla="*/ 309563 h 461962"/>
              <a:gd name="connsiteX19" fmla="*/ 384810 w 914400"/>
              <a:gd name="connsiteY19" fmla="*/ 321945 h 461962"/>
              <a:gd name="connsiteX20" fmla="*/ 379095 w 914400"/>
              <a:gd name="connsiteY20" fmla="*/ 327660 h 461962"/>
              <a:gd name="connsiteX21" fmla="*/ 365760 w 914400"/>
              <a:gd name="connsiteY21" fmla="*/ 327660 h 461962"/>
              <a:gd name="connsiteX22" fmla="*/ 360045 w 914400"/>
              <a:gd name="connsiteY22" fmla="*/ 321945 h 461962"/>
              <a:gd name="connsiteX23" fmla="*/ 360045 w 914400"/>
              <a:gd name="connsiteY23" fmla="*/ 312420 h 461962"/>
              <a:gd name="connsiteX24" fmla="*/ 353378 w 914400"/>
              <a:gd name="connsiteY24" fmla="*/ 304800 h 461962"/>
              <a:gd name="connsiteX25" fmla="*/ 329565 w 914400"/>
              <a:gd name="connsiteY25" fmla="*/ 298133 h 461962"/>
              <a:gd name="connsiteX26" fmla="*/ 324803 w 914400"/>
              <a:gd name="connsiteY26" fmla="*/ 287655 h 461962"/>
              <a:gd name="connsiteX27" fmla="*/ 328613 w 914400"/>
              <a:gd name="connsiteY27" fmla="*/ 273368 h 461962"/>
              <a:gd name="connsiteX28" fmla="*/ 336233 w 914400"/>
              <a:gd name="connsiteY28" fmla="*/ 269558 h 461962"/>
              <a:gd name="connsiteX29" fmla="*/ 362903 w 914400"/>
              <a:gd name="connsiteY29" fmla="*/ 277178 h 461962"/>
              <a:gd name="connsiteX30" fmla="*/ 380048 w 914400"/>
              <a:gd name="connsiteY30" fmla="*/ 275273 h 461962"/>
              <a:gd name="connsiteX31" fmla="*/ 382905 w 914400"/>
              <a:gd name="connsiteY31" fmla="*/ 251460 h 461962"/>
              <a:gd name="connsiteX32" fmla="*/ 373380 w 914400"/>
              <a:gd name="connsiteY32" fmla="*/ 245745 h 461962"/>
              <a:gd name="connsiteX33" fmla="*/ 345758 w 914400"/>
              <a:gd name="connsiteY33" fmla="*/ 233363 h 461962"/>
              <a:gd name="connsiteX34" fmla="*/ 323850 w 914400"/>
              <a:gd name="connsiteY34" fmla="*/ 196215 h 461962"/>
              <a:gd name="connsiteX35" fmla="*/ 353378 w 914400"/>
              <a:gd name="connsiteY35" fmla="*/ 159068 h 461962"/>
              <a:gd name="connsiteX36" fmla="*/ 360998 w 914400"/>
              <a:gd name="connsiteY36" fmla="*/ 148590 h 461962"/>
              <a:gd name="connsiteX37" fmla="*/ 360998 w 914400"/>
              <a:gd name="connsiteY37" fmla="*/ 140970 h 461962"/>
              <a:gd name="connsiteX38" fmla="*/ 367665 w 914400"/>
              <a:gd name="connsiteY38" fmla="*/ 134303 h 461962"/>
              <a:gd name="connsiteX39" fmla="*/ 373380 w 914400"/>
              <a:gd name="connsiteY39" fmla="*/ 134303 h 461962"/>
              <a:gd name="connsiteX40" fmla="*/ 384810 w 914400"/>
              <a:gd name="connsiteY40" fmla="*/ 145733 h 461962"/>
              <a:gd name="connsiteX41" fmla="*/ 166688 w 914400"/>
              <a:gd name="connsiteY41" fmla="*/ 191453 h 461962"/>
              <a:gd name="connsiteX42" fmla="*/ 205740 w 914400"/>
              <a:gd name="connsiteY42" fmla="*/ 230505 h 461962"/>
              <a:gd name="connsiteX43" fmla="*/ 166688 w 914400"/>
              <a:gd name="connsiteY43" fmla="*/ 269558 h 461962"/>
              <a:gd name="connsiteX44" fmla="*/ 127635 w 914400"/>
              <a:gd name="connsiteY44" fmla="*/ 230505 h 461962"/>
              <a:gd name="connsiteX45" fmla="*/ 166688 w 914400"/>
              <a:gd name="connsiteY45" fmla="*/ 191453 h 461962"/>
              <a:gd name="connsiteX46" fmla="*/ 703898 w 914400"/>
              <a:gd name="connsiteY46" fmla="*/ 85725 h 461962"/>
              <a:gd name="connsiteX47" fmla="*/ 650558 w 914400"/>
              <a:gd name="connsiteY47" fmla="*/ 132398 h 461962"/>
              <a:gd name="connsiteX48" fmla="*/ 606743 w 914400"/>
              <a:gd name="connsiteY48" fmla="*/ 70485 h 461962"/>
              <a:gd name="connsiteX49" fmla="*/ 608648 w 914400"/>
              <a:gd name="connsiteY49" fmla="*/ 54293 h 461962"/>
              <a:gd name="connsiteX50" fmla="*/ 130493 w 914400"/>
              <a:gd name="connsiteY50" fmla="*/ 54293 h 461962"/>
              <a:gd name="connsiteX51" fmla="*/ 131445 w 914400"/>
              <a:gd name="connsiteY51" fmla="*/ 66675 h 461962"/>
              <a:gd name="connsiteX52" fmla="*/ 65723 w 914400"/>
              <a:gd name="connsiteY52" fmla="*/ 132398 h 461962"/>
              <a:gd name="connsiteX53" fmla="*/ 54293 w 914400"/>
              <a:gd name="connsiteY53" fmla="*/ 131445 h 461962"/>
              <a:gd name="connsiteX54" fmla="*/ 54293 w 914400"/>
              <a:gd name="connsiteY54" fmla="*/ 329565 h 461962"/>
              <a:gd name="connsiteX55" fmla="*/ 65723 w 914400"/>
              <a:gd name="connsiteY55" fmla="*/ 328613 h 461962"/>
              <a:gd name="connsiteX56" fmla="*/ 131445 w 914400"/>
              <a:gd name="connsiteY56" fmla="*/ 394335 h 461962"/>
              <a:gd name="connsiteX57" fmla="*/ 130493 w 914400"/>
              <a:gd name="connsiteY57" fmla="*/ 406718 h 461962"/>
              <a:gd name="connsiteX58" fmla="*/ 521970 w 914400"/>
              <a:gd name="connsiteY58" fmla="*/ 406718 h 461962"/>
              <a:gd name="connsiteX59" fmla="*/ 521970 w 914400"/>
              <a:gd name="connsiteY59" fmla="*/ 446722 h 461962"/>
              <a:gd name="connsiteX60" fmla="*/ 523875 w 914400"/>
              <a:gd name="connsiteY60" fmla="*/ 461963 h 461962"/>
              <a:gd name="connsiteX61" fmla="*/ 64770 w 914400"/>
              <a:gd name="connsiteY61" fmla="*/ 461963 h 461962"/>
              <a:gd name="connsiteX62" fmla="*/ 0 w 914400"/>
              <a:gd name="connsiteY62" fmla="*/ 397193 h 461962"/>
              <a:gd name="connsiteX63" fmla="*/ 0 w 914400"/>
              <a:gd name="connsiteY63" fmla="*/ 64770 h 461962"/>
              <a:gd name="connsiteX64" fmla="*/ 64770 w 914400"/>
              <a:gd name="connsiteY64" fmla="*/ 0 h 461962"/>
              <a:gd name="connsiteX65" fmla="*/ 680085 w 914400"/>
              <a:gd name="connsiteY65" fmla="*/ 0 h 461962"/>
              <a:gd name="connsiteX66" fmla="*/ 744855 w 914400"/>
              <a:gd name="connsiteY66" fmla="*/ 64770 h 461962"/>
              <a:gd name="connsiteX67" fmla="*/ 744855 w 914400"/>
              <a:gd name="connsiteY67" fmla="*/ 85725 h 461962"/>
              <a:gd name="connsiteX68" fmla="*/ 703898 w 914400"/>
              <a:gd name="connsiteY68" fmla="*/ 85725 h 461962"/>
              <a:gd name="connsiteX69" fmla="*/ 657225 w 914400"/>
              <a:gd name="connsiteY69" fmla="*/ 247650 h 461962"/>
              <a:gd name="connsiteX70" fmla="*/ 657225 w 914400"/>
              <a:gd name="connsiteY70" fmla="*/ 445770 h 461962"/>
              <a:gd name="connsiteX71" fmla="*/ 641985 w 914400"/>
              <a:gd name="connsiteY71" fmla="*/ 461010 h 461962"/>
              <a:gd name="connsiteX72" fmla="*/ 575310 w 914400"/>
              <a:gd name="connsiteY72" fmla="*/ 461010 h 461962"/>
              <a:gd name="connsiteX73" fmla="*/ 560070 w 914400"/>
              <a:gd name="connsiteY73" fmla="*/ 445770 h 461962"/>
              <a:gd name="connsiteX74" fmla="*/ 560070 w 914400"/>
              <a:gd name="connsiteY74" fmla="*/ 247650 h 461962"/>
              <a:gd name="connsiteX75" fmla="*/ 575310 w 914400"/>
              <a:gd name="connsiteY75" fmla="*/ 232410 h 461962"/>
              <a:gd name="connsiteX76" fmla="*/ 641985 w 914400"/>
              <a:gd name="connsiteY76" fmla="*/ 232410 h 461962"/>
              <a:gd name="connsiteX77" fmla="*/ 657225 w 914400"/>
              <a:gd name="connsiteY77" fmla="*/ 247650 h 461962"/>
              <a:gd name="connsiteX78" fmla="*/ 785813 w 914400"/>
              <a:gd name="connsiteY78" fmla="*/ 139065 h 461962"/>
              <a:gd name="connsiteX79" fmla="*/ 785813 w 914400"/>
              <a:gd name="connsiteY79" fmla="*/ 445770 h 461962"/>
              <a:gd name="connsiteX80" fmla="*/ 770573 w 914400"/>
              <a:gd name="connsiteY80" fmla="*/ 461010 h 461962"/>
              <a:gd name="connsiteX81" fmla="*/ 703898 w 914400"/>
              <a:gd name="connsiteY81" fmla="*/ 461010 h 461962"/>
              <a:gd name="connsiteX82" fmla="*/ 688658 w 914400"/>
              <a:gd name="connsiteY82" fmla="*/ 445770 h 461962"/>
              <a:gd name="connsiteX83" fmla="*/ 688658 w 914400"/>
              <a:gd name="connsiteY83" fmla="*/ 139065 h 461962"/>
              <a:gd name="connsiteX84" fmla="*/ 703898 w 914400"/>
              <a:gd name="connsiteY84" fmla="*/ 123825 h 461962"/>
              <a:gd name="connsiteX85" fmla="*/ 770573 w 914400"/>
              <a:gd name="connsiteY85" fmla="*/ 123825 h 461962"/>
              <a:gd name="connsiteX86" fmla="*/ 785813 w 914400"/>
              <a:gd name="connsiteY86" fmla="*/ 139065 h 461962"/>
              <a:gd name="connsiteX87" fmla="*/ 914400 w 914400"/>
              <a:gd name="connsiteY87" fmla="*/ 316230 h 461962"/>
              <a:gd name="connsiteX88" fmla="*/ 914400 w 914400"/>
              <a:gd name="connsiteY88" fmla="*/ 445770 h 461962"/>
              <a:gd name="connsiteX89" fmla="*/ 899160 w 914400"/>
              <a:gd name="connsiteY89" fmla="*/ 461010 h 461962"/>
              <a:gd name="connsiteX90" fmla="*/ 832485 w 914400"/>
              <a:gd name="connsiteY90" fmla="*/ 461010 h 461962"/>
              <a:gd name="connsiteX91" fmla="*/ 817245 w 914400"/>
              <a:gd name="connsiteY91" fmla="*/ 445770 h 461962"/>
              <a:gd name="connsiteX92" fmla="*/ 817245 w 914400"/>
              <a:gd name="connsiteY92" fmla="*/ 316230 h 461962"/>
              <a:gd name="connsiteX93" fmla="*/ 832485 w 914400"/>
              <a:gd name="connsiteY93" fmla="*/ 300990 h 461962"/>
              <a:gd name="connsiteX94" fmla="*/ 899160 w 914400"/>
              <a:gd name="connsiteY94" fmla="*/ 300990 h 461962"/>
              <a:gd name="connsiteX95" fmla="*/ 914400 w 914400"/>
              <a:gd name="connsiteY95" fmla="*/ 316230 h 46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400" h="461962">
                <a:moveTo>
                  <a:pt x="230505" y="230505"/>
                </a:moveTo>
                <a:cubicBezTo>
                  <a:pt x="230505" y="308610"/>
                  <a:pt x="293370" y="371475"/>
                  <a:pt x="371475" y="371475"/>
                </a:cubicBezTo>
                <a:cubicBezTo>
                  <a:pt x="449580" y="371475"/>
                  <a:pt x="513398" y="308610"/>
                  <a:pt x="513398" y="230505"/>
                </a:cubicBezTo>
                <a:cubicBezTo>
                  <a:pt x="513398" y="152400"/>
                  <a:pt x="450533" y="89535"/>
                  <a:pt x="372428" y="89535"/>
                </a:cubicBezTo>
                <a:cubicBezTo>
                  <a:pt x="294323" y="89535"/>
                  <a:pt x="230505" y="152400"/>
                  <a:pt x="230505" y="230505"/>
                </a:cubicBezTo>
                <a:close/>
                <a:moveTo>
                  <a:pt x="384810" y="145733"/>
                </a:moveTo>
                <a:cubicBezTo>
                  <a:pt x="384810" y="154305"/>
                  <a:pt x="384810" y="154305"/>
                  <a:pt x="393383" y="155258"/>
                </a:cubicBezTo>
                <a:cubicBezTo>
                  <a:pt x="400050" y="156210"/>
                  <a:pt x="405765" y="158115"/>
                  <a:pt x="412433" y="160973"/>
                </a:cubicBezTo>
                <a:cubicBezTo>
                  <a:pt x="416243" y="162878"/>
                  <a:pt x="417195" y="164783"/>
                  <a:pt x="416243" y="168593"/>
                </a:cubicBezTo>
                <a:cubicBezTo>
                  <a:pt x="414338" y="173355"/>
                  <a:pt x="413385" y="179070"/>
                  <a:pt x="411480" y="183833"/>
                </a:cubicBezTo>
                <a:cubicBezTo>
                  <a:pt x="409575" y="188595"/>
                  <a:pt x="408623" y="189548"/>
                  <a:pt x="403860" y="187643"/>
                </a:cubicBezTo>
                <a:cubicBezTo>
                  <a:pt x="394335" y="182880"/>
                  <a:pt x="384810" y="180975"/>
                  <a:pt x="374333" y="181928"/>
                </a:cubicBezTo>
                <a:cubicBezTo>
                  <a:pt x="371475" y="181928"/>
                  <a:pt x="368618" y="182880"/>
                  <a:pt x="366713" y="183833"/>
                </a:cubicBezTo>
                <a:cubicBezTo>
                  <a:pt x="358140" y="187643"/>
                  <a:pt x="356235" y="198120"/>
                  <a:pt x="363855" y="203835"/>
                </a:cubicBezTo>
                <a:cubicBezTo>
                  <a:pt x="367665" y="206693"/>
                  <a:pt x="372428" y="209550"/>
                  <a:pt x="377190" y="211455"/>
                </a:cubicBezTo>
                <a:cubicBezTo>
                  <a:pt x="384810" y="214313"/>
                  <a:pt x="393383" y="218123"/>
                  <a:pt x="401003" y="221933"/>
                </a:cubicBezTo>
                <a:cubicBezTo>
                  <a:pt x="424815" y="235268"/>
                  <a:pt x="431483" y="265748"/>
                  <a:pt x="414338" y="286703"/>
                </a:cubicBezTo>
                <a:cubicBezTo>
                  <a:pt x="408623" y="294323"/>
                  <a:pt x="400050" y="299085"/>
                  <a:pt x="390525" y="301943"/>
                </a:cubicBezTo>
                <a:cubicBezTo>
                  <a:pt x="386715" y="302895"/>
                  <a:pt x="384810" y="304800"/>
                  <a:pt x="384810" y="309563"/>
                </a:cubicBezTo>
                <a:cubicBezTo>
                  <a:pt x="384810" y="313373"/>
                  <a:pt x="384810" y="318135"/>
                  <a:pt x="384810" y="321945"/>
                </a:cubicBezTo>
                <a:cubicBezTo>
                  <a:pt x="384810" y="325755"/>
                  <a:pt x="382905" y="327660"/>
                  <a:pt x="379095" y="327660"/>
                </a:cubicBezTo>
                <a:cubicBezTo>
                  <a:pt x="374333" y="327660"/>
                  <a:pt x="370523" y="327660"/>
                  <a:pt x="365760" y="327660"/>
                </a:cubicBezTo>
                <a:cubicBezTo>
                  <a:pt x="361950" y="327660"/>
                  <a:pt x="360045" y="325755"/>
                  <a:pt x="360045" y="321945"/>
                </a:cubicBezTo>
                <a:cubicBezTo>
                  <a:pt x="360045" y="319088"/>
                  <a:pt x="360045" y="316230"/>
                  <a:pt x="360045" y="312420"/>
                </a:cubicBezTo>
                <a:cubicBezTo>
                  <a:pt x="360045" y="305753"/>
                  <a:pt x="360045" y="305753"/>
                  <a:pt x="353378" y="304800"/>
                </a:cubicBezTo>
                <a:cubicBezTo>
                  <a:pt x="344805" y="303848"/>
                  <a:pt x="337185" y="301943"/>
                  <a:pt x="329565" y="298133"/>
                </a:cubicBezTo>
                <a:cubicBezTo>
                  <a:pt x="323850" y="295275"/>
                  <a:pt x="322898" y="293370"/>
                  <a:pt x="324803" y="287655"/>
                </a:cubicBezTo>
                <a:cubicBezTo>
                  <a:pt x="325755" y="282893"/>
                  <a:pt x="327660" y="278130"/>
                  <a:pt x="328613" y="273368"/>
                </a:cubicBezTo>
                <a:cubicBezTo>
                  <a:pt x="330518" y="267653"/>
                  <a:pt x="331470" y="267653"/>
                  <a:pt x="336233" y="269558"/>
                </a:cubicBezTo>
                <a:cubicBezTo>
                  <a:pt x="344805" y="274320"/>
                  <a:pt x="353378" y="276225"/>
                  <a:pt x="362903" y="277178"/>
                </a:cubicBezTo>
                <a:cubicBezTo>
                  <a:pt x="368618" y="278130"/>
                  <a:pt x="374333" y="277178"/>
                  <a:pt x="380048" y="275273"/>
                </a:cubicBezTo>
                <a:cubicBezTo>
                  <a:pt x="390525" y="270510"/>
                  <a:pt x="392430" y="259080"/>
                  <a:pt x="382905" y="251460"/>
                </a:cubicBezTo>
                <a:cubicBezTo>
                  <a:pt x="380048" y="248603"/>
                  <a:pt x="376238" y="247650"/>
                  <a:pt x="373380" y="245745"/>
                </a:cubicBezTo>
                <a:cubicBezTo>
                  <a:pt x="363855" y="241935"/>
                  <a:pt x="354330" y="239078"/>
                  <a:pt x="345758" y="233363"/>
                </a:cubicBezTo>
                <a:cubicBezTo>
                  <a:pt x="331470" y="224790"/>
                  <a:pt x="322898" y="213360"/>
                  <a:pt x="323850" y="196215"/>
                </a:cubicBezTo>
                <a:cubicBezTo>
                  <a:pt x="324803" y="177165"/>
                  <a:pt x="336233" y="164783"/>
                  <a:pt x="353378" y="159068"/>
                </a:cubicBezTo>
                <a:cubicBezTo>
                  <a:pt x="360998" y="156210"/>
                  <a:pt x="360998" y="156210"/>
                  <a:pt x="360998" y="148590"/>
                </a:cubicBezTo>
                <a:cubicBezTo>
                  <a:pt x="360998" y="145733"/>
                  <a:pt x="360998" y="143828"/>
                  <a:pt x="360998" y="140970"/>
                </a:cubicBezTo>
                <a:cubicBezTo>
                  <a:pt x="360998" y="135255"/>
                  <a:pt x="361950" y="134303"/>
                  <a:pt x="367665" y="134303"/>
                </a:cubicBezTo>
                <a:cubicBezTo>
                  <a:pt x="369570" y="134303"/>
                  <a:pt x="371475" y="134303"/>
                  <a:pt x="373380" y="134303"/>
                </a:cubicBezTo>
                <a:cubicBezTo>
                  <a:pt x="384810" y="133350"/>
                  <a:pt x="384810" y="133350"/>
                  <a:pt x="384810" y="145733"/>
                </a:cubicBezTo>
                <a:close/>
                <a:moveTo>
                  <a:pt x="166688" y="191453"/>
                </a:moveTo>
                <a:cubicBezTo>
                  <a:pt x="188595" y="191453"/>
                  <a:pt x="205740" y="208598"/>
                  <a:pt x="205740" y="230505"/>
                </a:cubicBezTo>
                <a:cubicBezTo>
                  <a:pt x="205740" y="252413"/>
                  <a:pt x="188595" y="269558"/>
                  <a:pt x="166688" y="269558"/>
                </a:cubicBezTo>
                <a:cubicBezTo>
                  <a:pt x="144780" y="269558"/>
                  <a:pt x="127635" y="252413"/>
                  <a:pt x="127635" y="230505"/>
                </a:cubicBezTo>
                <a:cubicBezTo>
                  <a:pt x="127635" y="208598"/>
                  <a:pt x="144780" y="191453"/>
                  <a:pt x="166688" y="191453"/>
                </a:cubicBezTo>
                <a:close/>
                <a:moveTo>
                  <a:pt x="703898" y="85725"/>
                </a:moveTo>
                <a:cubicBezTo>
                  <a:pt x="676275" y="85725"/>
                  <a:pt x="654368" y="106680"/>
                  <a:pt x="650558" y="132398"/>
                </a:cubicBezTo>
                <a:cubicBezTo>
                  <a:pt x="624840" y="123825"/>
                  <a:pt x="606743" y="99060"/>
                  <a:pt x="606743" y="70485"/>
                </a:cubicBezTo>
                <a:cubicBezTo>
                  <a:pt x="606743" y="64770"/>
                  <a:pt x="607695" y="60007"/>
                  <a:pt x="608648" y="54293"/>
                </a:cubicBezTo>
                <a:lnTo>
                  <a:pt x="130493" y="54293"/>
                </a:lnTo>
                <a:cubicBezTo>
                  <a:pt x="131445" y="58103"/>
                  <a:pt x="131445" y="61913"/>
                  <a:pt x="131445" y="66675"/>
                </a:cubicBezTo>
                <a:cubicBezTo>
                  <a:pt x="131445" y="102870"/>
                  <a:pt x="101918" y="132398"/>
                  <a:pt x="65723" y="132398"/>
                </a:cubicBezTo>
                <a:cubicBezTo>
                  <a:pt x="61913" y="132398"/>
                  <a:pt x="58103" y="132398"/>
                  <a:pt x="54293" y="131445"/>
                </a:cubicBezTo>
                <a:lnTo>
                  <a:pt x="54293" y="329565"/>
                </a:lnTo>
                <a:cubicBezTo>
                  <a:pt x="58103" y="328613"/>
                  <a:pt x="61913" y="328613"/>
                  <a:pt x="65723" y="328613"/>
                </a:cubicBezTo>
                <a:cubicBezTo>
                  <a:pt x="101918" y="328613"/>
                  <a:pt x="131445" y="358140"/>
                  <a:pt x="131445" y="394335"/>
                </a:cubicBezTo>
                <a:cubicBezTo>
                  <a:pt x="131445" y="398145"/>
                  <a:pt x="131445" y="402908"/>
                  <a:pt x="130493" y="406718"/>
                </a:cubicBezTo>
                <a:lnTo>
                  <a:pt x="521970" y="406718"/>
                </a:lnTo>
                <a:lnTo>
                  <a:pt x="521970" y="446722"/>
                </a:lnTo>
                <a:cubicBezTo>
                  <a:pt x="521970" y="451485"/>
                  <a:pt x="522923" y="457200"/>
                  <a:pt x="523875" y="461963"/>
                </a:cubicBezTo>
                <a:lnTo>
                  <a:pt x="64770" y="461963"/>
                </a:lnTo>
                <a:cubicBezTo>
                  <a:pt x="29528" y="461963"/>
                  <a:pt x="0" y="433388"/>
                  <a:pt x="0" y="397193"/>
                </a:cubicBezTo>
                <a:lnTo>
                  <a:pt x="0" y="64770"/>
                </a:lnTo>
                <a:cubicBezTo>
                  <a:pt x="0" y="29528"/>
                  <a:pt x="28575" y="0"/>
                  <a:pt x="64770" y="0"/>
                </a:cubicBezTo>
                <a:lnTo>
                  <a:pt x="680085" y="0"/>
                </a:lnTo>
                <a:cubicBezTo>
                  <a:pt x="715328" y="0"/>
                  <a:pt x="744855" y="28575"/>
                  <a:pt x="744855" y="64770"/>
                </a:cubicBezTo>
                <a:lnTo>
                  <a:pt x="744855" y="85725"/>
                </a:lnTo>
                <a:lnTo>
                  <a:pt x="703898" y="85725"/>
                </a:lnTo>
                <a:close/>
                <a:moveTo>
                  <a:pt x="657225" y="247650"/>
                </a:moveTo>
                <a:lnTo>
                  <a:pt x="657225" y="445770"/>
                </a:lnTo>
                <a:cubicBezTo>
                  <a:pt x="657225" y="454343"/>
                  <a:pt x="650558" y="461010"/>
                  <a:pt x="641985" y="461010"/>
                </a:cubicBezTo>
                <a:lnTo>
                  <a:pt x="575310" y="461010"/>
                </a:lnTo>
                <a:cubicBezTo>
                  <a:pt x="566738" y="461010"/>
                  <a:pt x="560070" y="454343"/>
                  <a:pt x="560070" y="445770"/>
                </a:cubicBezTo>
                <a:lnTo>
                  <a:pt x="560070" y="247650"/>
                </a:lnTo>
                <a:cubicBezTo>
                  <a:pt x="560070" y="239078"/>
                  <a:pt x="566738" y="232410"/>
                  <a:pt x="575310" y="232410"/>
                </a:cubicBezTo>
                <a:lnTo>
                  <a:pt x="641985" y="232410"/>
                </a:lnTo>
                <a:cubicBezTo>
                  <a:pt x="650558" y="232410"/>
                  <a:pt x="657225" y="239078"/>
                  <a:pt x="657225" y="247650"/>
                </a:cubicBezTo>
                <a:close/>
                <a:moveTo>
                  <a:pt x="785813" y="139065"/>
                </a:moveTo>
                <a:lnTo>
                  <a:pt x="785813" y="445770"/>
                </a:lnTo>
                <a:cubicBezTo>
                  <a:pt x="785813" y="454343"/>
                  <a:pt x="779145" y="461010"/>
                  <a:pt x="770573" y="461010"/>
                </a:cubicBezTo>
                <a:lnTo>
                  <a:pt x="703898" y="461010"/>
                </a:lnTo>
                <a:cubicBezTo>
                  <a:pt x="695325" y="461010"/>
                  <a:pt x="688658" y="454343"/>
                  <a:pt x="688658" y="445770"/>
                </a:cubicBezTo>
                <a:lnTo>
                  <a:pt x="688658" y="139065"/>
                </a:lnTo>
                <a:cubicBezTo>
                  <a:pt x="688658" y="130493"/>
                  <a:pt x="695325" y="123825"/>
                  <a:pt x="703898" y="123825"/>
                </a:cubicBezTo>
                <a:lnTo>
                  <a:pt x="770573" y="123825"/>
                </a:lnTo>
                <a:cubicBezTo>
                  <a:pt x="779145" y="123825"/>
                  <a:pt x="785813" y="130493"/>
                  <a:pt x="785813" y="139065"/>
                </a:cubicBezTo>
                <a:close/>
                <a:moveTo>
                  <a:pt x="914400" y="316230"/>
                </a:moveTo>
                <a:lnTo>
                  <a:pt x="914400" y="445770"/>
                </a:lnTo>
                <a:cubicBezTo>
                  <a:pt x="914400" y="454343"/>
                  <a:pt x="907733" y="461010"/>
                  <a:pt x="899160" y="461010"/>
                </a:cubicBezTo>
                <a:lnTo>
                  <a:pt x="832485" y="461010"/>
                </a:lnTo>
                <a:cubicBezTo>
                  <a:pt x="823913" y="461010"/>
                  <a:pt x="817245" y="454343"/>
                  <a:pt x="817245" y="445770"/>
                </a:cubicBezTo>
                <a:lnTo>
                  <a:pt x="817245" y="316230"/>
                </a:lnTo>
                <a:cubicBezTo>
                  <a:pt x="817245" y="307658"/>
                  <a:pt x="823913" y="300990"/>
                  <a:pt x="832485" y="300990"/>
                </a:cubicBezTo>
                <a:lnTo>
                  <a:pt x="899160" y="300990"/>
                </a:lnTo>
                <a:cubicBezTo>
                  <a:pt x="907733" y="300990"/>
                  <a:pt x="914400" y="307658"/>
                  <a:pt x="914400" y="316230"/>
                </a:cubicBezTo>
                <a:close/>
              </a:path>
            </a:pathLst>
          </a:custGeom>
          <a:solidFill>
            <a:schemeClr val="bg1"/>
          </a:solidFill>
          <a:ln w="9525" cap="flat">
            <a:noFill/>
            <a:prstDash val="solid"/>
            <a:miter/>
          </a:ln>
        </p:spPr>
        <p:txBody>
          <a:bodyPr rtlCol="0" anchor="ctr"/>
          <a:lstStyle/>
          <a:p>
            <a:endParaRPr lang="pt-BR"/>
          </a:p>
        </p:txBody>
      </p:sp>
    </p:spTree>
    <p:extLst>
      <p:ext uri="{BB962C8B-B14F-4D97-AF65-F5344CB8AC3E}">
        <p14:creationId xmlns:p14="http://schemas.microsoft.com/office/powerpoint/2010/main" val="299150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par>
                                <p:cTn id="8" presetID="35" presetClass="path" presetSubtype="0" accel="17000" decel="83000" fill="hold" grpId="1" nodeType="withEffect">
                                  <p:stCondLst>
                                    <p:cond delay="0"/>
                                  </p:stCondLst>
                                  <p:childTnLst>
                                    <p:animMotion origin="layout" path="M 0.02311 3.42114E-06 L -1.80102E-06 3.42114E-06" pathEditMode="relative" rAng="0" ptsTypes="AA">
                                      <p:cBhvr>
                                        <p:cTn id="9" dur="1100" fill="hold"/>
                                        <p:tgtEl>
                                          <p:spTgt spid="45"/>
                                        </p:tgtEl>
                                        <p:attrNameLst>
                                          <p:attrName>ppt_x</p:attrName>
                                          <p:attrName>ppt_y</p:attrName>
                                        </p:attrNameLst>
                                      </p:cBhvr>
                                      <p:rCtr x="-1164" y="0"/>
                                    </p:animMotion>
                                  </p:childTnLst>
                                </p:cTn>
                              </p:par>
                              <p:par>
                                <p:cTn id="10" presetID="10" presetClass="entr" presetSubtype="0" fill="hold" grpId="0" nodeType="with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500"/>
                                        <p:tgtEl>
                                          <p:spTgt spid="46"/>
                                        </p:tgtEl>
                                      </p:cBhvr>
                                    </p:animEffect>
                                  </p:childTnLst>
                                </p:cTn>
                              </p:par>
                              <p:par>
                                <p:cTn id="13" presetID="35" presetClass="path" presetSubtype="0" accel="17000" decel="83000" fill="hold" grpId="1" nodeType="withEffect">
                                  <p:stCondLst>
                                    <p:cond delay="0"/>
                                  </p:stCondLst>
                                  <p:childTnLst>
                                    <p:animMotion origin="layout" path="M -0.0321 -1.17592E-06 L -1.80102E-06 -1.17592E-06" pathEditMode="relative" rAng="0" ptsTypes="AA">
                                      <p:cBhvr>
                                        <p:cTn id="14" dur="1100" fill="hold"/>
                                        <p:tgtEl>
                                          <p:spTgt spid="46"/>
                                        </p:tgtEl>
                                        <p:attrNameLst>
                                          <p:attrName>ppt_x</p:attrName>
                                          <p:attrName>ppt_y</p:attrName>
                                        </p:attrNameLst>
                                      </p:cBhvr>
                                      <p:rCtr x="1605" y="0"/>
                                    </p:animMotion>
                                  </p:childTnLst>
                                </p:cTn>
                              </p:par>
                              <p:par>
                                <p:cTn id="15" presetID="2" presetClass="entr" presetSubtype="8" decel="100000" fill="hold" nodeType="withEffect">
                                  <p:stCondLst>
                                    <p:cond delay="250"/>
                                  </p:stCondLst>
                                  <p:childTnLst>
                                    <p:set>
                                      <p:cBhvr>
                                        <p:cTn id="16" dur="1" fill="hold">
                                          <p:stCondLst>
                                            <p:cond delay="0"/>
                                          </p:stCondLst>
                                        </p:cTn>
                                        <p:tgtEl>
                                          <p:spTgt spid="1242"/>
                                        </p:tgtEl>
                                        <p:attrNameLst>
                                          <p:attrName>style.visibility</p:attrName>
                                        </p:attrNameLst>
                                      </p:cBhvr>
                                      <p:to>
                                        <p:strVal val="visible"/>
                                      </p:to>
                                    </p:set>
                                    <p:anim calcmode="lin" valueType="num">
                                      <p:cBhvr additive="base">
                                        <p:cTn id="17" dur="500" fill="hold"/>
                                        <p:tgtEl>
                                          <p:spTgt spid="1242"/>
                                        </p:tgtEl>
                                        <p:attrNameLst>
                                          <p:attrName>ppt_x</p:attrName>
                                        </p:attrNameLst>
                                      </p:cBhvr>
                                      <p:tavLst>
                                        <p:tav tm="0">
                                          <p:val>
                                            <p:strVal val="0-#ppt_w/2"/>
                                          </p:val>
                                        </p:tav>
                                        <p:tav tm="100000">
                                          <p:val>
                                            <p:strVal val="#ppt_x"/>
                                          </p:val>
                                        </p:tav>
                                      </p:tavLst>
                                    </p:anim>
                                    <p:anim calcmode="lin" valueType="num">
                                      <p:cBhvr additive="base">
                                        <p:cTn id="18" dur="500" fill="hold"/>
                                        <p:tgtEl>
                                          <p:spTgt spid="1242"/>
                                        </p:tgtEl>
                                        <p:attrNameLst>
                                          <p:attrName>ppt_y</p:attrName>
                                        </p:attrNameLst>
                                      </p:cBhvr>
                                      <p:tavLst>
                                        <p:tav tm="0">
                                          <p:val>
                                            <p:strVal val="#ppt_y"/>
                                          </p:val>
                                        </p:tav>
                                        <p:tav tm="100000">
                                          <p:val>
                                            <p:strVal val="#ppt_y"/>
                                          </p:val>
                                        </p:tav>
                                      </p:tavLst>
                                    </p:anim>
                                  </p:childTnLst>
                                </p:cTn>
                              </p:par>
                              <p:par>
                                <p:cTn id="19" presetID="22" presetClass="entr" presetSubtype="8" fill="hold" nodeType="withEffect">
                                  <p:stCondLst>
                                    <p:cond delay="500"/>
                                  </p:stCondLst>
                                  <p:childTnLst>
                                    <p:set>
                                      <p:cBhvr>
                                        <p:cTn id="20" dur="1" fill="hold">
                                          <p:stCondLst>
                                            <p:cond delay="0"/>
                                          </p:stCondLst>
                                        </p:cTn>
                                        <p:tgtEl>
                                          <p:spTgt spid="1146"/>
                                        </p:tgtEl>
                                        <p:attrNameLst>
                                          <p:attrName>style.visibility</p:attrName>
                                        </p:attrNameLst>
                                      </p:cBhvr>
                                      <p:to>
                                        <p:strVal val="visible"/>
                                      </p:to>
                                    </p:set>
                                    <p:animEffect transition="in" filter="wipe(left)">
                                      <p:cBhvr>
                                        <p:cTn id="21" dur="750"/>
                                        <p:tgtEl>
                                          <p:spTgt spid="1146"/>
                                        </p:tgtEl>
                                      </p:cBhvr>
                                    </p:animEffect>
                                  </p:childTnLst>
                                </p:cTn>
                              </p:par>
                              <p:par>
                                <p:cTn id="22" presetID="10" presetClass="entr" presetSubtype="0" fill="hold" nodeType="withEffect">
                                  <p:stCondLst>
                                    <p:cond delay="500"/>
                                  </p:stCondLst>
                                  <p:childTnLst>
                                    <p:set>
                                      <p:cBhvr>
                                        <p:cTn id="23" dur="1" fill="hold">
                                          <p:stCondLst>
                                            <p:cond delay="0"/>
                                          </p:stCondLst>
                                        </p:cTn>
                                        <p:tgtEl>
                                          <p:spTgt spid="1245"/>
                                        </p:tgtEl>
                                        <p:attrNameLst>
                                          <p:attrName>style.visibility</p:attrName>
                                        </p:attrNameLst>
                                      </p:cBhvr>
                                      <p:to>
                                        <p:strVal val="visible"/>
                                      </p:to>
                                    </p:set>
                                    <p:animEffect transition="in" filter="fade">
                                      <p:cBhvr>
                                        <p:cTn id="24" dur="500"/>
                                        <p:tgtEl>
                                          <p:spTgt spid="1245"/>
                                        </p:tgtEl>
                                      </p:cBhvr>
                                    </p:animEffect>
                                  </p:childTnLst>
                                </p:cTn>
                              </p:par>
                              <p:par>
                                <p:cTn id="25" presetID="35" presetClass="path" presetSubtype="0" accel="17000" decel="83000" fill="hold" nodeType="withEffect">
                                  <p:stCondLst>
                                    <p:cond delay="500"/>
                                  </p:stCondLst>
                                  <p:childTnLst>
                                    <p:animMotion origin="layout" path="M -0.03211 2.85983E-06 L 1.27889E-06 2.85983E-06" pathEditMode="relative" rAng="0" ptsTypes="AA">
                                      <p:cBhvr>
                                        <p:cTn id="26" dur="1100" fill="hold"/>
                                        <p:tgtEl>
                                          <p:spTgt spid="1245"/>
                                        </p:tgtEl>
                                        <p:attrNameLst>
                                          <p:attrName>ppt_x</p:attrName>
                                          <p:attrName>ppt_y</p:attrName>
                                        </p:attrNameLst>
                                      </p:cBhvr>
                                      <p:rCtr x="1605" y="0"/>
                                    </p:animMotion>
                                  </p:childTnLst>
                                </p:cTn>
                              </p:par>
                              <p:par>
                                <p:cTn id="27" presetID="10" presetClass="entr" presetSubtype="0" fill="hold" grpId="0" nodeType="withEffect">
                                  <p:stCondLst>
                                    <p:cond delay="500"/>
                                  </p:stCondLst>
                                  <p:childTnLst>
                                    <p:set>
                                      <p:cBhvr>
                                        <p:cTn id="28" dur="1" fill="hold">
                                          <p:stCondLst>
                                            <p:cond delay="0"/>
                                          </p:stCondLst>
                                        </p:cTn>
                                        <p:tgtEl>
                                          <p:spTgt spid="1145"/>
                                        </p:tgtEl>
                                        <p:attrNameLst>
                                          <p:attrName>style.visibility</p:attrName>
                                        </p:attrNameLst>
                                      </p:cBhvr>
                                      <p:to>
                                        <p:strVal val="visible"/>
                                      </p:to>
                                    </p:set>
                                    <p:animEffect transition="in" filter="fade">
                                      <p:cBhvr>
                                        <p:cTn id="29" dur="500"/>
                                        <p:tgtEl>
                                          <p:spTgt spid="1145"/>
                                        </p:tgtEl>
                                      </p:cBhvr>
                                    </p:animEffect>
                                  </p:childTnLst>
                                </p:cTn>
                              </p:par>
                              <p:par>
                                <p:cTn id="30" presetID="35" presetClass="path" presetSubtype="0" accel="17000" decel="83000" fill="hold" grpId="1" nodeType="withEffect">
                                  <p:stCondLst>
                                    <p:cond delay="500"/>
                                  </p:stCondLst>
                                  <p:childTnLst>
                                    <p:animMotion origin="layout" path="M 0.0231 -3.07306E-06 L 4.37467E-06 -3.07306E-06" pathEditMode="relative" rAng="0" ptsTypes="AA">
                                      <p:cBhvr>
                                        <p:cTn id="31" dur="1100" fill="hold"/>
                                        <p:tgtEl>
                                          <p:spTgt spid="1145"/>
                                        </p:tgtEl>
                                        <p:attrNameLst>
                                          <p:attrName>ppt_x</p:attrName>
                                          <p:attrName>ppt_y</p:attrName>
                                        </p:attrNameLst>
                                      </p:cBhvr>
                                      <p:rCtr x="-1164" y="0"/>
                                    </p:animMotion>
                                  </p:childTnLst>
                                </p:cTn>
                              </p:par>
                              <p:par>
                                <p:cTn id="32" presetID="10" presetClass="entr" presetSubtype="0" fill="hold" grpId="0" nodeType="withEffect">
                                  <p:stCondLst>
                                    <p:cond delay="500"/>
                                  </p:stCondLst>
                                  <p:childTnLst>
                                    <p:set>
                                      <p:cBhvr>
                                        <p:cTn id="33" dur="1" fill="hold">
                                          <p:stCondLst>
                                            <p:cond delay="0"/>
                                          </p:stCondLst>
                                        </p:cTn>
                                        <p:tgtEl>
                                          <p:spTgt spid="1147"/>
                                        </p:tgtEl>
                                        <p:attrNameLst>
                                          <p:attrName>style.visibility</p:attrName>
                                        </p:attrNameLst>
                                      </p:cBhvr>
                                      <p:to>
                                        <p:strVal val="visible"/>
                                      </p:to>
                                    </p:set>
                                    <p:animEffect transition="in" filter="fade">
                                      <p:cBhvr>
                                        <p:cTn id="34" dur="500"/>
                                        <p:tgtEl>
                                          <p:spTgt spid="1147"/>
                                        </p:tgtEl>
                                      </p:cBhvr>
                                    </p:animEffect>
                                  </p:childTnLst>
                                </p:cTn>
                              </p:par>
                              <p:par>
                                <p:cTn id="35" presetID="35" presetClass="path" presetSubtype="0" accel="17000" decel="83000" fill="hold" grpId="1" nodeType="withEffect">
                                  <p:stCondLst>
                                    <p:cond delay="500"/>
                                  </p:stCondLst>
                                  <p:childTnLst>
                                    <p:animMotion origin="layout" path="M 0.02311 1.81562E-06 L -3.58441E-06 1.81562E-06" pathEditMode="relative" rAng="0" ptsTypes="AA">
                                      <p:cBhvr>
                                        <p:cTn id="36" dur="1100" fill="hold"/>
                                        <p:tgtEl>
                                          <p:spTgt spid="1147"/>
                                        </p:tgtEl>
                                        <p:attrNameLst>
                                          <p:attrName>ppt_x</p:attrName>
                                          <p:attrName>ppt_y</p:attrName>
                                        </p:attrNameLst>
                                      </p:cBhvr>
                                      <p:rCtr x="-1164" y="0"/>
                                    </p:animMotion>
                                  </p:childTnLst>
                                </p:cTn>
                              </p:par>
                              <p:par>
                                <p:cTn id="37" presetID="10" presetClass="entr" presetSubtype="0" fill="hold" grpId="0" nodeType="withEffect">
                                  <p:stCondLst>
                                    <p:cond delay="500"/>
                                  </p:stCondLst>
                                  <p:childTnLst>
                                    <p:set>
                                      <p:cBhvr>
                                        <p:cTn id="38" dur="1" fill="hold">
                                          <p:stCondLst>
                                            <p:cond delay="0"/>
                                          </p:stCondLst>
                                        </p:cTn>
                                        <p:tgtEl>
                                          <p:spTgt spid="1148"/>
                                        </p:tgtEl>
                                        <p:attrNameLst>
                                          <p:attrName>style.visibility</p:attrName>
                                        </p:attrNameLst>
                                      </p:cBhvr>
                                      <p:to>
                                        <p:strVal val="visible"/>
                                      </p:to>
                                    </p:set>
                                    <p:animEffect transition="in" filter="fade">
                                      <p:cBhvr>
                                        <p:cTn id="39" dur="500"/>
                                        <p:tgtEl>
                                          <p:spTgt spid="1148"/>
                                        </p:tgtEl>
                                      </p:cBhvr>
                                    </p:animEffect>
                                  </p:childTnLst>
                                </p:cTn>
                              </p:par>
                              <p:par>
                                <p:cTn id="40" presetID="35" presetClass="path" presetSubtype="0" accel="17000" decel="83000" fill="hold" grpId="1" nodeType="withEffect">
                                  <p:stCondLst>
                                    <p:cond delay="500"/>
                                  </p:stCondLst>
                                  <p:childTnLst>
                                    <p:animMotion origin="layout" path="M 0.02311 1.10693E-06 L -3.58441E-06 1.10693E-06" pathEditMode="relative" rAng="0" ptsTypes="AA">
                                      <p:cBhvr>
                                        <p:cTn id="41" dur="1100" fill="hold"/>
                                        <p:tgtEl>
                                          <p:spTgt spid="1148"/>
                                        </p:tgtEl>
                                        <p:attrNameLst>
                                          <p:attrName>ppt_x</p:attrName>
                                          <p:attrName>ppt_y</p:attrName>
                                        </p:attrNameLst>
                                      </p:cBhvr>
                                      <p:rCtr x="-1164" y="0"/>
                                    </p:animMotion>
                                  </p:childTnLst>
                                </p:cTn>
                              </p:par>
                              <p:par>
                                <p:cTn id="42" presetID="10" presetClass="entr" presetSubtype="0" fill="hold" grpId="0" nodeType="withEffect">
                                  <p:stCondLst>
                                    <p:cond delay="500"/>
                                  </p:stCondLst>
                                  <p:childTnLst>
                                    <p:set>
                                      <p:cBhvr>
                                        <p:cTn id="43" dur="1" fill="hold">
                                          <p:stCondLst>
                                            <p:cond delay="0"/>
                                          </p:stCondLst>
                                        </p:cTn>
                                        <p:tgtEl>
                                          <p:spTgt spid="1149"/>
                                        </p:tgtEl>
                                        <p:attrNameLst>
                                          <p:attrName>style.visibility</p:attrName>
                                        </p:attrNameLst>
                                      </p:cBhvr>
                                      <p:to>
                                        <p:strVal val="visible"/>
                                      </p:to>
                                    </p:set>
                                    <p:animEffect transition="in" filter="fade">
                                      <p:cBhvr>
                                        <p:cTn id="44" dur="500"/>
                                        <p:tgtEl>
                                          <p:spTgt spid="1149"/>
                                        </p:tgtEl>
                                      </p:cBhvr>
                                    </p:animEffect>
                                  </p:childTnLst>
                                </p:cTn>
                              </p:par>
                              <p:par>
                                <p:cTn id="45" presetID="35" presetClass="path" presetSubtype="0" accel="17000" decel="83000" fill="hold" grpId="1" nodeType="withEffect">
                                  <p:stCondLst>
                                    <p:cond delay="500"/>
                                  </p:stCondLst>
                                  <p:childTnLst>
                                    <p:animMotion origin="layout" path="M 0.02311 -1.80307E-06 L -2.40078E-06 -1.80307E-06" pathEditMode="relative" rAng="0" ptsTypes="AA">
                                      <p:cBhvr>
                                        <p:cTn id="46" dur="1100" fill="hold"/>
                                        <p:tgtEl>
                                          <p:spTgt spid="1149"/>
                                        </p:tgtEl>
                                        <p:attrNameLst>
                                          <p:attrName>ppt_x</p:attrName>
                                          <p:attrName>ppt_y</p:attrName>
                                        </p:attrNameLst>
                                      </p:cBhvr>
                                      <p:rCtr x="-1164" y="0"/>
                                    </p:animMotion>
                                  </p:childTnLst>
                                </p:cTn>
                              </p:par>
                              <p:par>
                                <p:cTn id="47" presetID="10" presetClass="entr" presetSubtype="0" fill="hold" grpId="0" nodeType="withEffect">
                                  <p:stCondLst>
                                    <p:cond delay="500"/>
                                  </p:stCondLst>
                                  <p:childTnLst>
                                    <p:set>
                                      <p:cBhvr>
                                        <p:cTn id="48" dur="1" fill="hold">
                                          <p:stCondLst>
                                            <p:cond delay="0"/>
                                          </p:stCondLst>
                                        </p:cTn>
                                        <p:tgtEl>
                                          <p:spTgt spid="1150"/>
                                        </p:tgtEl>
                                        <p:attrNameLst>
                                          <p:attrName>style.visibility</p:attrName>
                                        </p:attrNameLst>
                                      </p:cBhvr>
                                      <p:to>
                                        <p:strVal val="visible"/>
                                      </p:to>
                                    </p:set>
                                    <p:animEffect transition="in" filter="fade">
                                      <p:cBhvr>
                                        <p:cTn id="49" dur="500"/>
                                        <p:tgtEl>
                                          <p:spTgt spid="1150"/>
                                        </p:tgtEl>
                                      </p:cBhvr>
                                    </p:animEffect>
                                  </p:childTnLst>
                                </p:cTn>
                              </p:par>
                              <p:par>
                                <p:cTn id="50" presetID="35" presetClass="path" presetSubtype="0" accel="17000" decel="83000" fill="hold" grpId="1" nodeType="withEffect">
                                  <p:stCondLst>
                                    <p:cond delay="500"/>
                                  </p:stCondLst>
                                  <p:childTnLst>
                                    <p:animMotion origin="layout" path="M 0.02311 -4.81029E-06 L 1.20127E-06 -4.81029E-06" pathEditMode="relative" rAng="0" ptsTypes="AA">
                                      <p:cBhvr>
                                        <p:cTn id="51" dur="1100" fill="hold"/>
                                        <p:tgtEl>
                                          <p:spTgt spid="1150"/>
                                        </p:tgtEl>
                                        <p:attrNameLst>
                                          <p:attrName>ppt_x</p:attrName>
                                          <p:attrName>ppt_y</p:attrName>
                                        </p:attrNameLst>
                                      </p:cBhvr>
                                      <p:rCtr x="-1164" y="0"/>
                                    </p:animMotion>
                                  </p:childTnLst>
                                </p:cTn>
                              </p:par>
                              <p:par>
                                <p:cTn id="52" presetID="10" presetClass="entr" presetSubtype="0" fill="hold" grpId="0" nodeType="withEffect">
                                  <p:stCondLst>
                                    <p:cond delay="500"/>
                                  </p:stCondLst>
                                  <p:childTnLst>
                                    <p:set>
                                      <p:cBhvr>
                                        <p:cTn id="53" dur="1" fill="hold">
                                          <p:stCondLst>
                                            <p:cond delay="0"/>
                                          </p:stCondLst>
                                        </p:cTn>
                                        <p:tgtEl>
                                          <p:spTgt spid="1151"/>
                                        </p:tgtEl>
                                        <p:attrNameLst>
                                          <p:attrName>style.visibility</p:attrName>
                                        </p:attrNameLst>
                                      </p:cBhvr>
                                      <p:to>
                                        <p:strVal val="visible"/>
                                      </p:to>
                                    </p:set>
                                    <p:animEffect transition="in" filter="fade">
                                      <p:cBhvr>
                                        <p:cTn id="54" dur="500"/>
                                        <p:tgtEl>
                                          <p:spTgt spid="1151"/>
                                        </p:tgtEl>
                                      </p:cBhvr>
                                    </p:animEffect>
                                  </p:childTnLst>
                                </p:cTn>
                              </p:par>
                              <p:par>
                                <p:cTn id="55" presetID="35" presetClass="path" presetSubtype="0" accel="17000" decel="83000" fill="hold" grpId="1" nodeType="withEffect">
                                  <p:stCondLst>
                                    <p:cond delay="500"/>
                                  </p:stCondLst>
                                  <p:childTnLst>
                                    <p:animMotion origin="layout" path="M 0.02311 -3.40859E-06 L -2.40078E-06 -3.40859E-06" pathEditMode="relative" rAng="0" ptsTypes="AA">
                                      <p:cBhvr>
                                        <p:cTn id="56" dur="1100" fill="hold"/>
                                        <p:tgtEl>
                                          <p:spTgt spid="1151"/>
                                        </p:tgtEl>
                                        <p:attrNameLst>
                                          <p:attrName>ppt_x</p:attrName>
                                          <p:attrName>ppt_y</p:attrName>
                                        </p:attrNameLst>
                                      </p:cBhvr>
                                      <p:rCtr x="-1164" y="0"/>
                                    </p:animMotion>
                                  </p:childTnLst>
                                </p:cTn>
                              </p:par>
                              <p:par>
                                <p:cTn id="57" presetID="10" presetClass="entr" presetSubtype="0" fill="hold" grpId="0" nodeType="withEffect">
                                  <p:stCondLst>
                                    <p:cond delay="1000"/>
                                  </p:stCondLst>
                                  <p:childTnLst>
                                    <p:set>
                                      <p:cBhvr>
                                        <p:cTn id="58" dur="1" fill="hold">
                                          <p:stCondLst>
                                            <p:cond delay="0"/>
                                          </p:stCondLst>
                                        </p:cTn>
                                        <p:tgtEl>
                                          <p:spTgt spid="1153"/>
                                        </p:tgtEl>
                                        <p:attrNameLst>
                                          <p:attrName>style.visibility</p:attrName>
                                        </p:attrNameLst>
                                      </p:cBhvr>
                                      <p:to>
                                        <p:strVal val="visible"/>
                                      </p:to>
                                    </p:set>
                                    <p:animEffect transition="in" filter="fade">
                                      <p:cBhvr>
                                        <p:cTn id="59" dur="500"/>
                                        <p:tgtEl>
                                          <p:spTgt spid="1153"/>
                                        </p:tgtEl>
                                      </p:cBhvr>
                                    </p:animEffect>
                                  </p:childTnLst>
                                </p:cTn>
                              </p:par>
                              <p:par>
                                <p:cTn id="60" presetID="35" presetClass="path" presetSubtype="0" accel="17000" decel="83000" fill="hold" grpId="1" nodeType="withEffect">
                                  <p:stCondLst>
                                    <p:cond delay="1000"/>
                                  </p:stCondLst>
                                  <p:childTnLst>
                                    <p:animMotion origin="layout" path="M 0.02311 4.39009E-7 L 9.11977E-7 4.39009E-7 " pathEditMode="relative" rAng="0" ptsTypes="AA">
                                      <p:cBhvr>
                                        <p:cTn id="61" dur="1100" fill="hold"/>
                                        <p:tgtEl>
                                          <p:spTgt spid="1153"/>
                                        </p:tgtEl>
                                        <p:attrNameLst>
                                          <p:attrName>ppt_x</p:attrName>
                                          <p:attrName>ppt_y</p:attrName>
                                        </p:attrNameLst>
                                      </p:cBhvr>
                                      <p:rCtr x="-1164" y="0"/>
                                    </p:animMotion>
                                  </p:childTnLst>
                                </p:cTn>
                              </p:par>
                              <p:par>
                                <p:cTn id="62" presetID="10" presetClass="entr" presetSubtype="0" fill="hold" grpId="0" nodeType="withEffect">
                                  <p:stCondLst>
                                    <p:cond delay="1000"/>
                                  </p:stCondLst>
                                  <p:childTnLst>
                                    <p:set>
                                      <p:cBhvr>
                                        <p:cTn id="63" dur="1" fill="hold">
                                          <p:stCondLst>
                                            <p:cond delay="0"/>
                                          </p:stCondLst>
                                        </p:cTn>
                                        <p:tgtEl>
                                          <p:spTgt spid="1154"/>
                                        </p:tgtEl>
                                        <p:attrNameLst>
                                          <p:attrName>style.visibility</p:attrName>
                                        </p:attrNameLst>
                                      </p:cBhvr>
                                      <p:to>
                                        <p:strVal val="visible"/>
                                      </p:to>
                                    </p:set>
                                    <p:animEffect transition="in" filter="fade">
                                      <p:cBhvr>
                                        <p:cTn id="64" dur="500"/>
                                        <p:tgtEl>
                                          <p:spTgt spid="1154"/>
                                        </p:tgtEl>
                                      </p:cBhvr>
                                    </p:animEffect>
                                  </p:childTnLst>
                                </p:cTn>
                              </p:par>
                              <p:par>
                                <p:cTn id="65" presetID="35" presetClass="path" presetSubtype="0" accel="17000" decel="83000" fill="hold" grpId="1" nodeType="withEffect">
                                  <p:stCondLst>
                                    <p:cond delay="1000"/>
                                  </p:stCondLst>
                                  <p:childTnLst>
                                    <p:animMotion origin="layout" path="M 0.0231 4.86673E-6 L 3.33039E-6 4.86673E-6 " pathEditMode="relative" rAng="0" ptsTypes="AA">
                                      <p:cBhvr>
                                        <p:cTn id="66" dur="1100" fill="hold"/>
                                        <p:tgtEl>
                                          <p:spTgt spid="1154"/>
                                        </p:tgtEl>
                                        <p:attrNameLst>
                                          <p:attrName>ppt_x</p:attrName>
                                          <p:attrName>ppt_y</p:attrName>
                                        </p:attrNameLst>
                                      </p:cBhvr>
                                      <p:rCtr x="-1164" y="0"/>
                                    </p:animMotion>
                                  </p:childTnLst>
                                </p:cTn>
                              </p:par>
                              <p:par>
                                <p:cTn id="67" presetID="10" presetClass="entr" presetSubtype="0" fill="hold" grpId="0" nodeType="withEffect">
                                  <p:stCondLst>
                                    <p:cond delay="1000"/>
                                  </p:stCondLst>
                                  <p:childTnLst>
                                    <p:set>
                                      <p:cBhvr>
                                        <p:cTn id="68" dur="1" fill="hold">
                                          <p:stCondLst>
                                            <p:cond delay="0"/>
                                          </p:stCondLst>
                                        </p:cTn>
                                        <p:tgtEl>
                                          <p:spTgt spid="1155"/>
                                        </p:tgtEl>
                                        <p:attrNameLst>
                                          <p:attrName>style.visibility</p:attrName>
                                        </p:attrNameLst>
                                      </p:cBhvr>
                                      <p:to>
                                        <p:strVal val="visible"/>
                                      </p:to>
                                    </p:set>
                                    <p:animEffect transition="in" filter="fade">
                                      <p:cBhvr>
                                        <p:cTn id="69" dur="500"/>
                                        <p:tgtEl>
                                          <p:spTgt spid="1155"/>
                                        </p:tgtEl>
                                      </p:cBhvr>
                                    </p:animEffect>
                                  </p:childTnLst>
                                </p:cTn>
                              </p:par>
                              <p:par>
                                <p:cTn id="70" presetID="35" presetClass="path" presetSubtype="0" accel="17000" decel="83000" fill="hold" grpId="1" nodeType="withEffect">
                                  <p:stCondLst>
                                    <p:cond delay="1000"/>
                                  </p:stCondLst>
                                  <p:childTnLst>
                                    <p:animMotion origin="layout" path="M 0.02311 -1.25745E-6 L 1.61581E-6 -1.25745E-6 " pathEditMode="relative" rAng="0" ptsTypes="AA">
                                      <p:cBhvr>
                                        <p:cTn id="71" dur="1100" fill="hold"/>
                                        <p:tgtEl>
                                          <p:spTgt spid="1155"/>
                                        </p:tgtEl>
                                        <p:attrNameLst>
                                          <p:attrName>ppt_x</p:attrName>
                                          <p:attrName>ppt_y</p:attrName>
                                        </p:attrNameLst>
                                      </p:cBhvr>
                                      <p:rCtr x="-1164" y="0"/>
                                    </p:animMotion>
                                  </p:childTnLst>
                                </p:cTn>
                              </p:par>
                              <p:par>
                                <p:cTn id="72" presetID="10" presetClass="entr" presetSubtype="0" fill="hold" grpId="0" nodeType="withEffect">
                                  <p:stCondLst>
                                    <p:cond delay="1000"/>
                                  </p:stCondLst>
                                  <p:childTnLst>
                                    <p:set>
                                      <p:cBhvr>
                                        <p:cTn id="73" dur="1" fill="hold">
                                          <p:stCondLst>
                                            <p:cond delay="0"/>
                                          </p:stCondLst>
                                        </p:cTn>
                                        <p:tgtEl>
                                          <p:spTgt spid="1156"/>
                                        </p:tgtEl>
                                        <p:attrNameLst>
                                          <p:attrName>style.visibility</p:attrName>
                                        </p:attrNameLst>
                                      </p:cBhvr>
                                      <p:to>
                                        <p:strVal val="visible"/>
                                      </p:to>
                                    </p:set>
                                    <p:animEffect transition="in" filter="fade">
                                      <p:cBhvr>
                                        <p:cTn id="74" dur="500"/>
                                        <p:tgtEl>
                                          <p:spTgt spid="1156"/>
                                        </p:tgtEl>
                                      </p:cBhvr>
                                    </p:animEffect>
                                  </p:childTnLst>
                                </p:cTn>
                              </p:par>
                              <p:par>
                                <p:cTn id="75" presetID="35" presetClass="path" presetSubtype="0" accel="17000" decel="83000" fill="hold" grpId="1" nodeType="withEffect">
                                  <p:stCondLst>
                                    <p:cond delay="1000"/>
                                  </p:stCondLst>
                                  <p:childTnLst>
                                    <p:animMotion origin="layout" path="M 0.02311 5.98934E-7 L -4.40466E-6 5.98934E-7 " pathEditMode="relative" rAng="0" ptsTypes="AA">
                                      <p:cBhvr>
                                        <p:cTn id="76" dur="1100" fill="hold"/>
                                        <p:tgtEl>
                                          <p:spTgt spid="1156"/>
                                        </p:tgtEl>
                                        <p:attrNameLst>
                                          <p:attrName>ppt_x</p:attrName>
                                          <p:attrName>ppt_y</p:attrName>
                                        </p:attrNameLst>
                                      </p:cBhvr>
                                      <p:rCtr x="-1164" y="0"/>
                                    </p:animMotion>
                                  </p:childTnLst>
                                </p:cTn>
                              </p:par>
                              <p:par>
                                <p:cTn id="77" presetID="10" presetClass="entr" presetSubtype="0" fill="hold" grpId="0" nodeType="withEffect">
                                  <p:stCondLst>
                                    <p:cond delay="1000"/>
                                  </p:stCondLst>
                                  <p:childTnLst>
                                    <p:set>
                                      <p:cBhvr>
                                        <p:cTn id="78" dur="1" fill="hold">
                                          <p:stCondLst>
                                            <p:cond delay="0"/>
                                          </p:stCondLst>
                                        </p:cTn>
                                        <p:tgtEl>
                                          <p:spTgt spid="1157"/>
                                        </p:tgtEl>
                                        <p:attrNameLst>
                                          <p:attrName>style.visibility</p:attrName>
                                        </p:attrNameLst>
                                      </p:cBhvr>
                                      <p:to>
                                        <p:strVal val="visible"/>
                                      </p:to>
                                    </p:set>
                                    <p:animEffect transition="in" filter="fade">
                                      <p:cBhvr>
                                        <p:cTn id="79" dur="500"/>
                                        <p:tgtEl>
                                          <p:spTgt spid="1157"/>
                                        </p:tgtEl>
                                      </p:cBhvr>
                                    </p:animEffect>
                                  </p:childTnLst>
                                </p:cTn>
                              </p:par>
                              <p:par>
                                <p:cTn id="80" presetID="35" presetClass="path" presetSubtype="0" accel="17000" decel="83000" fill="hold" grpId="1" nodeType="withEffect">
                                  <p:stCondLst>
                                    <p:cond delay="1000"/>
                                  </p:stCondLst>
                                  <p:childTnLst>
                                    <p:animMotion origin="layout" path="M 0.02311 -1.85011E-6 L -1.55759E-6 -1.85011E-6 " pathEditMode="relative" rAng="0" ptsTypes="AA">
                                      <p:cBhvr>
                                        <p:cTn id="81" dur="1100" fill="hold"/>
                                        <p:tgtEl>
                                          <p:spTgt spid="1157"/>
                                        </p:tgtEl>
                                        <p:attrNameLst>
                                          <p:attrName>ppt_x</p:attrName>
                                          <p:attrName>ppt_y</p:attrName>
                                        </p:attrNameLst>
                                      </p:cBhvr>
                                      <p:rCtr x="-1164" y="0"/>
                                    </p:animMotion>
                                  </p:childTnLst>
                                </p:cTn>
                              </p:par>
                              <p:par>
                                <p:cTn id="82" presetID="10" presetClass="entr" presetSubtype="0" fill="hold" nodeType="withEffect">
                                  <p:stCondLst>
                                    <p:cond delay="1250"/>
                                  </p:stCondLst>
                                  <p:childTnLst>
                                    <p:set>
                                      <p:cBhvr>
                                        <p:cTn id="83" dur="1" fill="hold">
                                          <p:stCondLst>
                                            <p:cond delay="0"/>
                                          </p:stCondLst>
                                        </p:cTn>
                                        <p:tgtEl>
                                          <p:spTgt spid="1209"/>
                                        </p:tgtEl>
                                        <p:attrNameLst>
                                          <p:attrName>style.visibility</p:attrName>
                                        </p:attrNameLst>
                                      </p:cBhvr>
                                      <p:to>
                                        <p:strVal val="visible"/>
                                      </p:to>
                                    </p:set>
                                    <p:animEffect transition="in" filter="fade">
                                      <p:cBhvr>
                                        <p:cTn id="84" dur="500"/>
                                        <p:tgtEl>
                                          <p:spTgt spid="1209"/>
                                        </p:tgtEl>
                                      </p:cBhvr>
                                    </p:animEffect>
                                  </p:childTnLst>
                                </p:cTn>
                              </p:par>
                              <p:par>
                                <p:cTn id="85" presetID="23" presetClass="entr" presetSubtype="288" fill="hold" nodeType="withEffect">
                                  <p:stCondLst>
                                    <p:cond delay="1250"/>
                                  </p:stCondLst>
                                  <p:childTnLst>
                                    <p:set>
                                      <p:cBhvr>
                                        <p:cTn id="86" dur="1" fill="hold">
                                          <p:stCondLst>
                                            <p:cond delay="0"/>
                                          </p:stCondLst>
                                        </p:cTn>
                                        <p:tgtEl>
                                          <p:spTgt spid="1209"/>
                                        </p:tgtEl>
                                        <p:attrNameLst>
                                          <p:attrName>style.visibility</p:attrName>
                                        </p:attrNameLst>
                                      </p:cBhvr>
                                      <p:to>
                                        <p:strVal val="visible"/>
                                      </p:to>
                                    </p:set>
                                    <p:anim calcmode="lin" valueType="num">
                                      <p:cBhvr>
                                        <p:cTn id="87" dur="500" fill="hold"/>
                                        <p:tgtEl>
                                          <p:spTgt spid="1209"/>
                                        </p:tgtEl>
                                        <p:attrNameLst>
                                          <p:attrName>ppt_w</p:attrName>
                                        </p:attrNameLst>
                                      </p:cBhvr>
                                      <p:tavLst>
                                        <p:tav tm="0">
                                          <p:val>
                                            <p:strVal val="4/3*#ppt_w"/>
                                          </p:val>
                                        </p:tav>
                                        <p:tav tm="100000">
                                          <p:val>
                                            <p:strVal val="#ppt_w"/>
                                          </p:val>
                                        </p:tav>
                                      </p:tavLst>
                                    </p:anim>
                                    <p:anim calcmode="lin" valueType="num">
                                      <p:cBhvr>
                                        <p:cTn id="88" dur="500" fill="hold"/>
                                        <p:tgtEl>
                                          <p:spTgt spid="1209"/>
                                        </p:tgtEl>
                                        <p:attrNameLst>
                                          <p:attrName>ppt_h</p:attrName>
                                        </p:attrNameLst>
                                      </p:cBhvr>
                                      <p:tavLst>
                                        <p:tav tm="0">
                                          <p:val>
                                            <p:strVal val="4/3*#ppt_h"/>
                                          </p:val>
                                        </p:tav>
                                        <p:tav tm="100000">
                                          <p:val>
                                            <p:strVal val="#ppt_h"/>
                                          </p:val>
                                        </p:tav>
                                      </p:tavLst>
                                    </p:anim>
                                  </p:childTnLst>
                                </p:cTn>
                              </p:par>
                              <p:par>
                                <p:cTn id="89" presetID="2" presetClass="entr" presetSubtype="2" decel="100000" fill="hold" grpId="0" nodeType="withEffect">
                                  <p:stCondLst>
                                    <p:cond delay="2000"/>
                                  </p:stCondLst>
                                  <p:childTnLst>
                                    <p:set>
                                      <p:cBhvr>
                                        <p:cTn id="90" dur="1" fill="hold">
                                          <p:stCondLst>
                                            <p:cond delay="0"/>
                                          </p:stCondLst>
                                        </p:cTn>
                                        <p:tgtEl>
                                          <p:spTgt spid="1206"/>
                                        </p:tgtEl>
                                        <p:attrNameLst>
                                          <p:attrName>style.visibility</p:attrName>
                                        </p:attrNameLst>
                                      </p:cBhvr>
                                      <p:to>
                                        <p:strVal val="visible"/>
                                      </p:to>
                                    </p:set>
                                    <p:anim calcmode="lin" valueType="num">
                                      <p:cBhvr additive="base">
                                        <p:cTn id="91" dur="500" fill="hold"/>
                                        <p:tgtEl>
                                          <p:spTgt spid="1206"/>
                                        </p:tgtEl>
                                        <p:attrNameLst>
                                          <p:attrName>ppt_x</p:attrName>
                                        </p:attrNameLst>
                                      </p:cBhvr>
                                      <p:tavLst>
                                        <p:tav tm="0">
                                          <p:val>
                                            <p:strVal val="1+#ppt_w/2"/>
                                          </p:val>
                                        </p:tav>
                                        <p:tav tm="100000">
                                          <p:val>
                                            <p:strVal val="#ppt_x"/>
                                          </p:val>
                                        </p:tav>
                                      </p:tavLst>
                                    </p:anim>
                                    <p:anim calcmode="lin" valueType="num">
                                      <p:cBhvr additive="base">
                                        <p:cTn id="92" dur="500" fill="hold"/>
                                        <p:tgtEl>
                                          <p:spTgt spid="1206"/>
                                        </p:tgtEl>
                                        <p:attrNameLst>
                                          <p:attrName>ppt_y</p:attrName>
                                        </p:attrNameLst>
                                      </p:cBhvr>
                                      <p:tavLst>
                                        <p:tav tm="0">
                                          <p:val>
                                            <p:strVal val="#ppt_y"/>
                                          </p:val>
                                        </p:tav>
                                        <p:tav tm="100000">
                                          <p:val>
                                            <p:strVal val="#ppt_y"/>
                                          </p:val>
                                        </p:tav>
                                      </p:tavLst>
                                    </p:anim>
                                  </p:childTnLst>
                                </p:cTn>
                              </p:par>
                              <p:par>
                                <p:cTn id="93" presetID="10" presetClass="entr" presetSubtype="0" fill="hold" nodeType="withEffect">
                                  <p:stCondLst>
                                    <p:cond delay="1000"/>
                                  </p:stCondLst>
                                  <p:childTnLst>
                                    <p:set>
                                      <p:cBhvr>
                                        <p:cTn id="94" dur="1" fill="hold">
                                          <p:stCondLst>
                                            <p:cond delay="0"/>
                                          </p:stCondLst>
                                        </p:cTn>
                                        <p:tgtEl>
                                          <p:spTgt spid="3"/>
                                        </p:tgtEl>
                                        <p:attrNameLst>
                                          <p:attrName>style.visibility</p:attrName>
                                        </p:attrNameLst>
                                      </p:cBhvr>
                                      <p:to>
                                        <p:strVal val="visible"/>
                                      </p:to>
                                    </p:set>
                                    <p:animEffect transition="in" filter="fade">
                                      <p:cBhvr>
                                        <p:cTn id="95" dur="500"/>
                                        <p:tgtEl>
                                          <p:spTgt spid="3"/>
                                        </p:tgtEl>
                                      </p:cBhvr>
                                    </p:animEffect>
                                  </p:childTnLst>
                                </p:cTn>
                              </p:par>
                              <p:par>
                                <p:cTn id="96" presetID="35" presetClass="path" presetSubtype="0" accel="17000" decel="83000" fill="hold" nodeType="withEffect">
                                  <p:stCondLst>
                                    <p:cond delay="1000"/>
                                  </p:stCondLst>
                                  <p:childTnLst>
                                    <p:animMotion origin="layout" path="M -0.0321 -1.06303E-6 L -8.6435E-8 -1.06303E-6 " pathEditMode="relative" rAng="0" ptsTypes="AA">
                                      <p:cBhvr>
                                        <p:cTn id="97" dur="1100" fill="hold"/>
                                        <p:tgtEl>
                                          <p:spTgt spid="3"/>
                                        </p:tgtEl>
                                        <p:attrNameLst>
                                          <p:attrName>ppt_x</p:attrName>
                                          <p:attrName>ppt_y</p:attrName>
                                        </p:attrNameLst>
                                      </p:cBhvr>
                                      <p:rCtr x="1605" y="0"/>
                                    </p:animMotion>
                                  </p:childTnLst>
                                </p:cTn>
                              </p:par>
                              <p:par>
                                <p:cTn id="98" presetID="10" presetClass="entr" presetSubtype="0" fill="hold" grpId="0" nodeType="withEffect">
                                  <p:stCondLst>
                                    <p:cond delay="1000"/>
                                  </p:stCondLst>
                                  <p:childTnLst>
                                    <p:set>
                                      <p:cBhvr>
                                        <p:cTn id="99" dur="1" fill="hold">
                                          <p:stCondLst>
                                            <p:cond delay="0"/>
                                          </p:stCondLst>
                                        </p:cTn>
                                        <p:tgtEl>
                                          <p:spTgt spid="4"/>
                                        </p:tgtEl>
                                        <p:attrNameLst>
                                          <p:attrName>style.visibility</p:attrName>
                                        </p:attrNameLst>
                                      </p:cBhvr>
                                      <p:to>
                                        <p:strVal val="visible"/>
                                      </p:to>
                                    </p:set>
                                    <p:animEffect transition="in" filter="fade">
                                      <p:cBhvr>
                                        <p:cTn id="100" dur="500"/>
                                        <p:tgtEl>
                                          <p:spTgt spid="4"/>
                                        </p:tgtEl>
                                      </p:cBhvr>
                                    </p:animEffect>
                                  </p:childTnLst>
                                </p:cTn>
                              </p:par>
                              <p:par>
                                <p:cTn id="101" presetID="35" presetClass="path" presetSubtype="0" accel="17000" decel="83000" fill="hold" grpId="1" nodeType="withEffect">
                                  <p:stCondLst>
                                    <p:cond delay="1000"/>
                                  </p:stCondLst>
                                  <p:childTnLst>
                                    <p:animMotion origin="layout" path="M 0.02311 1.31703E-7 L -2.35844E-6 1.31703E-7 " pathEditMode="relative" rAng="0" ptsTypes="AA">
                                      <p:cBhvr>
                                        <p:cTn id="102" dur="1100" fill="hold"/>
                                        <p:tgtEl>
                                          <p:spTgt spid="4"/>
                                        </p:tgtEl>
                                        <p:attrNameLst>
                                          <p:attrName>ppt_x</p:attrName>
                                          <p:attrName>ppt_y</p:attrName>
                                        </p:attrNameLst>
                                      </p:cBhvr>
                                      <p:rCtr x="-1164" y="0"/>
                                    </p:animMotion>
                                  </p:childTnLst>
                                </p:cTn>
                              </p:par>
                              <p:par>
                                <p:cTn id="103" presetID="22" presetClass="entr" presetSubtype="1" fill="hold" grpId="0" nodeType="withEffect">
                                  <p:stCondLst>
                                    <p:cond delay="1250"/>
                                  </p:stCondLst>
                                  <p:childTnLst>
                                    <p:set>
                                      <p:cBhvr>
                                        <p:cTn id="104" dur="1" fill="hold">
                                          <p:stCondLst>
                                            <p:cond delay="0"/>
                                          </p:stCondLst>
                                        </p:cTn>
                                        <p:tgtEl>
                                          <p:spTgt spid="10"/>
                                        </p:tgtEl>
                                        <p:attrNameLst>
                                          <p:attrName>style.visibility</p:attrName>
                                        </p:attrNameLst>
                                      </p:cBhvr>
                                      <p:to>
                                        <p:strVal val="visible"/>
                                      </p:to>
                                    </p:set>
                                    <p:animEffect transition="in" filter="wipe(up)">
                                      <p:cBhvr>
                                        <p:cTn id="105" dur="500"/>
                                        <p:tgtEl>
                                          <p:spTgt spid="10"/>
                                        </p:tgtEl>
                                      </p:cBhvr>
                                    </p:animEffect>
                                  </p:childTnLst>
                                </p:cTn>
                              </p:par>
                              <p:par>
                                <p:cTn id="106" presetID="10" presetClass="entr" presetSubtype="0" fill="hold" grpId="0" nodeType="withEffect">
                                  <p:stCondLst>
                                    <p:cond delay="2000"/>
                                  </p:stCondLst>
                                  <p:childTnLst>
                                    <p:set>
                                      <p:cBhvr>
                                        <p:cTn id="107" dur="1" fill="hold">
                                          <p:stCondLst>
                                            <p:cond delay="0"/>
                                          </p:stCondLst>
                                        </p:cTn>
                                        <p:tgtEl>
                                          <p:spTgt spid="12"/>
                                        </p:tgtEl>
                                        <p:attrNameLst>
                                          <p:attrName>style.visibility</p:attrName>
                                        </p:attrNameLst>
                                      </p:cBhvr>
                                      <p:to>
                                        <p:strVal val="visible"/>
                                      </p:to>
                                    </p:set>
                                    <p:animEffect transition="in" filter="fade">
                                      <p:cBhvr>
                                        <p:cTn id="10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5" grpId="1"/>
      <p:bldP spid="46" grpId="0"/>
      <p:bldP spid="46" grpId="1"/>
      <p:bldP spid="1145" grpId="0"/>
      <p:bldP spid="1145" grpId="1"/>
      <p:bldP spid="1147" grpId="0"/>
      <p:bldP spid="1147" grpId="1"/>
      <p:bldP spid="1148" grpId="0"/>
      <p:bldP spid="1148" grpId="1"/>
      <p:bldP spid="1149" grpId="0"/>
      <p:bldP spid="1149" grpId="1"/>
      <p:bldP spid="1150" grpId="0"/>
      <p:bldP spid="1150" grpId="1"/>
      <p:bldP spid="1151" grpId="0"/>
      <p:bldP spid="1151" grpId="1"/>
      <p:bldP spid="1153" grpId="0"/>
      <p:bldP spid="1153" grpId="1"/>
      <p:bldP spid="1154" grpId="0"/>
      <p:bldP spid="1154" grpId="1"/>
      <p:bldP spid="1155" grpId="0"/>
      <p:bldP spid="1155" grpId="1"/>
      <p:bldP spid="1156" grpId="0"/>
      <p:bldP spid="1156" grpId="1"/>
      <p:bldP spid="1157" grpId="0"/>
      <p:bldP spid="1157" grpId="1"/>
      <p:bldP spid="4" grpId="0"/>
      <p:bldP spid="4" grpId="1"/>
      <p:bldP spid="10" grpId="0" animBg="1"/>
      <p:bldP spid="1206" grpId="0"/>
      <p:bldP spid="12"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407770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24792" y="778"/>
            <a:ext cx="8999538" cy="5062240"/>
          </a:xfrm>
          <a:prstGeom prst="rect">
            <a:avLst/>
          </a:prstGeom>
        </p:spPr>
      </p:pic>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F8681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Tree>
    <p:extLst>
      <p:ext uri="{BB962C8B-B14F-4D97-AF65-F5344CB8AC3E}">
        <p14:creationId xmlns:p14="http://schemas.microsoft.com/office/powerpoint/2010/main" val="3757201521"/>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15" grpId="0"/>
      <p:bldP spid="15" grpId="1"/>
      <p:bldP spid="28" grpId="0"/>
      <p:bldP spid="28" grpId="1"/>
      <p:bldP spid="2" grpId="0"/>
      <p:bldP spid="2" grpId="1"/>
      <p:bldP spid="5" grpId="0"/>
      <p:bldP spid="5" grpId="1"/>
      <p:bldP spid="6" grpId="0"/>
      <p:bldP spid="6" grpId="1"/>
      <p:bldP spid="14" grpId="0"/>
      <p:bldP spid="14" grpId="1"/>
      <p:bldP spid="7" grpId="0"/>
      <p:bldP spid="7" grpId="1"/>
      <p:bldP spid="17" grpId="0"/>
      <p:bldP spid="17" grpId="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9" name="Imagem 258" descr="Tela de computador com fundo azul&#10;&#10;Descrição gerada automaticamente com confiança média">
            <a:extLst>
              <a:ext uri="{FF2B5EF4-FFF2-40B4-BE49-F238E27FC236}">
                <a16:creationId xmlns:a16="http://schemas.microsoft.com/office/drawing/2014/main" id="{535B9C10-23C1-D963-A951-E4B8CD42EB18}"/>
              </a:ext>
            </a:extLst>
          </p:cNvPr>
          <p:cNvPicPr>
            <a:picLocks noChangeAspect="1"/>
          </p:cNvPicPr>
          <p:nvPr/>
        </p:nvPicPr>
        <p:blipFill>
          <a:blip r:embed="rId4">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5" imgW="473" imgH="476" progId="TCLayout.ActiveDocument.1">
                  <p:embed/>
                </p:oleObj>
              </mc:Choice>
              <mc:Fallback>
                <p:oleObj name="Slide do think-cell" r:id="rId5"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19" name="Agrupar 118">
            <a:extLst>
              <a:ext uri="{FF2B5EF4-FFF2-40B4-BE49-F238E27FC236}">
                <a16:creationId xmlns:a16="http://schemas.microsoft.com/office/drawing/2014/main" id="{307962B1-4BF6-0C6E-7F0E-CAFDC1B0EF43}"/>
              </a:ext>
            </a:extLst>
          </p:cNvPr>
          <p:cNvGrpSpPr/>
          <p:nvPr/>
        </p:nvGrpSpPr>
        <p:grpSpPr>
          <a:xfrm>
            <a:off x="218383" y="116087"/>
            <a:ext cx="2462435" cy="461665"/>
            <a:chOff x="218383" y="116087"/>
            <a:chExt cx="2462435" cy="461665"/>
          </a:xfrm>
        </p:grpSpPr>
        <p:sp>
          <p:nvSpPr>
            <p:cNvPr id="120" name="CaixaDeTexto 119">
              <a:extLst>
                <a:ext uri="{FF2B5EF4-FFF2-40B4-BE49-F238E27FC236}">
                  <a16:creationId xmlns:a16="http://schemas.microsoft.com/office/drawing/2014/main" id="{D74F78C6-95B7-3C52-130E-454E906417B4}"/>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grpSp>
          <p:nvGrpSpPr>
            <p:cNvPr id="121" name="Agrupar 120">
              <a:extLst>
                <a:ext uri="{FF2B5EF4-FFF2-40B4-BE49-F238E27FC236}">
                  <a16:creationId xmlns:a16="http://schemas.microsoft.com/office/drawing/2014/main" id="{AFC7B92E-60F9-7705-92F2-744C73371E48}"/>
                </a:ext>
              </a:extLst>
            </p:cNvPr>
            <p:cNvGrpSpPr/>
            <p:nvPr/>
          </p:nvGrpSpPr>
          <p:grpSpPr>
            <a:xfrm>
              <a:off x="218383" y="178646"/>
              <a:ext cx="304729" cy="336545"/>
              <a:chOff x="218383" y="178646"/>
              <a:chExt cx="304729" cy="336545"/>
            </a:xfrm>
          </p:grpSpPr>
          <p:sp>
            <p:nvSpPr>
              <p:cNvPr id="122" name="Forma Livre: Forma 121">
                <a:extLst>
                  <a:ext uri="{FF2B5EF4-FFF2-40B4-BE49-F238E27FC236}">
                    <a16:creationId xmlns:a16="http://schemas.microsoft.com/office/drawing/2014/main" id="{94BF42B4-071D-5C64-5789-DC3AA749A3E4}"/>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123" name="CaixaDeTexto 122">
                <a:extLst>
                  <a:ext uri="{FF2B5EF4-FFF2-40B4-BE49-F238E27FC236}">
                    <a16:creationId xmlns:a16="http://schemas.microsoft.com/office/drawing/2014/main" id="{B2E6EEFD-C208-77AF-903A-D2DD84E486E5}"/>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grpSp>
      <p:grpSp>
        <p:nvGrpSpPr>
          <p:cNvPr id="127" name="Agrupar 126">
            <a:extLst>
              <a:ext uri="{FF2B5EF4-FFF2-40B4-BE49-F238E27FC236}">
                <a16:creationId xmlns:a16="http://schemas.microsoft.com/office/drawing/2014/main" id="{47E0AD18-FEB8-16EE-D8D3-08557B10C632}"/>
              </a:ext>
            </a:extLst>
          </p:cNvPr>
          <p:cNvGrpSpPr/>
          <p:nvPr/>
        </p:nvGrpSpPr>
        <p:grpSpPr>
          <a:xfrm>
            <a:off x="301375" y="2900826"/>
            <a:ext cx="297884" cy="291179"/>
            <a:chOff x="8313122" y="2344436"/>
            <a:chExt cx="373665" cy="373665"/>
          </a:xfrm>
        </p:grpSpPr>
        <p:sp>
          <p:nvSpPr>
            <p:cNvPr id="192" name="Elipse 191">
              <a:extLst>
                <a:ext uri="{FF2B5EF4-FFF2-40B4-BE49-F238E27FC236}">
                  <a16:creationId xmlns:a16="http://schemas.microsoft.com/office/drawing/2014/main" id="{D8A80AF3-8BB4-8FF6-88D6-73B34679C7B8}"/>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6" name="Seta: Divisa 195">
              <a:extLst>
                <a:ext uri="{FF2B5EF4-FFF2-40B4-BE49-F238E27FC236}">
                  <a16:creationId xmlns:a16="http://schemas.microsoft.com/office/drawing/2014/main" id="{F4CDAA2E-B197-71CA-1CF4-11A45ECADEBD}"/>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198" name="Agrupar 197">
            <a:extLst>
              <a:ext uri="{FF2B5EF4-FFF2-40B4-BE49-F238E27FC236}">
                <a16:creationId xmlns:a16="http://schemas.microsoft.com/office/drawing/2014/main" id="{C9B61AD7-6C85-590C-AA5E-57EE0EC559D3}"/>
              </a:ext>
            </a:extLst>
          </p:cNvPr>
          <p:cNvGrpSpPr/>
          <p:nvPr/>
        </p:nvGrpSpPr>
        <p:grpSpPr>
          <a:xfrm>
            <a:off x="296846" y="3371463"/>
            <a:ext cx="297884" cy="291179"/>
            <a:chOff x="8313122" y="2344436"/>
            <a:chExt cx="373665" cy="373665"/>
          </a:xfrm>
        </p:grpSpPr>
        <p:sp>
          <p:nvSpPr>
            <p:cNvPr id="199" name="Elipse 198">
              <a:extLst>
                <a:ext uri="{FF2B5EF4-FFF2-40B4-BE49-F238E27FC236}">
                  <a16:creationId xmlns:a16="http://schemas.microsoft.com/office/drawing/2014/main" id="{1469B765-FC6B-7E21-D192-3D60877CCE42}"/>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1" name="Seta: Divisa 200">
              <a:extLst>
                <a:ext uri="{FF2B5EF4-FFF2-40B4-BE49-F238E27FC236}">
                  <a16:creationId xmlns:a16="http://schemas.microsoft.com/office/drawing/2014/main" id="{5F0F2984-CCB0-382B-25B9-E45412344139}"/>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02" name="CaixaDeTexto 201">
            <a:extLst>
              <a:ext uri="{FF2B5EF4-FFF2-40B4-BE49-F238E27FC236}">
                <a16:creationId xmlns:a16="http://schemas.microsoft.com/office/drawing/2014/main" id="{2CBC318A-7E78-5C9F-CAE8-006374E7B9E7}"/>
              </a:ext>
            </a:extLst>
          </p:cNvPr>
          <p:cNvSpPr txBox="1"/>
          <p:nvPr/>
        </p:nvSpPr>
        <p:spPr>
          <a:xfrm>
            <a:off x="609854" y="2816748"/>
            <a:ext cx="2222337"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b="1" spc="0">
                <a:solidFill>
                  <a:srgbClr val="011F57"/>
                </a:solidFill>
                <a:latin typeface="Segoe UI" panose="020B0502040204020203" pitchFamily="34" charset="0"/>
                <a:cs typeface="Segoe UI" panose="020B0502040204020203" pitchFamily="34" charset="0"/>
              </a:rPr>
              <a:t>Review of Tariff Parameters </a:t>
            </a:r>
            <a:r>
              <a:rPr lang="en-US" sz="1400" spc="0">
                <a:solidFill>
                  <a:srgbClr val="011F57"/>
                </a:solidFill>
                <a:latin typeface="Segoe UI" panose="020B0502040204020203" pitchFamily="34" charset="0"/>
                <a:cs typeface="Segoe UI" panose="020B0502040204020203" pitchFamily="34" charset="0"/>
              </a:rPr>
              <a:t>every 5 years</a:t>
            </a:r>
            <a:endParaRPr lang="pt-BR" sz="1400" spc="0">
              <a:solidFill>
                <a:srgbClr val="011F57"/>
              </a:solidFill>
              <a:latin typeface="Segoe UI" panose="020B0502040204020203" pitchFamily="34" charset="0"/>
              <a:cs typeface="Segoe UI" panose="020B0502040204020203" pitchFamily="34" charset="0"/>
            </a:endParaRPr>
          </a:p>
        </p:txBody>
      </p:sp>
      <p:sp>
        <p:nvSpPr>
          <p:cNvPr id="204" name="CaixaDeTexto 203">
            <a:extLst>
              <a:ext uri="{FF2B5EF4-FFF2-40B4-BE49-F238E27FC236}">
                <a16:creationId xmlns:a16="http://schemas.microsoft.com/office/drawing/2014/main" id="{8FA37AD6-AD77-0C62-E39C-5A60E6CCA00E}"/>
              </a:ext>
            </a:extLst>
          </p:cNvPr>
          <p:cNvSpPr txBox="1"/>
          <p:nvPr/>
        </p:nvSpPr>
        <p:spPr>
          <a:xfrm>
            <a:off x="609854" y="3215793"/>
            <a:ext cx="2999955" cy="6093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spc="0">
                <a:solidFill>
                  <a:srgbClr val="011F57"/>
                </a:solidFill>
                <a:latin typeface="Segoe UI" panose="020B0502040204020203" pitchFamily="34" charset="0"/>
                <a:cs typeface="Segoe UI" panose="020B0502040204020203" pitchFamily="34" charset="0"/>
              </a:rPr>
              <a:t>Definition of Recipes for </a:t>
            </a:r>
            <a:r>
              <a:rPr lang="en-US" sz="1400" b="1" spc="0">
                <a:solidFill>
                  <a:srgbClr val="011F57"/>
                </a:solidFill>
                <a:latin typeface="Segoe UI" panose="020B0502040204020203" pitchFamily="34" charset="0"/>
                <a:cs typeface="Segoe UI" panose="020B0502040204020203" pitchFamily="34" charset="0"/>
              </a:rPr>
              <a:t>Reinforcements and Improvements</a:t>
            </a:r>
            <a:endParaRPr lang="pt-BR" sz="1400" b="1" spc="0">
              <a:solidFill>
                <a:srgbClr val="011F57"/>
              </a:solidFill>
              <a:latin typeface="Segoe UI" panose="020B0502040204020203" pitchFamily="34" charset="0"/>
              <a:cs typeface="Segoe UI" panose="020B0502040204020203" pitchFamily="34" charset="0"/>
            </a:endParaRPr>
          </a:p>
        </p:txBody>
      </p:sp>
      <p:sp>
        <p:nvSpPr>
          <p:cNvPr id="3" name="Isosceles Triangle 1">
            <a:extLst>
              <a:ext uri="{FF2B5EF4-FFF2-40B4-BE49-F238E27FC236}">
                <a16:creationId xmlns:a16="http://schemas.microsoft.com/office/drawing/2014/main" id="{C29E71FF-6D49-8453-8F7D-D0174A2549B1}"/>
              </a:ext>
            </a:extLst>
          </p:cNvPr>
          <p:cNvSpPr/>
          <p:nvPr/>
        </p:nvSpPr>
        <p:spPr>
          <a:xfrm>
            <a:off x="4576735"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rgbClr val="005FD7"/>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5" name="Isosceles Triangle 4">
            <a:extLst>
              <a:ext uri="{FF2B5EF4-FFF2-40B4-BE49-F238E27FC236}">
                <a16:creationId xmlns:a16="http://schemas.microsoft.com/office/drawing/2014/main" id="{887524FF-50C1-1C68-243C-17DF95CF1D80}"/>
              </a:ext>
            </a:extLst>
          </p:cNvPr>
          <p:cNvSpPr/>
          <p:nvPr/>
        </p:nvSpPr>
        <p:spPr>
          <a:xfrm>
            <a:off x="5036677"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rgbClr val="00BCB8"/>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6" name="Isosceles Triangle 4">
            <a:extLst>
              <a:ext uri="{FF2B5EF4-FFF2-40B4-BE49-F238E27FC236}">
                <a16:creationId xmlns:a16="http://schemas.microsoft.com/office/drawing/2014/main" id="{6C7468E9-4B20-2883-B90A-42E5A5297925}"/>
              </a:ext>
            </a:extLst>
          </p:cNvPr>
          <p:cNvSpPr/>
          <p:nvPr/>
        </p:nvSpPr>
        <p:spPr>
          <a:xfrm flipH="1">
            <a:off x="5733997"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rgbClr val="0098FF"/>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7" name="Isosceles Triangle 1">
            <a:extLst>
              <a:ext uri="{FF2B5EF4-FFF2-40B4-BE49-F238E27FC236}">
                <a16:creationId xmlns:a16="http://schemas.microsoft.com/office/drawing/2014/main" id="{EF9888D0-AAE2-9558-DD7D-8CBC51D99DA7}"/>
              </a:ext>
            </a:extLst>
          </p:cNvPr>
          <p:cNvSpPr/>
          <p:nvPr/>
        </p:nvSpPr>
        <p:spPr>
          <a:xfrm flipH="1">
            <a:off x="5711043"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rgbClr val="002581"/>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09" name="CaixaDeTexto 208">
            <a:extLst>
              <a:ext uri="{FF2B5EF4-FFF2-40B4-BE49-F238E27FC236}">
                <a16:creationId xmlns:a16="http://schemas.microsoft.com/office/drawing/2014/main" id="{E42BD036-1319-8C61-2A67-4F831A3838EC}"/>
              </a:ext>
            </a:extLst>
          </p:cNvPr>
          <p:cNvSpPr txBox="1"/>
          <p:nvPr/>
        </p:nvSpPr>
        <p:spPr>
          <a:xfrm>
            <a:off x="5107804" y="4450027"/>
            <a:ext cx="532112"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A</a:t>
            </a:r>
          </a:p>
        </p:txBody>
      </p:sp>
      <p:sp>
        <p:nvSpPr>
          <p:cNvPr id="210" name="CaixaDeTexto 209">
            <a:extLst>
              <a:ext uri="{FF2B5EF4-FFF2-40B4-BE49-F238E27FC236}">
                <a16:creationId xmlns:a16="http://schemas.microsoft.com/office/drawing/2014/main" id="{EC84D0B6-3279-733C-7C09-515C29772D9B}"/>
              </a:ext>
            </a:extLst>
          </p:cNvPr>
          <p:cNvSpPr txBox="1"/>
          <p:nvPr/>
        </p:nvSpPr>
        <p:spPr>
          <a:xfrm>
            <a:off x="6294794" y="4450027"/>
            <a:ext cx="532112"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B</a:t>
            </a:r>
          </a:p>
        </p:txBody>
      </p:sp>
      <p:sp>
        <p:nvSpPr>
          <p:cNvPr id="211" name="CaixaDeTexto 210">
            <a:extLst>
              <a:ext uri="{FF2B5EF4-FFF2-40B4-BE49-F238E27FC236}">
                <a16:creationId xmlns:a16="http://schemas.microsoft.com/office/drawing/2014/main" id="{B0072F66-B4D0-E6D7-5A53-AB6EF2AC7A48}"/>
              </a:ext>
            </a:extLst>
          </p:cNvPr>
          <p:cNvSpPr txBox="1"/>
          <p:nvPr/>
        </p:nvSpPr>
        <p:spPr>
          <a:xfrm>
            <a:off x="5267796" y="3392696"/>
            <a:ext cx="532112"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C</a:t>
            </a:r>
          </a:p>
        </p:txBody>
      </p:sp>
      <p:sp>
        <p:nvSpPr>
          <p:cNvPr id="212" name="CaixaDeTexto 211">
            <a:extLst>
              <a:ext uri="{FF2B5EF4-FFF2-40B4-BE49-F238E27FC236}">
                <a16:creationId xmlns:a16="http://schemas.microsoft.com/office/drawing/2014/main" id="{0201F5AE-05C1-3C21-D312-89604E6FA363}"/>
              </a:ext>
            </a:extLst>
          </p:cNvPr>
          <p:cNvSpPr txBox="1"/>
          <p:nvPr/>
        </p:nvSpPr>
        <p:spPr>
          <a:xfrm>
            <a:off x="6061090" y="3392696"/>
            <a:ext cx="532112"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D</a:t>
            </a:r>
          </a:p>
        </p:txBody>
      </p:sp>
      <p:sp>
        <p:nvSpPr>
          <p:cNvPr id="4" name="Rectangle 16">
            <a:extLst>
              <a:ext uri="{FF2B5EF4-FFF2-40B4-BE49-F238E27FC236}">
                <a16:creationId xmlns:a16="http://schemas.microsoft.com/office/drawing/2014/main" id="{91E2A141-2018-DCCA-76C1-60BE63431176}"/>
              </a:ext>
            </a:extLst>
          </p:cNvPr>
          <p:cNvSpPr/>
          <p:nvPr/>
        </p:nvSpPr>
        <p:spPr>
          <a:xfrm rot="19800000">
            <a:off x="5189870" y="1640547"/>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rgbClr val="F66727"/>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08" name="CaixaDeTexto 207">
            <a:extLst>
              <a:ext uri="{FF2B5EF4-FFF2-40B4-BE49-F238E27FC236}">
                <a16:creationId xmlns:a16="http://schemas.microsoft.com/office/drawing/2014/main" id="{0FAF3C28-AE1C-6F85-3055-379433573EAC}"/>
              </a:ext>
            </a:extLst>
          </p:cNvPr>
          <p:cNvSpPr txBox="1"/>
          <p:nvPr/>
        </p:nvSpPr>
        <p:spPr>
          <a:xfrm>
            <a:off x="5444987" y="2197138"/>
            <a:ext cx="532112"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E</a:t>
            </a:r>
          </a:p>
        </p:txBody>
      </p:sp>
      <p:cxnSp>
        <p:nvCxnSpPr>
          <p:cNvPr id="239" name="Conector reto 238">
            <a:extLst>
              <a:ext uri="{FF2B5EF4-FFF2-40B4-BE49-F238E27FC236}">
                <a16:creationId xmlns:a16="http://schemas.microsoft.com/office/drawing/2014/main" id="{2A26E739-BE70-4E57-C415-52BE14B1092E}"/>
              </a:ext>
            </a:extLst>
          </p:cNvPr>
          <p:cNvCxnSpPr>
            <a:cxnSpLocks/>
          </p:cNvCxnSpPr>
          <p:nvPr/>
        </p:nvCxnSpPr>
        <p:spPr>
          <a:xfrm>
            <a:off x="4426461" y="466298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0" name="CaixaDeTexto 239">
            <a:extLst>
              <a:ext uri="{FF2B5EF4-FFF2-40B4-BE49-F238E27FC236}">
                <a16:creationId xmlns:a16="http://schemas.microsoft.com/office/drawing/2014/main" id="{58013FC7-A5E5-D2C7-120F-01E8CD0C9802}"/>
              </a:ext>
            </a:extLst>
          </p:cNvPr>
          <p:cNvSpPr txBox="1"/>
          <p:nvPr/>
        </p:nvSpPr>
        <p:spPr>
          <a:xfrm>
            <a:off x="1301262" y="4094338"/>
            <a:ext cx="3436951"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r" defTabSz="234364"/>
            <a:r>
              <a:rPr lang="pt-BR" sz="1200" b="1" spc="0">
                <a:solidFill>
                  <a:srgbClr val="005FD7"/>
                </a:solidFill>
                <a:latin typeface="Segoe UI" panose="020B0502040204020203" pitchFamily="34" charset="0"/>
                <a:cs typeface="Segoe UI" panose="020B0502040204020203" pitchFamily="34" charset="0"/>
              </a:rPr>
              <a:t>Regulatory Remunaration Base (BRR)</a:t>
            </a:r>
            <a:br>
              <a:rPr lang="pt-BR" sz="1200" b="1" spc="0">
                <a:solidFill>
                  <a:srgbClr val="005FD7"/>
                </a:solidFill>
                <a:latin typeface="Segoe UI" panose="020B0502040204020203" pitchFamily="34" charset="0"/>
                <a:cs typeface="Segoe UI" panose="020B0502040204020203" pitchFamily="34" charset="0"/>
              </a:rPr>
            </a:br>
            <a:r>
              <a:rPr lang="pt-BR" sz="1200" b="1" spc="0">
                <a:solidFill>
                  <a:srgbClr val="005FD7"/>
                </a:solidFill>
                <a:latin typeface="Segoe UI" panose="020B0502040204020203" pitchFamily="34" charset="0"/>
                <a:cs typeface="Segoe UI" panose="020B0502040204020203" pitchFamily="34" charset="0"/>
              </a:rPr>
              <a:t>and Price Database (BP)</a:t>
            </a:r>
          </a:p>
          <a:p>
            <a:pPr algn="r" defTabSz="234364"/>
            <a:r>
              <a:rPr lang="en-US" sz="1200" spc="0">
                <a:solidFill>
                  <a:srgbClr val="011F57"/>
                </a:solidFill>
                <a:latin typeface="Segoe UI" panose="020B0502040204020203" pitchFamily="34" charset="0"/>
                <a:cs typeface="Segoe UI" panose="020B0502040204020203" pitchFamily="34" charset="0"/>
              </a:rPr>
              <a:t>Final income from realized investments</a:t>
            </a:r>
            <a:endParaRPr lang="pt-BR" sz="1200" spc="0">
              <a:solidFill>
                <a:srgbClr val="011F57"/>
              </a:solidFill>
              <a:latin typeface="Segoe UI" panose="020B0502040204020203" pitchFamily="34" charset="0"/>
              <a:cs typeface="Segoe UI" panose="020B0502040204020203" pitchFamily="34" charset="0"/>
            </a:endParaRPr>
          </a:p>
        </p:txBody>
      </p:sp>
      <p:cxnSp>
        <p:nvCxnSpPr>
          <p:cNvPr id="241" name="Conector reto 240">
            <a:extLst>
              <a:ext uri="{FF2B5EF4-FFF2-40B4-BE49-F238E27FC236}">
                <a16:creationId xmlns:a16="http://schemas.microsoft.com/office/drawing/2014/main" id="{59924F52-F81B-63DF-ADA4-C0DFE9E83E08}"/>
              </a:ext>
            </a:extLst>
          </p:cNvPr>
          <p:cNvCxnSpPr>
            <a:cxnSpLocks/>
          </p:cNvCxnSpPr>
          <p:nvPr/>
        </p:nvCxnSpPr>
        <p:spPr>
          <a:xfrm>
            <a:off x="4426461" y="3372644"/>
            <a:ext cx="110607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2" name="CaixaDeTexto 241">
            <a:extLst>
              <a:ext uri="{FF2B5EF4-FFF2-40B4-BE49-F238E27FC236}">
                <a16:creationId xmlns:a16="http://schemas.microsoft.com/office/drawing/2014/main" id="{8FCE1760-F3E4-74DA-A233-F7C448A9989F}"/>
              </a:ext>
            </a:extLst>
          </p:cNvPr>
          <p:cNvSpPr txBox="1"/>
          <p:nvPr/>
        </p:nvSpPr>
        <p:spPr>
          <a:xfrm>
            <a:off x="3115009" y="2839273"/>
            <a:ext cx="1623204"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r" defTabSz="234364"/>
            <a:r>
              <a:rPr lang="pt-BR" sz="1200" b="1" spc="0">
                <a:solidFill>
                  <a:srgbClr val="00BCB8"/>
                </a:solidFill>
                <a:latin typeface="Segoe UI" panose="020B0502040204020203" pitchFamily="34" charset="0"/>
                <a:cs typeface="Segoe UI" panose="020B0502040204020203" pitchFamily="34" charset="0"/>
              </a:rPr>
              <a:t>RAP Improvements</a:t>
            </a:r>
          </a:p>
          <a:p>
            <a:pPr algn="r" defTabSz="234364"/>
            <a:r>
              <a:rPr lang="pt-BR" sz="1200" spc="0">
                <a:solidFill>
                  <a:srgbClr val="011F57"/>
                </a:solidFill>
                <a:latin typeface="Segoe UI" panose="020B0502040204020203" pitchFamily="34" charset="0"/>
                <a:cs typeface="Segoe UI" panose="020B0502040204020203" pitchFamily="34" charset="0"/>
              </a:rPr>
              <a:t>Provisional Recipe for Improvements</a:t>
            </a:r>
          </a:p>
        </p:txBody>
      </p:sp>
      <p:cxnSp>
        <p:nvCxnSpPr>
          <p:cNvPr id="244" name="Conector reto 243">
            <a:extLst>
              <a:ext uri="{FF2B5EF4-FFF2-40B4-BE49-F238E27FC236}">
                <a16:creationId xmlns:a16="http://schemas.microsoft.com/office/drawing/2014/main" id="{E1063370-0000-F550-015B-240EA04A9D27}"/>
              </a:ext>
            </a:extLst>
          </p:cNvPr>
          <p:cNvCxnSpPr>
            <a:cxnSpLocks/>
          </p:cNvCxnSpPr>
          <p:nvPr/>
        </p:nvCxnSpPr>
        <p:spPr>
          <a:xfrm>
            <a:off x="6802099" y="466298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246" name="Conector reto 245">
            <a:extLst>
              <a:ext uri="{FF2B5EF4-FFF2-40B4-BE49-F238E27FC236}">
                <a16:creationId xmlns:a16="http://schemas.microsoft.com/office/drawing/2014/main" id="{E0B2CF53-5D0F-713C-316F-DC2BF2ED5771}"/>
              </a:ext>
            </a:extLst>
          </p:cNvPr>
          <p:cNvCxnSpPr>
            <a:cxnSpLocks/>
          </p:cNvCxnSpPr>
          <p:nvPr/>
        </p:nvCxnSpPr>
        <p:spPr>
          <a:xfrm>
            <a:off x="6389414" y="3373185"/>
            <a:ext cx="1155092"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47" name="CaixaDeTexto 246">
            <a:extLst>
              <a:ext uri="{FF2B5EF4-FFF2-40B4-BE49-F238E27FC236}">
                <a16:creationId xmlns:a16="http://schemas.microsoft.com/office/drawing/2014/main" id="{09F00EAB-7CE1-3749-6AA7-D731127F77E3}"/>
              </a:ext>
            </a:extLst>
          </p:cNvPr>
          <p:cNvSpPr txBox="1"/>
          <p:nvPr/>
        </p:nvSpPr>
        <p:spPr>
          <a:xfrm>
            <a:off x="7181122" y="2623829"/>
            <a:ext cx="1708558" cy="67095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100" b="1" spc="0">
                <a:solidFill>
                  <a:srgbClr val="05A2FF"/>
                </a:solidFill>
                <a:latin typeface="Segoe UI" panose="020B0502040204020203" pitchFamily="34" charset="0"/>
                <a:cs typeface="Segoe UI" panose="020B0502040204020203" pitchFamily="34" charset="0"/>
              </a:rPr>
              <a:t>(Weighted Capital Average Cost) </a:t>
            </a:r>
            <a:r>
              <a:rPr lang="pt-BR" sz="1200" b="1" spc="0">
                <a:solidFill>
                  <a:srgbClr val="05A2FF"/>
                </a:solidFill>
                <a:latin typeface="Segoe UI" panose="020B0502040204020203" pitchFamily="34" charset="0"/>
                <a:cs typeface="Segoe UI" panose="020B0502040204020203" pitchFamily="34" charset="0"/>
              </a:rPr>
              <a:t>WACC</a:t>
            </a:r>
          </a:p>
          <a:p>
            <a:pPr defTabSz="234364"/>
            <a:r>
              <a:rPr lang="pt-BR" sz="1200" spc="0">
                <a:solidFill>
                  <a:srgbClr val="011F57"/>
                </a:solidFill>
                <a:latin typeface="Segoe UI" panose="020B0502040204020203" pitchFamily="34" charset="0"/>
                <a:cs typeface="Segoe UI" panose="020B0502040204020203" pitchFamily="34" charset="0"/>
              </a:rPr>
              <a:t>Investment Remuneration</a:t>
            </a:r>
          </a:p>
        </p:txBody>
      </p:sp>
      <p:cxnSp>
        <p:nvCxnSpPr>
          <p:cNvPr id="252" name="Conector reto 251">
            <a:extLst>
              <a:ext uri="{FF2B5EF4-FFF2-40B4-BE49-F238E27FC236}">
                <a16:creationId xmlns:a16="http://schemas.microsoft.com/office/drawing/2014/main" id="{C7FA3AA9-6950-09E2-9B48-74134A8B7BA3}"/>
              </a:ext>
            </a:extLst>
          </p:cNvPr>
          <p:cNvCxnSpPr>
            <a:cxnSpLocks/>
          </p:cNvCxnSpPr>
          <p:nvPr/>
        </p:nvCxnSpPr>
        <p:spPr>
          <a:xfrm>
            <a:off x="5711043" y="2151460"/>
            <a:ext cx="183346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24" name="CaixaDeTexto 123">
            <a:extLst>
              <a:ext uri="{FF2B5EF4-FFF2-40B4-BE49-F238E27FC236}">
                <a16:creationId xmlns:a16="http://schemas.microsoft.com/office/drawing/2014/main" id="{60849E33-1A4D-B7FA-B45E-61B4B03FBB9B}"/>
              </a:ext>
            </a:extLst>
          </p:cNvPr>
          <p:cNvSpPr txBox="1"/>
          <p:nvPr/>
        </p:nvSpPr>
        <p:spPr>
          <a:xfrm>
            <a:off x="221527" y="988518"/>
            <a:ext cx="4278242" cy="824841"/>
          </a:xfrm>
          <a:prstGeom prst="rect">
            <a:avLst/>
          </a:prstGeom>
          <a:noFill/>
        </p:spPr>
        <p:txBody>
          <a:bodyPr wrap="square" rtlCol="0">
            <a:spAutoFit/>
          </a:bodyPr>
          <a:lstStyle/>
          <a:p>
            <a:pPr lvl="0" defTabSz="675010">
              <a:lnSpc>
                <a:spcPct val="85000"/>
              </a:lnSpc>
              <a:spcBef>
                <a:spcPts val="148"/>
              </a:spcBef>
              <a:spcAft>
                <a:spcPts val="148"/>
              </a:spcAft>
              <a:defRPr/>
            </a:pPr>
            <a:r>
              <a:rPr lang="en-US" sz="2800" b="1">
                <a:solidFill>
                  <a:srgbClr val="002581"/>
                </a:solidFill>
                <a:latin typeface="Segoe UI Black"/>
              </a:rPr>
              <a:t>PERIODIC TARIFF REVIEW (RTP)</a:t>
            </a:r>
            <a:endParaRPr lang="en-US" sz="2800" b="1" dirty="0">
              <a:solidFill>
                <a:srgbClr val="002581"/>
              </a:solidFill>
              <a:latin typeface="Segoe UI Black"/>
            </a:endParaRPr>
          </a:p>
        </p:txBody>
      </p:sp>
      <p:sp>
        <p:nvSpPr>
          <p:cNvPr id="125" name="CaixaDeTexto 124">
            <a:extLst>
              <a:ext uri="{FF2B5EF4-FFF2-40B4-BE49-F238E27FC236}">
                <a16:creationId xmlns:a16="http://schemas.microsoft.com/office/drawing/2014/main" id="{590BF710-8343-2E06-781F-6FBDB6D53596}"/>
              </a:ext>
            </a:extLst>
          </p:cNvPr>
          <p:cNvSpPr txBox="1"/>
          <p:nvPr/>
        </p:nvSpPr>
        <p:spPr>
          <a:xfrm>
            <a:off x="221527" y="1790518"/>
            <a:ext cx="3826621" cy="353943"/>
          </a:xfrm>
          <a:prstGeom prst="rect">
            <a:avLst/>
          </a:prstGeom>
          <a:noFill/>
        </p:spPr>
        <p:txBody>
          <a:bodyPr wrap="square" rtlCol="0">
            <a:spAutoFit/>
          </a:bodyPr>
          <a:lstStyle/>
          <a:p>
            <a:pPr lvl="0" defTabSz="675010">
              <a:lnSpc>
                <a:spcPct val="85000"/>
              </a:lnSpc>
              <a:spcBef>
                <a:spcPts val="148"/>
              </a:spcBef>
              <a:spcAft>
                <a:spcPts val="148"/>
              </a:spcAft>
              <a:defRPr/>
            </a:pPr>
            <a:r>
              <a:rPr lang="pt-BR" sz="2000">
                <a:solidFill>
                  <a:srgbClr val="002581"/>
                </a:solidFill>
                <a:latin typeface="Segoe UI Black" panose="020B0A02040204020203" pitchFamily="34" charset="0"/>
                <a:ea typeface="Segoe UI Black" panose="020B0A02040204020203" pitchFamily="34" charset="0"/>
                <a:cs typeface="Segoe UI Light" panose="020B0502040204020203" pitchFamily="34" charset="0"/>
              </a:rPr>
              <a:t>Renewed Contract </a:t>
            </a:r>
            <a:r>
              <a:rPr lang="pt-BR" sz="1600">
                <a:solidFill>
                  <a:srgbClr val="002581"/>
                </a:solidFill>
                <a:latin typeface="Segoe UI" panose="020B0502040204020203" pitchFamily="34" charset="0"/>
                <a:ea typeface="Segoe UI Black" panose="020B0A02040204020203" pitchFamily="34" charset="0"/>
                <a:cs typeface="Segoe UI" panose="020B0502040204020203" pitchFamily="34" charset="0"/>
              </a:rPr>
              <a:t>(059/2001)</a:t>
            </a:r>
            <a:endParaRPr lang="pt-BR" sz="2000">
              <a:solidFill>
                <a:srgbClr val="002581"/>
              </a:solidFill>
              <a:latin typeface="Segoe UI" panose="020B0502040204020203" pitchFamily="34" charset="0"/>
              <a:ea typeface="Segoe UI Black" panose="020B0A02040204020203" pitchFamily="34" charset="0"/>
              <a:cs typeface="Segoe UI" panose="020B0502040204020203" pitchFamily="34" charset="0"/>
            </a:endParaRPr>
          </a:p>
        </p:txBody>
      </p:sp>
      <p:grpSp>
        <p:nvGrpSpPr>
          <p:cNvPr id="255" name="Agrupar 254">
            <a:extLst>
              <a:ext uri="{FF2B5EF4-FFF2-40B4-BE49-F238E27FC236}">
                <a16:creationId xmlns:a16="http://schemas.microsoft.com/office/drawing/2014/main" id="{84FFE62E-9FD4-5E4C-411D-B3AF7DEB350D}"/>
              </a:ext>
            </a:extLst>
          </p:cNvPr>
          <p:cNvGrpSpPr/>
          <p:nvPr/>
        </p:nvGrpSpPr>
        <p:grpSpPr>
          <a:xfrm>
            <a:off x="2559396" y="0"/>
            <a:ext cx="3062888" cy="2115244"/>
            <a:chOff x="2559396" y="0"/>
            <a:chExt cx="3062888" cy="2115244"/>
          </a:xfrm>
        </p:grpSpPr>
        <p:pic>
          <p:nvPicPr>
            <p:cNvPr id="118" name="Imagem 117" descr="Mão de pessoa&#10;&#10;Descrição gerada automaticamente com confiança média">
              <a:extLst>
                <a:ext uri="{FF2B5EF4-FFF2-40B4-BE49-F238E27FC236}">
                  <a16:creationId xmlns:a16="http://schemas.microsoft.com/office/drawing/2014/main" id="{0BC266CE-21DE-F625-3502-3B3989DF62E1}"/>
                </a:ext>
              </a:extLst>
            </p:cNvPr>
            <p:cNvPicPr>
              <a:picLocks noChangeAspect="1"/>
            </p:cNvPicPr>
            <p:nvPr/>
          </p:nvPicPr>
          <p:blipFill rotWithShape="1">
            <a:blip r:embed="rId7">
              <a:extLst>
                <a:ext uri="{28A0092B-C50C-407E-A947-70E740481C1C}">
                  <a14:useLocalDpi xmlns:a14="http://schemas.microsoft.com/office/drawing/2010/main" val="0"/>
                </a:ext>
              </a:extLst>
            </a:blip>
            <a:srcRect b="34394"/>
            <a:stretch/>
          </p:blipFill>
          <p:spPr>
            <a:xfrm flipH="1" flipV="1">
              <a:off x="2559396" y="0"/>
              <a:ext cx="3062888" cy="2115244"/>
            </a:xfrm>
            <a:prstGeom prst="rect">
              <a:avLst/>
            </a:prstGeom>
          </p:spPr>
        </p:pic>
        <p:sp>
          <p:nvSpPr>
            <p:cNvPr id="206" name="CaixaDeTexto 205">
              <a:extLst>
                <a:ext uri="{FF2B5EF4-FFF2-40B4-BE49-F238E27FC236}">
                  <a16:creationId xmlns:a16="http://schemas.microsoft.com/office/drawing/2014/main" id="{A415FE06-4C1A-365F-7DF0-DBF49BF6AC0D}"/>
                </a:ext>
              </a:extLst>
            </p:cNvPr>
            <p:cNvSpPr txBox="1"/>
            <p:nvPr/>
          </p:nvSpPr>
          <p:spPr>
            <a:xfrm>
              <a:off x="3890273" y="507111"/>
              <a:ext cx="775351" cy="353943"/>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2000">
                  <a:solidFill>
                    <a:schemeClr val="bg1"/>
                  </a:solidFill>
                  <a:latin typeface="Segoe UI Black" panose="020B0A02040204020203" pitchFamily="34" charset="0"/>
                  <a:ea typeface="Segoe UI Black" panose="020B0A02040204020203" pitchFamily="34" charset="0"/>
                  <a:cs typeface="Segoe UI" panose="020B0502040204020203" pitchFamily="34" charset="0"/>
                </a:rPr>
                <a:t>RTP</a:t>
              </a:r>
            </a:p>
          </p:txBody>
        </p:sp>
      </p:grpSp>
      <p:pic>
        <p:nvPicPr>
          <p:cNvPr id="283" name="Imagem 282" descr="Uma imagem contendo Interface gráfica do usuário&#10;&#10;Descrição gerada automaticamente">
            <a:extLst>
              <a:ext uri="{FF2B5EF4-FFF2-40B4-BE49-F238E27FC236}">
                <a16:creationId xmlns:a16="http://schemas.microsoft.com/office/drawing/2014/main" id="{4F07B20B-39B3-3CB7-10CB-36BB68692208}"/>
              </a:ext>
            </a:extLst>
          </p:cNvPr>
          <p:cNvPicPr>
            <a:picLocks noChangeAspect="1"/>
          </p:cNvPicPr>
          <p:nvPr/>
        </p:nvPicPr>
        <p:blipFill>
          <a:blip r:embed="rId8"/>
          <a:stretch>
            <a:fillRect/>
          </a:stretch>
        </p:blipFill>
        <p:spPr>
          <a:xfrm>
            <a:off x="8039840" y="60434"/>
            <a:ext cx="920231" cy="509571"/>
          </a:xfrm>
          <a:prstGeom prst="rect">
            <a:avLst/>
          </a:prstGeom>
        </p:spPr>
      </p:pic>
      <p:sp>
        <p:nvSpPr>
          <p:cNvPr id="2" name="CaixaDeTexto 1">
            <a:extLst>
              <a:ext uri="{FF2B5EF4-FFF2-40B4-BE49-F238E27FC236}">
                <a16:creationId xmlns:a16="http://schemas.microsoft.com/office/drawing/2014/main" id="{37D5F69C-2633-F613-5F4C-E9FBF2FAA46F}"/>
              </a:ext>
            </a:extLst>
          </p:cNvPr>
          <p:cNvSpPr txBox="1"/>
          <p:nvPr/>
        </p:nvSpPr>
        <p:spPr>
          <a:xfrm>
            <a:off x="7181122" y="3872739"/>
            <a:ext cx="1631281" cy="83099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200" b="1" spc="0">
                <a:solidFill>
                  <a:srgbClr val="002581"/>
                </a:solidFill>
                <a:latin typeface="Segoe UI" panose="020B0502040204020203" pitchFamily="34" charset="0"/>
                <a:cs typeface="Segoe UI" panose="020B0502040204020203" pitchFamily="34" charset="0"/>
              </a:rPr>
              <a:t>O&amp;M</a:t>
            </a:r>
          </a:p>
          <a:p>
            <a:pPr defTabSz="234364"/>
            <a:r>
              <a:rPr lang="en-US" sz="1200" spc="0">
                <a:solidFill>
                  <a:srgbClr val="011F57"/>
                </a:solidFill>
                <a:latin typeface="Segoe UI" panose="020B0502040204020203" pitchFamily="34" charset="0"/>
                <a:cs typeface="Segoe UI" panose="020B0502040204020203" pitchFamily="34" charset="0"/>
              </a:rPr>
              <a:t>Coverage of Operation and Maintenance (O&amp;M) Costs</a:t>
            </a:r>
            <a:endParaRPr lang="pt-BR" sz="1200" spc="0">
              <a:solidFill>
                <a:srgbClr val="011F57"/>
              </a:solidFill>
              <a:latin typeface="Segoe UI" panose="020B0502040204020203" pitchFamily="34" charset="0"/>
              <a:cs typeface="Segoe UI" panose="020B0502040204020203" pitchFamily="34" charset="0"/>
            </a:endParaRPr>
          </a:p>
        </p:txBody>
      </p:sp>
      <p:sp>
        <p:nvSpPr>
          <p:cNvPr id="9" name="CaixaDeTexto 8">
            <a:extLst>
              <a:ext uri="{FF2B5EF4-FFF2-40B4-BE49-F238E27FC236}">
                <a16:creationId xmlns:a16="http://schemas.microsoft.com/office/drawing/2014/main" id="{DC074E38-1D04-571F-6D1D-3C39F0AD9C00}"/>
              </a:ext>
            </a:extLst>
          </p:cNvPr>
          <p:cNvSpPr txBox="1"/>
          <p:nvPr/>
        </p:nvSpPr>
        <p:spPr>
          <a:xfrm>
            <a:off x="7181122" y="1575323"/>
            <a:ext cx="17085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200" b="1" spc="0">
                <a:solidFill>
                  <a:srgbClr val="F66727"/>
                </a:solidFill>
                <a:latin typeface="Segoe UI" panose="020B0502040204020203" pitchFamily="34" charset="0"/>
                <a:cs typeface="Segoe UI" panose="020B0502040204020203" pitchFamily="34" charset="0"/>
              </a:rPr>
              <a:t>Outros</a:t>
            </a:r>
          </a:p>
          <a:p>
            <a:pPr defTabSz="234364"/>
            <a:r>
              <a:rPr lang="pt-BR" sz="1200" spc="0">
                <a:solidFill>
                  <a:srgbClr val="011F57"/>
                </a:solidFill>
                <a:latin typeface="Segoe UI" panose="020B0502040204020203" pitchFamily="34" charset="0"/>
                <a:cs typeface="Segoe UI" panose="020B0502040204020203" pitchFamily="34" charset="0"/>
              </a:rPr>
              <a:t>Administrative costs and Other revenues</a:t>
            </a:r>
          </a:p>
        </p:txBody>
      </p:sp>
    </p:spTree>
    <p:extLst>
      <p:ext uri="{BB962C8B-B14F-4D97-AF65-F5344CB8AC3E}">
        <p14:creationId xmlns:p14="http://schemas.microsoft.com/office/powerpoint/2010/main" val="48527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500"/>
                                        <p:tgtEl>
                                          <p:spTgt spid="124"/>
                                        </p:tgtEl>
                                      </p:cBhvr>
                                    </p:animEffect>
                                  </p:childTnLst>
                                </p:cTn>
                              </p:par>
                              <p:par>
                                <p:cTn id="8" presetID="35" presetClass="path" presetSubtype="0" accel="17000" decel="83000" fill="hold" grpId="1" nodeType="withEffect">
                                  <p:stCondLst>
                                    <p:cond delay="0"/>
                                  </p:stCondLst>
                                  <p:childTnLst>
                                    <p:animMotion origin="layout" path="M -0.0321 4.27093E-6 L -3.75728E-6 4.27093E-6 " pathEditMode="relative" rAng="0" ptsTypes="AA">
                                      <p:cBhvr>
                                        <p:cTn id="9" dur="1100" fill="hold"/>
                                        <p:tgtEl>
                                          <p:spTgt spid="124"/>
                                        </p:tgtEl>
                                        <p:attrNameLst>
                                          <p:attrName>ppt_x</p:attrName>
                                          <p:attrName>ppt_y</p:attrName>
                                        </p:attrNameLst>
                                      </p:cBhvr>
                                      <p:rCtr x="1605" y="0"/>
                                    </p:animMotion>
                                  </p:childTnLst>
                                </p:cTn>
                              </p:par>
                              <p:par>
                                <p:cTn id="10" presetID="10" presetClass="entr" presetSubtype="0" fill="hold" grpId="0" nodeType="withEffect">
                                  <p:stCondLst>
                                    <p:cond delay="0"/>
                                  </p:stCondLst>
                                  <p:childTnLst>
                                    <p:set>
                                      <p:cBhvr>
                                        <p:cTn id="11" dur="1" fill="hold">
                                          <p:stCondLst>
                                            <p:cond delay="0"/>
                                          </p:stCondLst>
                                        </p:cTn>
                                        <p:tgtEl>
                                          <p:spTgt spid="125"/>
                                        </p:tgtEl>
                                        <p:attrNameLst>
                                          <p:attrName>style.visibility</p:attrName>
                                        </p:attrNameLst>
                                      </p:cBhvr>
                                      <p:to>
                                        <p:strVal val="visible"/>
                                      </p:to>
                                    </p:set>
                                    <p:animEffect transition="in" filter="fade">
                                      <p:cBhvr>
                                        <p:cTn id="12" dur="500"/>
                                        <p:tgtEl>
                                          <p:spTgt spid="125"/>
                                        </p:tgtEl>
                                      </p:cBhvr>
                                    </p:animEffect>
                                  </p:childTnLst>
                                </p:cTn>
                              </p:par>
                              <p:par>
                                <p:cTn id="13" presetID="35" presetClass="path" presetSubtype="0" accel="17000" decel="83000" fill="hold" grpId="1" nodeType="withEffect">
                                  <p:stCondLst>
                                    <p:cond delay="0"/>
                                  </p:stCondLst>
                                  <p:childTnLst>
                                    <p:animMotion origin="layout" path="M 0.02046 -3.04798E-6 L 4.75216E-6 -3.04798E-6 " pathEditMode="relative" rAng="0" ptsTypes="AA">
                                      <p:cBhvr>
                                        <p:cTn id="14" dur="1100" fill="hold"/>
                                        <p:tgtEl>
                                          <p:spTgt spid="125"/>
                                        </p:tgtEl>
                                        <p:attrNameLst>
                                          <p:attrName>ppt_x</p:attrName>
                                          <p:attrName>ppt_y</p:attrName>
                                        </p:attrNameLst>
                                      </p:cBhvr>
                                      <p:rCtr x="-1023" y="0"/>
                                    </p:animMotion>
                                  </p:childTnLst>
                                </p:cTn>
                              </p:par>
                              <p:par>
                                <p:cTn id="15" presetID="10" presetClass="entr" presetSubtype="0" fill="hold" nodeType="withEffect">
                                  <p:stCondLst>
                                    <p:cond delay="50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500"/>
                                        <p:tgtEl>
                                          <p:spTgt spid="127"/>
                                        </p:tgtEl>
                                      </p:cBhvr>
                                    </p:animEffect>
                                  </p:childTnLst>
                                </p:cTn>
                              </p:par>
                              <p:par>
                                <p:cTn id="18" presetID="35" presetClass="path" presetSubtype="0" accel="17000" decel="83000" fill="hold" nodeType="withEffect">
                                  <p:stCondLst>
                                    <p:cond delay="500"/>
                                  </p:stCondLst>
                                  <p:childTnLst>
                                    <p:animMotion origin="layout" path="M -0.0321 3.96362E-6 L -6.20921E-7 3.96362E-6 " pathEditMode="relative" rAng="0" ptsTypes="AA">
                                      <p:cBhvr>
                                        <p:cTn id="19" dur="750" fill="hold"/>
                                        <p:tgtEl>
                                          <p:spTgt spid="127"/>
                                        </p:tgtEl>
                                        <p:attrNameLst>
                                          <p:attrName>ppt_x</p:attrName>
                                          <p:attrName>ppt_y</p:attrName>
                                        </p:attrNameLst>
                                      </p:cBhvr>
                                      <p:rCtr x="1605" y="0"/>
                                    </p:animMotion>
                                  </p:childTnLst>
                                </p:cTn>
                              </p:par>
                              <p:par>
                                <p:cTn id="20" presetID="10" presetClass="entr" presetSubtype="0" fill="hold" grpId="0" nodeType="withEffect">
                                  <p:stCondLst>
                                    <p:cond delay="500"/>
                                  </p:stCondLst>
                                  <p:childTnLst>
                                    <p:set>
                                      <p:cBhvr>
                                        <p:cTn id="21" dur="1" fill="hold">
                                          <p:stCondLst>
                                            <p:cond delay="0"/>
                                          </p:stCondLst>
                                        </p:cTn>
                                        <p:tgtEl>
                                          <p:spTgt spid="202"/>
                                        </p:tgtEl>
                                        <p:attrNameLst>
                                          <p:attrName>style.visibility</p:attrName>
                                        </p:attrNameLst>
                                      </p:cBhvr>
                                      <p:to>
                                        <p:strVal val="visible"/>
                                      </p:to>
                                    </p:set>
                                    <p:animEffect transition="in" filter="fade">
                                      <p:cBhvr>
                                        <p:cTn id="22" dur="500"/>
                                        <p:tgtEl>
                                          <p:spTgt spid="202"/>
                                        </p:tgtEl>
                                      </p:cBhvr>
                                    </p:animEffect>
                                  </p:childTnLst>
                                </p:cTn>
                              </p:par>
                              <p:par>
                                <p:cTn id="23" presetID="35" presetClass="path" presetSubtype="0" accel="17000" decel="83000" fill="hold" grpId="1" nodeType="withEffect">
                                  <p:stCondLst>
                                    <p:cond delay="500"/>
                                  </p:stCondLst>
                                  <p:childTnLst>
                                    <p:animMotion origin="layout" path="M 0.02046 -9.90906E-7 L 4.6181E-6 -9.90906E-7 " pathEditMode="relative" rAng="0" ptsTypes="AA">
                                      <p:cBhvr>
                                        <p:cTn id="24" dur="750" fill="hold"/>
                                        <p:tgtEl>
                                          <p:spTgt spid="202"/>
                                        </p:tgtEl>
                                        <p:attrNameLst>
                                          <p:attrName>ppt_x</p:attrName>
                                          <p:attrName>ppt_y</p:attrName>
                                        </p:attrNameLst>
                                      </p:cBhvr>
                                      <p:rCtr x="-1023" y="0"/>
                                    </p:animMotion>
                                  </p:childTnLst>
                                </p:cTn>
                              </p:par>
                              <p:par>
                                <p:cTn id="25" presetID="10" presetClass="entr" presetSubtype="0" fill="hold" nodeType="withEffect">
                                  <p:stCondLst>
                                    <p:cond delay="750"/>
                                  </p:stCondLst>
                                  <p:childTnLst>
                                    <p:set>
                                      <p:cBhvr>
                                        <p:cTn id="26" dur="1" fill="hold">
                                          <p:stCondLst>
                                            <p:cond delay="0"/>
                                          </p:stCondLst>
                                        </p:cTn>
                                        <p:tgtEl>
                                          <p:spTgt spid="198"/>
                                        </p:tgtEl>
                                        <p:attrNameLst>
                                          <p:attrName>style.visibility</p:attrName>
                                        </p:attrNameLst>
                                      </p:cBhvr>
                                      <p:to>
                                        <p:strVal val="visible"/>
                                      </p:to>
                                    </p:set>
                                    <p:animEffect transition="in" filter="fade">
                                      <p:cBhvr>
                                        <p:cTn id="27" dur="500"/>
                                        <p:tgtEl>
                                          <p:spTgt spid="198"/>
                                        </p:tgtEl>
                                      </p:cBhvr>
                                    </p:animEffect>
                                  </p:childTnLst>
                                </p:cTn>
                              </p:par>
                              <p:par>
                                <p:cTn id="28" presetID="35" presetClass="path" presetSubtype="0" accel="17000" decel="83000" fill="hold" nodeType="withEffect">
                                  <p:stCondLst>
                                    <p:cond delay="750"/>
                                  </p:stCondLst>
                                  <p:childTnLst>
                                    <p:animMotion origin="layout" path="M -0.03211 4.89809E-6 L 2.17499E-6 4.89809E-6 " pathEditMode="relative" rAng="0" ptsTypes="AA">
                                      <p:cBhvr>
                                        <p:cTn id="29" dur="750" fill="hold"/>
                                        <p:tgtEl>
                                          <p:spTgt spid="198"/>
                                        </p:tgtEl>
                                        <p:attrNameLst>
                                          <p:attrName>ppt_x</p:attrName>
                                          <p:attrName>ppt_y</p:attrName>
                                        </p:attrNameLst>
                                      </p:cBhvr>
                                      <p:rCtr x="1605" y="0"/>
                                    </p:animMotion>
                                  </p:childTnLst>
                                </p:cTn>
                              </p:par>
                              <p:par>
                                <p:cTn id="30" presetID="10" presetClass="entr" presetSubtype="0" fill="hold" grpId="0" nodeType="withEffect">
                                  <p:stCondLst>
                                    <p:cond delay="750"/>
                                  </p:stCondLst>
                                  <p:childTnLst>
                                    <p:set>
                                      <p:cBhvr>
                                        <p:cTn id="31" dur="1" fill="hold">
                                          <p:stCondLst>
                                            <p:cond delay="0"/>
                                          </p:stCondLst>
                                        </p:cTn>
                                        <p:tgtEl>
                                          <p:spTgt spid="204"/>
                                        </p:tgtEl>
                                        <p:attrNameLst>
                                          <p:attrName>style.visibility</p:attrName>
                                        </p:attrNameLst>
                                      </p:cBhvr>
                                      <p:to>
                                        <p:strVal val="visible"/>
                                      </p:to>
                                    </p:set>
                                    <p:animEffect transition="in" filter="fade">
                                      <p:cBhvr>
                                        <p:cTn id="32" dur="500"/>
                                        <p:tgtEl>
                                          <p:spTgt spid="204"/>
                                        </p:tgtEl>
                                      </p:cBhvr>
                                    </p:animEffect>
                                  </p:childTnLst>
                                </p:cTn>
                              </p:par>
                              <p:par>
                                <p:cTn id="33" presetID="35" presetClass="path" presetSubtype="0" accel="17000" decel="83000" fill="hold" grpId="1" nodeType="withEffect">
                                  <p:stCondLst>
                                    <p:cond delay="750"/>
                                  </p:stCondLst>
                                  <p:childTnLst>
                                    <p:animMotion origin="layout" path="M 0.02047 4.16431E-6 L -2.88058E-6 4.16431E-6 " pathEditMode="relative" rAng="0" ptsTypes="AA">
                                      <p:cBhvr>
                                        <p:cTn id="34" dur="750" fill="hold"/>
                                        <p:tgtEl>
                                          <p:spTgt spid="204"/>
                                        </p:tgtEl>
                                        <p:attrNameLst>
                                          <p:attrName>ppt_x</p:attrName>
                                          <p:attrName>ppt_y</p:attrName>
                                        </p:attrNameLst>
                                      </p:cBhvr>
                                      <p:rCtr x="-1023" y="0"/>
                                    </p:animMotion>
                                  </p:childTnLst>
                                </p:cTn>
                              </p:par>
                              <p:par>
                                <p:cTn id="35" presetID="22" presetClass="entr" presetSubtype="2" fill="hold" nodeType="withEffect">
                                  <p:stCondLst>
                                    <p:cond delay="1750"/>
                                  </p:stCondLst>
                                  <p:childTnLst>
                                    <p:set>
                                      <p:cBhvr>
                                        <p:cTn id="36" dur="1" fill="hold">
                                          <p:stCondLst>
                                            <p:cond delay="0"/>
                                          </p:stCondLst>
                                        </p:cTn>
                                        <p:tgtEl>
                                          <p:spTgt spid="239"/>
                                        </p:tgtEl>
                                        <p:attrNameLst>
                                          <p:attrName>style.visibility</p:attrName>
                                        </p:attrNameLst>
                                      </p:cBhvr>
                                      <p:to>
                                        <p:strVal val="visible"/>
                                      </p:to>
                                    </p:set>
                                    <p:animEffect transition="in" filter="wipe(right)">
                                      <p:cBhvr>
                                        <p:cTn id="37" dur="500"/>
                                        <p:tgtEl>
                                          <p:spTgt spid="239"/>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240"/>
                                        </p:tgtEl>
                                        <p:attrNameLst>
                                          <p:attrName>style.visibility</p:attrName>
                                        </p:attrNameLst>
                                      </p:cBhvr>
                                      <p:to>
                                        <p:strVal val="visible"/>
                                      </p:to>
                                    </p:set>
                                    <p:animEffect transition="in" filter="fade">
                                      <p:cBhvr>
                                        <p:cTn id="40" dur="500"/>
                                        <p:tgtEl>
                                          <p:spTgt spid="240"/>
                                        </p:tgtEl>
                                      </p:cBhvr>
                                    </p:animEffect>
                                  </p:childTnLst>
                                </p:cTn>
                              </p:par>
                              <p:par>
                                <p:cTn id="41" presetID="35" presetClass="path" presetSubtype="0" accel="17000" decel="83000" fill="hold" grpId="1" nodeType="withEffect">
                                  <p:stCondLst>
                                    <p:cond delay="1750"/>
                                  </p:stCondLst>
                                  <p:childTnLst>
                                    <p:animMotion origin="layout" path="M 0.02046 1.44246E-6 L 1.0919E-6 1.44246E-6 " pathEditMode="relative" rAng="0" ptsTypes="AA">
                                      <p:cBhvr>
                                        <p:cTn id="42" dur="750" fill="hold"/>
                                        <p:tgtEl>
                                          <p:spTgt spid="240"/>
                                        </p:tgtEl>
                                        <p:attrNameLst>
                                          <p:attrName>ppt_x</p:attrName>
                                          <p:attrName>ppt_y</p:attrName>
                                        </p:attrNameLst>
                                      </p:cBhvr>
                                      <p:rCtr x="-1023" y="0"/>
                                    </p:animMotion>
                                  </p:childTnLst>
                                </p:cTn>
                              </p:par>
                              <p:par>
                                <p:cTn id="43" presetID="22" presetClass="entr" presetSubtype="8" fill="hold" nodeType="withEffect">
                                  <p:stCondLst>
                                    <p:cond delay="2000"/>
                                  </p:stCondLst>
                                  <p:childTnLst>
                                    <p:set>
                                      <p:cBhvr>
                                        <p:cTn id="44" dur="1" fill="hold">
                                          <p:stCondLst>
                                            <p:cond delay="0"/>
                                          </p:stCondLst>
                                        </p:cTn>
                                        <p:tgtEl>
                                          <p:spTgt spid="244"/>
                                        </p:tgtEl>
                                        <p:attrNameLst>
                                          <p:attrName>style.visibility</p:attrName>
                                        </p:attrNameLst>
                                      </p:cBhvr>
                                      <p:to>
                                        <p:strVal val="visible"/>
                                      </p:to>
                                    </p:set>
                                    <p:animEffect transition="in" filter="wipe(left)">
                                      <p:cBhvr>
                                        <p:cTn id="45" dur="500"/>
                                        <p:tgtEl>
                                          <p:spTgt spid="244"/>
                                        </p:tgtEl>
                                      </p:cBhvr>
                                    </p:animEffect>
                                  </p:childTnLst>
                                </p:cTn>
                              </p:par>
                              <p:par>
                                <p:cTn id="46" presetID="22" presetClass="entr" presetSubtype="2" fill="hold" nodeType="withEffect">
                                  <p:stCondLst>
                                    <p:cond delay="2250"/>
                                  </p:stCondLst>
                                  <p:childTnLst>
                                    <p:set>
                                      <p:cBhvr>
                                        <p:cTn id="47" dur="1" fill="hold">
                                          <p:stCondLst>
                                            <p:cond delay="0"/>
                                          </p:stCondLst>
                                        </p:cTn>
                                        <p:tgtEl>
                                          <p:spTgt spid="241"/>
                                        </p:tgtEl>
                                        <p:attrNameLst>
                                          <p:attrName>style.visibility</p:attrName>
                                        </p:attrNameLst>
                                      </p:cBhvr>
                                      <p:to>
                                        <p:strVal val="visible"/>
                                      </p:to>
                                    </p:set>
                                    <p:animEffect transition="in" filter="wipe(right)">
                                      <p:cBhvr>
                                        <p:cTn id="48" dur="500"/>
                                        <p:tgtEl>
                                          <p:spTgt spid="241"/>
                                        </p:tgtEl>
                                      </p:cBhvr>
                                    </p:animEffect>
                                  </p:childTnLst>
                                </p:cTn>
                              </p:par>
                              <p:par>
                                <p:cTn id="49" presetID="10" presetClass="entr" presetSubtype="0" fill="hold" grpId="0" nodeType="withEffect">
                                  <p:stCondLst>
                                    <p:cond delay="2250"/>
                                  </p:stCondLst>
                                  <p:childTnLst>
                                    <p:set>
                                      <p:cBhvr>
                                        <p:cTn id="50" dur="1" fill="hold">
                                          <p:stCondLst>
                                            <p:cond delay="0"/>
                                          </p:stCondLst>
                                        </p:cTn>
                                        <p:tgtEl>
                                          <p:spTgt spid="242"/>
                                        </p:tgtEl>
                                        <p:attrNameLst>
                                          <p:attrName>style.visibility</p:attrName>
                                        </p:attrNameLst>
                                      </p:cBhvr>
                                      <p:to>
                                        <p:strVal val="visible"/>
                                      </p:to>
                                    </p:set>
                                    <p:animEffect transition="in" filter="fade">
                                      <p:cBhvr>
                                        <p:cTn id="51" dur="500"/>
                                        <p:tgtEl>
                                          <p:spTgt spid="242"/>
                                        </p:tgtEl>
                                      </p:cBhvr>
                                    </p:animEffect>
                                  </p:childTnLst>
                                </p:cTn>
                              </p:par>
                              <p:par>
                                <p:cTn id="52" presetID="35" presetClass="path" presetSubtype="0" accel="17000" decel="83000" fill="hold" grpId="1" nodeType="withEffect">
                                  <p:stCondLst>
                                    <p:cond delay="2250"/>
                                  </p:stCondLst>
                                  <p:childTnLst>
                                    <p:animMotion origin="layout" path="M 0.02046 1.44246E-6 L 1.0919E-6 1.44246E-6 " pathEditMode="relative" rAng="0" ptsTypes="AA">
                                      <p:cBhvr>
                                        <p:cTn id="53" dur="750" fill="hold"/>
                                        <p:tgtEl>
                                          <p:spTgt spid="242"/>
                                        </p:tgtEl>
                                        <p:attrNameLst>
                                          <p:attrName>ppt_x</p:attrName>
                                          <p:attrName>ppt_y</p:attrName>
                                        </p:attrNameLst>
                                      </p:cBhvr>
                                      <p:rCtr x="-1023" y="0"/>
                                    </p:animMotion>
                                  </p:childTnLst>
                                </p:cTn>
                              </p:par>
                              <p:par>
                                <p:cTn id="54" presetID="22" presetClass="entr" presetSubtype="8" fill="hold" nodeType="withEffect">
                                  <p:stCondLst>
                                    <p:cond delay="2500"/>
                                  </p:stCondLst>
                                  <p:childTnLst>
                                    <p:set>
                                      <p:cBhvr>
                                        <p:cTn id="55" dur="1" fill="hold">
                                          <p:stCondLst>
                                            <p:cond delay="0"/>
                                          </p:stCondLst>
                                        </p:cTn>
                                        <p:tgtEl>
                                          <p:spTgt spid="246"/>
                                        </p:tgtEl>
                                        <p:attrNameLst>
                                          <p:attrName>style.visibility</p:attrName>
                                        </p:attrNameLst>
                                      </p:cBhvr>
                                      <p:to>
                                        <p:strVal val="visible"/>
                                      </p:to>
                                    </p:set>
                                    <p:animEffect transition="in" filter="wipe(left)">
                                      <p:cBhvr>
                                        <p:cTn id="56" dur="500"/>
                                        <p:tgtEl>
                                          <p:spTgt spid="246"/>
                                        </p:tgtEl>
                                      </p:cBhvr>
                                    </p:animEffect>
                                  </p:childTnLst>
                                </p:cTn>
                              </p:par>
                              <p:par>
                                <p:cTn id="57" presetID="10" presetClass="entr" presetSubtype="0" fill="hold" grpId="0" nodeType="withEffect">
                                  <p:stCondLst>
                                    <p:cond delay="2500"/>
                                  </p:stCondLst>
                                  <p:childTnLst>
                                    <p:set>
                                      <p:cBhvr>
                                        <p:cTn id="58" dur="1" fill="hold">
                                          <p:stCondLst>
                                            <p:cond delay="0"/>
                                          </p:stCondLst>
                                        </p:cTn>
                                        <p:tgtEl>
                                          <p:spTgt spid="247"/>
                                        </p:tgtEl>
                                        <p:attrNameLst>
                                          <p:attrName>style.visibility</p:attrName>
                                        </p:attrNameLst>
                                      </p:cBhvr>
                                      <p:to>
                                        <p:strVal val="visible"/>
                                      </p:to>
                                    </p:set>
                                    <p:animEffect transition="in" filter="fade">
                                      <p:cBhvr>
                                        <p:cTn id="59" dur="500"/>
                                        <p:tgtEl>
                                          <p:spTgt spid="247"/>
                                        </p:tgtEl>
                                      </p:cBhvr>
                                    </p:animEffect>
                                  </p:childTnLst>
                                </p:cTn>
                              </p:par>
                              <p:par>
                                <p:cTn id="60" presetID="35" presetClass="path" presetSubtype="0" accel="17000" decel="83000" fill="hold" grpId="1" nodeType="withEffect">
                                  <p:stCondLst>
                                    <p:cond delay="2500"/>
                                  </p:stCondLst>
                                  <p:childTnLst>
                                    <p:animMotion origin="layout" path="M -0.02205 -3.97303E-6 L 3.50679E-6 -3.97303E-6 " pathEditMode="relative" rAng="0" ptsTypes="AA">
                                      <p:cBhvr>
                                        <p:cTn id="61" dur="750" fill="hold"/>
                                        <p:tgtEl>
                                          <p:spTgt spid="247"/>
                                        </p:tgtEl>
                                        <p:attrNameLst>
                                          <p:attrName>ppt_x</p:attrName>
                                          <p:attrName>ppt_y</p:attrName>
                                        </p:attrNameLst>
                                      </p:cBhvr>
                                      <p:rCtr x="1094" y="0"/>
                                    </p:animMotion>
                                  </p:childTnLst>
                                </p:cTn>
                              </p:par>
                              <p:par>
                                <p:cTn id="62" presetID="22" presetClass="entr" presetSubtype="8" fill="hold" nodeType="withEffect">
                                  <p:stCondLst>
                                    <p:cond delay="2750"/>
                                  </p:stCondLst>
                                  <p:childTnLst>
                                    <p:set>
                                      <p:cBhvr>
                                        <p:cTn id="63" dur="1" fill="hold">
                                          <p:stCondLst>
                                            <p:cond delay="0"/>
                                          </p:stCondLst>
                                        </p:cTn>
                                        <p:tgtEl>
                                          <p:spTgt spid="252"/>
                                        </p:tgtEl>
                                        <p:attrNameLst>
                                          <p:attrName>style.visibility</p:attrName>
                                        </p:attrNameLst>
                                      </p:cBhvr>
                                      <p:to>
                                        <p:strVal val="visible"/>
                                      </p:to>
                                    </p:set>
                                    <p:animEffect transition="in" filter="wipe(left)">
                                      <p:cBhvr>
                                        <p:cTn id="64" dur="500"/>
                                        <p:tgtEl>
                                          <p:spTgt spid="252"/>
                                        </p:tgtEl>
                                      </p:cBhvr>
                                    </p:animEffect>
                                  </p:childTnLst>
                                </p:cTn>
                              </p:par>
                              <p:par>
                                <p:cTn id="65" presetID="10" presetClass="entr" presetSubtype="0" fill="hold" grpId="0" nodeType="withEffect">
                                  <p:stCondLst>
                                    <p:cond delay="2250"/>
                                  </p:stCondLst>
                                  <p:childTnLst>
                                    <p:set>
                                      <p:cBhvr>
                                        <p:cTn id="66" dur="1" fill="hold">
                                          <p:stCondLst>
                                            <p:cond delay="0"/>
                                          </p:stCondLst>
                                        </p:cTn>
                                        <p:tgtEl>
                                          <p:spTgt spid="211"/>
                                        </p:tgtEl>
                                        <p:attrNameLst>
                                          <p:attrName>style.visibility</p:attrName>
                                        </p:attrNameLst>
                                      </p:cBhvr>
                                      <p:to>
                                        <p:strVal val="visible"/>
                                      </p:to>
                                    </p:set>
                                    <p:animEffect transition="in" filter="fade">
                                      <p:cBhvr>
                                        <p:cTn id="67" dur="500"/>
                                        <p:tgtEl>
                                          <p:spTgt spid="211"/>
                                        </p:tgtEl>
                                      </p:cBhvr>
                                    </p:animEffect>
                                  </p:childTnLst>
                                </p:cTn>
                              </p:par>
                              <p:par>
                                <p:cTn id="68" presetID="10" presetClass="entr" presetSubtype="0" fill="hold" grpId="0" nodeType="withEffect">
                                  <p:stCondLst>
                                    <p:cond delay="1750"/>
                                  </p:stCondLst>
                                  <p:childTnLst>
                                    <p:set>
                                      <p:cBhvr>
                                        <p:cTn id="69" dur="1" fill="hold">
                                          <p:stCondLst>
                                            <p:cond delay="0"/>
                                          </p:stCondLst>
                                        </p:cTn>
                                        <p:tgtEl>
                                          <p:spTgt spid="209"/>
                                        </p:tgtEl>
                                        <p:attrNameLst>
                                          <p:attrName>style.visibility</p:attrName>
                                        </p:attrNameLst>
                                      </p:cBhvr>
                                      <p:to>
                                        <p:strVal val="visible"/>
                                      </p:to>
                                    </p:set>
                                    <p:animEffect transition="in" filter="fade">
                                      <p:cBhvr>
                                        <p:cTn id="70" dur="500"/>
                                        <p:tgtEl>
                                          <p:spTgt spid="209"/>
                                        </p:tgtEl>
                                      </p:cBhvr>
                                    </p:animEffect>
                                  </p:childTnLst>
                                </p:cTn>
                              </p:par>
                              <p:par>
                                <p:cTn id="71" presetID="10" presetClass="entr" presetSubtype="0" fill="hold" grpId="0" nodeType="withEffect">
                                  <p:stCondLst>
                                    <p:cond delay="2000"/>
                                  </p:stCondLst>
                                  <p:childTnLst>
                                    <p:set>
                                      <p:cBhvr>
                                        <p:cTn id="72" dur="1" fill="hold">
                                          <p:stCondLst>
                                            <p:cond delay="0"/>
                                          </p:stCondLst>
                                        </p:cTn>
                                        <p:tgtEl>
                                          <p:spTgt spid="210"/>
                                        </p:tgtEl>
                                        <p:attrNameLst>
                                          <p:attrName>style.visibility</p:attrName>
                                        </p:attrNameLst>
                                      </p:cBhvr>
                                      <p:to>
                                        <p:strVal val="visible"/>
                                      </p:to>
                                    </p:set>
                                    <p:animEffect transition="in" filter="fade">
                                      <p:cBhvr>
                                        <p:cTn id="73" dur="500"/>
                                        <p:tgtEl>
                                          <p:spTgt spid="210"/>
                                        </p:tgtEl>
                                      </p:cBhvr>
                                    </p:animEffect>
                                  </p:childTnLst>
                                </p:cTn>
                              </p:par>
                              <p:par>
                                <p:cTn id="74" presetID="10" presetClass="entr" presetSubtype="0" fill="hold" grpId="0" nodeType="withEffect">
                                  <p:stCondLst>
                                    <p:cond delay="2500"/>
                                  </p:stCondLst>
                                  <p:childTnLst>
                                    <p:set>
                                      <p:cBhvr>
                                        <p:cTn id="75" dur="1" fill="hold">
                                          <p:stCondLst>
                                            <p:cond delay="0"/>
                                          </p:stCondLst>
                                        </p:cTn>
                                        <p:tgtEl>
                                          <p:spTgt spid="212"/>
                                        </p:tgtEl>
                                        <p:attrNameLst>
                                          <p:attrName>style.visibility</p:attrName>
                                        </p:attrNameLst>
                                      </p:cBhvr>
                                      <p:to>
                                        <p:strVal val="visible"/>
                                      </p:to>
                                    </p:set>
                                    <p:animEffect transition="in" filter="fade">
                                      <p:cBhvr>
                                        <p:cTn id="76" dur="500"/>
                                        <p:tgtEl>
                                          <p:spTgt spid="212"/>
                                        </p:tgtEl>
                                      </p:cBhvr>
                                    </p:animEffect>
                                  </p:childTnLst>
                                </p:cTn>
                              </p:par>
                              <p:par>
                                <p:cTn id="77" presetID="10" presetClass="entr" presetSubtype="0" fill="hold" grpId="0" nodeType="withEffect">
                                  <p:stCondLst>
                                    <p:cond delay="2750"/>
                                  </p:stCondLst>
                                  <p:childTnLst>
                                    <p:set>
                                      <p:cBhvr>
                                        <p:cTn id="78" dur="1" fill="hold">
                                          <p:stCondLst>
                                            <p:cond delay="0"/>
                                          </p:stCondLst>
                                        </p:cTn>
                                        <p:tgtEl>
                                          <p:spTgt spid="208"/>
                                        </p:tgtEl>
                                        <p:attrNameLst>
                                          <p:attrName>style.visibility</p:attrName>
                                        </p:attrNameLst>
                                      </p:cBhvr>
                                      <p:to>
                                        <p:strVal val="visible"/>
                                      </p:to>
                                    </p:set>
                                    <p:animEffect transition="in" filter="fade">
                                      <p:cBhvr>
                                        <p:cTn id="79" dur="500"/>
                                        <p:tgtEl>
                                          <p:spTgt spid="208"/>
                                        </p:tgtEl>
                                      </p:cBhvr>
                                    </p:animEffect>
                                  </p:childTnLst>
                                </p:cTn>
                              </p:par>
                              <p:par>
                                <p:cTn id="80" presetID="2" presetClass="entr" presetSubtype="1" decel="100000" fill="hold" grpId="0" nodeType="withEffect">
                                  <p:stCondLst>
                                    <p:cond delay="1250"/>
                                  </p:stCondLst>
                                  <p:childTnLst>
                                    <p:set>
                                      <p:cBhvr>
                                        <p:cTn id="81" dur="1" fill="hold">
                                          <p:stCondLst>
                                            <p:cond delay="0"/>
                                          </p:stCondLst>
                                        </p:cTn>
                                        <p:tgtEl>
                                          <p:spTgt spid="4"/>
                                        </p:tgtEl>
                                        <p:attrNameLst>
                                          <p:attrName>style.visibility</p:attrName>
                                        </p:attrNameLst>
                                      </p:cBhvr>
                                      <p:to>
                                        <p:strVal val="visible"/>
                                      </p:to>
                                    </p:set>
                                    <p:anim calcmode="lin" valueType="num">
                                      <p:cBhvr additive="base">
                                        <p:cTn id="82" dur="500" fill="hold"/>
                                        <p:tgtEl>
                                          <p:spTgt spid="4"/>
                                        </p:tgtEl>
                                        <p:attrNameLst>
                                          <p:attrName>ppt_x</p:attrName>
                                        </p:attrNameLst>
                                      </p:cBhvr>
                                      <p:tavLst>
                                        <p:tav tm="0">
                                          <p:val>
                                            <p:strVal val="#ppt_x"/>
                                          </p:val>
                                        </p:tav>
                                        <p:tav tm="100000">
                                          <p:val>
                                            <p:strVal val="#ppt_x"/>
                                          </p:val>
                                        </p:tav>
                                      </p:tavLst>
                                    </p:anim>
                                    <p:anim calcmode="lin" valueType="num">
                                      <p:cBhvr additive="base">
                                        <p:cTn id="83" dur="500" fill="hold"/>
                                        <p:tgtEl>
                                          <p:spTgt spid="4"/>
                                        </p:tgtEl>
                                        <p:attrNameLst>
                                          <p:attrName>ppt_y</p:attrName>
                                        </p:attrNameLst>
                                      </p:cBhvr>
                                      <p:tavLst>
                                        <p:tav tm="0">
                                          <p:val>
                                            <p:strVal val="0-#ppt_h/2"/>
                                          </p:val>
                                        </p:tav>
                                        <p:tav tm="100000">
                                          <p:val>
                                            <p:strVal val="#ppt_y"/>
                                          </p:val>
                                        </p:tav>
                                      </p:tavLst>
                                    </p:anim>
                                  </p:childTnLst>
                                </p:cTn>
                              </p:par>
                              <p:par>
                                <p:cTn id="84" presetID="2" presetClass="entr" presetSubtype="1" decel="100000" fill="hold" nodeType="withEffect">
                                  <p:stCondLst>
                                    <p:cond delay="1250"/>
                                  </p:stCondLst>
                                  <p:childTnLst>
                                    <p:set>
                                      <p:cBhvr>
                                        <p:cTn id="85" dur="1" fill="hold">
                                          <p:stCondLst>
                                            <p:cond delay="0"/>
                                          </p:stCondLst>
                                        </p:cTn>
                                        <p:tgtEl>
                                          <p:spTgt spid="255"/>
                                        </p:tgtEl>
                                        <p:attrNameLst>
                                          <p:attrName>style.visibility</p:attrName>
                                        </p:attrNameLst>
                                      </p:cBhvr>
                                      <p:to>
                                        <p:strVal val="visible"/>
                                      </p:to>
                                    </p:set>
                                    <p:anim calcmode="lin" valueType="num">
                                      <p:cBhvr additive="base">
                                        <p:cTn id="86" dur="500" fill="hold"/>
                                        <p:tgtEl>
                                          <p:spTgt spid="255"/>
                                        </p:tgtEl>
                                        <p:attrNameLst>
                                          <p:attrName>ppt_x</p:attrName>
                                        </p:attrNameLst>
                                      </p:cBhvr>
                                      <p:tavLst>
                                        <p:tav tm="0">
                                          <p:val>
                                            <p:strVal val="#ppt_x"/>
                                          </p:val>
                                        </p:tav>
                                        <p:tav tm="100000">
                                          <p:val>
                                            <p:strVal val="#ppt_x"/>
                                          </p:val>
                                        </p:tav>
                                      </p:tavLst>
                                    </p:anim>
                                    <p:anim calcmode="lin" valueType="num">
                                      <p:cBhvr additive="base">
                                        <p:cTn id="87" dur="500" fill="hold"/>
                                        <p:tgtEl>
                                          <p:spTgt spid="255"/>
                                        </p:tgtEl>
                                        <p:attrNameLst>
                                          <p:attrName>ppt_y</p:attrName>
                                        </p:attrNameLst>
                                      </p:cBhvr>
                                      <p:tavLst>
                                        <p:tav tm="0">
                                          <p:val>
                                            <p:strVal val="0-#ppt_h/2"/>
                                          </p:val>
                                        </p:tav>
                                        <p:tav tm="100000">
                                          <p:val>
                                            <p:strVal val="#ppt_y"/>
                                          </p:val>
                                        </p:tav>
                                      </p:tavLst>
                                    </p:anim>
                                  </p:childTnLst>
                                </p:cTn>
                              </p:par>
                              <p:par>
                                <p:cTn id="88" presetID="2" presetClass="entr" presetSubtype="4" decel="100000" fill="hold" grpId="0" nodeType="withEffect">
                                  <p:stCondLst>
                                    <p:cond delay="1250"/>
                                  </p:stCondLst>
                                  <p:childTnLst>
                                    <p:set>
                                      <p:cBhvr>
                                        <p:cTn id="89" dur="1" fill="hold">
                                          <p:stCondLst>
                                            <p:cond delay="0"/>
                                          </p:stCondLst>
                                        </p:cTn>
                                        <p:tgtEl>
                                          <p:spTgt spid="5"/>
                                        </p:tgtEl>
                                        <p:attrNameLst>
                                          <p:attrName>style.visibility</p:attrName>
                                        </p:attrNameLst>
                                      </p:cBhvr>
                                      <p:to>
                                        <p:strVal val="visible"/>
                                      </p:to>
                                    </p:set>
                                    <p:anim calcmode="lin" valueType="num">
                                      <p:cBhvr additive="base">
                                        <p:cTn id="90" dur="500" fill="hold"/>
                                        <p:tgtEl>
                                          <p:spTgt spid="5"/>
                                        </p:tgtEl>
                                        <p:attrNameLst>
                                          <p:attrName>ppt_x</p:attrName>
                                        </p:attrNameLst>
                                      </p:cBhvr>
                                      <p:tavLst>
                                        <p:tav tm="0">
                                          <p:val>
                                            <p:strVal val="#ppt_x"/>
                                          </p:val>
                                        </p:tav>
                                        <p:tav tm="100000">
                                          <p:val>
                                            <p:strVal val="#ppt_x"/>
                                          </p:val>
                                        </p:tav>
                                      </p:tavLst>
                                    </p:anim>
                                    <p:anim calcmode="lin" valueType="num">
                                      <p:cBhvr additive="base">
                                        <p:cTn id="91" dur="500" fill="hold"/>
                                        <p:tgtEl>
                                          <p:spTgt spid="5"/>
                                        </p:tgtEl>
                                        <p:attrNameLst>
                                          <p:attrName>ppt_y</p:attrName>
                                        </p:attrNameLst>
                                      </p:cBhvr>
                                      <p:tavLst>
                                        <p:tav tm="0">
                                          <p:val>
                                            <p:strVal val="1+#ppt_h/2"/>
                                          </p:val>
                                        </p:tav>
                                        <p:tav tm="100000">
                                          <p:val>
                                            <p:strVal val="#ppt_y"/>
                                          </p:val>
                                        </p:tav>
                                      </p:tavLst>
                                    </p:anim>
                                  </p:childTnLst>
                                </p:cTn>
                              </p:par>
                              <p:par>
                                <p:cTn id="92" presetID="2" presetClass="entr" presetSubtype="4" decel="100000" fill="hold" grpId="0" nodeType="withEffect">
                                  <p:stCondLst>
                                    <p:cond delay="1250"/>
                                  </p:stCondLst>
                                  <p:childTnLst>
                                    <p:set>
                                      <p:cBhvr>
                                        <p:cTn id="93" dur="1" fill="hold">
                                          <p:stCondLst>
                                            <p:cond delay="0"/>
                                          </p:stCondLst>
                                        </p:cTn>
                                        <p:tgtEl>
                                          <p:spTgt spid="6"/>
                                        </p:tgtEl>
                                        <p:attrNameLst>
                                          <p:attrName>style.visibility</p:attrName>
                                        </p:attrNameLst>
                                      </p:cBhvr>
                                      <p:to>
                                        <p:strVal val="visible"/>
                                      </p:to>
                                    </p:set>
                                    <p:anim calcmode="lin" valueType="num">
                                      <p:cBhvr additive="base">
                                        <p:cTn id="94" dur="500" fill="hold"/>
                                        <p:tgtEl>
                                          <p:spTgt spid="6"/>
                                        </p:tgtEl>
                                        <p:attrNameLst>
                                          <p:attrName>ppt_x</p:attrName>
                                        </p:attrNameLst>
                                      </p:cBhvr>
                                      <p:tavLst>
                                        <p:tav tm="0">
                                          <p:val>
                                            <p:strVal val="#ppt_x"/>
                                          </p:val>
                                        </p:tav>
                                        <p:tav tm="100000">
                                          <p:val>
                                            <p:strVal val="#ppt_x"/>
                                          </p:val>
                                        </p:tav>
                                      </p:tavLst>
                                    </p:anim>
                                    <p:anim calcmode="lin" valueType="num">
                                      <p:cBhvr additive="base">
                                        <p:cTn id="95" dur="500" fill="hold"/>
                                        <p:tgtEl>
                                          <p:spTgt spid="6"/>
                                        </p:tgtEl>
                                        <p:attrNameLst>
                                          <p:attrName>ppt_y</p:attrName>
                                        </p:attrNameLst>
                                      </p:cBhvr>
                                      <p:tavLst>
                                        <p:tav tm="0">
                                          <p:val>
                                            <p:strVal val="1+#ppt_h/2"/>
                                          </p:val>
                                        </p:tav>
                                        <p:tav tm="100000">
                                          <p:val>
                                            <p:strVal val="#ppt_y"/>
                                          </p:val>
                                        </p:tav>
                                      </p:tavLst>
                                    </p:anim>
                                  </p:childTnLst>
                                </p:cTn>
                              </p:par>
                              <p:par>
                                <p:cTn id="96" presetID="2" presetClass="entr" presetSubtype="4" decel="100000" fill="hold" grpId="0" nodeType="withEffect">
                                  <p:stCondLst>
                                    <p:cond delay="1250"/>
                                  </p:stCondLst>
                                  <p:childTnLst>
                                    <p:set>
                                      <p:cBhvr>
                                        <p:cTn id="97" dur="1" fill="hold">
                                          <p:stCondLst>
                                            <p:cond delay="0"/>
                                          </p:stCondLst>
                                        </p:cTn>
                                        <p:tgtEl>
                                          <p:spTgt spid="7"/>
                                        </p:tgtEl>
                                        <p:attrNameLst>
                                          <p:attrName>style.visibility</p:attrName>
                                        </p:attrNameLst>
                                      </p:cBhvr>
                                      <p:to>
                                        <p:strVal val="visible"/>
                                      </p:to>
                                    </p:set>
                                    <p:anim calcmode="lin" valueType="num">
                                      <p:cBhvr additive="base">
                                        <p:cTn id="98" dur="500" fill="hold"/>
                                        <p:tgtEl>
                                          <p:spTgt spid="7"/>
                                        </p:tgtEl>
                                        <p:attrNameLst>
                                          <p:attrName>ppt_x</p:attrName>
                                        </p:attrNameLst>
                                      </p:cBhvr>
                                      <p:tavLst>
                                        <p:tav tm="0">
                                          <p:val>
                                            <p:strVal val="#ppt_x"/>
                                          </p:val>
                                        </p:tav>
                                        <p:tav tm="100000">
                                          <p:val>
                                            <p:strVal val="#ppt_x"/>
                                          </p:val>
                                        </p:tav>
                                      </p:tavLst>
                                    </p:anim>
                                    <p:anim calcmode="lin" valueType="num">
                                      <p:cBhvr additive="base">
                                        <p:cTn id="99" dur="500" fill="hold"/>
                                        <p:tgtEl>
                                          <p:spTgt spid="7"/>
                                        </p:tgtEl>
                                        <p:attrNameLst>
                                          <p:attrName>ppt_y</p:attrName>
                                        </p:attrNameLst>
                                      </p:cBhvr>
                                      <p:tavLst>
                                        <p:tav tm="0">
                                          <p:val>
                                            <p:strVal val="1+#ppt_h/2"/>
                                          </p:val>
                                        </p:tav>
                                        <p:tav tm="100000">
                                          <p:val>
                                            <p:strVal val="#ppt_y"/>
                                          </p:val>
                                        </p:tav>
                                      </p:tavLst>
                                    </p:anim>
                                  </p:childTnLst>
                                </p:cTn>
                              </p:par>
                              <p:par>
                                <p:cTn id="100" presetID="2" presetClass="entr" presetSubtype="4" decel="100000" fill="hold" grpId="0" nodeType="withEffect">
                                  <p:stCondLst>
                                    <p:cond delay="1250"/>
                                  </p:stCondLst>
                                  <p:childTnLst>
                                    <p:set>
                                      <p:cBhvr>
                                        <p:cTn id="101" dur="1" fill="hold">
                                          <p:stCondLst>
                                            <p:cond delay="0"/>
                                          </p:stCondLst>
                                        </p:cTn>
                                        <p:tgtEl>
                                          <p:spTgt spid="3"/>
                                        </p:tgtEl>
                                        <p:attrNameLst>
                                          <p:attrName>style.visibility</p:attrName>
                                        </p:attrNameLst>
                                      </p:cBhvr>
                                      <p:to>
                                        <p:strVal val="visible"/>
                                      </p:to>
                                    </p:set>
                                    <p:anim calcmode="lin" valueType="num">
                                      <p:cBhvr additive="base">
                                        <p:cTn id="102" dur="500" fill="hold"/>
                                        <p:tgtEl>
                                          <p:spTgt spid="3"/>
                                        </p:tgtEl>
                                        <p:attrNameLst>
                                          <p:attrName>ppt_x</p:attrName>
                                        </p:attrNameLst>
                                      </p:cBhvr>
                                      <p:tavLst>
                                        <p:tav tm="0">
                                          <p:val>
                                            <p:strVal val="#ppt_x"/>
                                          </p:val>
                                        </p:tav>
                                        <p:tav tm="100000">
                                          <p:val>
                                            <p:strVal val="#ppt_x"/>
                                          </p:val>
                                        </p:tav>
                                      </p:tavLst>
                                    </p:anim>
                                    <p:anim calcmode="lin" valueType="num">
                                      <p:cBhvr additive="base">
                                        <p:cTn id="103" dur="500" fill="hold"/>
                                        <p:tgtEl>
                                          <p:spTgt spid="3"/>
                                        </p:tgtEl>
                                        <p:attrNameLst>
                                          <p:attrName>ppt_y</p:attrName>
                                        </p:attrNameLst>
                                      </p:cBhvr>
                                      <p:tavLst>
                                        <p:tav tm="0">
                                          <p:val>
                                            <p:strVal val="1+#ppt_h/2"/>
                                          </p:val>
                                        </p:tav>
                                        <p:tav tm="100000">
                                          <p:val>
                                            <p:strVal val="#ppt_y"/>
                                          </p:val>
                                        </p:tav>
                                      </p:tavLst>
                                    </p:anim>
                                  </p:childTnLst>
                                </p:cTn>
                              </p:par>
                              <p:par>
                                <p:cTn id="104" presetID="10" presetClass="entr" presetSubtype="0" fill="hold" grpId="0" nodeType="withEffect">
                                  <p:stCondLst>
                                    <p:cond delay="2000"/>
                                  </p:stCondLst>
                                  <p:childTnLst>
                                    <p:set>
                                      <p:cBhvr>
                                        <p:cTn id="105" dur="1" fill="hold">
                                          <p:stCondLst>
                                            <p:cond delay="0"/>
                                          </p:stCondLst>
                                        </p:cTn>
                                        <p:tgtEl>
                                          <p:spTgt spid="2"/>
                                        </p:tgtEl>
                                        <p:attrNameLst>
                                          <p:attrName>style.visibility</p:attrName>
                                        </p:attrNameLst>
                                      </p:cBhvr>
                                      <p:to>
                                        <p:strVal val="visible"/>
                                      </p:to>
                                    </p:set>
                                    <p:animEffect transition="in" filter="fade">
                                      <p:cBhvr>
                                        <p:cTn id="106" dur="500"/>
                                        <p:tgtEl>
                                          <p:spTgt spid="2"/>
                                        </p:tgtEl>
                                      </p:cBhvr>
                                    </p:animEffect>
                                  </p:childTnLst>
                                </p:cTn>
                              </p:par>
                              <p:par>
                                <p:cTn id="107" presetID="35" presetClass="path" presetSubtype="0" accel="17000" decel="83000" fill="hold" grpId="1" nodeType="withEffect">
                                  <p:stCondLst>
                                    <p:cond delay="2000"/>
                                  </p:stCondLst>
                                  <p:childTnLst>
                                    <p:animMotion origin="layout" path="M -0.02205 -3.97303E-6 L 3.50679E-6 -3.97303E-6 " pathEditMode="relative" rAng="0" ptsTypes="AA">
                                      <p:cBhvr>
                                        <p:cTn id="108" dur="750" fill="hold"/>
                                        <p:tgtEl>
                                          <p:spTgt spid="2"/>
                                        </p:tgtEl>
                                        <p:attrNameLst>
                                          <p:attrName>ppt_x</p:attrName>
                                          <p:attrName>ppt_y</p:attrName>
                                        </p:attrNameLst>
                                      </p:cBhvr>
                                      <p:rCtr x="1094" y="0"/>
                                    </p:animMotion>
                                  </p:childTnLst>
                                </p:cTn>
                              </p:par>
                              <p:par>
                                <p:cTn id="109" presetID="10" presetClass="entr" presetSubtype="0" fill="hold" grpId="0" nodeType="withEffect">
                                  <p:stCondLst>
                                    <p:cond delay="2750"/>
                                  </p:stCondLst>
                                  <p:childTnLst>
                                    <p:set>
                                      <p:cBhvr>
                                        <p:cTn id="110" dur="1" fill="hold">
                                          <p:stCondLst>
                                            <p:cond delay="0"/>
                                          </p:stCondLst>
                                        </p:cTn>
                                        <p:tgtEl>
                                          <p:spTgt spid="9"/>
                                        </p:tgtEl>
                                        <p:attrNameLst>
                                          <p:attrName>style.visibility</p:attrName>
                                        </p:attrNameLst>
                                      </p:cBhvr>
                                      <p:to>
                                        <p:strVal val="visible"/>
                                      </p:to>
                                    </p:set>
                                    <p:animEffect transition="in" filter="fade">
                                      <p:cBhvr>
                                        <p:cTn id="111" dur="500"/>
                                        <p:tgtEl>
                                          <p:spTgt spid="9"/>
                                        </p:tgtEl>
                                      </p:cBhvr>
                                    </p:animEffect>
                                  </p:childTnLst>
                                </p:cTn>
                              </p:par>
                              <p:par>
                                <p:cTn id="112" presetID="35" presetClass="path" presetSubtype="0" accel="17000" decel="83000" fill="hold" grpId="1" nodeType="withEffect">
                                  <p:stCondLst>
                                    <p:cond delay="2750"/>
                                  </p:stCondLst>
                                  <p:childTnLst>
                                    <p:animMotion origin="layout" path="M -0.02205 -3.9699E-6 L 3.55795E-6 -3.9699E-6 " pathEditMode="relative" rAng="0" ptsTypes="AA">
                                      <p:cBhvr>
                                        <p:cTn id="113" dur="750" fill="hold"/>
                                        <p:tgtEl>
                                          <p:spTgt spid="9"/>
                                        </p:tgtEl>
                                        <p:attrNameLst>
                                          <p:attrName>ppt_x</p:attrName>
                                          <p:attrName>ppt_y</p:attrName>
                                        </p:attrNameLst>
                                      </p:cBhvr>
                                      <p:rCtr x="109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2" grpId="0"/>
      <p:bldP spid="202" grpId="1"/>
      <p:bldP spid="204" grpId="0"/>
      <p:bldP spid="204" grpId="1"/>
      <p:bldP spid="3" grpId="0" animBg="1"/>
      <p:bldP spid="5" grpId="0" animBg="1"/>
      <p:bldP spid="6" grpId="0" animBg="1"/>
      <p:bldP spid="7" grpId="0" animBg="1"/>
      <p:bldP spid="209" grpId="0"/>
      <p:bldP spid="210" grpId="0"/>
      <p:bldP spid="211" grpId="0"/>
      <p:bldP spid="212" grpId="0"/>
      <p:bldP spid="4" grpId="0" animBg="1"/>
      <p:bldP spid="208" grpId="0"/>
      <p:bldP spid="240" grpId="0"/>
      <p:bldP spid="240" grpId="1"/>
      <p:bldP spid="242" grpId="0"/>
      <p:bldP spid="242" grpId="1"/>
      <p:bldP spid="247" grpId="0"/>
      <p:bldP spid="247" grpId="1"/>
      <p:bldP spid="124" grpId="0"/>
      <p:bldP spid="124" grpId="1"/>
      <p:bldP spid="125" grpId="0"/>
      <p:bldP spid="125" grpId="1"/>
      <p:bldP spid="2" grpId="0"/>
      <p:bldP spid="2" grpId="1"/>
      <p:bldP spid="9" grpId="0"/>
      <p:bldP spid="9" grpId="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Imagem 40">
            <a:extLst>
              <a:ext uri="{FF2B5EF4-FFF2-40B4-BE49-F238E27FC236}">
                <a16:creationId xmlns:a16="http://schemas.microsoft.com/office/drawing/2014/main" id="{76D2058A-605E-9C81-86F7-85EA5AB0C623}"/>
              </a:ext>
            </a:extLst>
          </p:cNvPr>
          <p:cNvPicPr>
            <a:picLocks noChangeAspect="1"/>
          </p:cNvPicPr>
          <p:nvPr>
            <p:custDataLst>
              <p:tags r:id="rId1"/>
            </p:custDataLst>
          </p:nvPr>
        </p:nvPicPr>
        <p:blipFill>
          <a:blip r:embed="rId16">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43" name="Imagem 42">
            <a:extLst>
              <a:ext uri="{FF2B5EF4-FFF2-40B4-BE49-F238E27FC236}">
                <a16:creationId xmlns:a16="http://schemas.microsoft.com/office/drawing/2014/main" id="{14224C91-AF6E-4E33-B5AD-1852CACA6DC2}"/>
              </a:ext>
            </a:extLst>
          </p:cNvPr>
          <p:cNvPicPr>
            <a:picLocks noChangeAspect="1"/>
          </p:cNvPicPr>
          <p:nvPr>
            <p:custDataLst>
              <p:tags r:id="rId2"/>
            </p:custDataLst>
          </p:nvPr>
        </p:nvPicPr>
        <p:blipFill>
          <a:blip r:embed="rId17">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45" name="Imagem 44" descr="Imagem em preto e branco&#10;&#10;Descrição gerada automaticamente com confiança média">
            <a:extLst>
              <a:ext uri="{FF2B5EF4-FFF2-40B4-BE49-F238E27FC236}">
                <a16:creationId xmlns:a16="http://schemas.microsoft.com/office/drawing/2014/main" id="{FF957548-FA78-BF53-30A0-2FF816A6263B}"/>
              </a:ext>
            </a:extLst>
          </p:cNvPr>
          <p:cNvPicPr>
            <a:picLocks noChangeAspect="1"/>
          </p:cNvPicPr>
          <p:nvPr>
            <p:custDataLst>
              <p:tags r:id="rId3"/>
            </p:custDataLst>
          </p:nvPr>
        </p:nvPicPr>
        <p:blipFill>
          <a:blip r:embed="rId18">
            <a:extLst>
              <a:ext uri="{28A0092B-C50C-407E-A947-70E740481C1C}">
                <a14:useLocalDpi xmlns:a14="http://schemas.microsoft.com/office/drawing/2010/main"/>
              </a:ext>
            </a:extLst>
          </a:blip>
          <a:stretch>
            <a:fillRect/>
          </a:stretch>
        </p:blipFill>
        <p:spPr>
          <a:xfrm>
            <a:off x="0" y="0"/>
            <a:ext cx="8999538" cy="3559126"/>
          </a:xfrm>
          <a:prstGeom prst="rect">
            <a:avLst/>
          </a:prstGeom>
        </p:spPr>
      </p:pic>
      <p:pic>
        <p:nvPicPr>
          <p:cNvPr id="42" name="Imagem 41" descr="Logotipo&#10;&#10;Descrição gerada automaticamente">
            <a:extLst>
              <a:ext uri="{FF2B5EF4-FFF2-40B4-BE49-F238E27FC236}">
                <a16:creationId xmlns:a16="http://schemas.microsoft.com/office/drawing/2014/main" id="{0E6CA3A9-5851-5F69-7AC8-EB8076D011FA}"/>
              </a:ext>
            </a:extLst>
          </p:cNvPr>
          <p:cNvPicPr>
            <a:picLocks noChangeAspect="1"/>
          </p:cNvPicPr>
          <p:nvPr>
            <p:custDataLst>
              <p:tags r:id="rId4"/>
            </p:custDataLst>
          </p:nvPr>
        </p:nvPicPr>
        <p:blipFill>
          <a:blip r:embed="rId19">
            <a:extLst>
              <a:ext uri="{28A0092B-C50C-407E-A947-70E740481C1C}">
                <a14:useLocalDpi xmlns:a14="http://schemas.microsoft.com/office/drawing/2010/main"/>
              </a:ext>
            </a:extLst>
          </a:blip>
          <a:stretch>
            <a:fillRect/>
          </a:stretch>
        </p:blipFill>
        <p:spPr>
          <a:xfrm>
            <a:off x="3185409" y="1087733"/>
            <a:ext cx="2749657" cy="1053060"/>
          </a:xfrm>
          <a:prstGeom prst="rect">
            <a:avLst/>
          </a:prstGeom>
        </p:spPr>
      </p:pic>
      <p:grpSp>
        <p:nvGrpSpPr>
          <p:cNvPr id="51" name="Agrupar 50">
            <a:extLst>
              <a:ext uri="{FF2B5EF4-FFF2-40B4-BE49-F238E27FC236}">
                <a16:creationId xmlns:a16="http://schemas.microsoft.com/office/drawing/2014/main" id="{E113A3EC-23F9-920E-AD52-305C754E80B4}"/>
              </a:ext>
            </a:extLst>
          </p:cNvPr>
          <p:cNvGrpSpPr/>
          <p:nvPr>
            <p:custDataLst>
              <p:tags r:id="rId5"/>
            </p:custDataLst>
          </p:nvPr>
        </p:nvGrpSpPr>
        <p:grpSpPr>
          <a:xfrm flipH="1">
            <a:off x="2047402" y="4050348"/>
            <a:ext cx="1263576" cy="1270628"/>
            <a:chOff x="3472635" y="786320"/>
            <a:chExt cx="950037" cy="955339"/>
          </a:xfrm>
          <a:gradFill>
            <a:gsLst>
              <a:gs pos="0">
                <a:srgbClr val="306FE4"/>
              </a:gs>
              <a:gs pos="100000">
                <a:srgbClr val="193A8D"/>
              </a:gs>
            </a:gsLst>
            <a:lin ang="5400000" scaled="1"/>
          </a:gradFill>
        </p:grpSpPr>
        <p:sp>
          <p:nvSpPr>
            <p:cNvPr id="52" name="Forma Livre: Forma 51">
              <a:extLst>
                <a:ext uri="{FF2B5EF4-FFF2-40B4-BE49-F238E27FC236}">
                  <a16:creationId xmlns:a16="http://schemas.microsoft.com/office/drawing/2014/main" id="{F123C79A-DE31-116F-7A73-D5FE1BA04986}"/>
                </a:ext>
              </a:extLst>
            </p:cNvPr>
            <p:cNvSpPr/>
            <p:nvPr>
              <p:custDataLst>
                <p:tags r:id="rId9"/>
              </p:custDataLst>
            </p:nvPr>
          </p:nvSpPr>
          <p:spPr>
            <a:xfrm>
              <a:off x="3489321" y="786320"/>
              <a:ext cx="933351" cy="940323"/>
            </a:xfrm>
            <a:custGeom>
              <a:avLst/>
              <a:gdLst>
                <a:gd name="connsiteX0" fmla="*/ 409552 w 933351"/>
                <a:gd name="connsiteY0" fmla="*/ 940323 h 940323"/>
                <a:gd name="connsiteX1" fmla="*/ 126327 w 933351"/>
                <a:gd name="connsiteY1" fmla="*/ 814302 h 940323"/>
                <a:gd name="connsiteX2" fmla="*/ 126399 w 933351"/>
                <a:gd name="connsiteY2" fmla="*/ 780390 h 940323"/>
                <a:gd name="connsiteX3" fmla="*/ 160311 w 933351"/>
                <a:gd name="connsiteY3" fmla="*/ 780461 h 940323"/>
                <a:gd name="connsiteX4" fmla="*/ 433549 w 933351"/>
                <a:gd name="connsiteY4" fmla="*/ 891323 h 940323"/>
                <a:gd name="connsiteX5" fmla="*/ 700824 w 933351"/>
                <a:gd name="connsiteY5" fmla="*/ 714792 h 940323"/>
                <a:gd name="connsiteX6" fmla="*/ 882240 w 933351"/>
                <a:gd name="connsiteY6" fmla="*/ 51133 h 940323"/>
                <a:gd name="connsiteX7" fmla="*/ 212186 w 933351"/>
                <a:gd name="connsiteY7" fmla="*/ 229100 h 940323"/>
                <a:gd name="connsiteX8" fmla="*/ 110736 w 933351"/>
                <a:gd name="connsiteY8" fmla="*/ 719678 h 940323"/>
                <a:gd name="connsiteX9" fmla="*/ 103911 w 933351"/>
                <a:gd name="connsiteY9" fmla="*/ 752872 h 940323"/>
                <a:gd name="connsiteX10" fmla="*/ 70717 w 933351"/>
                <a:gd name="connsiteY10" fmla="*/ 746046 h 940323"/>
                <a:gd name="connsiteX11" fmla="*/ 184237 w 933351"/>
                <a:gd name="connsiteY11" fmla="*/ 190159 h 940323"/>
                <a:gd name="connsiteX12" fmla="*/ 906956 w 933351"/>
                <a:gd name="connsiteY12" fmla="*/ 121 h 940323"/>
                <a:gd name="connsiteX13" fmla="*/ 926283 w 933351"/>
                <a:gd name="connsiteY13" fmla="*/ 6946 h 940323"/>
                <a:gd name="connsiteX14" fmla="*/ 933252 w 933351"/>
                <a:gd name="connsiteY14" fmla="*/ 26202 h 940323"/>
                <a:gd name="connsiteX15" fmla="*/ 739981 w 933351"/>
                <a:gd name="connsiteY15" fmla="*/ 742382 h 940323"/>
                <a:gd name="connsiteX16" fmla="*/ 437573 w 933351"/>
                <a:gd name="connsiteY16" fmla="*/ 939030 h 940323"/>
                <a:gd name="connsiteX17" fmla="*/ 409552 w 933351"/>
                <a:gd name="connsiteY17" fmla="*/ 940180 h 94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33351" h="940323">
                  <a:moveTo>
                    <a:pt x="409552" y="940323"/>
                  </a:moveTo>
                  <a:cubicBezTo>
                    <a:pt x="308749" y="940323"/>
                    <a:pt x="206941" y="895346"/>
                    <a:pt x="126327" y="814302"/>
                  </a:cubicBezTo>
                  <a:cubicBezTo>
                    <a:pt x="116987" y="804890"/>
                    <a:pt x="117059" y="789730"/>
                    <a:pt x="126399" y="780390"/>
                  </a:cubicBezTo>
                  <a:cubicBezTo>
                    <a:pt x="135811" y="771049"/>
                    <a:pt x="150971" y="771121"/>
                    <a:pt x="160311" y="780461"/>
                  </a:cubicBezTo>
                  <a:cubicBezTo>
                    <a:pt x="238410" y="858919"/>
                    <a:pt x="337920" y="899298"/>
                    <a:pt x="433549" y="891323"/>
                  </a:cubicBezTo>
                  <a:cubicBezTo>
                    <a:pt x="532628" y="882989"/>
                    <a:pt x="625096" y="821990"/>
                    <a:pt x="700824" y="714792"/>
                  </a:cubicBezTo>
                  <a:cubicBezTo>
                    <a:pt x="816715" y="550907"/>
                    <a:pt x="869379" y="161348"/>
                    <a:pt x="882240" y="51133"/>
                  </a:cubicBezTo>
                  <a:cubicBezTo>
                    <a:pt x="769510" y="64568"/>
                    <a:pt x="364934" y="119460"/>
                    <a:pt x="212186" y="229100"/>
                  </a:cubicBezTo>
                  <a:cubicBezTo>
                    <a:pt x="68562" y="332274"/>
                    <a:pt x="-18518" y="523964"/>
                    <a:pt x="110736" y="719678"/>
                  </a:cubicBezTo>
                  <a:cubicBezTo>
                    <a:pt x="118065" y="730743"/>
                    <a:pt x="114975" y="745615"/>
                    <a:pt x="103911" y="752872"/>
                  </a:cubicBezTo>
                  <a:cubicBezTo>
                    <a:pt x="92846" y="760200"/>
                    <a:pt x="77974" y="757111"/>
                    <a:pt x="70717" y="746046"/>
                  </a:cubicBezTo>
                  <a:cubicBezTo>
                    <a:pt x="-35043" y="585897"/>
                    <a:pt x="-41007" y="351888"/>
                    <a:pt x="184237" y="190159"/>
                  </a:cubicBezTo>
                  <a:cubicBezTo>
                    <a:pt x="371976" y="55372"/>
                    <a:pt x="885185" y="2276"/>
                    <a:pt x="906956" y="121"/>
                  </a:cubicBezTo>
                  <a:cubicBezTo>
                    <a:pt x="914140" y="-598"/>
                    <a:pt x="921181" y="1917"/>
                    <a:pt x="926283" y="6946"/>
                  </a:cubicBezTo>
                  <a:cubicBezTo>
                    <a:pt x="931384" y="11976"/>
                    <a:pt x="933899" y="19089"/>
                    <a:pt x="933252" y="26202"/>
                  </a:cubicBezTo>
                  <a:cubicBezTo>
                    <a:pt x="931240" y="47109"/>
                    <a:pt x="882312" y="541208"/>
                    <a:pt x="739981" y="742382"/>
                  </a:cubicBezTo>
                  <a:cubicBezTo>
                    <a:pt x="655775" y="861506"/>
                    <a:pt x="551164" y="929474"/>
                    <a:pt x="437573" y="939030"/>
                  </a:cubicBezTo>
                  <a:cubicBezTo>
                    <a:pt x="428232" y="939820"/>
                    <a:pt x="418892" y="940180"/>
                    <a:pt x="409552" y="940180"/>
                  </a:cubicBezTo>
                  <a:close/>
                </a:path>
              </a:pathLst>
            </a:custGeom>
            <a:grpFill/>
            <a:ln w="0" cap="flat">
              <a:noFill/>
              <a:prstDash val="solid"/>
              <a:miter/>
            </a:ln>
          </p:spPr>
          <p:txBody>
            <a:bodyPr rtlCol="0" anchor="ctr"/>
            <a:lstStyle/>
            <a:p>
              <a:endParaRPr lang="pt-BR" dirty="0"/>
            </a:p>
          </p:txBody>
        </p:sp>
        <p:sp>
          <p:nvSpPr>
            <p:cNvPr id="53" name="Forma Livre: Forma 52">
              <a:extLst>
                <a:ext uri="{FF2B5EF4-FFF2-40B4-BE49-F238E27FC236}">
                  <a16:creationId xmlns:a16="http://schemas.microsoft.com/office/drawing/2014/main" id="{35FDFE54-6ABC-D05C-7ED6-8E70D1A8787B}"/>
                </a:ext>
              </a:extLst>
            </p:cNvPr>
            <p:cNvSpPr/>
            <p:nvPr>
              <p:custDataLst>
                <p:tags r:id="rId10"/>
              </p:custDataLst>
            </p:nvPr>
          </p:nvSpPr>
          <p:spPr>
            <a:xfrm>
              <a:off x="3760031" y="1413425"/>
              <a:ext cx="324529" cy="73892"/>
            </a:xfrm>
            <a:custGeom>
              <a:avLst/>
              <a:gdLst>
                <a:gd name="connsiteX0" fmla="*/ 300644 w 324529"/>
                <a:gd name="connsiteY0" fmla="*/ 73892 h 73892"/>
                <a:gd name="connsiteX1" fmla="*/ 298345 w 324529"/>
                <a:gd name="connsiteY1" fmla="*/ 73749 h 73892"/>
                <a:gd name="connsiteX2" fmla="*/ 21730 w 324529"/>
                <a:gd name="connsiteY2" fmla="*/ 47812 h 73892"/>
                <a:gd name="connsiteX3" fmla="*/ 104 w 324529"/>
                <a:gd name="connsiteY3" fmla="*/ 21731 h 73892"/>
                <a:gd name="connsiteX4" fmla="*/ 26185 w 324529"/>
                <a:gd name="connsiteY4" fmla="*/ 104 h 73892"/>
                <a:gd name="connsiteX5" fmla="*/ 302799 w 324529"/>
                <a:gd name="connsiteY5" fmla="*/ 26042 h 73892"/>
                <a:gd name="connsiteX6" fmla="*/ 324426 w 324529"/>
                <a:gd name="connsiteY6" fmla="*/ 52122 h 73892"/>
                <a:gd name="connsiteX7" fmla="*/ 300572 w 324529"/>
                <a:gd name="connsiteY7" fmla="*/ 73820 h 73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29" h="73892">
                  <a:moveTo>
                    <a:pt x="300644" y="73892"/>
                  </a:moveTo>
                  <a:cubicBezTo>
                    <a:pt x="299925" y="73892"/>
                    <a:pt x="299135" y="73892"/>
                    <a:pt x="298345" y="73749"/>
                  </a:cubicBezTo>
                  <a:lnTo>
                    <a:pt x="21730" y="47812"/>
                  </a:lnTo>
                  <a:cubicBezTo>
                    <a:pt x="8582" y="46590"/>
                    <a:pt x="-1118" y="34879"/>
                    <a:pt x="104" y="21731"/>
                  </a:cubicBezTo>
                  <a:cubicBezTo>
                    <a:pt x="1325" y="8511"/>
                    <a:pt x="13037" y="-1117"/>
                    <a:pt x="26185" y="104"/>
                  </a:cubicBezTo>
                  <a:lnTo>
                    <a:pt x="302799" y="26042"/>
                  </a:lnTo>
                  <a:cubicBezTo>
                    <a:pt x="315948" y="27263"/>
                    <a:pt x="325647" y="38974"/>
                    <a:pt x="324426" y="52122"/>
                  </a:cubicBezTo>
                  <a:cubicBezTo>
                    <a:pt x="323276" y="64552"/>
                    <a:pt x="312786" y="73820"/>
                    <a:pt x="300572" y="73820"/>
                  </a:cubicBezTo>
                  <a:close/>
                </a:path>
              </a:pathLst>
            </a:custGeom>
            <a:grpFill/>
            <a:ln w="0" cap="flat">
              <a:noFill/>
              <a:prstDash val="solid"/>
              <a:miter/>
            </a:ln>
          </p:spPr>
          <p:txBody>
            <a:bodyPr rtlCol="0" anchor="ctr"/>
            <a:lstStyle/>
            <a:p>
              <a:endParaRPr lang="pt-BR" dirty="0"/>
            </a:p>
          </p:txBody>
        </p:sp>
        <p:sp>
          <p:nvSpPr>
            <p:cNvPr id="54" name="Forma Livre: Forma 53">
              <a:extLst>
                <a:ext uri="{FF2B5EF4-FFF2-40B4-BE49-F238E27FC236}">
                  <a16:creationId xmlns:a16="http://schemas.microsoft.com/office/drawing/2014/main" id="{1DBDE100-C0AF-4BB8-D151-6E5263737E8B}"/>
                </a:ext>
              </a:extLst>
            </p:cNvPr>
            <p:cNvSpPr/>
            <p:nvPr>
              <p:custDataLst>
                <p:tags r:id="rId11"/>
              </p:custDataLst>
            </p:nvPr>
          </p:nvSpPr>
          <p:spPr>
            <a:xfrm>
              <a:off x="3939072" y="1232422"/>
              <a:ext cx="227901" cy="57672"/>
            </a:xfrm>
            <a:custGeom>
              <a:avLst/>
              <a:gdLst>
                <a:gd name="connsiteX0" fmla="*/ 203941 w 227901"/>
                <a:gd name="connsiteY0" fmla="*/ 57673 h 57672"/>
                <a:gd name="connsiteX1" fmla="*/ 202647 w 227901"/>
                <a:gd name="connsiteY1" fmla="*/ 57673 h 57672"/>
                <a:gd name="connsiteX2" fmla="*/ 22668 w 227901"/>
                <a:gd name="connsiteY2" fmla="*/ 47901 h 57672"/>
                <a:gd name="connsiteX3" fmla="*/ 36 w 227901"/>
                <a:gd name="connsiteY3" fmla="*/ 22683 h 57672"/>
                <a:gd name="connsiteX4" fmla="*/ 25255 w 227901"/>
                <a:gd name="connsiteY4" fmla="*/ 51 h 57672"/>
                <a:gd name="connsiteX5" fmla="*/ 205234 w 227901"/>
                <a:gd name="connsiteY5" fmla="*/ 9822 h 57672"/>
                <a:gd name="connsiteX6" fmla="*/ 227866 w 227901"/>
                <a:gd name="connsiteY6" fmla="*/ 35040 h 57672"/>
                <a:gd name="connsiteX7" fmla="*/ 203941 w 227901"/>
                <a:gd name="connsiteY7" fmla="*/ 57673 h 5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900" h="57672">
                  <a:moveTo>
                    <a:pt x="203941" y="57673"/>
                  </a:moveTo>
                  <a:cubicBezTo>
                    <a:pt x="203509" y="57673"/>
                    <a:pt x="203078" y="57673"/>
                    <a:pt x="202647" y="57673"/>
                  </a:cubicBezTo>
                  <a:lnTo>
                    <a:pt x="22668" y="47901"/>
                  </a:lnTo>
                  <a:cubicBezTo>
                    <a:pt x="9448" y="47183"/>
                    <a:pt x="-683" y="35903"/>
                    <a:pt x="36" y="22683"/>
                  </a:cubicBezTo>
                  <a:cubicBezTo>
                    <a:pt x="755" y="9463"/>
                    <a:pt x="12035" y="-812"/>
                    <a:pt x="25255" y="51"/>
                  </a:cubicBezTo>
                  <a:lnTo>
                    <a:pt x="205234" y="9822"/>
                  </a:lnTo>
                  <a:cubicBezTo>
                    <a:pt x="218454" y="10540"/>
                    <a:pt x="228584" y="21820"/>
                    <a:pt x="227866" y="35040"/>
                  </a:cubicBezTo>
                  <a:cubicBezTo>
                    <a:pt x="227148" y="47829"/>
                    <a:pt x="216586" y="57673"/>
                    <a:pt x="203941" y="57673"/>
                  </a:cubicBezTo>
                  <a:close/>
                </a:path>
              </a:pathLst>
            </a:custGeom>
            <a:grpFill/>
            <a:ln w="0" cap="flat">
              <a:noFill/>
              <a:prstDash val="solid"/>
              <a:miter/>
            </a:ln>
          </p:spPr>
          <p:txBody>
            <a:bodyPr rtlCol="0" anchor="ctr"/>
            <a:lstStyle/>
            <a:p>
              <a:endParaRPr lang="pt-BR" dirty="0"/>
            </a:p>
          </p:txBody>
        </p:sp>
        <p:sp>
          <p:nvSpPr>
            <p:cNvPr id="55" name="Forma Livre: Forma 54">
              <a:extLst>
                <a:ext uri="{FF2B5EF4-FFF2-40B4-BE49-F238E27FC236}">
                  <a16:creationId xmlns:a16="http://schemas.microsoft.com/office/drawing/2014/main" id="{4B8B5F15-EB79-83F0-B65A-27BA19E02549}"/>
                </a:ext>
              </a:extLst>
            </p:cNvPr>
            <p:cNvSpPr/>
            <p:nvPr>
              <p:custDataLst>
                <p:tags r:id="rId12"/>
              </p:custDataLst>
            </p:nvPr>
          </p:nvSpPr>
          <p:spPr>
            <a:xfrm>
              <a:off x="3472635" y="1004823"/>
              <a:ext cx="736800" cy="736836"/>
            </a:xfrm>
            <a:custGeom>
              <a:avLst/>
              <a:gdLst>
                <a:gd name="connsiteX0" fmla="*/ 23961 w 736800"/>
                <a:gd name="connsiteY0" fmla="*/ 736837 h 736836"/>
                <a:gd name="connsiteX1" fmla="*/ 7005 w 736800"/>
                <a:gd name="connsiteY1" fmla="*/ 729796 h 736836"/>
                <a:gd name="connsiteX2" fmla="*/ 7005 w 736800"/>
                <a:gd name="connsiteY2" fmla="*/ 695883 h 736836"/>
                <a:gd name="connsiteX3" fmla="*/ 695883 w 736800"/>
                <a:gd name="connsiteY3" fmla="*/ 7005 h 736836"/>
                <a:gd name="connsiteX4" fmla="*/ 729796 w 736800"/>
                <a:gd name="connsiteY4" fmla="*/ 7005 h 736836"/>
                <a:gd name="connsiteX5" fmla="*/ 729796 w 736800"/>
                <a:gd name="connsiteY5" fmla="*/ 40917 h 736836"/>
                <a:gd name="connsiteX6" fmla="*/ 40918 w 736800"/>
                <a:gd name="connsiteY6" fmla="*/ 729796 h 736836"/>
                <a:gd name="connsiteX7" fmla="*/ 23961 w 736800"/>
                <a:gd name="connsiteY7" fmla="*/ 736837 h 73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800" h="736836">
                  <a:moveTo>
                    <a:pt x="23961" y="736837"/>
                  </a:moveTo>
                  <a:cubicBezTo>
                    <a:pt x="17854" y="736837"/>
                    <a:pt x="11675" y="734466"/>
                    <a:pt x="7005" y="729796"/>
                  </a:cubicBezTo>
                  <a:cubicBezTo>
                    <a:pt x="-2335" y="720455"/>
                    <a:pt x="-2335" y="705296"/>
                    <a:pt x="7005" y="695883"/>
                  </a:cubicBezTo>
                  <a:lnTo>
                    <a:pt x="695883" y="7005"/>
                  </a:lnTo>
                  <a:cubicBezTo>
                    <a:pt x="705224" y="-2335"/>
                    <a:pt x="720384" y="-2335"/>
                    <a:pt x="729796" y="7005"/>
                  </a:cubicBezTo>
                  <a:cubicBezTo>
                    <a:pt x="739136" y="16345"/>
                    <a:pt x="739136" y="31505"/>
                    <a:pt x="729796" y="40917"/>
                  </a:cubicBezTo>
                  <a:lnTo>
                    <a:pt x="40918" y="729796"/>
                  </a:lnTo>
                  <a:cubicBezTo>
                    <a:pt x="36247" y="734466"/>
                    <a:pt x="30140" y="736837"/>
                    <a:pt x="23961" y="736837"/>
                  </a:cubicBezTo>
                  <a:close/>
                </a:path>
              </a:pathLst>
            </a:custGeom>
            <a:grpFill/>
            <a:ln w="0" cap="flat">
              <a:noFill/>
              <a:prstDash val="solid"/>
              <a:miter/>
            </a:ln>
          </p:spPr>
          <p:txBody>
            <a:bodyPr rtlCol="0" anchor="ctr"/>
            <a:lstStyle/>
            <a:p>
              <a:endParaRPr lang="pt-BR" dirty="0"/>
            </a:p>
          </p:txBody>
        </p:sp>
        <p:sp>
          <p:nvSpPr>
            <p:cNvPr id="56" name="Forma Livre: Forma 55">
              <a:extLst>
                <a:ext uri="{FF2B5EF4-FFF2-40B4-BE49-F238E27FC236}">
                  <a16:creationId xmlns:a16="http://schemas.microsoft.com/office/drawing/2014/main" id="{375CFDDB-406C-B018-C826-515299B7869C}"/>
                </a:ext>
              </a:extLst>
            </p:cNvPr>
            <p:cNvSpPr/>
            <p:nvPr>
              <p:custDataLst>
                <p:tags r:id="rId13"/>
              </p:custDataLst>
            </p:nvPr>
          </p:nvSpPr>
          <p:spPr>
            <a:xfrm>
              <a:off x="3916145" y="1025787"/>
              <a:ext cx="53613" cy="144824"/>
            </a:xfrm>
            <a:custGeom>
              <a:avLst/>
              <a:gdLst>
                <a:gd name="connsiteX0" fmla="*/ 29645 w 53613"/>
                <a:gd name="connsiteY0" fmla="*/ 144825 h 144824"/>
                <a:gd name="connsiteX1" fmla="*/ 5719 w 53613"/>
                <a:gd name="connsiteY1" fmla="*/ 122264 h 144824"/>
                <a:gd name="connsiteX2" fmla="*/ 43 w 53613"/>
                <a:gd name="connsiteY2" fmla="*/ 25341 h 144824"/>
                <a:gd name="connsiteX3" fmla="*/ 22604 w 53613"/>
                <a:gd name="connsiteY3" fmla="*/ 51 h 144824"/>
                <a:gd name="connsiteX4" fmla="*/ 47894 w 53613"/>
                <a:gd name="connsiteY4" fmla="*/ 22611 h 144824"/>
                <a:gd name="connsiteX5" fmla="*/ 53570 w 53613"/>
                <a:gd name="connsiteY5" fmla="*/ 119534 h 144824"/>
                <a:gd name="connsiteX6" fmla="*/ 31010 w 53613"/>
                <a:gd name="connsiteY6" fmla="*/ 144825 h 144824"/>
                <a:gd name="connsiteX7" fmla="*/ 29573 w 53613"/>
                <a:gd name="connsiteY7" fmla="*/ 144825 h 14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13" h="144824">
                  <a:moveTo>
                    <a:pt x="29645" y="144825"/>
                  </a:moveTo>
                  <a:cubicBezTo>
                    <a:pt x="17071" y="144825"/>
                    <a:pt x="6510" y="134981"/>
                    <a:pt x="5719" y="122264"/>
                  </a:cubicBezTo>
                  <a:lnTo>
                    <a:pt x="43" y="25341"/>
                  </a:lnTo>
                  <a:cubicBezTo>
                    <a:pt x="-747" y="12121"/>
                    <a:pt x="9384" y="769"/>
                    <a:pt x="22604" y="51"/>
                  </a:cubicBezTo>
                  <a:cubicBezTo>
                    <a:pt x="35752" y="-811"/>
                    <a:pt x="47176" y="9391"/>
                    <a:pt x="47894" y="22611"/>
                  </a:cubicBezTo>
                  <a:lnTo>
                    <a:pt x="53570" y="119534"/>
                  </a:lnTo>
                  <a:cubicBezTo>
                    <a:pt x="54360" y="132754"/>
                    <a:pt x="44230" y="144106"/>
                    <a:pt x="31010" y="144825"/>
                  </a:cubicBezTo>
                  <a:cubicBezTo>
                    <a:pt x="30507" y="144825"/>
                    <a:pt x="30076" y="144825"/>
                    <a:pt x="29573" y="144825"/>
                  </a:cubicBezTo>
                  <a:close/>
                </a:path>
              </a:pathLst>
            </a:custGeom>
            <a:grpFill/>
            <a:ln w="0" cap="flat">
              <a:noFill/>
              <a:prstDash val="solid"/>
              <a:miter/>
            </a:ln>
          </p:spPr>
          <p:txBody>
            <a:bodyPr rtlCol="0" anchor="ctr"/>
            <a:lstStyle/>
            <a:p>
              <a:endParaRPr lang="pt-BR" dirty="0"/>
            </a:p>
          </p:txBody>
        </p:sp>
        <p:sp>
          <p:nvSpPr>
            <p:cNvPr id="57" name="Forma Livre: Forma 56">
              <a:extLst>
                <a:ext uri="{FF2B5EF4-FFF2-40B4-BE49-F238E27FC236}">
                  <a16:creationId xmlns:a16="http://schemas.microsoft.com/office/drawing/2014/main" id="{3F625700-B555-B716-A892-FEFA3F47C9A2}"/>
                </a:ext>
              </a:extLst>
            </p:cNvPr>
            <p:cNvSpPr/>
            <p:nvPr>
              <p:custDataLst>
                <p:tags r:id="rId14"/>
              </p:custDataLst>
            </p:nvPr>
          </p:nvSpPr>
          <p:spPr>
            <a:xfrm>
              <a:off x="3718346" y="1106993"/>
              <a:ext cx="67338" cy="247693"/>
            </a:xfrm>
            <a:custGeom>
              <a:avLst/>
              <a:gdLst>
                <a:gd name="connsiteX0" fmla="*/ 43369 w 67338"/>
                <a:gd name="connsiteY0" fmla="*/ 247621 h 247693"/>
                <a:gd name="connsiteX1" fmla="*/ 19515 w 67338"/>
                <a:gd name="connsiteY1" fmla="*/ 225995 h 247693"/>
                <a:gd name="connsiteX2" fmla="*/ 116 w 67338"/>
                <a:gd name="connsiteY2" fmla="*/ 26258 h 247693"/>
                <a:gd name="connsiteX3" fmla="*/ 21671 w 67338"/>
                <a:gd name="connsiteY3" fmla="*/ 105 h 247693"/>
                <a:gd name="connsiteX4" fmla="*/ 47823 w 67338"/>
                <a:gd name="connsiteY4" fmla="*/ 21660 h 247693"/>
                <a:gd name="connsiteX5" fmla="*/ 67222 w 67338"/>
                <a:gd name="connsiteY5" fmla="*/ 221397 h 247693"/>
                <a:gd name="connsiteX6" fmla="*/ 45668 w 67338"/>
                <a:gd name="connsiteY6" fmla="*/ 247550 h 247693"/>
                <a:gd name="connsiteX7" fmla="*/ 43297 w 67338"/>
                <a:gd name="connsiteY7" fmla="*/ 247693 h 247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38" h="247692">
                  <a:moveTo>
                    <a:pt x="43369" y="247621"/>
                  </a:moveTo>
                  <a:cubicBezTo>
                    <a:pt x="31155" y="247621"/>
                    <a:pt x="20737" y="238353"/>
                    <a:pt x="19515" y="225995"/>
                  </a:cubicBezTo>
                  <a:lnTo>
                    <a:pt x="116" y="26258"/>
                  </a:lnTo>
                  <a:cubicBezTo>
                    <a:pt x="-1177" y="13110"/>
                    <a:pt x="8451" y="1398"/>
                    <a:pt x="21671" y="105"/>
                  </a:cubicBezTo>
                  <a:cubicBezTo>
                    <a:pt x="34747" y="-1116"/>
                    <a:pt x="46530" y="8440"/>
                    <a:pt x="47823" y="21660"/>
                  </a:cubicBezTo>
                  <a:lnTo>
                    <a:pt x="67222" y="221397"/>
                  </a:lnTo>
                  <a:cubicBezTo>
                    <a:pt x="68516" y="234545"/>
                    <a:pt x="58888" y="246256"/>
                    <a:pt x="45668" y="247550"/>
                  </a:cubicBezTo>
                  <a:cubicBezTo>
                    <a:pt x="44878" y="247621"/>
                    <a:pt x="44087" y="247693"/>
                    <a:pt x="43297" y="247693"/>
                  </a:cubicBezTo>
                  <a:close/>
                </a:path>
              </a:pathLst>
            </a:custGeom>
            <a:grpFill/>
            <a:ln w="0" cap="flat">
              <a:noFill/>
              <a:prstDash val="solid"/>
              <a:miter/>
            </a:ln>
          </p:spPr>
          <p:txBody>
            <a:bodyPr rtlCol="0" anchor="ctr"/>
            <a:lstStyle/>
            <a:p>
              <a:endParaRPr lang="pt-BR" dirty="0"/>
            </a:p>
          </p:txBody>
        </p:sp>
      </p:grpSp>
      <p:sp>
        <p:nvSpPr>
          <p:cNvPr id="2" name="CaixaDeTexto 1">
            <a:extLst>
              <a:ext uri="{FF2B5EF4-FFF2-40B4-BE49-F238E27FC236}">
                <a16:creationId xmlns:a16="http://schemas.microsoft.com/office/drawing/2014/main" id="{D601BB6F-F9EB-4C48-B298-E7AF8140C617}"/>
              </a:ext>
            </a:extLst>
          </p:cNvPr>
          <p:cNvSpPr txBox="1"/>
          <p:nvPr>
            <p:custDataLst>
              <p:tags r:id="rId6"/>
            </p:custDataLst>
          </p:nvPr>
        </p:nvSpPr>
        <p:spPr>
          <a:xfrm>
            <a:off x="2615850" y="358848"/>
            <a:ext cx="3767837" cy="350871"/>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r>
              <a:rPr lang="en-US" sz="2000" b="0" i="0" u="none" strike="noStrike" cap="none" baseline="0" dirty="0">
                <a:solidFill>
                  <a:srgbClr val="002581"/>
                </a:solidFill>
                <a:effectLst/>
                <a:uFillTx/>
                <a:latin typeface="Segoe UI Light"/>
              </a:rPr>
              <a:t>CONNECTED TO LIFE</a:t>
            </a:r>
          </a:p>
        </p:txBody>
      </p:sp>
      <p:sp>
        <p:nvSpPr>
          <p:cNvPr id="3" name="CaixaDeTexto 2">
            <a:extLst>
              <a:ext uri="{FF2B5EF4-FFF2-40B4-BE49-F238E27FC236}">
                <a16:creationId xmlns:a16="http://schemas.microsoft.com/office/drawing/2014/main" id="{AA93A087-B8B8-7908-65A7-873439289746}"/>
              </a:ext>
            </a:extLst>
          </p:cNvPr>
          <p:cNvSpPr txBox="1"/>
          <p:nvPr>
            <p:custDataLst>
              <p:tags r:id="rId7"/>
            </p:custDataLst>
          </p:nvPr>
        </p:nvSpPr>
        <p:spPr>
          <a:xfrm>
            <a:off x="1772667" y="665002"/>
            <a:ext cx="6148596" cy="558342"/>
          </a:xfrm>
          <a:prstGeom prst="rect">
            <a:avLst/>
          </a:prstGeom>
          <a:noFill/>
        </p:spPr>
        <p:txBody>
          <a:bodyPr wrap="square" rtlCol="0">
            <a:spAutoFit/>
          </a:bodyPr>
          <a:lstStyle/>
          <a:p>
            <a:pPr lvl="0" defTabSz="675010">
              <a:lnSpc>
                <a:spcPct val="85000"/>
              </a:lnSpc>
              <a:spcBef>
                <a:spcPts val="148"/>
              </a:spcBef>
              <a:spcAft>
                <a:spcPts val="148"/>
              </a:spcAft>
            </a:pPr>
            <a:r>
              <a:rPr lang="en-US" sz="3600" b="1" i="0" u="none" strike="noStrike" cap="none" baseline="0" dirty="0">
                <a:solidFill>
                  <a:srgbClr val="002581"/>
                </a:solidFill>
                <a:effectLst/>
                <a:uFillTx/>
                <a:latin typeface="Segoe UI Black"/>
              </a:rPr>
              <a:t>INDUSTRY LEADERSHIP</a:t>
            </a:r>
          </a:p>
        </p:txBody>
      </p:sp>
      <p:sp>
        <p:nvSpPr>
          <p:cNvPr id="4" name="CaixaDeTexto 3">
            <a:extLst>
              <a:ext uri="{FF2B5EF4-FFF2-40B4-BE49-F238E27FC236}">
                <a16:creationId xmlns:a16="http://schemas.microsoft.com/office/drawing/2014/main" id="{563F61C7-BA76-5B49-17DE-6BD346A15469}"/>
              </a:ext>
            </a:extLst>
          </p:cNvPr>
          <p:cNvSpPr txBox="1"/>
          <p:nvPr>
            <p:custDataLst>
              <p:tags r:id="rId8"/>
            </p:custDataLst>
          </p:nvPr>
        </p:nvSpPr>
        <p:spPr>
          <a:xfrm>
            <a:off x="2280838" y="3282019"/>
            <a:ext cx="4558797" cy="877163"/>
          </a:xfrm>
          <a:prstGeom prst="rect">
            <a:avLst/>
          </a:prstGeom>
          <a:noFill/>
        </p:spPr>
        <p:txBody>
          <a:bodyPr wrap="square" rtlCol="0" anchor="ctr">
            <a:spAutoFit/>
          </a:bodyPr>
          <a:lstStyle/>
          <a:p>
            <a:pPr lvl="0" algn="ctr" defTabSz="449931">
              <a:lnSpc>
                <a:spcPct val="85000"/>
              </a:lnSpc>
              <a:spcBef>
                <a:spcPts val="148"/>
              </a:spcBef>
              <a:spcAft>
                <a:spcPts val="148"/>
              </a:spcAft>
              <a:defRPr/>
            </a:pPr>
            <a:r>
              <a:rPr lang="en-US" sz="2000" b="0" i="0" u="none" strike="noStrike" cap="none" baseline="0" dirty="0">
                <a:solidFill>
                  <a:srgbClr val="011F57"/>
                </a:solidFill>
                <a:effectLst/>
                <a:uFillTx/>
                <a:latin typeface="Segoe UI"/>
              </a:rPr>
              <a:t>Leading the </a:t>
            </a:r>
            <a:r>
              <a:rPr lang="en-US" sz="2000" b="1" i="0" u="none" strike="noStrike" cap="none" baseline="0" dirty="0">
                <a:solidFill>
                  <a:srgbClr val="011F57"/>
                </a:solidFill>
                <a:effectLst/>
                <a:uFillTx/>
                <a:latin typeface="Segoe UI"/>
              </a:rPr>
              <a:t>safety initiative </a:t>
            </a:r>
            <a:r>
              <a:rPr lang="en-US" sz="2000" b="0" i="0" u="none" strike="noStrike" cap="none" baseline="0" dirty="0">
                <a:solidFill>
                  <a:srgbClr val="011F57"/>
                </a:solidFill>
                <a:effectLst/>
                <a:uFillTx/>
                <a:latin typeface="Segoe UI"/>
              </a:rPr>
              <a:t>together </a:t>
            </a:r>
            <a:r>
              <a:rPr lang="en-US" sz="2000" b="0" i="0" u="none" strike="noStrike" cap="none" baseline="0">
                <a:solidFill>
                  <a:srgbClr val="011F57"/>
                </a:solidFill>
                <a:effectLst/>
                <a:uFillTx/>
                <a:latin typeface="Segoe UI"/>
              </a:rPr>
              <a:t>with ABRATE </a:t>
            </a:r>
            <a:r>
              <a:rPr lang="en-US" sz="2000" b="0" i="0" u="none" strike="noStrike" cap="none" baseline="0" dirty="0">
                <a:solidFill>
                  <a:srgbClr val="011F57"/>
                </a:solidFill>
                <a:effectLst/>
                <a:uFillTx/>
                <a:latin typeface="Segoe UI"/>
              </a:rPr>
              <a:t>and employing joint efforts to change the industry scenario</a:t>
            </a:r>
          </a:p>
        </p:txBody>
      </p:sp>
      <p:pic>
        <p:nvPicPr>
          <p:cNvPr id="5" name="Imagem 4" descr="Uma imagem contendo Interface gráfica do usuário&#10;&#10;Descrição gerada automaticamente">
            <a:extLst>
              <a:ext uri="{FF2B5EF4-FFF2-40B4-BE49-F238E27FC236}">
                <a16:creationId xmlns:a16="http://schemas.microsoft.com/office/drawing/2014/main" id="{A8BA6033-2C2E-EB76-1536-77FF5E0C8D58}"/>
              </a:ext>
            </a:extLst>
          </p:cNvPr>
          <p:cNvPicPr>
            <a:picLocks noChangeAspect="1"/>
          </p:cNvPicPr>
          <p:nvPr/>
        </p:nvPicPr>
        <p:blipFill>
          <a:blip r:embed="rId20"/>
          <a:stretch>
            <a:fillRect/>
          </a:stretch>
        </p:blipFill>
        <p:spPr>
          <a:xfrm>
            <a:off x="8039840" y="60434"/>
            <a:ext cx="920231" cy="509571"/>
          </a:xfrm>
          <a:prstGeom prst="rect">
            <a:avLst/>
          </a:prstGeom>
        </p:spPr>
      </p:pic>
    </p:spTree>
    <p:extLst>
      <p:ext uri="{BB962C8B-B14F-4D97-AF65-F5344CB8AC3E}">
        <p14:creationId xmlns:p14="http://schemas.microsoft.com/office/powerpoint/2010/main" val="85241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1000"/>
                                        <p:tgtEl>
                                          <p:spTgt spid="43"/>
                                        </p:tgtEl>
                                      </p:cBhvr>
                                    </p:animEffect>
                                  </p:childTnLst>
                                </p:cTn>
                              </p:par>
                              <p:par>
                                <p:cTn id="8" presetID="10" presetClass="entr" presetSubtype="0" fill="hold" nodeType="withEffect">
                                  <p:stCondLst>
                                    <p:cond delay="500"/>
                                  </p:stCondLst>
                                  <p:childTnLst>
                                    <p:set>
                                      <p:cBhvr>
                                        <p:cTn id="9" dur="1" fill="hold">
                                          <p:stCondLst>
                                            <p:cond delay="0"/>
                                          </p:stCondLst>
                                        </p:cTn>
                                        <p:tgtEl>
                                          <p:spTgt spid="45"/>
                                        </p:tgtEl>
                                        <p:attrNameLst>
                                          <p:attrName>style.visibility</p:attrName>
                                        </p:attrNameLst>
                                      </p:cBhvr>
                                      <p:to>
                                        <p:strVal val="visible"/>
                                      </p:to>
                                    </p:set>
                                    <p:animEffect transition="in" filter="fade">
                                      <p:cBhvr>
                                        <p:cTn id="10" dur="1000"/>
                                        <p:tgtEl>
                                          <p:spTgt spid="45"/>
                                        </p:tgtEl>
                                      </p:cBhvr>
                                    </p:animEffect>
                                  </p:childTnLst>
                                </p:cTn>
                              </p:par>
                              <p:par>
                                <p:cTn id="11" presetID="10" presetClass="entr" presetSubtype="0" fill="hold" nodeType="withEffect">
                                  <p:stCondLst>
                                    <p:cond delay="500"/>
                                  </p:stCondLst>
                                  <p:childTnLst>
                                    <p:set>
                                      <p:cBhvr>
                                        <p:cTn id="12" dur="1" fill="hold">
                                          <p:stCondLst>
                                            <p:cond delay="0"/>
                                          </p:stCondLst>
                                        </p:cTn>
                                        <p:tgtEl>
                                          <p:spTgt spid="42"/>
                                        </p:tgtEl>
                                        <p:attrNameLst>
                                          <p:attrName>style.visibility</p:attrName>
                                        </p:attrNameLst>
                                      </p:cBhvr>
                                      <p:to>
                                        <p:strVal val="visible"/>
                                      </p:to>
                                    </p:set>
                                    <p:animEffect transition="in" filter="fade">
                                      <p:cBhvr>
                                        <p:cTn id="13" dur="500"/>
                                        <p:tgtEl>
                                          <p:spTgt spid="42"/>
                                        </p:tgtEl>
                                      </p:cBhvr>
                                    </p:animEffect>
                                  </p:childTnLst>
                                </p:cTn>
                              </p:par>
                              <p:par>
                                <p:cTn id="14" presetID="35" presetClass="path" presetSubtype="0" accel="17000" decel="83000" fill="hold" nodeType="withEffect">
                                  <p:stCondLst>
                                    <p:cond delay="500"/>
                                  </p:stCondLst>
                                  <p:childTnLst>
                                    <p:animMotion origin="layout" path="M 0.00018 0.06679 L -1.32122E-6 1.25118E-6 " pathEditMode="relative" rAng="0" ptsTypes="AA">
                                      <p:cBhvr>
                                        <p:cTn id="15" dur="1100" fill="hold"/>
                                        <p:tgtEl>
                                          <p:spTgt spid="42"/>
                                        </p:tgtEl>
                                        <p:attrNameLst>
                                          <p:attrName>ppt_x</p:attrName>
                                          <p:attrName>ppt_y</p:attrName>
                                        </p:attrNameLst>
                                      </p:cBhvr>
                                      <p:rCtr x="-18" y="-3355"/>
                                    </p:animMotion>
                                  </p:childTnLst>
                                </p:cTn>
                              </p:par>
                              <p:par>
                                <p:cTn id="16" presetID="10" presetClass="entr" presetSubtype="0" fill="hold" nodeType="withEffect">
                                  <p:stCondLst>
                                    <p:cond delay="1000"/>
                                  </p:stCondLst>
                                  <p:childTnLst>
                                    <p:set>
                                      <p:cBhvr>
                                        <p:cTn id="17" dur="1" fill="hold">
                                          <p:stCondLst>
                                            <p:cond delay="0"/>
                                          </p:stCondLst>
                                        </p:cTn>
                                        <p:tgtEl>
                                          <p:spTgt spid="51"/>
                                        </p:tgtEl>
                                        <p:attrNameLst>
                                          <p:attrName>style.visibility</p:attrName>
                                        </p:attrNameLst>
                                      </p:cBhvr>
                                      <p:to>
                                        <p:strVal val="visible"/>
                                      </p:to>
                                    </p:set>
                                    <p:animEffect transition="in" filter="fade">
                                      <p:cBhvr>
                                        <p:cTn id="18" dur="500"/>
                                        <p:tgtEl>
                                          <p:spTgt spid="51"/>
                                        </p:tgtEl>
                                      </p:cBhvr>
                                    </p:animEffect>
                                  </p:childTnLst>
                                </p:cTn>
                              </p:par>
                              <p:par>
                                <p:cTn id="19" presetID="35" presetClass="path" presetSubtype="0" accel="17000" decel="83000" fill="hold" nodeType="withEffect">
                                  <p:stCondLst>
                                    <p:cond delay="1000"/>
                                  </p:stCondLst>
                                  <p:childTnLst>
                                    <p:animMotion origin="layout" path="M -0.00106 0.0508 L 2.54013E-07 1.54594E-06" pathEditMode="relative" rAng="0" ptsTypes="AA">
                                      <p:cBhvr>
                                        <p:cTn id="20" dur="1100" fill="hold"/>
                                        <p:tgtEl>
                                          <p:spTgt spid="51"/>
                                        </p:tgtEl>
                                        <p:attrNameLst>
                                          <p:attrName>ppt_x</p:attrName>
                                          <p:attrName>ppt_y</p:attrName>
                                        </p:attrNameLst>
                                      </p:cBhvr>
                                      <p:rCtr x="53" y="-2540"/>
                                    </p:animMotion>
                                  </p:childTnLst>
                                </p:cTn>
                              </p:par>
                              <p:par>
                                <p:cTn id="21" presetID="10" presetClass="entr" presetSubtype="0" fill="hold" grpId="0" nodeType="withEffect">
                                  <p:stCondLst>
                                    <p:cond delay="50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par>
                                <p:cTn id="24" presetID="35" presetClass="path" presetSubtype="0" accel="17000" decel="83000" fill="hold" grpId="1" nodeType="withEffect">
                                  <p:stCondLst>
                                    <p:cond delay="500"/>
                                  </p:stCondLst>
                                  <p:childTnLst>
                                    <p:animMotion origin="layout" path="M 0.02311 -2.1825E-6 L -1.80102E-6 -2.1825E-6 " pathEditMode="relative" rAng="0" ptsTypes="AA">
                                      <p:cBhvr>
                                        <p:cTn id="25" dur="1100" fill="hold"/>
                                        <p:tgtEl>
                                          <p:spTgt spid="2"/>
                                        </p:tgtEl>
                                        <p:attrNameLst>
                                          <p:attrName>ppt_x</p:attrName>
                                          <p:attrName>ppt_y</p:attrName>
                                        </p:attrNameLst>
                                      </p:cBhvr>
                                      <p:rCtr x="-1164" y="0"/>
                                    </p:animMotion>
                                  </p:childTnLst>
                                </p:cTn>
                              </p:par>
                              <p:par>
                                <p:cTn id="26" presetID="10" presetClass="entr" presetSubtype="0" fill="hold" grpId="0" nodeType="withEffect">
                                  <p:stCondLst>
                                    <p:cond delay="50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par>
                                <p:cTn id="29" presetID="35" presetClass="path" presetSubtype="0" accel="17000" decel="83000" fill="hold" grpId="1" nodeType="withEffect">
                                  <p:stCondLst>
                                    <p:cond delay="500"/>
                                  </p:stCondLst>
                                  <p:childTnLst>
                                    <p:animMotion origin="layout" path="M -0.0321 1.13515E-6 L -2.9529E-6 1.13515E-6 " pathEditMode="relative" rAng="0" ptsTypes="AA">
                                      <p:cBhvr>
                                        <p:cTn id="30" dur="1100" fill="hold"/>
                                        <p:tgtEl>
                                          <p:spTgt spid="3"/>
                                        </p:tgtEl>
                                        <p:attrNameLst>
                                          <p:attrName>ppt_x</p:attrName>
                                          <p:attrName>ppt_y</p:attrName>
                                        </p:attrNameLst>
                                      </p:cBhvr>
                                      <p:rCtr x="1605" y="0"/>
                                    </p:animMotion>
                                  </p:childTnLst>
                                </p:cTn>
                              </p:par>
                              <p:par>
                                <p:cTn id="31" presetID="10" presetClass="entr" presetSubtype="0" fill="hold" grpId="0" nodeType="withEffect">
                                  <p:stCondLst>
                                    <p:cond delay="750"/>
                                  </p:stCondLst>
                                  <p:childTnLst>
                                    <p:set>
                                      <p:cBhvr>
                                        <p:cTn id="32" dur="1" fill="hold">
                                          <p:stCondLst>
                                            <p:cond delay="0"/>
                                          </p:stCondLst>
                                        </p:cTn>
                                        <p:tgtEl>
                                          <p:spTgt spid="4"/>
                                        </p:tgtEl>
                                        <p:attrNameLst>
                                          <p:attrName>style.visibility</p:attrName>
                                        </p:attrNameLst>
                                      </p:cBhvr>
                                      <p:to>
                                        <p:strVal val="visible"/>
                                      </p:to>
                                    </p:set>
                                    <p:animEffect transition="in" filter="fade">
                                      <p:cBhvr>
                                        <p:cTn id="3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 grpId="0"/>
      <p:bldP spid="3" grpId="1"/>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73" imgH="476" progId="TCLayout.ActiveDocument.1">
                  <p:embed/>
                </p:oleObj>
              </mc:Choice>
              <mc:Fallback>
                <p:oleObj name="Slide do think-cell" r:id="rId4"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m 1" descr="Tela de computador com fundo azul&#10;&#10;Descrição gerada automaticamente com confiança média">
            <a:extLst>
              <a:ext uri="{FF2B5EF4-FFF2-40B4-BE49-F238E27FC236}">
                <a16:creationId xmlns:a16="http://schemas.microsoft.com/office/drawing/2014/main" id="{4C1E8FA7-B340-824F-331D-3A1210632743}"/>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pSp>
        <p:nvGrpSpPr>
          <p:cNvPr id="5" name="Agrupar 4">
            <a:extLst>
              <a:ext uri="{FF2B5EF4-FFF2-40B4-BE49-F238E27FC236}">
                <a16:creationId xmlns:a16="http://schemas.microsoft.com/office/drawing/2014/main" id="{0D4B172C-8193-D5E8-DCAF-B75F163F87F3}"/>
              </a:ext>
            </a:extLst>
          </p:cNvPr>
          <p:cNvGrpSpPr/>
          <p:nvPr/>
        </p:nvGrpSpPr>
        <p:grpSpPr>
          <a:xfrm>
            <a:off x="218383" y="178646"/>
            <a:ext cx="304729" cy="336545"/>
            <a:chOff x="218383" y="178646"/>
            <a:chExt cx="304729" cy="336545"/>
          </a:xfrm>
        </p:grpSpPr>
        <p:sp>
          <p:nvSpPr>
            <p:cNvPr id="6" name="Forma Livre: Forma 5">
              <a:extLst>
                <a:ext uri="{FF2B5EF4-FFF2-40B4-BE49-F238E27FC236}">
                  <a16:creationId xmlns:a16="http://schemas.microsoft.com/office/drawing/2014/main" id="{07262DAF-4AF0-4017-D5E1-D73430A6CE85}"/>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7" name="CaixaDeTexto 6">
              <a:extLst>
                <a:ext uri="{FF2B5EF4-FFF2-40B4-BE49-F238E27FC236}">
                  <a16:creationId xmlns:a16="http://schemas.microsoft.com/office/drawing/2014/main" id="{6252E668-8C23-8079-338B-79D99BC76D7D}"/>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sp>
        <p:nvSpPr>
          <p:cNvPr id="82" name="CaixaDeTexto 81">
            <a:extLst>
              <a:ext uri="{FF2B5EF4-FFF2-40B4-BE49-F238E27FC236}">
                <a16:creationId xmlns:a16="http://schemas.microsoft.com/office/drawing/2014/main" id="{F57BC40F-76FB-5BB5-BE8E-025E0D28D6F7}"/>
              </a:ext>
            </a:extLst>
          </p:cNvPr>
          <p:cNvSpPr txBox="1"/>
          <p:nvPr/>
        </p:nvSpPr>
        <p:spPr>
          <a:xfrm>
            <a:off x="221527" y="1464378"/>
            <a:ext cx="3547527" cy="510909"/>
          </a:xfrm>
          <a:prstGeom prst="rect">
            <a:avLst/>
          </a:prstGeom>
          <a:noFill/>
        </p:spPr>
        <p:txBody>
          <a:bodyPr wrap="square" rtlCol="0">
            <a:spAutoFit/>
          </a:bodyPr>
          <a:lstStyle/>
          <a:p>
            <a:pPr lvl="0" defTabSz="675010">
              <a:lnSpc>
                <a:spcPct val="85000"/>
              </a:lnSpc>
              <a:spcBef>
                <a:spcPts val="148"/>
              </a:spcBef>
              <a:spcAft>
                <a:spcPts val="148"/>
              </a:spcAft>
              <a:defRPr/>
            </a:pPr>
            <a:r>
              <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Regulatory Remunaration Base (BRR) and Price Database (BP)</a:t>
            </a:r>
          </a:p>
        </p:txBody>
      </p:sp>
      <p:sp>
        <p:nvSpPr>
          <p:cNvPr id="113" name="CaixaDeTexto 112">
            <a:extLst>
              <a:ext uri="{FF2B5EF4-FFF2-40B4-BE49-F238E27FC236}">
                <a16:creationId xmlns:a16="http://schemas.microsoft.com/office/drawing/2014/main" id="{0E1EA3C8-156D-A654-594A-8ABA6C0B5ABB}"/>
              </a:ext>
            </a:extLst>
          </p:cNvPr>
          <p:cNvSpPr txBox="1"/>
          <p:nvPr/>
        </p:nvSpPr>
        <p:spPr>
          <a:xfrm>
            <a:off x="221527" y="691859"/>
            <a:ext cx="4278242" cy="82484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a:solidFill>
                  <a:srgbClr val="002581"/>
                </a:solidFill>
                <a:effectLst/>
                <a:uFillTx/>
                <a:latin typeface="Segoe UI Black"/>
              </a:rPr>
              <a:t>PERIODIC TARIFF REVIEW (RTP)</a:t>
            </a:r>
            <a:endParaRPr lang="en-US" sz="2800" b="1" i="0" u="none" strike="noStrike" cap="none" baseline="0" dirty="0">
              <a:solidFill>
                <a:srgbClr val="002581"/>
              </a:solidFill>
              <a:effectLst/>
              <a:uFillTx/>
              <a:latin typeface="Segoe UI Black"/>
            </a:endParaRPr>
          </a:p>
        </p:txBody>
      </p:sp>
      <p:sp>
        <p:nvSpPr>
          <p:cNvPr id="194" name="Isosceles Triangle 1">
            <a:extLst>
              <a:ext uri="{FF2B5EF4-FFF2-40B4-BE49-F238E27FC236}">
                <a16:creationId xmlns:a16="http://schemas.microsoft.com/office/drawing/2014/main" id="{3546223A-4FA0-2EB9-A840-A4BD5568EB47}"/>
              </a:ext>
            </a:extLst>
          </p:cNvPr>
          <p:cNvSpPr/>
          <p:nvPr/>
        </p:nvSpPr>
        <p:spPr>
          <a:xfrm>
            <a:off x="5936183"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rgbClr val="005FD7"/>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195" name="Isosceles Triangle 4">
            <a:extLst>
              <a:ext uri="{FF2B5EF4-FFF2-40B4-BE49-F238E27FC236}">
                <a16:creationId xmlns:a16="http://schemas.microsoft.com/office/drawing/2014/main" id="{02BDCBBD-FBF4-D9B2-4C1F-6B903BFF4B66}"/>
              </a:ext>
            </a:extLst>
          </p:cNvPr>
          <p:cNvSpPr/>
          <p:nvPr/>
        </p:nvSpPr>
        <p:spPr>
          <a:xfrm>
            <a:off x="6396125"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196" name="Isosceles Triangle 4">
            <a:extLst>
              <a:ext uri="{FF2B5EF4-FFF2-40B4-BE49-F238E27FC236}">
                <a16:creationId xmlns:a16="http://schemas.microsoft.com/office/drawing/2014/main" id="{65FCE306-F72B-8F27-0257-068BF524BDB5}"/>
              </a:ext>
            </a:extLst>
          </p:cNvPr>
          <p:cNvSpPr/>
          <p:nvPr/>
        </p:nvSpPr>
        <p:spPr>
          <a:xfrm flipH="1">
            <a:off x="7093445"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198" name="Isosceles Triangle 1">
            <a:extLst>
              <a:ext uri="{FF2B5EF4-FFF2-40B4-BE49-F238E27FC236}">
                <a16:creationId xmlns:a16="http://schemas.microsoft.com/office/drawing/2014/main" id="{3CCE68D6-3955-E569-D5D8-7DADE2998FE9}"/>
              </a:ext>
            </a:extLst>
          </p:cNvPr>
          <p:cNvSpPr/>
          <p:nvPr/>
        </p:nvSpPr>
        <p:spPr>
          <a:xfrm flipH="1">
            <a:off x="7070491"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95" name="Rectangle 16">
            <a:extLst>
              <a:ext uri="{FF2B5EF4-FFF2-40B4-BE49-F238E27FC236}">
                <a16:creationId xmlns:a16="http://schemas.microsoft.com/office/drawing/2014/main" id="{7ACB10FA-D03C-17B4-FD42-9241E15A042F}"/>
              </a:ext>
            </a:extLst>
          </p:cNvPr>
          <p:cNvSpPr/>
          <p:nvPr/>
        </p:nvSpPr>
        <p:spPr>
          <a:xfrm>
            <a:off x="6856393" y="1979858"/>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114" name="CaixaDeTexto 113">
            <a:extLst>
              <a:ext uri="{FF2B5EF4-FFF2-40B4-BE49-F238E27FC236}">
                <a16:creationId xmlns:a16="http://schemas.microsoft.com/office/drawing/2014/main" id="{D402CF91-BE85-7B49-1A99-0526B0A717F0}"/>
              </a:ext>
            </a:extLst>
          </p:cNvPr>
          <p:cNvSpPr txBox="1"/>
          <p:nvPr/>
        </p:nvSpPr>
        <p:spPr>
          <a:xfrm>
            <a:off x="6844670" y="2659730"/>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thers</a:t>
            </a:r>
          </a:p>
        </p:txBody>
      </p:sp>
      <p:sp>
        <p:nvSpPr>
          <p:cNvPr id="199" name="CaixaDeTexto 198">
            <a:extLst>
              <a:ext uri="{FF2B5EF4-FFF2-40B4-BE49-F238E27FC236}">
                <a16:creationId xmlns:a16="http://schemas.microsoft.com/office/drawing/2014/main" id="{D7C9E818-CA20-BD6A-742F-123860C9012E}"/>
              </a:ext>
            </a:extLst>
          </p:cNvPr>
          <p:cNvSpPr txBox="1"/>
          <p:nvPr/>
        </p:nvSpPr>
        <p:spPr>
          <a:xfrm>
            <a:off x="6414389" y="3532877"/>
            <a:ext cx="933576" cy="51090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AP</a:t>
            </a:r>
            <a:br>
              <a:rPr lang="pt-BR" sz="1200" b="1" spc="0">
                <a:latin typeface="Segoe UI" panose="020B0502040204020203" pitchFamily="34" charset="0"/>
                <a:cs typeface="Segoe UI" panose="020B0502040204020203" pitchFamily="34" charset="0"/>
              </a:rPr>
            </a:br>
            <a:r>
              <a:rPr lang="pt-BR" sz="1100" b="1" spc="0">
                <a:latin typeface="Segoe UI" panose="020B0502040204020203" pitchFamily="34" charset="0"/>
                <a:cs typeface="Segoe UI" panose="020B0502040204020203" pitchFamily="34" charset="0"/>
              </a:rPr>
              <a:t>Improvements</a:t>
            </a:r>
            <a:endParaRPr lang="pt-BR" sz="1200" b="1" spc="0">
              <a:latin typeface="Segoe UI" panose="020B0502040204020203" pitchFamily="34" charset="0"/>
              <a:cs typeface="Segoe UI" panose="020B0502040204020203" pitchFamily="34" charset="0"/>
            </a:endParaRPr>
          </a:p>
        </p:txBody>
      </p:sp>
      <p:sp>
        <p:nvSpPr>
          <p:cNvPr id="201" name="CaixaDeTexto 200">
            <a:extLst>
              <a:ext uri="{FF2B5EF4-FFF2-40B4-BE49-F238E27FC236}">
                <a16:creationId xmlns:a16="http://schemas.microsoft.com/office/drawing/2014/main" id="{00BEBF28-0345-D2C0-ED4E-CBABC692723B}"/>
              </a:ext>
            </a:extLst>
          </p:cNvPr>
          <p:cNvSpPr txBox="1"/>
          <p:nvPr/>
        </p:nvSpPr>
        <p:spPr>
          <a:xfrm>
            <a:off x="7208810" y="3422472"/>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WACC</a:t>
            </a:r>
          </a:p>
        </p:txBody>
      </p:sp>
      <p:sp>
        <p:nvSpPr>
          <p:cNvPr id="202" name="CaixaDeTexto 201">
            <a:extLst>
              <a:ext uri="{FF2B5EF4-FFF2-40B4-BE49-F238E27FC236}">
                <a16:creationId xmlns:a16="http://schemas.microsoft.com/office/drawing/2014/main" id="{91D57063-7473-3BEC-3664-92848AFCB7D9}"/>
              </a:ext>
            </a:extLst>
          </p:cNvPr>
          <p:cNvSpPr txBox="1"/>
          <p:nvPr/>
        </p:nvSpPr>
        <p:spPr>
          <a:xfrm>
            <a:off x="6206075" y="4398898"/>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BRR</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BP</a:t>
            </a:r>
          </a:p>
        </p:txBody>
      </p:sp>
      <p:sp>
        <p:nvSpPr>
          <p:cNvPr id="203" name="CaixaDeTexto 202">
            <a:extLst>
              <a:ext uri="{FF2B5EF4-FFF2-40B4-BE49-F238E27FC236}">
                <a16:creationId xmlns:a16="http://schemas.microsoft.com/office/drawing/2014/main" id="{8D69DC0B-795B-7E7F-49CF-1B6ABC0D19DF}"/>
              </a:ext>
            </a:extLst>
          </p:cNvPr>
          <p:cNvSpPr txBox="1"/>
          <p:nvPr/>
        </p:nvSpPr>
        <p:spPr>
          <a:xfrm>
            <a:off x="7418475" y="4472764"/>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amp;M</a:t>
            </a:r>
          </a:p>
        </p:txBody>
      </p:sp>
      <p:grpSp>
        <p:nvGrpSpPr>
          <p:cNvPr id="206" name="Agrupar 205">
            <a:extLst>
              <a:ext uri="{FF2B5EF4-FFF2-40B4-BE49-F238E27FC236}">
                <a16:creationId xmlns:a16="http://schemas.microsoft.com/office/drawing/2014/main" id="{FB79A50A-A4D4-987B-FA98-3D07D367D9FE}"/>
              </a:ext>
            </a:extLst>
          </p:cNvPr>
          <p:cNvGrpSpPr/>
          <p:nvPr/>
        </p:nvGrpSpPr>
        <p:grpSpPr>
          <a:xfrm>
            <a:off x="4029728" y="757463"/>
            <a:ext cx="297884" cy="291179"/>
            <a:chOff x="8313122" y="2344436"/>
            <a:chExt cx="373665" cy="373665"/>
          </a:xfrm>
        </p:grpSpPr>
        <p:sp>
          <p:nvSpPr>
            <p:cNvPr id="207" name="Elipse 206">
              <a:extLst>
                <a:ext uri="{FF2B5EF4-FFF2-40B4-BE49-F238E27FC236}">
                  <a16:creationId xmlns:a16="http://schemas.microsoft.com/office/drawing/2014/main" id="{2D21D435-7FF0-4160-2707-84B2CB5A667D}"/>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8" name="Seta: Divisa 207">
              <a:extLst>
                <a:ext uri="{FF2B5EF4-FFF2-40B4-BE49-F238E27FC236}">
                  <a16:creationId xmlns:a16="http://schemas.microsoft.com/office/drawing/2014/main" id="{A1D23E44-42EB-3622-D5BF-2F27F22F3190}"/>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212" name="CaixaDeTexto 211">
            <a:extLst>
              <a:ext uri="{FF2B5EF4-FFF2-40B4-BE49-F238E27FC236}">
                <a16:creationId xmlns:a16="http://schemas.microsoft.com/office/drawing/2014/main" id="{54499066-CBF9-332C-626A-F538F390CD8A}"/>
              </a:ext>
            </a:extLst>
          </p:cNvPr>
          <p:cNvSpPr txBox="1"/>
          <p:nvPr/>
        </p:nvSpPr>
        <p:spPr>
          <a:xfrm>
            <a:off x="4338207" y="673384"/>
            <a:ext cx="3575861"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b="1" spc="0">
                <a:solidFill>
                  <a:srgbClr val="011F57"/>
                </a:solidFill>
                <a:latin typeface="Segoe UI" panose="020B0502040204020203" pitchFamily="34" charset="0"/>
                <a:cs typeface="Segoe UI" panose="020B0502040204020203" pitchFamily="34" charset="0"/>
              </a:rPr>
              <a:t>Renewed Contract: </a:t>
            </a:r>
            <a:r>
              <a:rPr lang="en-US" sz="1400" spc="0">
                <a:solidFill>
                  <a:srgbClr val="011F57"/>
                </a:solidFill>
                <a:latin typeface="Segoe UI" panose="020B0502040204020203" pitchFamily="34" charset="0"/>
                <a:cs typeface="Segoe UI" panose="020B0502040204020203" pitchFamily="34" charset="0"/>
              </a:rPr>
              <a:t>competitive advantage and organic growth</a:t>
            </a:r>
            <a:endParaRPr lang="pt-BR" sz="1400" spc="0">
              <a:solidFill>
                <a:srgbClr val="011F57"/>
              </a:solidFill>
              <a:latin typeface="Segoe UI" panose="020B0502040204020203" pitchFamily="34" charset="0"/>
              <a:cs typeface="Segoe UI" panose="020B0502040204020203" pitchFamily="34" charset="0"/>
            </a:endParaRPr>
          </a:p>
        </p:txBody>
      </p:sp>
      <p:sp>
        <p:nvSpPr>
          <p:cNvPr id="213" name="CaixaDeTexto 212">
            <a:extLst>
              <a:ext uri="{FF2B5EF4-FFF2-40B4-BE49-F238E27FC236}">
                <a16:creationId xmlns:a16="http://schemas.microsoft.com/office/drawing/2014/main" id="{3111C78C-9344-7E90-4BE6-FEA93C2D3159}"/>
              </a:ext>
            </a:extLst>
          </p:cNvPr>
          <p:cNvSpPr txBox="1"/>
          <p:nvPr/>
        </p:nvSpPr>
        <p:spPr>
          <a:xfrm>
            <a:off x="3936883" y="1158466"/>
            <a:ext cx="4819612"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spc="0">
                <a:solidFill>
                  <a:srgbClr val="F66727"/>
                </a:solidFill>
                <a:latin typeface="Segoe UI" panose="020B0502040204020203" pitchFamily="34" charset="0"/>
                <a:cs typeface="Segoe UI" panose="020B0502040204020203" pitchFamily="34" charset="0"/>
              </a:rPr>
              <a:t>Expectation of recognizing the level of efficiency in RTP</a:t>
            </a:r>
            <a:endParaRPr lang="pt-BR" sz="1400" spc="0">
              <a:solidFill>
                <a:srgbClr val="F66727"/>
              </a:solidFill>
              <a:latin typeface="Segoe UI" panose="020B0502040204020203" pitchFamily="34" charset="0"/>
              <a:cs typeface="Segoe UI" panose="020B0502040204020203" pitchFamily="34" charset="0"/>
            </a:endParaRPr>
          </a:p>
        </p:txBody>
      </p:sp>
      <p:sp>
        <p:nvSpPr>
          <p:cNvPr id="214" name="Retângulo: Cantos Arredondados 213">
            <a:extLst>
              <a:ext uri="{FF2B5EF4-FFF2-40B4-BE49-F238E27FC236}">
                <a16:creationId xmlns:a16="http://schemas.microsoft.com/office/drawing/2014/main" id="{F21A5C60-FD85-823D-F823-1B646363300C}"/>
              </a:ext>
            </a:extLst>
          </p:cNvPr>
          <p:cNvSpPr/>
          <p:nvPr/>
        </p:nvSpPr>
        <p:spPr>
          <a:xfrm rot="5400000">
            <a:off x="2297662" y="75217"/>
            <a:ext cx="1616087" cy="5558555"/>
          </a:xfrm>
          <a:prstGeom prst="roundRect">
            <a:avLst>
              <a:gd name="adj" fmla="val 6988"/>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graphicFrame>
        <p:nvGraphicFramePr>
          <p:cNvPr id="224" name="Gráfico 223">
            <a:extLst>
              <a:ext uri="{FF2B5EF4-FFF2-40B4-BE49-F238E27FC236}">
                <a16:creationId xmlns:a16="http://schemas.microsoft.com/office/drawing/2014/main" id="{F9162F79-EE5B-B722-60C0-5339E8CBD75F}"/>
              </a:ext>
            </a:extLst>
          </p:cNvPr>
          <p:cNvGraphicFramePr/>
          <p:nvPr>
            <p:extLst>
              <p:ext uri="{D42A27DB-BD31-4B8C-83A1-F6EECF244321}">
                <p14:modId xmlns:p14="http://schemas.microsoft.com/office/powerpoint/2010/main" val="1691952742"/>
              </p:ext>
            </p:extLst>
          </p:nvPr>
        </p:nvGraphicFramePr>
        <p:xfrm>
          <a:off x="693302" y="2373480"/>
          <a:ext cx="4824808" cy="1210745"/>
        </p:xfrm>
        <a:graphic>
          <a:graphicData uri="http://schemas.openxmlformats.org/drawingml/2006/chart">
            <c:chart xmlns:c="http://schemas.openxmlformats.org/drawingml/2006/chart" xmlns:r="http://schemas.openxmlformats.org/officeDocument/2006/relationships" r:id="rId7"/>
          </a:graphicData>
        </a:graphic>
      </p:graphicFrame>
      <p:sp>
        <p:nvSpPr>
          <p:cNvPr id="225" name="CaixaDeTexto 224">
            <a:extLst>
              <a:ext uri="{FF2B5EF4-FFF2-40B4-BE49-F238E27FC236}">
                <a16:creationId xmlns:a16="http://schemas.microsoft.com/office/drawing/2014/main" id="{7E8D6807-B9A8-530B-0A3B-FBD0D3D8B7C7}"/>
              </a:ext>
            </a:extLst>
          </p:cNvPr>
          <p:cNvSpPr txBox="1"/>
          <p:nvPr/>
        </p:nvSpPr>
        <p:spPr>
          <a:xfrm>
            <a:off x="173301" y="2059977"/>
            <a:ext cx="5864811" cy="387798"/>
          </a:xfrm>
          <a:prstGeom prst="rect">
            <a:avLst/>
          </a:prstGeom>
          <a:noFill/>
        </p:spPr>
        <p:txBody>
          <a:bodyPr wrap="square" rtlCol="0" anchor="ctr">
            <a:spAutoFit/>
          </a:bodyPr>
          <a:lstStyle>
            <a:defPPr>
              <a:defRPr lang="en-US"/>
            </a:defPPr>
            <a:lvl1pPr defTabSz="234364">
              <a:lnSpc>
                <a:spcPct val="80000"/>
              </a:lnSpc>
              <a:defRPr sz="1400" b="1"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algn="ctr"/>
            <a:r>
              <a:rPr lang="pt-BR" sz="1200"/>
              <a:t>RTP 2018  -  Reinforcements and Improvements Investments (R&amp;M) 2013 -2017</a:t>
            </a:r>
          </a:p>
        </p:txBody>
      </p:sp>
      <p:sp>
        <p:nvSpPr>
          <p:cNvPr id="227" name="Forma Livre: Forma 226">
            <a:extLst>
              <a:ext uri="{FF2B5EF4-FFF2-40B4-BE49-F238E27FC236}">
                <a16:creationId xmlns:a16="http://schemas.microsoft.com/office/drawing/2014/main" id="{C05ABF50-D32F-C137-46A3-43C5BAE83FF6}"/>
              </a:ext>
            </a:extLst>
          </p:cNvPr>
          <p:cNvSpPr/>
          <p:nvPr/>
        </p:nvSpPr>
        <p:spPr>
          <a:xfrm>
            <a:off x="1957754" y="2590801"/>
            <a:ext cx="1911797" cy="339969"/>
          </a:xfrm>
          <a:custGeom>
            <a:avLst/>
            <a:gdLst>
              <a:gd name="connsiteX0" fmla="*/ 0 w 2121877"/>
              <a:gd name="connsiteY0" fmla="*/ 339969 h 339969"/>
              <a:gd name="connsiteX1" fmla="*/ 0 w 2121877"/>
              <a:gd name="connsiteY1" fmla="*/ 0 h 339969"/>
              <a:gd name="connsiteX2" fmla="*/ 2121877 w 2121877"/>
              <a:gd name="connsiteY2" fmla="*/ 0 h 339969"/>
            </a:gdLst>
            <a:ahLst/>
            <a:cxnLst>
              <a:cxn ang="0">
                <a:pos x="connsiteX0" y="connsiteY0"/>
              </a:cxn>
              <a:cxn ang="0">
                <a:pos x="connsiteX1" y="connsiteY1"/>
              </a:cxn>
              <a:cxn ang="0">
                <a:pos x="connsiteX2" y="connsiteY2"/>
              </a:cxn>
            </a:cxnLst>
            <a:rect l="l" t="t" r="r" b="b"/>
            <a:pathLst>
              <a:path w="2121877" h="339969">
                <a:moveTo>
                  <a:pt x="0" y="339969"/>
                </a:moveTo>
                <a:lnTo>
                  <a:pt x="0" y="0"/>
                </a:lnTo>
                <a:lnTo>
                  <a:pt x="2121877" y="0"/>
                </a:lnTo>
              </a:path>
            </a:pathLst>
          </a:custGeom>
          <a:noFill/>
          <a:ln w="28575">
            <a:solidFill>
              <a:srgbClr val="00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232" name="Agrupar 231">
            <a:extLst>
              <a:ext uri="{FF2B5EF4-FFF2-40B4-BE49-F238E27FC236}">
                <a16:creationId xmlns:a16="http://schemas.microsoft.com/office/drawing/2014/main" id="{908182A0-4039-AC00-BE3F-2DA70655C922}"/>
              </a:ext>
            </a:extLst>
          </p:cNvPr>
          <p:cNvGrpSpPr/>
          <p:nvPr/>
        </p:nvGrpSpPr>
        <p:grpSpPr>
          <a:xfrm>
            <a:off x="3820603" y="2467411"/>
            <a:ext cx="738653" cy="275794"/>
            <a:chOff x="3820603" y="2643256"/>
            <a:chExt cx="738653" cy="275794"/>
          </a:xfrm>
        </p:grpSpPr>
        <p:sp>
          <p:nvSpPr>
            <p:cNvPr id="229" name="Retângulo: Cantos Arredondados 228">
              <a:extLst>
                <a:ext uri="{FF2B5EF4-FFF2-40B4-BE49-F238E27FC236}">
                  <a16:creationId xmlns:a16="http://schemas.microsoft.com/office/drawing/2014/main" id="{10E08131-DE2A-022E-E10F-2BA4325C7D9B}"/>
                </a:ext>
              </a:extLst>
            </p:cNvPr>
            <p:cNvSpPr/>
            <p:nvPr/>
          </p:nvSpPr>
          <p:spPr>
            <a:xfrm>
              <a:off x="3881274" y="2643256"/>
              <a:ext cx="675751" cy="240066"/>
            </a:xfrm>
            <a:prstGeom prst="roundRect">
              <a:avLst>
                <a:gd name="adj" fmla="val 50000"/>
              </a:avLst>
            </a:prstGeom>
            <a:gradFill>
              <a:gsLst>
                <a:gs pos="0">
                  <a:srgbClr val="00FFFF">
                    <a:alpha val="48000"/>
                  </a:srgbClr>
                </a:gs>
                <a:gs pos="100000">
                  <a:srgbClr val="00FFFF"/>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1" name="CaixaDeTexto 230">
              <a:extLst>
                <a:ext uri="{FF2B5EF4-FFF2-40B4-BE49-F238E27FC236}">
                  <a16:creationId xmlns:a16="http://schemas.microsoft.com/office/drawing/2014/main" id="{75C9ABE2-0ACE-8E5F-E42B-ABF59129D072}"/>
                </a:ext>
              </a:extLst>
            </p:cNvPr>
            <p:cNvSpPr txBox="1"/>
            <p:nvPr/>
          </p:nvSpPr>
          <p:spPr>
            <a:xfrm>
              <a:off x="3820603" y="2654362"/>
              <a:ext cx="738653" cy="264688"/>
            </a:xfrm>
            <a:prstGeom prst="rect">
              <a:avLst/>
            </a:prstGeom>
            <a:noFill/>
          </p:spPr>
          <p:txBody>
            <a:bodyPr wrap="square" rtlCol="0" anchor="ctr">
              <a:spAutoFit/>
            </a:bodyPr>
            <a:lstStyle>
              <a:defPPr>
                <a:defRPr lang="en-US"/>
              </a:defPPr>
              <a:lvl1pPr defTabSz="234364">
                <a:lnSpc>
                  <a:spcPct val="80000"/>
                </a:lnSpc>
                <a:defRPr sz="1400" b="1"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algn="ctr"/>
              <a:r>
                <a:rPr lang="pt-BR"/>
                <a:t>+32%</a:t>
              </a:r>
            </a:p>
          </p:txBody>
        </p:sp>
      </p:grpSp>
      <p:sp>
        <p:nvSpPr>
          <p:cNvPr id="233" name="CaixaDeTexto 232">
            <a:extLst>
              <a:ext uri="{FF2B5EF4-FFF2-40B4-BE49-F238E27FC236}">
                <a16:creationId xmlns:a16="http://schemas.microsoft.com/office/drawing/2014/main" id="{54FC64F0-E82E-855C-2A71-4FA703BBED0B}"/>
              </a:ext>
            </a:extLst>
          </p:cNvPr>
          <p:cNvSpPr txBox="1"/>
          <p:nvPr/>
        </p:nvSpPr>
        <p:spPr>
          <a:xfrm>
            <a:off x="28821" y="4810631"/>
            <a:ext cx="18624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Values in Jan/2023 database</a:t>
            </a:r>
            <a:endParaRPr lang="pt-BR" sz="800">
              <a:solidFill>
                <a:srgbClr val="011F57"/>
              </a:solidFill>
              <a:latin typeface="Segoe UI" panose="020B0502040204020203" pitchFamily="34" charset="0"/>
              <a:cs typeface="Segoe UI" panose="020B0502040204020203" pitchFamily="34" charset="0"/>
            </a:endParaRPr>
          </a:p>
        </p:txBody>
      </p:sp>
      <p:grpSp>
        <p:nvGrpSpPr>
          <p:cNvPr id="243" name="Agrupar 242">
            <a:extLst>
              <a:ext uri="{FF2B5EF4-FFF2-40B4-BE49-F238E27FC236}">
                <a16:creationId xmlns:a16="http://schemas.microsoft.com/office/drawing/2014/main" id="{0DF98E50-1782-B6FC-6539-F21A1586450B}"/>
              </a:ext>
            </a:extLst>
          </p:cNvPr>
          <p:cNvGrpSpPr/>
          <p:nvPr/>
        </p:nvGrpSpPr>
        <p:grpSpPr>
          <a:xfrm>
            <a:off x="326429" y="3764832"/>
            <a:ext cx="5558555" cy="429737"/>
            <a:chOff x="326429" y="3764832"/>
            <a:chExt cx="5558555" cy="429737"/>
          </a:xfrm>
        </p:grpSpPr>
        <p:sp>
          <p:nvSpPr>
            <p:cNvPr id="238" name="Retângulo: Cantos Arredondados 237">
              <a:extLst>
                <a:ext uri="{FF2B5EF4-FFF2-40B4-BE49-F238E27FC236}">
                  <a16:creationId xmlns:a16="http://schemas.microsoft.com/office/drawing/2014/main" id="{6F86769D-C3D1-A534-AEE7-8EC186AB7A73}"/>
                </a:ext>
              </a:extLst>
            </p:cNvPr>
            <p:cNvSpPr/>
            <p:nvPr/>
          </p:nvSpPr>
          <p:spPr>
            <a:xfrm>
              <a:off x="326429" y="3764832"/>
              <a:ext cx="5558555" cy="42973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1" name="CaixaDeTexto 240">
              <a:extLst>
                <a:ext uri="{FF2B5EF4-FFF2-40B4-BE49-F238E27FC236}">
                  <a16:creationId xmlns:a16="http://schemas.microsoft.com/office/drawing/2014/main" id="{6290D2DE-9F3A-06B2-CA2E-F68205EB6119}"/>
                </a:ext>
              </a:extLst>
            </p:cNvPr>
            <p:cNvSpPr txBox="1"/>
            <p:nvPr/>
          </p:nvSpPr>
          <p:spPr>
            <a:xfrm>
              <a:off x="872085" y="3779330"/>
              <a:ext cx="4325618" cy="41242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TP 2023  -  Investments R&amp;M 2018 -2022</a:t>
              </a:r>
            </a:p>
            <a:p>
              <a:pPr algn="ctr" defTabSz="234364"/>
              <a:r>
                <a:rPr lang="pt-BR" sz="1200" spc="0">
                  <a:latin typeface="Segoe UI" panose="020B0502040204020203" pitchFamily="34" charset="0"/>
                  <a:cs typeface="Segoe UI" panose="020B0502040204020203" pitchFamily="34" charset="0"/>
                </a:rPr>
                <a:t>Investment (updated boook value)  </a:t>
              </a:r>
              <a:r>
                <a:rPr lang="pt-BR" sz="1400" spc="0">
                  <a:latin typeface="Segoe UI Black" panose="020B0A02040204020203" pitchFamily="34" charset="0"/>
                  <a:ea typeface="Segoe UI Black" panose="020B0A02040204020203" pitchFamily="34" charset="0"/>
                  <a:cs typeface="Segoe UI" panose="020B0502040204020203" pitchFamily="34" charset="0"/>
                </a:rPr>
                <a:t>R$ 1,3 billion</a:t>
              </a:r>
              <a:endParaRPr lang="pt-BR" sz="1200" spc="0">
                <a:latin typeface="Segoe UI Black" panose="020B0A02040204020203" pitchFamily="34" charset="0"/>
                <a:ea typeface="Segoe UI Black" panose="020B0A02040204020203" pitchFamily="34" charset="0"/>
                <a:cs typeface="Segoe UI" panose="020B0502040204020203" pitchFamily="34" charset="0"/>
              </a:endParaRPr>
            </a:p>
          </p:txBody>
        </p:sp>
      </p:grpSp>
      <p:grpSp>
        <p:nvGrpSpPr>
          <p:cNvPr id="244" name="Agrupar 243">
            <a:extLst>
              <a:ext uri="{FF2B5EF4-FFF2-40B4-BE49-F238E27FC236}">
                <a16:creationId xmlns:a16="http://schemas.microsoft.com/office/drawing/2014/main" id="{2551AF7F-539C-04EA-3305-502B49257BA4}"/>
              </a:ext>
            </a:extLst>
          </p:cNvPr>
          <p:cNvGrpSpPr/>
          <p:nvPr/>
        </p:nvGrpSpPr>
        <p:grpSpPr>
          <a:xfrm>
            <a:off x="326429" y="4283092"/>
            <a:ext cx="5558555" cy="436477"/>
            <a:chOff x="326429" y="4283092"/>
            <a:chExt cx="5558555" cy="436477"/>
          </a:xfrm>
        </p:grpSpPr>
        <p:sp>
          <p:nvSpPr>
            <p:cNvPr id="240" name="Retângulo: Cantos Arredondados 239">
              <a:extLst>
                <a:ext uri="{FF2B5EF4-FFF2-40B4-BE49-F238E27FC236}">
                  <a16:creationId xmlns:a16="http://schemas.microsoft.com/office/drawing/2014/main" id="{B6A4C0DC-8649-8D1C-5263-AA7AC728F8C1}"/>
                </a:ext>
              </a:extLst>
            </p:cNvPr>
            <p:cNvSpPr/>
            <p:nvPr/>
          </p:nvSpPr>
          <p:spPr>
            <a:xfrm>
              <a:off x="326429" y="4283092"/>
              <a:ext cx="5558555" cy="429737"/>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2" name="CaixaDeTexto 241">
              <a:extLst>
                <a:ext uri="{FF2B5EF4-FFF2-40B4-BE49-F238E27FC236}">
                  <a16:creationId xmlns:a16="http://schemas.microsoft.com/office/drawing/2014/main" id="{37847402-DF6C-9118-9963-47BB38DACA9E}"/>
                </a:ext>
              </a:extLst>
            </p:cNvPr>
            <p:cNvSpPr txBox="1"/>
            <p:nvPr/>
          </p:nvSpPr>
          <p:spPr>
            <a:xfrm>
              <a:off x="872085" y="4307148"/>
              <a:ext cx="4325618" cy="41242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TP 2028  -  Investimentos R&amp;M 2023 -2027</a:t>
              </a:r>
            </a:p>
            <a:p>
              <a:pPr algn="ctr" defTabSz="234364"/>
              <a:r>
                <a:rPr lang="pt-BR" sz="1200" spc="0">
                  <a:latin typeface="Segoe UI" panose="020B0502040204020203" pitchFamily="34" charset="0"/>
                  <a:cs typeface="Segoe UI" panose="020B0502040204020203" pitchFamily="34" charset="0"/>
                </a:rPr>
                <a:t>Authorized Investments </a:t>
              </a:r>
              <a:r>
                <a:rPr lang="pt-BR" sz="1400" spc="0">
                  <a:latin typeface="Segoe UI Black" panose="020B0A02040204020203" pitchFamily="34" charset="0"/>
                  <a:ea typeface="Segoe UI Black" panose="020B0A02040204020203" pitchFamily="34" charset="0"/>
                  <a:cs typeface="Segoe UI" panose="020B0502040204020203" pitchFamily="34" charset="0"/>
                </a:rPr>
                <a:t>&gt; R$ 5 billion</a:t>
              </a:r>
            </a:p>
          </p:txBody>
        </p:sp>
      </p:grpSp>
      <p:pic>
        <p:nvPicPr>
          <p:cNvPr id="245" name="Imagem 244" descr="Uma imagem contendo Interface gráfica do usuário&#10;&#10;Descrição gerada automaticamente">
            <a:extLst>
              <a:ext uri="{FF2B5EF4-FFF2-40B4-BE49-F238E27FC236}">
                <a16:creationId xmlns:a16="http://schemas.microsoft.com/office/drawing/2014/main" id="{31E72EF8-F888-D2BB-3BBD-9B4978AC0C8D}"/>
              </a:ext>
            </a:extLst>
          </p:cNvPr>
          <p:cNvPicPr>
            <a:picLocks noChangeAspect="1"/>
          </p:cNvPicPr>
          <p:nvPr/>
        </p:nvPicPr>
        <p:blipFill>
          <a:blip r:embed="rId8"/>
          <a:stretch>
            <a:fillRect/>
          </a:stretch>
        </p:blipFill>
        <p:spPr>
          <a:xfrm>
            <a:off x="8039840" y="60434"/>
            <a:ext cx="920231" cy="509571"/>
          </a:xfrm>
          <a:prstGeom prst="rect">
            <a:avLst/>
          </a:prstGeom>
        </p:spPr>
      </p:pic>
      <p:sp>
        <p:nvSpPr>
          <p:cNvPr id="9" name="CaixaDeTexto 8">
            <a:extLst>
              <a:ext uri="{FF2B5EF4-FFF2-40B4-BE49-F238E27FC236}">
                <a16:creationId xmlns:a16="http://schemas.microsoft.com/office/drawing/2014/main" id="{2D526090-9A6E-D455-60FB-389916382B1D}"/>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sp>
        <p:nvSpPr>
          <p:cNvPr id="3" name="CaixaDeTexto 2">
            <a:extLst>
              <a:ext uri="{FF2B5EF4-FFF2-40B4-BE49-F238E27FC236}">
                <a16:creationId xmlns:a16="http://schemas.microsoft.com/office/drawing/2014/main" id="{65C6111B-5470-9D05-1004-929947657C10}"/>
              </a:ext>
            </a:extLst>
          </p:cNvPr>
          <p:cNvSpPr txBox="1"/>
          <p:nvPr/>
        </p:nvSpPr>
        <p:spPr>
          <a:xfrm>
            <a:off x="540173" y="2261934"/>
            <a:ext cx="4500796" cy="246221"/>
          </a:xfrm>
          <a:prstGeom prst="rect">
            <a:avLst/>
          </a:prstGeom>
          <a:noFill/>
        </p:spPr>
        <p:txBody>
          <a:bodyPr wrap="square">
            <a:spAutoFit/>
          </a:bodyPr>
          <a:lstStyle/>
          <a:p>
            <a:r>
              <a:rPr kumimoji="0" lang="pt-BR" altLang="en-US" sz="1000" b="0" i="0" u="none" strike="noStrike" kern="1200" cap="none" spc="0" normalizeH="0" noProof="0">
                <a:ln>
                  <a:noFill/>
                </a:ln>
                <a:solidFill>
                  <a:schemeClr val="bg1">
                    <a:lumMod val="50000"/>
                  </a:schemeClr>
                </a:solidFill>
                <a:effectLst/>
                <a:uLnTx/>
                <a:uFillTx/>
                <a:latin typeface="Segoe UI" panose="020B0502040204020203" pitchFamily="34" charset="0"/>
                <a:cs typeface="Segoe UI" panose="020B0502040204020203" pitchFamily="34" charset="0"/>
              </a:rPr>
              <a:t>R$ million</a:t>
            </a:r>
            <a:endParaRPr lang="pt-BR" sz="1000">
              <a:solidFill>
                <a:schemeClr val="bg1">
                  <a:lumMod val="50000"/>
                </a:schemeClr>
              </a:solidFill>
            </a:endParaRPr>
          </a:p>
        </p:txBody>
      </p:sp>
    </p:spTree>
    <p:extLst>
      <p:ext uri="{BB962C8B-B14F-4D97-AF65-F5344CB8AC3E}">
        <p14:creationId xmlns:p14="http://schemas.microsoft.com/office/powerpoint/2010/main" val="313373869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2"/>
                                        </p:tgtEl>
                                        <p:attrNameLst>
                                          <p:attrName>style.visibility</p:attrName>
                                        </p:attrNameLst>
                                      </p:cBhvr>
                                      <p:to>
                                        <p:strVal val="visible"/>
                                      </p:to>
                                    </p:set>
                                    <p:animEffect transition="in" filter="fade">
                                      <p:cBhvr>
                                        <p:cTn id="7" dur="500"/>
                                        <p:tgtEl>
                                          <p:spTgt spid="82"/>
                                        </p:tgtEl>
                                      </p:cBhvr>
                                    </p:animEffect>
                                  </p:childTnLst>
                                </p:cTn>
                              </p:par>
                              <p:par>
                                <p:cTn id="8" presetID="35" presetClass="path" presetSubtype="0" accel="17000" decel="83000" fill="hold" grpId="1" nodeType="withEffect">
                                  <p:stCondLst>
                                    <p:cond delay="0"/>
                                  </p:stCondLst>
                                  <p:childTnLst>
                                    <p:animMotion origin="layout" path="M 0.02046 -4.89182E-6 L -2.22791E-6 -4.89182E-6 " pathEditMode="relative" rAng="0" ptsTypes="AA">
                                      <p:cBhvr>
                                        <p:cTn id="9" dur="750" fill="hold"/>
                                        <p:tgtEl>
                                          <p:spTgt spid="82"/>
                                        </p:tgtEl>
                                        <p:attrNameLst>
                                          <p:attrName>ppt_x</p:attrName>
                                          <p:attrName>ppt_y</p:attrName>
                                        </p:attrNameLst>
                                      </p:cBhvr>
                                      <p:rCtr x="-1023" y="0"/>
                                    </p:animMotion>
                                  </p:childTnLst>
                                </p:cTn>
                              </p:par>
                              <p:par>
                                <p:cTn id="10" presetID="10" presetClass="entr" presetSubtype="0" fill="hold" grpId="0" nodeType="withEffect">
                                  <p:stCondLst>
                                    <p:cond delay="50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10" presetClass="entr" presetSubtype="0" fill="hold" grpId="0" nodeType="withEffect">
                                  <p:stCondLst>
                                    <p:cond delay="500"/>
                                  </p:stCondLst>
                                  <p:childTnLst>
                                    <p:set>
                                      <p:cBhvr>
                                        <p:cTn id="14" dur="1" fill="hold">
                                          <p:stCondLst>
                                            <p:cond delay="0"/>
                                          </p:stCondLst>
                                        </p:cTn>
                                        <p:tgtEl>
                                          <p:spTgt spid="199"/>
                                        </p:tgtEl>
                                        <p:attrNameLst>
                                          <p:attrName>style.visibility</p:attrName>
                                        </p:attrNameLst>
                                      </p:cBhvr>
                                      <p:to>
                                        <p:strVal val="visible"/>
                                      </p:to>
                                    </p:set>
                                    <p:animEffect transition="in" filter="fade">
                                      <p:cBhvr>
                                        <p:cTn id="15" dur="500"/>
                                        <p:tgtEl>
                                          <p:spTgt spid="199"/>
                                        </p:tgtEl>
                                      </p:cBhvr>
                                    </p:animEffect>
                                  </p:childTnLst>
                                </p:cTn>
                              </p:par>
                              <p:par>
                                <p:cTn id="16" presetID="10" presetClass="entr" presetSubtype="0" fill="hold" grpId="0" nodeType="withEffect">
                                  <p:stCondLst>
                                    <p:cond delay="500"/>
                                  </p:stCondLst>
                                  <p:childTnLst>
                                    <p:set>
                                      <p:cBhvr>
                                        <p:cTn id="17" dur="1" fill="hold">
                                          <p:stCondLst>
                                            <p:cond delay="0"/>
                                          </p:stCondLst>
                                        </p:cTn>
                                        <p:tgtEl>
                                          <p:spTgt spid="201"/>
                                        </p:tgtEl>
                                        <p:attrNameLst>
                                          <p:attrName>style.visibility</p:attrName>
                                        </p:attrNameLst>
                                      </p:cBhvr>
                                      <p:to>
                                        <p:strVal val="visible"/>
                                      </p:to>
                                    </p:set>
                                    <p:animEffect transition="in" filter="fade">
                                      <p:cBhvr>
                                        <p:cTn id="18" dur="500"/>
                                        <p:tgtEl>
                                          <p:spTgt spid="201"/>
                                        </p:tgtEl>
                                      </p:cBhvr>
                                    </p:animEffect>
                                  </p:childTnLst>
                                </p:cTn>
                              </p:par>
                              <p:par>
                                <p:cTn id="19" presetID="10" presetClass="entr" presetSubtype="0" fill="hold" grpId="0" nodeType="withEffect">
                                  <p:stCondLst>
                                    <p:cond delay="500"/>
                                  </p:stCondLst>
                                  <p:childTnLst>
                                    <p:set>
                                      <p:cBhvr>
                                        <p:cTn id="20" dur="1" fill="hold">
                                          <p:stCondLst>
                                            <p:cond delay="0"/>
                                          </p:stCondLst>
                                        </p:cTn>
                                        <p:tgtEl>
                                          <p:spTgt spid="202"/>
                                        </p:tgtEl>
                                        <p:attrNameLst>
                                          <p:attrName>style.visibility</p:attrName>
                                        </p:attrNameLst>
                                      </p:cBhvr>
                                      <p:to>
                                        <p:strVal val="visible"/>
                                      </p:to>
                                    </p:set>
                                    <p:animEffect transition="in" filter="fade">
                                      <p:cBhvr>
                                        <p:cTn id="21" dur="500"/>
                                        <p:tgtEl>
                                          <p:spTgt spid="202"/>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03"/>
                                        </p:tgtEl>
                                        <p:attrNameLst>
                                          <p:attrName>style.visibility</p:attrName>
                                        </p:attrNameLst>
                                      </p:cBhvr>
                                      <p:to>
                                        <p:strVal val="visible"/>
                                      </p:to>
                                    </p:set>
                                    <p:animEffect transition="in" filter="fade">
                                      <p:cBhvr>
                                        <p:cTn id="24" dur="500"/>
                                        <p:tgtEl>
                                          <p:spTgt spid="203"/>
                                        </p:tgtEl>
                                      </p:cBhvr>
                                    </p:animEffect>
                                  </p:childTnLst>
                                </p:cTn>
                              </p:par>
                              <p:par>
                                <p:cTn id="25" presetID="19" presetClass="emph" presetSubtype="0" fill="hold" grpId="0" nodeType="withEffect">
                                  <p:stCondLst>
                                    <p:cond delay="1000"/>
                                  </p:stCondLst>
                                  <p:childTnLst>
                                    <p:animClr clrSpc="rgb" dir="cw">
                                      <p:cBhvr override="childStyle">
                                        <p:cTn id="26" dur="500" fill="hold"/>
                                        <p:tgtEl>
                                          <p:spTgt spid="95"/>
                                        </p:tgtEl>
                                        <p:attrNameLst>
                                          <p:attrName>style.color</p:attrName>
                                        </p:attrNameLst>
                                      </p:cBhvr>
                                      <p:to>
                                        <a:srgbClr val="BFBFBF"/>
                                      </p:to>
                                    </p:animClr>
                                    <p:animClr clrSpc="rgb" dir="cw">
                                      <p:cBhvr>
                                        <p:cTn id="27" dur="500" fill="hold"/>
                                        <p:tgtEl>
                                          <p:spTgt spid="95"/>
                                        </p:tgtEl>
                                        <p:attrNameLst>
                                          <p:attrName>fillcolor</p:attrName>
                                        </p:attrNameLst>
                                      </p:cBhvr>
                                      <p:to>
                                        <a:srgbClr val="BFBFBF"/>
                                      </p:to>
                                    </p:animClr>
                                    <p:set>
                                      <p:cBhvr>
                                        <p:cTn id="28" dur="500" fill="hold"/>
                                        <p:tgtEl>
                                          <p:spTgt spid="95"/>
                                        </p:tgtEl>
                                        <p:attrNameLst>
                                          <p:attrName>fill.type</p:attrName>
                                        </p:attrNameLst>
                                      </p:cBhvr>
                                      <p:to>
                                        <p:strVal val="solid"/>
                                      </p:to>
                                    </p:set>
                                    <p:set>
                                      <p:cBhvr>
                                        <p:cTn id="29" dur="500" fill="hold"/>
                                        <p:tgtEl>
                                          <p:spTgt spid="95"/>
                                        </p:tgtEl>
                                        <p:attrNameLst>
                                          <p:attrName>fill.on</p:attrName>
                                        </p:attrNameLst>
                                      </p:cBhvr>
                                      <p:to>
                                        <p:strVal val="true"/>
                                      </p:to>
                                    </p:set>
                                  </p:childTnLst>
                                </p:cTn>
                              </p:par>
                              <p:par>
                                <p:cTn id="30" presetID="19" presetClass="emph" presetSubtype="0" fill="hold" grpId="0" nodeType="withEffect">
                                  <p:stCondLst>
                                    <p:cond delay="1000"/>
                                  </p:stCondLst>
                                  <p:childTnLst>
                                    <p:animClr clrSpc="rgb" dir="cw">
                                      <p:cBhvr override="childStyle">
                                        <p:cTn id="31" dur="500" fill="hold"/>
                                        <p:tgtEl>
                                          <p:spTgt spid="196"/>
                                        </p:tgtEl>
                                        <p:attrNameLst>
                                          <p:attrName>style.color</p:attrName>
                                        </p:attrNameLst>
                                      </p:cBhvr>
                                      <p:to>
                                        <a:srgbClr val="BFBFBF"/>
                                      </p:to>
                                    </p:animClr>
                                    <p:animClr clrSpc="rgb" dir="cw">
                                      <p:cBhvr>
                                        <p:cTn id="32" dur="500" fill="hold"/>
                                        <p:tgtEl>
                                          <p:spTgt spid="196"/>
                                        </p:tgtEl>
                                        <p:attrNameLst>
                                          <p:attrName>fillcolor</p:attrName>
                                        </p:attrNameLst>
                                      </p:cBhvr>
                                      <p:to>
                                        <a:srgbClr val="BFBFBF"/>
                                      </p:to>
                                    </p:animClr>
                                    <p:set>
                                      <p:cBhvr>
                                        <p:cTn id="33" dur="500" fill="hold"/>
                                        <p:tgtEl>
                                          <p:spTgt spid="196"/>
                                        </p:tgtEl>
                                        <p:attrNameLst>
                                          <p:attrName>fill.type</p:attrName>
                                        </p:attrNameLst>
                                      </p:cBhvr>
                                      <p:to>
                                        <p:strVal val="solid"/>
                                      </p:to>
                                    </p:set>
                                    <p:set>
                                      <p:cBhvr>
                                        <p:cTn id="34" dur="500" fill="hold"/>
                                        <p:tgtEl>
                                          <p:spTgt spid="196"/>
                                        </p:tgtEl>
                                        <p:attrNameLst>
                                          <p:attrName>fill.on</p:attrName>
                                        </p:attrNameLst>
                                      </p:cBhvr>
                                      <p:to>
                                        <p:strVal val="true"/>
                                      </p:to>
                                    </p:set>
                                  </p:childTnLst>
                                </p:cTn>
                              </p:par>
                              <p:par>
                                <p:cTn id="35" presetID="19" presetClass="emph" presetSubtype="0" fill="hold" grpId="0" nodeType="withEffect">
                                  <p:stCondLst>
                                    <p:cond delay="1000"/>
                                  </p:stCondLst>
                                  <p:childTnLst>
                                    <p:animClr clrSpc="rgb" dir="cw">
                                      <p:cBhvr override="childStyle">
                                        <p:cTn id="36" dur="500" fill="hold"/>
                                        <p:tgtEl>
                                          <p:spTgt spid="195"/>
                                        </p:tgtEl>
                                        <p:attrNameLst>
                                          <p:attrName>style.color</p:attrName>
                                        </p:attrNameLst>
                                      </p:cBhvr>
                                      <p:to>
                                        <a:srgbClr val="BFBFBF"/>
                                      </p:to>
                                    </p:animClr>
                                    <p:animClr clrSpc="rgb" dir="cw">
                                      <p:cBhvr>
                                        <p:cTn id="37" dur="500" fill="hold"/>
                                        <p:tgtEl>
                                          <p:spTgt spid="195"/>
                                        </p:tgtEl>
                                        <p:attrNameLst>
                                          <p:attrName>fillcolor</p:attrName>
                                        </p:attrNameLst>
                                      </p:cBhvr>
                                      <p:to>
                                        <a:srgbClr val="BFBFBF"/>
                                      </p:to>
                                    </p:animClr>
                                    <p:set>
                                      <p:cBhvr>
                                        <p:cTn id="38" dur="500" fill="hold"/>
                                        <p:tgtEl>
                                          <p:spTgt spid="195"/>
                                        </p:tgtEl>
                                        <p:attrNameLst>
                                          <p:attrName>fill.type</p:attrName>
                                        </p:attrNameLst>
                                      </p:cBhvr>
                                      <p:to>
                                        <p:strVal val="solid"/>
                                      </p:to>
                                    </p:set>
                                    <p:set>
                                      <p:cBhvr>
                                        <p:cTn id="39" dur="500" fill="hold"/>
                                        <p:tgtEl>
                                          <p:spTgt spid="195"/>
                                        </p:tgtEl>
                                        <p:attrNameLst>
                                          <p:attrName>fill.on</p:attrName>
                                        </p:attrNameLst>
                                      </p:cBhvr>
                                      <p:to>
                                        <p:strVal val="true"/>
                                      </p:to>
                                    </p:set>
                                  </p:childTnLst>
                                </p:cTn>
                              </p:par>
                              <p:par>
                                <p:cTn id="40" presetID="19" presetClass="emph" presetSubtype="0" fill="hold" grpId="0" nodeType="withEffect">
                                  <p:stCondLst>
                                    <p:cond delay="1000"/>
                                  </p:stCondLst>
                                  <p:childTnLst>
                                    <p:animClr clrSpc="rgb" dir="cw">
                                      <p:cBhvr override="childStyle">
                                        <p:cTn id="41" dur="500" fill="hold"/>
                                        <p:tgtEl>
                                          <p:spTgt spid="198"/>
                                        </p:tgtEl>
                                        <p:attrNameLst>
                                          <p:attrName>style.color</p:attrName>
                                        </p:attrNameLst>
                                      </p:cBhvr>
                                      <p:to>
                                        <a:srgbClr val="BFBFBF"/>
                                      </p:to>
                                    </p:animClr>
                                    <p:animClr clrSpc="rgb" dir="cw">
                                      <p:cBhvr>
                                        <p:cTn id="42" dur="500" fill="hold"/>
                                        <p:tgtEl>
                                          <p:spTgt spid="198"/>
                                        </p:tgtEl>
                                        <p:attrNameLst>
                                          <p:attrName>fillcolor</p:attrName>
                                        </p:attrNameLst>
                                      </p:cBhvr>
                                      <p:to>
                                        <a:srgbClr val="BFBFBF"/>
                                      </p:to>
                                    </p:animClr>
                                    <p:set>
                                      <p:cBhvr>
                                        <p:cTn id="43" dur="500" fill="hold"/>
                                        <p:tgtEl>
                                          <p:spTgt spid="198"/>
                                        </p:tgtEl>
                                        <p:attrNameLst>
                                          <p:attrName>fill.type</p:attrName>
                                        </p:attrNameLst>
                                      </p:cBhvr>
                                      <p:to>
                                        <p:strVal val="solid"/>
                                      </p:to>
                                    </p:set>
                                    <p:set>
                                      <p:cBhvr>
                                        <p:cTn id="44" dur="500" fill="hold"/>
                                        <p:tgtEl>
                                          <p:spTgt spid="198"/>
                                        </p:tgtEl>
                                        <p:attrNameLst>
                                          <p:attrName>fill.on</p:attrName>
                                        </p:attrNameLst>
                                      </p:cBhvr>
                                      <p:to>
                                        <p:strVal val="true"/>
                                      </p:to>
                                    </p:set>
                                  </p:childTnLst>
                                </p:cTn>
                              </p:par>
                              <p:par>
                                <p:cTn id="45" presetID="10" presetClass="entr" presetSubtype="0" fill="hold" nodeType="withEffect">
                                  <p:stCondLst>
                                    <p:cond delay="1250"/>
                                  </p:stCondLst>
                                  <p:childTnLst>
                                    <p:set>
                                      <p:cBhvr>
                                        <p:cTn id="46" dur="1" fill="hold">
                                          <p:stCondLst>
                                            <p:cond delay="0"/>
                                          </p:stCondLst>
                                        </p:cTn>
                                        <p:tgtEl>
                                          <p:spTgt spid="206"/>
                                        </p:tgtEl>
                                        <p:attrNameLst>
                                          <p:attrName>style.visibility</p:attrName>
                                        </p:attrNameLst>
                                      </p:cBhvr>
                                      <p:to>
                                        <p:strVal val="visible"/>
                                      </p:to>
                                    </p:set>
                                    <p:animEffect transition="in" filter="fade">
                                      <p:cBhvr>
                                        <p:cTn id="47" dur="500"/>
                                        <p:tgtEl>
                                          <p:spTgt spid="206"/>
                                        </p:tgtEl>
                                      </p:cBhvr>
                                    </p:animEffect>
                                  </p:childTnLst>
                                </p:cTn>
                              </p:par>
                              <p:par>
                                <p:cTn id="48" presetID="35" presetClass="path" presetSubtype="0" accel="17000" decel="83000" fill="hold" nodeType="withEffect">
                                  <p:stCondLst>
                                    <p:cond delay="1250"/>
                                  </p:stCondLst>
                                  <p:childTnLst>
                                    <p:animMotion origin="layout" path="M -0.03211 4.16118E-6 L 5.85641E-7 4.16118E-6 " pathEditMode="relative" rAng="0" ptsTypes="AA">
                                      <p:cBhvr>
                                        <p:cTn id="49" dur="750" fill="hold"/>
                                        <p:tgtEl>
                                          <p:spTgt spid="206"/>
                                        </p:tgtEl>
                                        <p:attrNameLst>
                                          <p:attrName>ppt_x</p:attrName>
                                          <p:attrName>ppt_y</p:attrName>
                                        </p:attrNameLst>
                                      </p:cBhvr>
                                      <p:rCtr x="1605" y="0"/>
                                    </p:animMotion>
                                  </p:childTnLst>
                                </p:cTn>
                              </p:par>
                              <p:par>
                                <p:cTn id="50" presetID="10" presetClass="entr" presetSubtype="0" fill="hold" grpId="0" nodeType="withEffect">
                                  <p:stCondLst>
                                    <p:cond delay="1250"/>
                                  </p:stCondLst>
                                  <p:childTnLst>
                                    <p:set>
                                      <p:cBhvr>
                                        <p:cTn id="51" dur="1" fill="hold">
                                          <p:stCondLst>
                                            <p:cond delay="0"/>
                                          </p:stCondLst>
                                        </p:cTn>
                                        <p:tgtEl>
                                          <p:spTgt spid="212"/>
                                        </p:tgtEl>
                                        <p:attrNameLst>
                                          <p:attrName>style.visibility</p:attrName>
                                        </p:attrNameLst>
                                      </p:cBhvr>
                                      <p:to>
                                        <p:strVal val="visible"/>
                                      </p:to>
                                    </p:set>
                                    <p:animEffect transition="in" filter="fade">
                                      <p:cBhvr>
                                        <p:cTn id="52" dur="500"/>
                                        <p:tgtEl>
                                          <p:spTgt spid="212"/>
                                        </p:tgtEl>
                                      </p:cBhvr>
                                    </p:animEffect>
                                  </p:childTnLst>
                                </p:cTn>
                              </p:par>
                              <p:par>
                                <p:cTn id="53" presetID="35" presetClass="path" presetSubtype="0" accel="17000" decel="83000" fill="hold" grpId="1" nodeType="withEffect">
                                  <p:stCondLst>
                                    <p:cond delay="1250"/>
                                  </p:stCondLst>
                                  <p:childTnLst>
                                    <p:animMotion origin="layout" path="M 0.02046 2.78457E-6 L 2.96349E-7 2.78457E-6 " pathEditMode="relative" rAng="0" ptsTypes="AA">
                                      <p:cBhvr>
                                        <p:cTn id="54" dur="750" fill="hold"/>
                                        <p:tgtEl>
                                          <p:spTgt spid="212"/>
                                        </p:tgtEl>
                                        <p:attrNameLst>
                                          <p:attrName>ppt_x</p:attrName>
                                          <p:attrName>ppt_y</p:attrName>
                                        </p:attrNameLst>
                                      </p:cBhvr>
                                      <p:rCtr x="-1023" y="0"/>
                                    </p:animMotion>
                                  </p:childTnLst>
                                </p:cTn>
                              </p:par>
                              <p:par>
                                <p:cTn id="55" presetID="10" presetClass="entr" presetSubtype="0" fill="hold" grpId="0" nodeType="withEffect">
                                  <p:stCondLst>
                                    <p:cond delay="1500"/>
                                  </p:stCondLst>
                                  <p:childTnLst>
                                    <p:set>
                                      <p:cBhvr>
                                        <p:cTn id="56" dur="1" fill="hold">
                                          <p:stCondLst>
                                            <p:cond delay="0"/>
                                          </p:stCondLst>
                                        </p:cTn>
                                        <p:tgtEl>
                                          <p:spTgt spid="213"/>
                                        </p:tgtEl>
                                        <p:attrNameLst>
                                          <p:attrName>style.visibility</p:attrName>
                                        </p:attrNameLst>
                                      </p:cBhvr>
                                      <p:to>
                                        <p:strVal val="visible"/>
                                      </p:to>
                                    </p:set>
                                    <p:animEffect transition="in" filter="fade">
                                      <p:cBhvr>
                                        <p:cTn id="57" dur="500"/>
                                        <p:tgtEl>
                                          <p:spTgt spid="213"/>
                                        </p:tgtEl>
                                      </p:cBhvr>
                                    </p:animEffect>
                                  </p:childTnLst>
                                </p:cTn>
                              </p:par>
                              <p:par>
                                <p:cTn id="58" presetID="35" presetClass="path" presetSubtype="0" accel="17000" decel="83000" fill="hold" grpId="1" nodeType="withEffect">
                                  <p:stCondLst>
                                    <p:cond delay="1500"/>
                                  </p:stCondLst>
                                  <p:childTnLst>
                                    <p:animMotion origin="layout" path="M 0.02046 1.1477E-6 L 9.80773E-7 1.1477E-6 " pathEditMode="relative" rAng="0" ptsTypes="AA">
                                      <p:cBhvr>
                                        <p:cTn id="59" dur="750" fill="hold"/>
                                        <p:tgtEl>
                                          <p:spTgt spid="213"/>
                                        </p:tgtEl>
                                        <p:attrNameLst>
                                          <p:attrName>ppt_x</p:attrName>
                                          <p:attrName>ppt_y</p:attrName>
                                        </p:attrNameLst>
                                      </p:cBhvr>
                                      <p:rCtr x="-1023" y="0"/>
                                    </p:animMotion>
                                  </p:childTnLst>
                                </p:cTn>
                              </p:par>
                              <p:par>
                                <p:cTn id="60" presetID="22" presetClass="entr" presetSubtype="1" fill="hold" grpId="0" nodeType="withEffect">
                                  <p:stCondLst>
                                    <p:cond delay="2000"/>
                                  </p:stCondLst>
                                  <p:childTnLst>
                                    <p:set>
                                      <p:cBhvr>
                                        <p:cTn id="61" dur="1" fill="hold">
                                          <p:stCondLst>
                                            <p:cond delay="0"/>
                                          </p:stCondLst>
                                        </p:cTn>
                                        <p:tgtEl>
                                          <p:spTgt spid="214"/>
                                        </p:tgtEl>
                                        <p:attrNameLst>
                                          <p:attrName>style.visibility</p:attrName>
                                        </p:attrNameLst>
                                      </p:cBhvr>
                                      <p:to>
                                        <p:strVal val="visible"/>
                                      </p:to>
                                    </p:set>
                                    <p:animEffect transition="in" filter="wipe(up)">
                                      <p:cBhvr>
                                        <p:cTn id="62" dur="750"/>
                                        <p:tgtEl>
                                          <p:spTgt spid="214"/>
                                        </p:tgtEl>
                                      </p:cBhvr>
                                    </p:animEffect>
                                  </p:childTnLst>
                                </p:cTn>
                              </p:par>
                              <p:par>
                                <p:cTn id="63" presetID="10" presetClass="entr" presetSubtype="0" fill="hold" grpId="0" nodeType="withEffect">
                                  <p:stCondLst>
                                    <p:cond delay="2250"/>
                                  </p:stCondLst>
                                  <p:childTnLst>
                                    <p:set>
                                      <p:cBhvr>
                                        <p:cTn id="64" dur="1" fill="hold">
                                          <p:stCondLst>
                                            <p:cond delay="0"/>
                                          </p:stCondLst>
                                        </p:cTn>
                                        <p:tgtEl>
                                          <p:spTgt spid="224"/>
                                        </p:tgtEl>
                                        <p:attrNameLst>
                                          <p:attrName>style.visibility</p:attrName>
                                        </p:attrNameLst>
                                      </p:cBhvr>
                                      <p:to>
                                        <p:strVal val="visible"/>
                                      </p:to>
                                    </p:set>
                                    <p:animEffect transition="in" filter="fade">
                                      <p:cBhvr>
                                        <p:cTn id="65" dur="500"/>
                                        <p:tgtEl>
                                          <p:spTgt spid="224"/>
                                        </p:tgtEl>
                                      </p:cBhvr>
                                    </p:animEffect>
                                  </p:childTnLst>
                                </p:cTn>
                              </p:par>
                              <p:par>
                                <p:cTn id="66" presetID="10" presetClass="entr" presetSubtype="0" fill="hold" grpId="0" nodeType="withEffect">
                                  <p:stCondLst>
                                    <p:cond delay="2250"/>
                                  </p:stCondLst>
                                  <p:childTnLst>
                                    <p:set>
                                      <p:cBhvr>
                                        <p:cTn id="67" dur="1" fill="hold">
                                          <p:stCondLst>
                                            <p:cond delay="0"/>
                                          </p:stCondLst>
                                        </p:cTn>
                                        <p:tgtEl>
                                          <p:spTgt spid="227"/>
                                        </p:tgtEl>
                                        <p:attrNameLst>
                                          <p:attrName>style.visibility</p:attrName>
                                        </p:attrNameLst>
                                      </p:cBhvr>
                                      <p:to>
                                        <p:strVal val="visible"/>
                                      </p:to>
                                    </p:set>
                                    <p:animEffect transition="in" filter="fade">
                                      <p:cBhvr>
                                        <p:cTn id="68" dur="500"/>
                                        <p:tgtEl>
                                          <p:spTgt spid="227"/>
                                        </p:tgtEl>
                                      </p:cBhvr>
                                    </p:animEffect>
                                  </p:childTnLst>
                                </p:cTn>
                              </p:par>
                              <p:par>
                                <p:cTn id="69" presetID="10" presetClass="entr" presetSubtype="0" fill="hold" nodeType="withEffect">
                                  <p:stCondLst>
                                    <p:cond delay="2250"/>
                                  </p:stCondLst>
                                  <p:childTnLst>
                                    <p:set>
                                      <p:cBhvr>
                                        <p:cTn id="70" dur="1" fill="hold">
                                          <p:stCondLst>
                                            <p:cond delay="0"/>
                                          </p:stCondLst>
                                        </p:cTn>
                                        <p:tgtEl>
                                          <p:spTgt spid="232"/>
                                        </p:tgtEl>
                                        <p:attrNameLst>
                                          <p:attrName>style.visibility</p:attrName>
                                        </p:attrNameLst>
                                      </p:cBhvr>
                                      <p:to>
                                        <p:strVal val="visible"/>
                                      </p:to>
                                    </p:set>
                                    <p:animEffect transition="in" filter="fade">
                                      <p:cBhvr>
                                        <p:cTn id="71" dur="500"/>
                                        <p:tgtEl>
                                          <p:spTgt spid="232"/>
                                        </p:tgtEl>
                                      </p:cBhvr>
                                    </p:animEffect>
                                  </p:childTnLst>
                                </p:cTn>
                              </p:par>
                              <p:par>
                                <p:cTn id="72" presetID="10" presetClass="entr" presetSubtype="0" fill="hold" grpId="0" nodeType="withEffect">
                                  <p:stCondLst>
                                    <p:cond delay="2250"/>
                                  </p:stCondLst>
                                  <p:childTnLst>
                                    <p:set>
                                      <p:cBhvr>
                                        <p:cTn id="73" dur="1" fill="hold">
                                          <p:stCondLst>
                                            <p:cond delay="0"/>
                                          </p:stCondLst>
                                        </p:cTn>
                                        <p:tgtEl>
                                          <p:spTgt spid="225"/>
                                        </p:tgtEl>
                                        <p:attrNameLst>
                                          <p:attrName>style.visibility</p:attrName>
                                        </p:attrNameLst>
                                      </p:cBhvr>
                                      <p:to>
                                        <p:strVal val="visible"/>
                                      </p:to>
                                    </p:set>
                                    <p:animEffect transition="in" filter="fade">
                                      <p:cBhvr>
                                        <p:cTn id="74" dur="500"/>
                                        <p:tgtEl>
                                          <p:spTgt spid="225"/>
                                        </p:tgtEl>
                                      </p:cBhvr>
                                    </p:animEffect>
                                  </p:childTnLst>
                                </p:cTn>
                              </p:par>
                              <p:par>
                                <p:cTn id="75" presetID="10" presetClass="entr" presetSubtype="0" fill="hold" nodeType="withEffect">
                                  <p:stCondLst>
                                    <p:cond delay="2500"/>
                                  </p:stCondLst>
                                  <p:childTnLst>
                                    <p:set>
                                      <p:cBhvr>
                                        <p:cTn id="76" dur="1" fill="hold">
                                          <p:stCondLst>
                                            <p:cond delay="0"/>
                                          </p:stCondLst>
                                        </p:cTn>
                                        <p:tgtEl>
                                          <p:spTgt spid="243"/>
                                        </p:tgtEl>
                                        <p:attrNameLst>
                                          <p:attrName>style.visibility</p:attrName>
                                        </p:attrNameLst>
                                      </p:cBhvr>
                                      <p:to>
                                        <p:strVal val="visible"/>
                                      </p:to>
                                    </p:set>
                                    <p:animEffect transition="in" filter="fade">
                                      <p:cBhvr>
                                        <p:cTn id="77" dur="500"/>
                                        <p:tgtEl>
                                          <p:spTgt spid="243"/>
                                        </p:tgtEl>
                                      </p:cBhvr>
                                    </p:animEffect>
                                  </p:childTnLst>
                                </p:cTn>
                              </p:par>
                              <p:par>
                                <p:cTn id="78" presetID="23" presetClass="entr" presetSubtype="288" fill="hold" nodeType="withEffect">
                                  <p:stCondLst>
                                    <p:cond delay="2500"/>
                                  </p:stCondLst>
                                  <p:childTnLst>
                                    <p:set>
                                      <p:cBhvr>
                                        <p:cTn id="79" dur="1" fill="hold">
                                          <p:stCondLst>
                                            <p:cond delay="0"/>
                                          </p:stCondLst>
                                        </p:cTn>
                                        <p:tgtEl>
                                          <p:spTgt spid="243"/>
                                        </p:tgtEl>
                                        <p:attrNameLst>
                                          <p:attrName>style.visibility</p:attrName>
                                        </p:attrNameLst>
                                      </p:cBhvr>
                                      <p:to>
                                        <p:strVal val="visible"/>
                                      </p:to>
                                    </p:set>
                                    <p:anim calcmode="lin" valueType="num">
                                      <p:cBhvr>
                                        <p:cTn id="80" dur="500" fill="hold"/>
                                        <p:tgtEl>
                                          <p:spTgt spid="243"/>
                                        </p:tgtEl>
                                        <p:attrNameLst>
                                          <p:attrName>ppt_w</p:attrName>
                                        </p:attrNameLst>
                                      </p:cBhvr>
                                      <p:tavLst>
                                        <p:tav tm="0">
                                          <p:val>
                                            <p:strVal val="4/3*#ppt_w"/>
                                          </p:val>
                                        </p:tav>
                                        <p:tav tm="100000">
                                          <p:val>
                                            <p:strVal val="#ppt_w"/>
                                          </p:val>
                                        </p:tav>
                                      </p:tavLst>
                                    </p:anim>
                                    <p:anim calcmode="lin" valueType="num">
                                      <p:cBhvr>
                                        <p:cTn id="81" dur="500" fill="hold"/>
                                        <p:tgtEl>
                                          <p:spTgt spid="243"/>
                                        </p:tgtEl>
                                        <p:attrNameLst>
                                          <p:attrName>ppt_h</p:attrName>
                                        </p:attrNameLst>
                                      </p:cBhvr>
                                      <p:tavLst>
                                        <p:tav tm="0">
                                          <p:val>
                                            <p:strVal val="4/3*#ppt_h"/>
                                          </p:val>
                                        </p:tav>
                                        <p:tav tm="100000">
                                          <p:val>
                                            <p:strVal val="#ppt_h"/>
                                          </p:val>
                                        </p:tav>
                                      </p:tavLst>
                                    </p:anim>
                                  </p:childTnLst>
                                </p:cTn>
                              </p:par>
                              <p:par>
                                <p:cTn id="82" presetID="10" presetClass="entr" presetSubtype="0" fill="hold" nodeType="withEffect">
                                  <p:stCondLst>
                                    <p:cond delay="2750"/>
                                  </p:stCondLst>
                                  <p:childTnLst>
                                    <p:set>
                                      <p:cBhvr>
                                        <p:cTn id="83" dur="1" fill="hold">
                                          <p:stCondLst>
                                            <p:cond delay="0"/>
                                          </p:stCondLst>
                                        </p:cTn>
                                        <p:tgtEl>
                                          <p:spTgt spid="244"/>
                                        </p:tgtEl>
                                        <p:attrNameLst>
                                          <p:attrName>style.visibility</p:attrName>
                                        </p:attrNameLst>
                                      </p:cBhvr>
                                      <p:to>
                                        <p:strVal val="visible"/>
                                      </p:to>
                                    </p:set>
                                    <p:animEffect transition="in" filter="fade">
                                      <p:cBhvr>
                                        <p:cTn id="84" dur="500"/>
                                        <p:tgtEl>
                                          <p:spTgt spid="244"/>
                                        </p:tgtEl>
                                      </p:cBhvr>
                                    </p:animEffect>
                                  </p:childTnLst>
                                </p:cTn>
                              </p:par>
                              <p:par>
                                <p:cTn id="85" presetID="23" presetClass="entr" presetSubtype="288" fill="hold" nodeType="withEffect">
                                  <p:stCondLst>
                                    <p:cond delay="2750"/>
                                  </p:stCondLst>
                                  <p:childTnLst>
                                    <p:set>
                                      <p:cBhvr>
                                        <p:cTn id="86" dur="1" fill="hold">
                                          <p:stCondLst>
                                            <p:cond delay="0"/>
                                          </p:stCondLst>
                                        </p:cTn>
                                        <p:tgtEl>
                                          <p:spTgt spid="244"/>
                                        </p:tgtEl>
                                        <p:attrNameLst>
                                          <p:attrName>style.visibility</p:attrName>
                                        </p:attrNameLst>
                                      </p:cBhvr>
                                      <p:to>
                                        <p:strVal val="visible"/>
                                      </p:to>
                                    </p:set>
                                    <p:anim calcmode="lin" valueType="num">
                                      <p:cBhvr>
                                        <p:cTn id="87" dur="500" fill="hold"/>
                                        <p:tgtEl>
                                          <p:spTgt spid="244"/>
                                        </p:tgtEl>
                                        <p:attrNameLst>
                                          <p:attrName>ppt_w</p:attrName>
                                        </p:attrNameLst>
                                      </p:cBhvr>
                                      <p:tavLst>
                                        <p:tav tm="0">
                                          <p:val>
                                            <p:strVal val="4/3*#ppt_w"/>
                                          </p:val>
                                        </p:tav>
                                        <p:tav tm="100000">
                                          <p:val>
                                            <p:strVal val="#ppt_w"/>
                                          </p:val>
                                        </p:tav>
                                      </p:tavLst>
                                    </p:anim>
                                    <p:anim calcmode="lin" valueType="num">
                                      <p:cBhvr>
                                        <p:cTn id="88" dur="500" fill="hold"/>
                                        <p:tgtEl>
                                          <p:spTgt spid="244"/>
                                        </p:tgtEl>
                                        <p:attrNameLst>
                                          <p:attrName>ppt_h</p:attrName>
                                        </p:attrNameLst>
                                      </p:cBhvr>
                                      <p:tavLst>
                                        <p:tav tm="0">
                                          <p:val>
                                            <p:strVal val="4/3*#ppt_h"/>
                                          </p:val>
                                        </p:tav>
                                        <p:tav tm="100000">
                                          <p:val>
                                            <p:strVal val="#ppt_h"/>
                                          </p:val>
                                        </p:tav>
                                      </p:tavLst>
                                    </p:anim>
                                  </p:childTnLst>
                                </p:cTn>
                              </p:par>
                              <p:par>
                                <p:cTn id="89" presetID="10" presetClass="entr" presetSubtype="0" fill="hold" grpId="0" nodeType="withEffect">
                                  <p:stCondLst>
                                    <p:cond delay="3000"/>
                                  </p:stCondLst>
                                  <p:childTnLst>
                                    <p:set>
                                      <p:cBhvr>
                                        <p:cTn id="90" dur="1" fill="hold">
                                          <p:stCondLst>
                                            <p:cond delay="0"/>
                                          </p:stCondLst>
                                        </p:cTn>
                                        <p:tgtEl>
                                          <p:spTgt spid="233"/>
                                        </p:tgtEl>
                                        <p:attrNameLst>
                                          <p:attrName>style.visibility</p:attrName>
                                        </p:attrNameLst>
                                      </p:cBhvr>
                                      <p:to>
                                        <p:strVal val="visible"/>
                                      </p:to>
                                    </p:set>
                                    <p:animEffect transition="in" filter="fade">
                                      <p:cBhvr>
                                        <p:cTn id="91" dur="500"/>
                                        <p:tgtEl>
                                          <p:spTgt spid="2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P spid="82" grpId="1"/>
      <p:bldP spid="195" grpId="0" animBg="1"/>
      <p:bldP spid="196" grpId="0" animBg="1"/>
      <p:bldP spid="198" grpId="0" animBg="1"/>
      <p:bldP spid="95" grpId="0" animBg="1"/>
      <p:bldP spid="114" grpId="0"/>
      <p:bldP spid="199" grpId="0"/>
      <p:bldP spid="201" grpId="0"/>
      <p:bldP spid="202" grpId="0"/>
      <p:bldP spid="203" grpId="0"/>
      <p:bldP spid="212" grpId="0"/>
      <p:bldP spid="212" grpId="1"/>
      <p:bldP spid="213" grpId="0"/>
      <p:bldP spid="213" grpId="1"/>
      <p:bldP spid="214" grpId="0" animBg="1"/>
      <p:bldGraphic spid="224" grpId="0">
        <p:bldAsOne/>
      </p:bldGraphic>
      <p:bldP spid="225" grpId="0"/>
      <p:bldP spid="227" grpId="0" animBg="1"/>
      <p:bldP spid="23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73" imgH="476" progId="TCLayout.ActiveDocument.1">
                  <p:embed/>
                </p:oleObj>
              </mc:Choice>
              <mc:Fallback>
                <p:oleObj name="Slide do think-cell" r:id="rId4"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Imagem 15" descr="Tela de computador com fundo azul&#10;&#10;Descrição gerada automaticamente com confiança média">
            <a:extLst>
              <a:ext uri="{FF2B5EF4-FFF2-40B4-BE49-F238E27FC236}">
                <a16:creationId xmlns:a16="http://schemas.microsoft.com/office/drawing/2014/main" id="{9A758723-1547-8345-BC85-1DC87008EC80}"/>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pSp>
        <p:nvGrpSpPr>
          <p:cNvPr id="22" name="Agrupar 21">
            <a:extLst>
              <a:ext uri="{FF2B5EF4-FFF2-40B4-BE49-F238E27FC236}">
                <a16:creationId xmlns:a16="http://schemas.microsoft.com/office/drawing/2014/main" id="{15BCA7B6-2CB0-B39D-813D-FCF1B96045A8}"/>
              </a:ext>
            </a:extLst>
          </p:cNvPr>
          <p:cNvGrpSpPr/>
          <p:nvPr/>
        </p:nvGrpSpPr>
        <p:grpSpPr>
          <a:xfrm>
            <a:off x="218383" y="178646"/>
            <a:ext cx="304729" cy="336545"/>
            <a:chOff x="218383" y="178646"/>
            <a:chExt cx="304729" cy="336545"/>
          </a:xfrm>
        </p:grpSpPr>
        <p:sp>
          <p:nvSpPr>
            <p:cNvPr id="23" name="Forma Livre: Forma 22">
              <a:extLst>
                <a:ext uri="{FF2B5EF4-FFF2-40B4-BE49-F238E27FC236}">
                  <a16:creationId xmlns:a16="http://schemas.microsoft.com/office/drawing/2014/main" id="{9E5E1D04-B115-D2B3-4E18-F0B12994EFC3}"/>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24" name="CaixaDeTexto 23">
              <a:extLst>
                <a:ext uri="{FF2B5EF4-FFF2-40B4-BE49-F238E27FC236}">
                  <a16:creationId xmlns:a16="http://schemas.microsoft.com/office/drawing/2014/main" id="{E77C088D-1935-40B6-7AEE-E5C065751B10}"/>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sp>
        <p:nvSpPr>
          <p:cNvPr id="25" name="CaixaDeTexto 24">
            <a:extLst>
              <a:ext uri="{FF2B5EF4-FFF2-40B4-BE49-F238E27FC236}">
                <a16:creationId xmlns:a16="http://schemas.microsoft.com/office/drawing/2014/main" id="{9871AEA0-77F7-B37C-A841-21898D98A7BE}"/>
              </a:ext>
            </a:extLst>
          </p:cNvPr>
          <p:cNvSpPr txBox="1"/>
          <p:nvPr/>
        </p:nvSpPr>
        <p:spPr>
          <a:xfrm>
            <a:off x="221527" y="1464378"/>
            <a:ext cx="3808201" cy="301621"/>
          </a:xfrm>
          <a:prstGeom prst="rect">
            <a:avLst/>
          </a:prstGeom>
          <a:noFill/>
        </p:spPr>
        <p:txBody>
          <a:bodyPr wrap="square" rtlCol="0">
            <a:spAutoFit/>
          </a:bodyPr>
          <a:lstStyle/>
          <a:p>
            <a:pPr lvl="0" defTabSz="675010">
              <a:lnSpc>
                <a:spcPct val="85000"/>
              </a:lnSpc>
              <a:spcBef>
                <a:spcPts val="148"/>
              </a:spcBef>
              <a:spcAft>
                <a:spcPts val="148"/>
              </a:spcAft>
              <a:defRPr/>
            </a:pPr>
            <a:r>
              <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Operation and Mantainance (O&amp;M)</a:t>
            </a:r>
          </a:p>
        </p:txBody>
      </p:sp>
      <p:sp>
        <p:nvSpPr>
          <p:cNvPr id="26" name="CaixaDeTexto 25">
            <a:extLst>
              <a:ext uri="{FF2B5EF4-FFF2-40B4-BE49-F238E27FC236}">
                <a16:creationId xmlns:a16="http://schemas.microsoft.com/office/drawing/2014/main" id="{470F16CB-0845-D588-B191-DC774316AD88}"/>
              </a:ext>
            </a:extLst>
          </p:cNvPr>
          <p:cNvSpPr txBox="1"/>
          <p:nvPr/>
        </p:nvSpPr>
        <p:spPr>
          <a:xfrm>
            <a:off x="221527" y="691859"/>
            <a:ext cx="4278242" cy="82484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a:solidFill>
                  <a:srgbClr val="002581"/>
                </a:solidFill>
                <a:effectLst/>
                <a:uFillTx/>
                <a:latin typeface="Segoe UI Black"/>
              </a:rPr>
              <a:t>PERIODIC TARIFF REVIEW (RTP)</a:t>
            </a:r>
            <a:endParaRPr lang="en-US" sz="2800" b="1" i="0" u="none" strike="noStrike" cap="none" baseline="0" dirty="0">
              <a:solidFill>
                <a:srgbClr val="002581"/>
              </a:solidFill>
              <a:effectLst/>
              <a:uFillTx/>
              <a:latin typeface="Segoe UI Black"/>
            </a:endParaRPr>
          </a:p>
        </p:txBody>
      </p:sp>
      <p:sp>
        <p:nvSpPr>
          <p:cNvPr id="27" name="Isosceles Triangle 1">
            <a:extLst>
              <a:ext uri="{FF2B5EF4-FFF2-40B4-BE49-F238E27FC236}">
                <a16:creationId xmlns:a16="http://schemas.microsoft.com/office/drawing/2014/main" id="{705854A1-093B-B271-1AFD-46DC6BEE0872}"/>
              </a:ext>
            </a:extLst>
          </p:cNvPr>
          <p:cNvSpPr/>
          <p:nvPr/>
        </p:nvSpPr>
        <p:spPr>
          <a:xfrm>
            <a:off x="5936183"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1" name="Isosceles Triangle 4">
            <a:extLst>
              <a:ext uri="{FF2B5EF4-FFF2-40B4-BE49-F238E27FC236}">
                <a16:creationId xmlns:a16="http://schemas.microsoft.com/office/drawing/2014/main" id="{DEC25221-53B2-55AA-82B3-4AEEE168243C}"/>
              </a:ext>
            </a:extLst>
          </p:cNvPr>
          <p:cNvSpPr/>
          <p:nvPr/>
        </p:nvSpPr>
        <p:spPr>
          <a:xfrm>
            <a:off x="6396125"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2" name="Isosceles Triangle 4">
            <a:extLst>
              <a:ext uri="{FF2B5EF4-FFF2-40B4-BE49-F238E27FC236}">
                <a16:creationId xmlns:a16="http://schemas.microsoft.com/office/drawing/2014/main" id="{44642043-D514-F1CF-4868-89456A39486E}"/>
              </a:ext>
            </a:extLst>
          </p:cNvPr>
          <p:cNvSpPr/>
          <p:nvPr/>
        </p:nvSpPr>
        <p:spPr>
          <a:xfrm flipH="1">
            <a:off x="7093445"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4" name="Isosceles Triangle 1">
            <a:extLst>
              <a:ext uri="{FF2B5EF4-FFF2-40B4-BE49-F238E27FC236}">
                <a16:creationId xmlns:a16="http://schemas.microsoft.com/office/drawing/2014/main" id="{431202ED-A4ED-2C03-F23C-5C555D6C9C54}"/>
              </a:ext>
            </a:extLst>
          </p:cNvPr>
          <p:cNvSpPr/>
          <p:nvPr/>
        </p:nvSpPr>
        <p:spPr>
          <a:xfrm flipH="1">
            <a:off x="7070491"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rgbClr val="002581"/>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5" name="Rectangle 16">
            <a:extLst>
              <a:ext uri="{FF2B5EF4-FFF2-40B4-BE49-F238E27FC236}">
                <a16:creationId xmlns:a16="http://schemas.microsoft.com/office/drawing/2014/main" id="{2562545F-11CB-B4A2-2ED0-B069CCCC3DDD}"/>
              </a:ext>
            </a:extLst>
          </p:cNvPr>
          <p:cNvSpPr/>
          <p:nvPr/>
        </p:nvSpPr>
        <p:spPr>
          <a:xfrm>
            <a:off x="6856393" y="1979858"/>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6" name="CaixaDeTexto 35">
            <a:extLst>
              <a:ext uri="{FF2B5EF4-FFF2-40B4-BE49-F238E27FC236}">
                <a16:creationId xmlns:a16="http://schemas.microsoft.com/office/drawing/2014/main" id="{72BB7D96-8E18-CE99-8E7E-3F414DF80322}"/>
              </a:ext>
            </a:extLst>
          </p:cNvPr>
          <p:cNvSpPr txBox="1"/>
          <p:nvPr/>
        </p:nvSpPr>
        <p:spPr>
          <a:xfrm>
            <a:off x="6844670" y="2659730"/>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thers</a:t>
            </a:r>
          </a:p>
        </p:txBody>
      </p:sp>
      <p:sp>
        <p:nvSpPr>
          <p:cNvPr id="37" name="CaixaDeTexto 36">
            <a:extLst>
              <a:ext uri="{FF2B5EF4-FFF2-40B4-BE49-F238E27FC236}">
                <a16:creationId xmlns:a16="http://schemas.microsoft.com/office/drawing/2014/main" id="{4060786B-B482-2DE1-9B0D-C3E6138C0BC0}"/>
              </a:ext>
            </a:extLst>
          </p:cNvPr>
          <p:cNvSpPr txBox="1"/>
          <p:nvPr/>
        </p:nvSpPr>
        <p:spPr>
          <a:xfrm>
            <a:off x="6414389" y="3520566"/>
            <a:ext cx="933576"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AP</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Improvements</a:t>
            </a:r>
          </a:p>
        </p:txBody>
      </p:sp>
      <p:sp>
        <p:nvSpPr>
          <p:cNvPr id="38" name="CaixaDeTexto 37">
            <a:extLst>
              <a:ext uri="{FF2B5EF4-FFF2-40B4-BE49-F238E27FC236}">
                <a16:creationId xmlns:a16="http://schemas.microsoft.com/office/drawing/2014/main" id="{7A113ADC-0978-47AD-07A0-B929E7EB0D37}"/>
              </a:ext>
            </a:extLst>
          </p:cNvPr>
          <p:cNvSpPr txBox="1"/>
          <p:nvPr/>
        </p:nvSpPr>
        <p:spPr>
          <a:xfrm>
            <a:off x="7208810" y="3422472"/>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WACC</a:t>
            </a:r>
          </a:p>
        </p:txBody>
      </p:sp>
      <p:sp>
        <p:nvSpPr>
          <p:cNvPr id="39" name="CaixaDeTexto 38">
            <a:extLst>
              <a:ext uri="{FF2B5EF4-FFF2-40B4-BE49-F238E27FC236}">
                <a16:creationId xmlns:a16="http://schemas.microsoft.com/office/drawing/2014/main" id="{FFFCFCCC-7E91-85D5-5D24-85A1D6E107C7}"/>
              </a:ext>
            </a:extLst>
          </p:cNvPr>
          <p:cNvSpPr txBox="1"/>
          <p:nvPr/>
        </p:nvSpPr>
        <p:spPr>
          <a:xfrm>
            <a:off x="6206075" y="4398898"/>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BRR</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BP</a:t>
            </a:r>
          </a:p>
        </p:txBody>
      </p:sp>
      <p:sp>
        <p:nvSpPr>
          <p:cNvPr id="40" name="CaixaDeTexto 39">
            <a:extLst>
              <a:ext uri="{FF2B5EF4-FFF2-40B4-BE49-F238E27FC236}">
                <a16:creationId xmlns:a16="http://schemas.microsoft.com/office/drawing/2014/main" id="{D4D8D690-50D7-4357-CE78-69F056D4B398}"/>
              </a:ext>
            </a:extLst>
          </p:cNvPr>
          <p:cNvSpPr txBox="1"/>
          <p:nvPr/>
        </p:nvSpPr>
        <p:spPr>
          <a:xfrm>
            <a:off x="7418475" y="4472764"/>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amp;M</a:t>
            </a:r>
          </a:p>
        </p:txBody>
      </p:sp>
      <p:grpSp>
        <p:nvGrpSpPr>
          <p:cNvPr id="41" name="Agrupar 40">
            <a:extLst>
              <a:ext uri="{FF2B5EF4-FFF2-40B4-BE49-F238E27FC236}">
                <a16:creationId xmlns:a16="http://schemas.microsoft.com/office/drawing/2014/main" id="{B52A4313-8CBB-B249-DFB2-1AE3501F82F3}"/>
              </a:ext>
            </a:extLst>
          </p:cNvPr>
          <p:cNvGrpSpPr/>
          <p:nvPr/>
        </p:nvGrpSpPr>
        <p:grpSpPr>
          <a:xfrm>
            <a:off x="4029728" y="757463"/>
            <a:ext cx="297884" cy="291179"/>
            <a:chOff x="8313122" y="2344436"/>
            <a:chExt cx="373665" cy="373665"/>
          </a:xfrm>
        </p:grpSpPr>
        <p:sp>
          <p:nvSpPr>
            <p:cNvPr id="42" name="Elipse 41">
              <a:extLst>
                <a:ext uri="{FF2B5EF4-FFF2-40B4-BE49-F238E27FC236}">
                  <a16:creationId xmlns:a16="http://schemas.microsoft.com/office/drawing/2014/main" id="{8BDEEB2F-8691-7B2E-A6FC-35F71A2EB0EB}"/>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Seta: Divisa 42">
              <a:extLst>
                <a:ext uri="{FF2B5EF4-FFF2-40B4-BE49-F238E27FC236}">
                  <a16:creationId xmlns:a16="http://schemas.microsoft.com/office/drawing/2014/main" id="{D0998EB2-BC79-797E-971E-1D881B2437F6}"/>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0" name="CaixaDeTexto 49">
            <a:extLst>
              <a:ext uri="{FF2B5EF4-FFF2-40B4-BE49-F238E27FC236}">
                <a16:creationId xmlns:a16="http://schemas.microsoft.com/office/drawing/2014/main" id="{1A6A861E-A96B-0FFD-9919-534F10676F30}"/>
              </a:ext>
            </a:extLst>
          </p:cNvPr>
          <p:cNvSpPr txBox="1"/>
          <p:nvPr/>
        </p:nvSpPr>
        <p:spPr>
          <a:xfrm>
            <a:off x="4338207" y="791835"/>
            <a:ext cx="3575861"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400" b="1" spc="0">
                <a:solidFill>
                  <a:srgbClr val="011F57"/>
                </a:solidFill>
                <a:latin typeface="Segoe UI" panose="020B0502040204020203" pitchFamily="34" charset="0"/>
                <a:cs typeface="Segoe UI" panose="020B0502040204020203" pitchFamily="34" charset="0"/>
              </a:rPr>
              <a:t>O&amp;M Costs Benchmarking</a:t>
            </a:r>
          </a:p>
        </p:txBody>
      </p:sp>
      <p:pic>
        <p:nvPicPr>
          <p:cNvPr id="92" name="Imagem 91" descr="Uma imagem contendo Interface gráfica do usuário&#10;&#10;Descrição gerada automaticamente">
            <a:extLst>
              <a:ext uri="{FF2B5EF4-FFF2-40B4-BE49-F238E27FC236}">
                <a16:creationId xmlns:a16="http://schemas.microsoft.com/office/drawing/2014/main" id="{410D02AD-8AEC-5179-356E-40CA5DEE5BD7}"/>
              </a:ext>
            </a:extLst>
          </p:cNvPr>
          <p:cNvPicPr>
            <a:picLocks noChangeAspect="1"/>
          </p:cNvPicPr>
          <p:nvPr/>
        </p:nvPicPr>
        <p:blipFill>
          <a:blip r:embed="rId7"/>
          <a:stretch>
            <a:fillRect/>
          </a:stretch>
        </p:blipFill>
        <p:spPr>
          <a:xfrm>
            <a:off x="8039840" y="60434"/>
            <a:ext cx="920231" cy="509571"/>
          </a:xfrm>
          <a:prstGeom prst="rect">
            <a:avLst/>
          </a:prstGeom>
        </p:spPr>
      </p:pic>
      <p:sp>
        <p:nvSpPr>
          <p:cNvPr id="93" name="CaixaDeTexto 92">
            <a:extLst>
              <a:ext uri="{FF2B5EF4-FFF2-40B4-BE49-F238E27FC236}">
                <a16:creationId xmlns:a16="http://schemas.microsoft.com/office/drawing/2014/main" id="{EE139940-9DED-F9AE-60E6-9148ADA99EDA}"/>
              </a:ext>
            </a:extLst>
          </p:cNvPr>
          <p:cNvSpPr txBox="1"/>
          <p:nvPr/>
        </p:nvSpPr>
        <p:spPr>
          <a:xfrm>
            <a:off x="3936883" y="1158466"/>
            <a:ext cx="4819612"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spc="0">
                <a:solidFill>
                  <a:srgbClr val="F66727"/>
                </a:solidFill>
                <a:latin typeface="Segoe UI" panose="020B0502040204020203" pitchFamily="34" charset="0"/>
                <a:cs typeface="Segoe UI" panose="020B0502040204020203" pitchFamily="34" charset="0"/>
              </a:rPr>
              <a:t>Expectation of Efficiency Award recognition</a:t>
            </a:r>
            <a:endParaRPr lang="pt-BR" sz="1400" spc="0">
              <a:solidFill>
                <a:srgbClr val="F66727"/>
              </a:solidFill>
              <a:latin typeface="Segoe UI" panose="020B0502040204020203" pitchFamily="34" charset="0"/>
              <a:cs typeface="Segoe UI" panose="020B0502040204020203" pitchFamily="34" charset="0"/>
            </a:endParaRPr>
          </a:p>
        </p:txBody>
      </p:sp>
      <p:grpSp>
        <p:nvGrpSpPr>
          <p:cNvPr id="194" name="Agrupar 193">
            <a:extLst>
              <a:ext uri="{FF2B5EF4-FFF2-40B4-BE49-F238E27FC236}">
                <a16:creationId xmlns:a16="http://schemas.microsoft.com/office/drawing/2014/main" id="{C2FA2783-6B60-A9D1-8BEC-440168015D0F}"/>
              </a:ext>
            </a:extLst>
          </p:cNvPr>
          <p:cNvGrpSpPr/>
          <p:nvPr/>
        </p:nvGrpSpPr>
        <p:grpSpPr>
          <a:xfrm>
            <a:off x="326429" y="1870245"/>
            <a:ext cx="5558555" cy="485680"/>
            <a:chOff x="326429" y="1870245"/>
            <a:chExt cx="5558555" cy="485680"/>
          </a:xfrm>
        </p:grpSpPr>
        <p:sp>
          <p:nvSpPr>
            <p:cNvPr id="96" name="Retângulo: Cantos Arredondados 95">
              <a:extLst>
                <a:ext uri="{FF2B5EF4-FFF2-40B4-BE49-F238E27FC236}">
                  <a16:creationId xmlns:a16="http://schemas.microsoft.com/office/drawing/2014/main" id="{AC6DD334-22D0-B4A3-4728-99B88570D0CD}"/>
                </a:ext>
              </a:extLst>
            </p:cNvPr>
            <p:cNvSpPr/>
            <p:nvPr/>
          </p:nvSpPr>
          <p:spPr>
            <a:xfrm>
              <a:off x="326429" y="1870245"/>
              <a:ext cx="5558555" cy="485680"/>
            </a:xfrm>
            <a:prstGeom prst="roundRect">
              <a:avLst>
                <a:gd name="adj" fmla="val 50000"/>
              </a:avLst>
            </a:prstGeom>
            <a:gradFill>
              <a:gsLst>
                <a:gs pos="0">
                  <a:srgbClr val="052B8A">
                    <a:alpha val="49000"/>
                  </a:srgbClr>
                </a:gs>
                <a:gs pos="100000">
                  <a:srgbClr val="052B8A"/>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400">
                <a:solidFill>
                  <a:prstClr val="white"/>
                </a:solidFill>
                <a:latin typeface="Calibri" panose="020F0502020204030204"/>
              </a:endParaRPr>
            </a:p>
          </p:txBody>
        </p:sp>
        <p:sp>
          <p:nvSpPr>
            <p:cNvPr id="97" name="CaixaDeTexto 96">
              <a:extLst>
                <a:ext uri="{FF2B5EF4-FFF2-40B4-BE49-F238E27FC236}">
                  <a16:creationId xmlns:a16="http://schemas.microsoft.com/office/drawing/2014/main" id="{1B350734-35C7-E0D5-7AE5-1893FF69D82F}"/>
                </a:ext>
              </a:extLst>
            </p:cNvPr>
            <p:cNvSpPr txBox="1"/>
            <p:nvPr/>
          </p:nvSpPr>
          <p:spPr>
            <a:xfrm>
              <a:off x="415449" y="1901163"/>
              <a:ext cx="5238890"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400" b="1" spc="0">
                  <a:latin typeface="Segoe UI" panose="020B0502040204020203" pitchFamily="34" charset="0"/>
                  <a:cs typeface="Segoe UI" panose="020B0502040204020203" pitchFamily="34" charset="0"/>
                </a:rPr>
                <a:t>RTP Public Consult</a:t>
              </a:r>
            </a:p>
            <a:p>
              <a:pPr algn="ctr" defTabSz="234364"/>
              <a:r>
                <a:rPr lang="en-US" sz="1400" spc="0">
                  <a:latin typeface="Segoe UI" panose="020B0502040204020203" pitchFamily="34" charset="0"/>
                  <a:cs typeface="Segoe UI" panose="020B0502040204020203" pitchFamily="34" charset="0"/>
                </a:rPr>
                <a:t>Signaling 117% O&amp;M cost recognition</a:t>
              </a:r>
              <a:endParaRPr lang="pt-BR" sz="1400" spc="0">
                <a:latin typeface="Segoe UI" panose="020B0502040204020203" pitchFamily="34" charset="0"/>
                <a:cs typeface="Segoe UI" panose="020B0502040204020203" pitchFamily="34" charset="0"/>
              </a:endParaRPr>
            </a:p>
          </p:txBody>
        </p:sp>
      </p:grpSp>
      <p:grpSp>
        <p:nvGrpSpPr>
          <p:cNvPr id="98" name="Agrupar 97">
            <a:extLst>
              <a:ext uri="{FF2B5EF4-FFF2-40B4-BE49-F238E27FC236}">
                <a16:creationId xmlns:a16="http://schemas.microsoft.com/office/drawing/2014/main" id="{7736C167-A40E-95B3-82F8-D0C5BF0DDBC9}"/>
              </a:ext>
            </a:extLst>
          </p:cNvPr>
          <p:cNvGrpSpPr/>
          <p:nvPr/>
        </p:nvGrpSpPr>
        <p:grpSpPr>
          <a:xfrm>
            <a:off x="326429" y="2421723"/>
            <a:ext cx="5558555" cy="485680"/>
            <a:chOff x="326429" y="3764832"/>
            <a:chExt cx="5558555" cy="429737"/>
          </a:xfrm>
        </p:grpSpPr>
        <p:sp>
          <p:nvSpPr>
            <p:cNvPr id="99" name="Retângulo: Cantos Arredondados 98">
              <a:extLst>
                <a:ext uri="{FF2B5EF4-FFF2-40B4-BE49-F238E27FC236}">
                  <a16:creationId xmlns:a16="http://schemas.microsoft.com/office/drawing/2014/main" id="{43F29526-2B51-44FC-8A16-8200F2E07380}"/>
                </a:ext>
              </a:extLst>
            </p:cNvPr>
            <p:cNvSpPr/>
            <p:nvPr/>
          </p:nvSpPr>
          <p:spPr>
            <a:xfrm>
              <a:off x="326429" y="3764832"/>
              <a:ext cx="5558555" cy="429737"/>
            </a:xfrm>
            <a:prstGeom prst="roundRect">
              <a:avLst>
                <a:gd name="adj" fmla="val 50000"/>
              </a:avLst>
            </a:prstGeom>
            <a:gradFill>
              <a:gsLst>
                <a:gs pos="0">
                  <a:srgbClr val="052B8A">
                    <a:alpha val="49000"/>
                  </a:srgbClr>
                </a:gs>
                <a:gs pos="100000">
                  <a:srgbClr val="052B8A"/>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CaixaDeTexto 99">
              <a:extLst>
                <a:ext uri="{FF2B5EF4-FFF2-40B4-BE49-F238E27FC236}">
                  <a16:creationId xmlns:a16="http://schemas.microsoft.com/office/drawing/2014/main" id="{E81A5EF9-9129-A4F0-440E-F94D1EB510B7}"/>
                </a:ext>
              </a:extLst>
            </p:cNvPr>
            <p:cNvSpPr txBox="1"/>
            <p:nvPr/>
          </p:nvSpPr>
          <p:spPr>
            <a:xfrm>
              <a:off x="623944" y="3792189"/>
              <a:ext cx="4821900" cy="38670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400" b="1" spc="0">
                  <a:latin typeface="Segoe UI" panose="020B0502040204020203" pitchFamily="34" charset="0"/>
                  <a:cs typeface="Segoe UI" panose="020B0502040204020203" pitchFamily="34" charset="0"/>
                </a:rPr>
                <a:t>FATOR X:</a:t>
              </a:r>
            </a:p>
            <a:p>
              <a:pPr algn="ctr" defTabSz="234364"/>
              <a:r>
                <a:rPr lang="en-US" sz="1400" spc="0">
                  <a:latin typeface="Segoe UI" panose="020B0502040204020203" pitchFamily="34" charset="0"/>
                  <a:cs typeface="Segoe UI" panose="020B0502040204020203" pitchFamily="34" charset="0"/>
                </a:rPr>
                <a:t>Captures sectoral productivity across RTPs</a:t>
              </a:r>
              <a:endParaRPr lang="pt-BR" sz="1400" spc="0">
                <a:latin typeface="Segoe UI" panose="020B0502040204020203" pitchFamily="34" charset="0"/>
                <a:cs typeface="Segoe UI" panose="020B0502040204020203" pitchFamily="34" charset="0"/>
              </a:endParaRPr>
            </a:p>
          </p:txBody>
        </p:sp>
      </p:grpSp>
      <p:grpSp>
        <p:nvGrpSpPr>
          <p:cNvPr id="115" name="Agrupar 114">
            <a:extLst>
              <a:ext uri="{FF2B5EF4-FFF2-40B4-BE49-F238E27FC236}">
                <a16:creationId xmlns:a16="http://schemas.microsoft.com/office/drawing/2014/main" id="{BB444EA0-C2EC-1F18-5ADA-F80CC7955817}"/>
              </a:ext>
            </a:extLst>
          </p:cNvPr>
          <p:cNvGrpSpPr/>
          <p:nvPr/>
        </p:nvGrpSpPr>
        <p:grpSpPr>
          <a:xfrm>
            <a:off x="1228469" y="3012314"/>
            <a:ext cx="2258182" cy="2078019"/>
            <a:chOff x="5515880" y="1042064"/>
            <a:chExt cx="2258182" cy="4220944"/>
          </a:xfrm>
        </p:grpSpPr>
        <p:sp>
          <p:nvSpPr>
            <p:cNvPr id="116" name="CaixaDeTexto 115">
              <a:extLst>
                <a:ext uri="{FF2B5EF4-FFF2-40B4-BE49-F238E27FC236}">
                  <a16:creationId xmlns:a16="http://schemas.microsoft.com/office/drawing/2014/main" id="{1527114C-E44F-546B-BA0B-684BC5BDF7CE}"/>
                </a:ext>
              </a:extLst>
            </p:cNvPr>
            <p:cNvSpPr txBox="1"/>
            <p:nvPr/>
          </p:nvSpPr>
          <p:spPr>
            <a:xfrm>
              <a:off x="5515880" y="1042064"/>
              <a:ext cx="2258182" cy="48763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200"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RAP TOTAL </a:t>
              </a:r>
              <a:r>
                <a:rPr lang="pt-BR" sz="1050" spc="0">
                  <a:solidFill>
                    <a:srgbClr val="011F57"/>
                  </a:solidFill>
                  <a:latin typeface="Segoe UI" panose="020B0502040204020203" pitchFamily="34" charset="0"/>
                  <a:cs typeface="Segoe UI" panose="020B0502040204020203" pitchFamily="34" charset="0"/>
                </a:rPr>
                <a:t>(R$ billion)</a:t>
              </a:r>
              <a:endParaRPr kumimoji="0" lang="pt-BR" sz="105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endParaRPr>
            </a:p>
          </p:txBody>
        </p:sp>
        <p:grpSp>
          <p:nvGrpSpPr>
            <p:cNvPr id="117" name="Agrupar 116">
              <a:extLst>
                <a:ext uri="{FF2B5EF4-FFF2-40B4-BE49-F238E27FC236}">
                  <a16:creationId xmlns:a16="http://schemas.microsoft.com/office/drawing/2014/main" id="{0008C690-86D2-C7E4-CD08-2A7433BF2D52}"/>
                </a:ext>
              </a:extLst>
            </p:cNvPr>
            <p:cNvGrpSpPr/>
            <p:nvPr/>
          </p:nvGrpSpPr>
          <p:grpSpPr>
            <a:xfrm>
              <a:off x="6169684" y="1598841"/>
              <a:ext cx="839865" cy="3664167"/>
              <a:chOff x="6169684" y="1598841"/>
              <a:chExt cx="839865" cy="3664167"/>
            </a:xfrm>
          </p:grpSpPr>
          <p:grpSp>
            <p:nvGrpSpPr>
              <p:cNvPr id="118" name="Agrupar 117">
                <a:extLst>
                  <a:ext uri="{FF2B5EF4-FFF2-40B4-BE49-F238E27FC236}">
                    <a16:creationId xmlns:a16="http://schemas.microsoft.com/office/drawing/2014/main" id="{B69A34D5-258F-35C7-D201-4A6E61CBD674}"/>
                  </a:ext>
                </a:extLst>
              </p:cNvPr>
              <p:cNvGrpSpPr/>
              <p:nvPr/>
            </p:nvGrpSpPr>
            <p:grpSpPr>
              <a:xfrm>
                <a:off x="6188734" y="1598841"/>
                <a:ext cx="811290" cy="3664167"/>
                <a:chOff x="6264934" y="1598841"/>
                <a:chExt cx="811290" cy="3664167"/>
              </a:xfrm>
            </p:grpSpPr>
            <p:sp>
              <p:nvSpPr>
                <p:cNvPr id="121" name="Retângulo 120">
                  <a:extLst>
                    <a:ext uri="{FF2B5EF4-FFF2-40B4-BE49-F238E27FC236}">
                      <a16:creationId xmlns:a16="http://schemas.microsoft.com/office/drawing/2014/main" id="{055A664E-4D87-60DA-74C0-20FECFB39027}"/>
                    </a:ext>
                  </a:extLst>
                </p:cNvPr>
                <p:cNvSpPr/>
                <p:nvPr/>
              </p:nvSpPr>
              <p:spPr>
                <a:xfrm>
                  <a:off x="6264934" y="1598841"/>
                  <a:ext cx="811290" cy="2531880"/>
                </a:xfrm>
                <a:prstGeom prst="rect">
                  <a:avLst/>
                </a:prstGeom>
                <a:gradFill>
                  <a:gsLst>
                    <a:gs pos="0">
                      <a:srgbClr val="00FFFF"/>
                    </a:gs>
                    <a:gs pos="100000">
                      <a:srgbClr val="00FFFF">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22" name="Retângulo 121">
                  <a:extLst>
                    <a:ext uri="{FF2B5EF4-FFF2-40B4-BE49-F238E27FC236}">
                      <a16:creationId xmlns:a16="http://schemas.microsoft.com/office/drawing/2014/main" id="{BDA53800-8379-BEB9-0370-2E466B8A156A}"/>
                    </a:ext>
                  </a:extLst>
                </p:cNvPr>
                <p:cNvSpPr/>
                <p:nvPr/>
              </p:nvSpPr>
              <p:spPr>
                <a:xfrm>
                  <a:off x="6264934" y="4128616"/>
                  <a:ext cx="811290" cy="1134392"/>
                </a:xfrm>
                <a:prstGeom prst="rect">
                  <a:avLst/>
                </a:prstGeom>
                <a:gradFill>
                  <a:gsLst>
                    <a:gs pos="28000">
                      <a:srgbClr val="052B8A"/>
                    </a:gs>
                    <a:gs pos="100000">
                      <a:srgbClr val="052B8A">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119" name="CaixaDeTexto 118">
                <a:extLst>
                  <a:ext uri="{FF2B5EF4-FFF2-40B4-BE49-F238E27FC236}">
                    <a16:creationId xmlns:a16="http://schemas.microsoft.com/office/drawing/2014/main" id="{86DB6A49-5B4E-8E72-D56C-7524D13E99C7}"/>
                  </a:ext>
                </a:extLst>
              </p:cNvPr>
              <p:cNvSpPr txBox="1"/>
              <p:nvPr/>
            </p:nvSpPr>
            <p:spPr>
              <a:xfrm>
                <a:off x="6169684" y="2380887"/>
                <a:ext cx="830340" cy="88773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4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CAAE¹</a:t>
                </a:r>
                <a:br>
                  <a:rPr kumimoji="0" lang="pt-BR" sz="14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br>
                <a:r>
                  <a:rPr kumimoji="0" lang="pt-BR" sz="14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2.9</a:t>
                </a:r>
              </a:p>
            </p:txBody>
          </p:sp>
          <p:sp>
            <p:nvSpPr>
              <p:cNvPr id="120" name="CaixaDeTexto 119">
                <a:extLst>
                  <a:ext uri="{FF2B5EF4-FFF2-40B4-BE49-F238E27FC236}">
                    <a16:creationId xmlns:a16="http://schemas.microsoft.com/office/drawing/2014/main" id="{BFDC5240-6227-AF1F-E679-C19480CEE0FC}"/>
                  </a:ext>
                </a:extLst>
              </p:cNvPr>
              <p:cNvSpPr txBox="1"/>
              <p:nvPr/>
            </p:nvSpPr>
            <p:spPr>
              <a:xfrm>
                <a:off x="6179209" y="4223946"/>
                <a:ext cx="830340" cy="88773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400" b="1" i="0" u="none" strike="noStrike" kern="1200" cap="none" spc="0" normalizeH="0" baseline="0" noProof="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O&amp;M</a:t>
                </a:r>
                <a:br>
                  <a:rPr kumimoji="0" lang="pt-BR" sz="1400" b="1" i="0" u="none" strike="noStrike" kern="1200" cap="none" spc="0" normalizeH="0" baseline="0" noProof="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br>
                <a:r>
                  <a:rPr kumimoji="0" lang="pt-BR" sz="1400" b="1" i="0" u="none" strike="noStrike" kern="1200" cap="none" spc="0" normalizeH="0" baseline="0" noProof="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0.8</a:t>
                </a:r>
              </a:p>
            </p:txBody>
          </p:sp>
        </p:grpSp>
      </p:grpSp>
      <p:grpSp>
        <p:nvGrpSpPr>
          <p:cNvPr id="123" name="Agrupar 122">
            <a:extLst>
              <a:ext uri="{FF2B5EF4-FFF2-40B4-BE49-F238E27FC236}">
                <a16:creationId xmlns:a16="http://schemas.microsoft.com/office/drawing/2014/main" id="{877E2E2B-89A7-6F17-3D66-DEE109DF5565}"/>
              </a:ext>
            </a:extLst>
          </p:cNvPr>
          <p:cNvGrpSpPr/>
          <p:nvPr/>
        </p:nvGrpSpPr>
        <p:grpSpPr>
          <a:xfrm>
            <a:off x="2610056" y="3809818"/>
            <a:ext cx="736179" cy="909426"/>
            <a:chOff x="6594302" y="3052213"/>
            <a:chExt cx="736179" cy="1653288"/>
          </a:xfrm>
        </p:grpSpPr>
        <p:cxnSp>
          <p:nvCxnSpPr>
            <p:cNvPr id="124" name="Conector reto 123">
              <a:extLst>
                <a:ext uri="{FF2B5EF4-FFF2-40B4-BE49-F238E27FC236}">
                  <a16:creationId xmlns:a16="http://schemas.microsoft.com/office/drawing/2014/main" id="{8E64C245-CD44-0FF1-8F00-EC1A83B67129}"/>
                </a:ext>
              </a:extLst>
            </p:cNvPr>
            <p:cNvCxnSpPr>
              <a:cxnSpLocks/>
            </p:cNvCxnSpPr>
            <p:nvPr/>
          </p:nvCxnSpPr>
          <p:spPr>
            <a:xfrm>
              <a:off x="6594302" y="3052213"/>
              <a:ext cx="736179" cy="0"/>
            </a:xfrm>
            <a:prstGeom prst="line">
              <a:avLst/>
            </a:prstGeom>
            <a:noFill/>
            <a:ln w="19050">
              <a:gradFill>
                <a:gsLst>
                  <a:gs pos="0">
                    <a:srgbClr val="011F57">
                      <a:alpha val="0"/>
                    </a:srgbClr>
                  </a:gs>
                  <a:gs pos="50000">
                    <a:srgbClr val="011F57"/>
                  </a:gs>
                  <a:gs pos="100000">
                    <a:srgbClr val="011F57"/>
                  </a:gs>
                </a:gsLst>
                <a:lin ang="6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cxnSp>
          <p:nvCxnSpPr>
            <p:cNvPr id="125" name="Conector reto 124">
              <a:extLst>
                <a:ext uri="{FF2B5EF4-FFF2-40B4-BE49-F238E27FC236}">
                  <a16:creationId xmlns:a16="http://schemas.microsoft.com/office/drawing/2014/main" id="{6BAF2EBB-CA4B-592C-DA31-77EFB0D02426}"/>
                </a:ext>
              </a:extLst>
            </p:cNvPr>
            <p:cNvCxnSpPr>
              <a:cxnSpLocks/>
            </p:cNvCxnSpPr>
            <p:nvPr/>
          </p:nvCxnSpPr>
          <p:spPr>
            <a:xfrm>
              <a:off x="6594302" y="4705501"/>
              <a:ext cx="736179" cy="0"/>
            </a:xfrm>
            <a:prstGeom prst="line">
              <a:avLst/>
            </a:prstGeom>
            <a:noFill/>
            <a:ln w="19050">
              <a:gradFill>
                <a:gsLst>
                  <a:gs pos="0">
                    <a:srgbClr val="011F57">
                      <a:alpha val="0"/>
                    </a:srgbClr>
                  </a:gs>
                  <a:gs pos="50000">
                    <a:srgbClr val="011F57"/>
                  </a:gs>
                  <a:gs pos="100000">
                    <a:srgbClr val="011F57"/>
                  </a:gs>
                </a:gsLst>
                <a:lin ang="6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grpSp>
      <p:sp>
        <p:nvSpPr>
          <p:cNvPr id="127" name="CaixaDeTexto 126">
            <a:extLst>
              <a:ext uri="{FF2B5EF4-FFF2-40B4-BE49-F238E27FC236}">
                <a16:creationId xmlns:a16="http://schemas.microsoft.com/office/drawing/2014/main" id="{3890D1C3-3F2C-2758-2C1B-7E862A2E9EB5}"/>
              </a:ext>
            </a:extLst>
          </p:cNvPr>
          <p:cNvSpPr txBox="1"/>
          <p:nvPr/>
        </p:nvSpPr>
        <p:spPr>
          <a:xfrm>
            <a:off x="3382962" y="4565293"/>
            <a:ext cx="1751205"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ts val="0"/>
              </a:spcBef>
              <a:spcAft>
                <a:spcPts val="0"/>
              </a:spcAft>
              <a:buClrTx/>
              <a:buSzTx/>
              <a:buFontTx/>
              <a:buNone/>
              <a:tabLst/>
              <a:defRPr/>
            </a:pPr>
            <a:r>
              <a:rPr kumimoji="0" lang="pt-BR" sz="1400" b="0"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1+ IPCA – </a:t>
            </a:r>
            <a:r>
              <a:rPr kumimoji="0" lang="pt-BR" sz="14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0.812%</a:t>
            </a:r>
            <a:r>
              <a:rPr kumimoji="0" lang="pt-BR" sz="1400" b="0"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a:t>
            </a:r>
          </a:p>
        </p:txBody>
      </p:sp>
      <p:grpSp>
        <p:nvGrpSpPr>
          <p:cNvPr id="193" name="Agrupar 192">
            <a:extLst>
              <a:ext uri="{FF2B5EF4-FFF2-40B4-BE49-F238E27FC236}">
                <a16:creationId xmlns:a16="http://schemas.microsoft.com/office/drawing/2014/main" id="{3C720F78-98FD-C1BE-3CD1-08996FDE7FA1}"/>
              </a:ext>
            </a:extLst>
          </p:cNvPr>
          <p:cNvGrpSpPr/>
          <p:nvPr/>
        </p:nvGrpSpPr>
        <p:grpSpPr>
          <a:xfrm>
            <a:off x="3367031" y="3602215"/>
            <a:ext cx="1590139" cy="429226"/>
            <a:chOff x="3486651" y="3537872"/>
            <a:chExt cx="1590139" cy="429226"/>
          </a:xfrm>
        </p:grpSpPr>
        <p:sp>
          <p:nvSpPr>
            <p:cNvPr id="126" name="CaixaDeTexto 125">
              <a:extLst>
                <a:ext uri="{FF2B5EF4-FFF2-40B4-BE49-F238E27FC236}">
                  <a16:creationId xmlns:a16="http://schemas.microsoft.com/office/drawing/2014/main" id="{33A37606-2EE4-7442-B488-43E8790701AD}"/>
                </a:ext>
              </a:extLst>
            </p:cNvPr>
            <p:cNvSpPr txBox="1"/>
            <p:nvPr/>
          </p:nvSpPr>
          <p:spPr>
            <a:xfrm>
              <a:off x="3486651" y="3702410"/>
              <a:ext cx="1353088"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ts val="0"/>
                </a:spcBef>
                <a:spcAft>
                  <a:spcPts val="0"/>
                </a:spcAft>
                <a:buClrTx/>
                <a:buSzTx/>
                <a:buFontTx/>
                <a:buNone/>
                <a:tabLst/>
                <a:defRPr/>
              </a:pPr>
              <a:r>
                <a:rPr kumimoji="0" lang="pt-BR" sz="1400" b="0"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1+ IPCA)</a:t>
              </a:r>
            </a:p>
          </p:txBody>
        </p:sp>
        <p:sp>
          <p:nvSpPr>
            <p:cNvPr id="192" name="CaixaDeTexto 191">
              <a:extLst>
                <a:ext uri="{FF2B5EF4-FFF2-40B4-BE49-F238E27FC236}">
                  <a16:creationId xmlns:a16="http://schemas.microsoft.com/office/drawing/2014/main" id="{57BB2633-BFFC-C386-F64A-F28B5D6FD9CC}"/>
                </a:ext>
              </a:extLst>
            </p:cNvPr>
            <p:cNvSpPr txBox="1"/>
            <p:nvPr/>
          </p:nvSpPr>
          <p:spPr>
            <a:xfrm>
              <a:off x="3491367" y="3537872"/>
              <a:ext cx="1585423" cy="240066"/>
            </a:xfrm>
            <a:prstGeom prst="rect">
              <a:avLst/>
            </a:prstGeom>
            <a:noFill/>
          </p:spPr>
          <p:txBody>
            <a:bodyPr wrap="square">
              <a:spAutoFit/>
            </a:bodyPr>
            <a:lstStyle/>
            <a:p>
              <a:pPr marL="0" marR="0" lvl="0" indent="0" algn="l" defTabSz="234364" rtl="0" eaLnBrk="1" fontAlgn="auto" latinLnBrk="0" hangingPunct="1">
                <a:lnSpc>
                  <a:spcPct val="80000"/>
                </a:lnSpc>
                <a:spcBef>
                  <a:spcPts val="0"/>
                </a:spcBef>
                <a:spcAft>
                  <a:spcPts val="0"/>
                </a:spcAft>
                <a:buClrTx/>
                <a:buSzTx/>
                <a:buFontTx/>
                <a:buNone/>
                <a:tabLst/>
                <a:defRPr/>
              </a:pPr>
              <a:r>
                <a:rPr kumimoji="0" lang="pt-BR" sz="12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rPr>
                <a:t>RAP Reajustment</a:t>
              </a:r>
              <a:endParaRPr kumimoji="0" lang="pt-BR" sz="1400" b="1" i="0" u="none" strike="noStrike" kern="1200" cap="none" spc="0" normalizeH="0" baseline="0" noProof="0">
                <a:ln>
                  <a:noFill/>
                </a:ln>
                <a:solidFill>
                  <a:srgbClr val="011F57"/>
                </a:solidFill>
                <a:effectLst/>
                <a:uLnTx/>
                <a:uFillTx/>
                <a:latin typeface="Segoe UI" panose="020B0502040204020203" pitchFamily="34" charset="0"/>
                <a:ea typeface="Tahoma" panose="020B0604030504040204" pitchFamily="34" charset="0"/>
                <a:cs typeface="Segoe UI" panose="020B0502040204020203" pitchFamily="34" charset="0"/>
              </a:endParaRPr>
            </a:p>
          </p:txBody>
        </p:sp>
      </p:grpSp>
      <p:sp>
        <p:nvSpPr>
          <p:cNvPr id="2" name="CaixaDeTexto 1">
            <a:extLst>
              <a:ext uri="{FF2B5EF4-FFF2-40B4-BE49-F238E27FC236}">
                <a16:creationId xmlns:a16="http://schemas.microsoft.com/office/drawing/2014/main" id="{0A6FEFCD-3A54-E0E5-9B3D-896F67F83277}"/>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sp>
        <p:nvSpPr>
          <p:cNvPr id="3" name="CaixaDeTexto 2">
            <a:extLst>
              <a:ext uri="{FF2B5EF4-FFF2-40B4-BE49-F238E27FC236}">
                <a16:creationId xmlns:a16="http://schemas.microsoft.com/office/drawing/2014/main" id="{8C12E9E5-7EE2-1472-E655-79E3B1F5D77A}"/>
              </a:ext>
            </a:extLst>
          </p:cNvPr>
          <p:cNvSpPr txBox="1"/>
          <p:nvPr/>
        </p:nvSpPr>
        <p:spPr>
          <a:xfrm>
            <a:off x="28821" y="4810631"/>
            <a:ext cx="18624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Values in Jan/2023 database</a:t>
            </a:r>
            <a:endParaRPr lang="pt-BR" sz="80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8EBDBC4-E932-41A6-8881-9881197857D1}"/>
              </a:ext>
            </a:extLst>
          </p:cNvPr>
          <p:cNvSpPr txBox="1"/>
          <p:nvPr/>
        </p:nvSpPr>
        <p:spPr>
          <a:xfrm>
            <a:off x="2793464" y="4802548"/>
            <a:ext cx="4584700" cy="215444"/>
          </a:xfrm>
          <a:prstGeom prst="rect">
            <a:avLst/>
          </a:prstGeom>
          <a:noFill/>
        </p:spPr>
        <p:txBody>
          <a:bodyPr wrap="square">
            <a:spAutoFit/>
          </a:bodyPr>
          <a:lstStyle/>
          <a:p>
            <a:r>
              <a:rPr kumimoji="0" lang="pt-BR" sz="8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¹ Annal costs of electrical assets</a:t>
            </a:r>
            <a:endParaRPr lang="pt-BR" sz="800"/>
          </a:p>
        </p:txBody>
      </p:sp>
    </p:spTree>
    <p:extLst>
      <p:ext uri="{BB962C8B-B14F-4D97-AF65-F5344CB8AC3E}">
        <p14:creationId xmlns:p14="http://schemas.microsoft.com/office/powerpoint/2010/main" val="2177628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35" presetClass="path" presetSubtype="0" accel="17000" decel="83000" fill="hold" grpId="1" nodeType="withEffect">
                                  <p:stCondLst>
                                    <p:cond delay="500"/>
                                  </p:stCondLst>
                                  <p:childTnLst>
                                    <p:animMotion origin="layout" path="M 0.02046 1.1477E-6 L 9.80773E-7 1.1477E-6 " pathEditMode="relative" rAng="0" ptsTypes="AA">
                                      <p:cBhvr>
                                        <p:cTn id="9" dur="750" fill="hold"/>
                                        <p:tgtEl>
                                          <p:spTgt spid="93"/>
                                        </p:tgtEl>
                                        <p:attrNameLst>
                                          <p:attrName>ppt_x</p:attrName>
                                          <p:attrName>ppt_y</p:attrName>
                                        </p:attrNameLst>
                                      </p:cBhvr>
                                      <p:rCtr x="-1023" y="0"/>
                                    </p:animMotion>
                                  </p:childTnLst>
                                </p:cTn>
                              </p:par>
                              <p:par>
                                <p:cTn id="10" presetID="10" presetClass="entr" presetSubtype="0" fill="hold" nodeType="withEffect">
                                  <p:stCondLst>
                                    <p:cond delay="1000"/>
                                  </p:stCondLst>
                                  <p:childTnLst>
                                    <p:set>
                                      <p:cBhvr>
                                        <p:cTn id="11" dur="1" fill="hold">
                                          <p:stCondLst>
                                            <p:cond delay="0"/>
                                          </p:stCondLst>
                                        </p:cTn>
                                        <p:tgtEl>
                                          <p:spTgt spid="98"/>
                                        </p:tgtEl>
                                        <p:attrNameLst>
                                          <p:attrName>style.visibility</p:attrName>
                                        </p:attrNameLst>
                                      </p:cBhvr>
                                      <p:to>
                                        <p:strVal val="visible"/>
                                      </p:to>
                                    </p:set>
                                    <p:animEffect transition="in" filter="fade">
                                      <p:cBhvr>
                                        <p:cTn id="12" dur="500"/>
                                        <p:tgtEl>
                                          <p:spTgt spid="98"/>
                                        </p:tgtEl>
                                      </p:cBhvr>
                                    </p:animEffect>
                                  </p:childTnLst>
                                </p:cTn>
                              </p:par>
                              <p:par>
                                <p:cTn id="13" presetID="23" presetClass="entr" presetSubtype="288" fill="hold" nodeType="withEffect">
                                  <p:stCondLst>
                                    <p:cond delay="1000"/>
                                  </p:stCondLst>
                                  <p:childTnLst>
                                    <p:set>
                                      <p:cBhvr>
                                        <p:cTn id="14" dur="1" fill="hold">
                                          <p:stCondLst>
                                            <p:cond delay="0"/>
                                          </p:stCondLst>
                                        </p:cTn>
                                        <p:tgtEl>
                                          <p:spTgt spid="98"/>
                                        </p:tgtEl>
                                        <p:attrNameLst>
                                          <p:attrName>style.visibility</p:attrName>
                                        </p:attrNameLst>
                                      </p:cBhvr>
                                      <p:to>
                                        <p:strVal val="visible"/>
                                      </p:to>
                                    </p:set>
                                    <p:anim calcmode="lin" valueType="num">
                                      <p:cBhvr>
                                        <p:cTn id="15" dur="500" fill="hold"/>
                                        <p:tgtEl>
                                          <p:spTgt spid="98"/>
                                        </p:tgtEl>
                                        <p:attrNameLst>
                                          <p:attrName>ppt_w</p:attrName>
                                        </p:attrNameLst>
                                      </p:cBhvr>
                                      <p:tavLst>
                                        <p:tav tm="0">
                                          <p:val>
                                            <p:strVal val="4/3*#ppt_w"/>
                                          </p:val>
                                        </p:tav>
                                        <p:tav tm="100000">
                                          <p:val>
                                            <p:strVal val="#ppt_w"/>
                                          </p:val>
                                        </p:tav>
                                      </p:tavLst>
                                    </p:anim>
                                    <p:anim calcmode="lin" valueType="num">
                                      <p:cBhvr>
                                        <p:cTn id="16" dur="500" fill="hold"/>
                                        <p:tgtEl>
                                          <p:spTgt spid="98"/>
                                        </p:tgtEl>
                                        <p:attrNameLst>
                                          <p:attrName>ppt_h</p:attrName>
                                        </p:attrNameLst>
                                      </p:cBhvr>
                                      <p:tavLst>
                                        <p:tav tm="0">
                                          <p:val>
                                            <p:strVal val="4/3*#ppt_h"/>
                                          </p:val>
                                        </p:tav>
                                        <p:tav tm="100000">
                                          <p:val>
                                            <p:strVal val="#ppt_h"/>
                                          </p:val>
                                        </p:tav>
                                      </p:tavLst>
                                    </p:anim>
                                  </p:childTnLst>
                                </p:cTn>
                              </p:par>
                              <p:par>
                                <p:cTn id="17" presetID="22" presetClass="entr" presetSubtype="4" fill="hold" nodeType="withEffect">
                                  <p:stCondLst>
                                    <p:cond delay="1500"/>
                                  </p:stCondLst>
                                  <p:childTnLst>
                                    <p:set>
                                      <p:cBhvr>
                                        <p:cTn id="18" dur="1" fill="hold">
                                          <p:stCondLst>
                                            <p:cond delay="0"/>
                                          </p:stCondLst>
                                        </p:cTn>
                                        <p:tgtEl>
                                          <p:spTgt spid="115"/>
                                        </p:tgtEl>
                                        <p:attrNameLst>
                                          <p:attrName>style.visibility</p:attrName>
                                        </p:attrNameLst>
                                      </p:cBhvr>
                                      <p:to>
                                        <p:strVal val="visible"/>
                                      </p:to>
                                    </p:set>
                                    <p:animEffect transition="in" filter="wipe(down)">
                                      <p:cBhvr>
                                        <p:cTn id="19" dur="750"/>
                                        <p:tgtEl>
                                          <p:spTgt spid="115"/>
                                        </p:tgtEl>
                                      </p:cBhvr>
                                    </p:animEffect>
                                  </p:childTnLst>
                                </p:cTn>
                              </p:par>
                              <p:par>
                                <p:cTn id="20" presetID="22" presetClass="entr" presetSubtype="8" fill="hold" nodeType="withEffect">
                                  <p:stCondLst>
                                    <p:cond delay="1750"/>
                                  </p:stCondLst>
                                  <p:childTnLst>
                                    <p:set>
                                      <p:cBhvr>
                                        <p:cTn id="21" dur="1" fill="hold">
                                          <p:stCondLst>
                                            <p:cond delay="0"/>
                                          </p:stCondLst>
                                        </p:cTn>
                                        <p:tgtEl>
                                          <p:spTgt spid="123"/>
                                        </p:tgtEl>
                                        <p:attrNameLst>
                                          <p:attrName>style.visibility</p:attrName>
                                        </p:attrNameLst>
                                      </p:cBhvr>
                                      <p:to>
                                        <p:strVal val="visible"/>
                                      </p:to>
                                    </p:set>
                                    <p:animEffect transition="in" filter="wipe(left)">
                                      <p:cBhvr>
                                        <p:cTn id="22" dur="500"/>
                                        <p:tgtEl>
                                          <p:spTgt spid="123"/>
                                        </p:tgtEl>
                                      </p:cBhvr>
                                    </p:animEffect>
                                  </p:childTnLst>
                                </p:cTn>
                              </p:par>
                              <p:par>
                                <p:cTn id="23" presetID="10" presetClass="entr" presetSubtype="0" fill="hold" grpId="0" nodeType="withEffect">
                                  <p:stCondLst>
                                    <p:cond delay="2000"/>
                                  </p:stCondLst>
                                  <p:childTnLst>
                                    <p:set>
                                      <p:cBhvr>
                                        <p:cTn id="24" dur="1" fill="hold">
                                          <p:stCondLst>
                                            <p:cond delay="0"/>
                                          </p:stCondLst>
                                        </p:cTn>
                                        <p:tgtEl>
                                          <p:spTgt spid="127"/>
                                        </p:tgtEl>
                                        <p:attrNameLst>
                                          <p:attrName>style.visibility</p:attrName>
                                        </p:attrNameLst>
                                      </p:cBhvr>
                                      <p:to>
                                        <p:strVal val="visible"/>
                                      </p:to>
                                    </p:set>
                                    <p:animEffect transition="in" filter="fade">
                                      <p:cBhvr>
                                        <p:cTn id="25" dur="500"/>
                                        <p:tgtEl>
                                          <p:spTgt spid="127"/>
                                        </p:tgtEl>
                                      </p:cBhvr>
                                    </p:animEffect>
                                  </p:childTnLst>
                                </p:cTn>
                              </p:par>
                              <p:par>
                                <p:cTn id="26" presetID="35" presetClass="path" presetSubtype="0" accel="17000" decel="83000" fill="hold" grpId="1" nodeType="withEffect">
                                  <p:stCondLst>
                                    <p:cond delay="2000"/>
                                  </p:stCondLst>
                                  <p:childTnLst>
                                    <p:animMotion origin="layout" path="M 0.04092 2.92255E-6 L 6.87952E-7 2.92255E-6 " pathEditMode="relative" rAng="0" ptsTypes="AA">
                                      <p:cBhvr>
                                        <p:cTn id="27" dur="750" fill="hold"/>
                                        <p:tgtEl>
                                          <p:spTgt spid="127"/>
                                        </p:tgtEl>
                                        <p:attrNameLst>
                                          <p:attrName>ppt_x</p:attrName>
                                          <p:attrName>ppt_y</p:attrName>
                                        </p:attrNameLst>
                                      </p:cBhvr>
                                      <p:rCtr x="-2046" y="0"/>
                                    </p:animMotion>
                                  </p:childTnLst>
                                </p:cTn>
                              </p:par>
                              <p:par>
                                <p:cTn id="28" presetID="10" presetClass="entr" presetSubtype="0" fill="hold" grpId="0"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fade">
                                      <p:cBhvr>
                                        <p:cTn id="30" dur="500"/>
                                        <p:tgtEl>
                                          <p:spTgt spid="25"/>
                                        </p:tgtEl>
                                      </p:cBhvr>
                                    </p:animEffect>
                                  </p:childTnLst>
                                </p:cTn>
                              </p:par>
                              <p:par>
                                <p:cTn id="31" presetID="35" presetClass="path" presetSubtype="0" accel="17000" decel="83000" fill="hold" grpId="1" nodeType="withEffect">
                                  <p:stCondLst>
                                    <p:cond delay="0"/>
                                  </p:stCondLst>
                                  <p:childTnLst>
                                    <p:animMotion origin="layout" path="M 0.02046 1.25118E-6 L 3.13988E-6 1.25118E-6 " pathEditMode="relative" rAng="0" ptsTypes="AA">
                                      <p:cBhvr>
                                        <p:cTn id="32" dur="750" fill="hold"/>
                                        <p:tgtEl>
                                          <p:spTgt spid="25"/>
                                        </p:tgtEl>
                                        <p:attrNameLst>
                                          <p:attrName>ppt_x</p:attrName>
                                          <p:attrName>ppt_y</p:attrName>
                                        </p:attrNameLst>
                                      </p:cBhvr>
                                      <p:rCtr x="-1023" y="0"/>
                                    </p:animMotion>
                                  </p:childTnLst>
                                </p:cTn>
                              </p:par>
                              <p:par>
                                <p:cTn id="33" presetID="10" presetClass="entr" presetSubtype="0" fill="hold" nodeType="withEffect">
                                  <p:stCondLst>
                                    <p:cond delay="750"/>
                                  </p:stCondLst>
                                  <p:childTnLst>
                                    <p:set>
                                      <p:cBhvr>
                                        <p:cTn id="34" dur="1" fill="hold">
                                          <p:stCondLst>
                                            <p:cond delay="0"/>
                                          </p:stCondLst>
                                        </p:cTn>
                                        <p:tgtEl>
                                          <p:spTgt spid="194"/>
                                        </p:tgtEl>
                                        <p:attrNameLst>
                                          <p:attrName>style.visibility</p:attrName>
                                        </p:attrNameLst>
                                      </p:cBhvr>
                                      <p:to>
                                        <p:strVal val="visible"/>
                                      </p:to>
                                    </p:set>
                                    <p:animEffect transition="in" filter="fade">
                                      <p:cBhvr>
                                        <p:cTn id="35" dur="500"/>
                                        <p:tgtEl>
                                          <p:spTgt spid="194"/>
                                        </p:tgtEl>
                                      </p:cBhvr>
                                    </p:animEffect>
                                  </p:childTnLst>
                                </p:cTn>
                              </p:par>
                              <p:par>
                                <p:cTn id="36" presetID="23" presetClass="entr" presetSubtype="288" fill="hold" nodeType="withEffect">
                                  <p:stCondLst>
                                    <p:cond delay="750"/>
                                  </p:stCondLst>
                                  <p:childTnLst>
                                    <p:set>
                                      <p:cBhvr>
                                        <p:cTn id="37" dur="1" fill="hold">
                                          <p:stCondLst>
                                            <p:cond delay="0"/>
                                          </p:stCondLst>
                                        </p:cTn>
                                        <p:tgtEl>
                                          <p:spTgt spid="194"/>
                                        </p:tgtEl>
                                        <p:attrNameLst>
                                          <p:attrName>style.visibility</p:attrName>
                                        </p:attrNameLst>
                                      </p:cBhvr>
                                      <p:to>
                                        <p:strVal val="visible"/>
                                      </p:to>
                                    </p:set>
                                    <p:anim calcmode="lin" valueType="num">
                                      <p:cBhvr>
                                        <p:cTn id="38" dur="500" fill="hold"/>
                                        <p:tgtEl>
                                          <p:spTgt spid="194"/>
                                        </p:tgtEl>
                                        <p:attrNameLst>
                                          <p:attrName>ppt_w</p:attrName>
                                        </p:attrNameLst>
                                      </p:cBhvr>
                                      <p:tavLst>
                                        <p:tav tm="0">
                                          <p:val>
                                            <p:strVal val="4/3*#ppt_w"/>
                                          </p:val>
                                        </p:tav>
                                        <p:tav tm="100000">
                                          <p:val>
                                            <p:strVal val="#ppt_w"/>
                                          </p:val>
                                        </p:tav>
                                      </p:tavLst>
                                    </p:anim>
                                    <p:anim calcmode="lin" valueType="num">
                                      <p:cBhvr>
                                        <p:cTn id="39" dur="500" fill="hold"/>
                                        <p:tgtEl>
                                          <p:spTgt spid="194"/>
                                        </p:tgtEl>
                                        <p:attrNameLst>
                                          <p:attrName>ppt_h</p:attrName>
                                        </p:attrNameLst>
                                      </p:cBhvr>
                                      <p:tavLst>
                                        <p:tav tm="0">
                                          <p:val>
                                            <p:strVal val="4/3*#ppt_h"/>
                                          </p:val>
                                        </p:tav>
                                        <p:tav tm="100000">
                                          <p:val>
                                            <p:strVal val="#ppt_h"/>
                                          </p:val>
                                        </p:tav>
                                      </p:tavLst>
                                    </p:anim>
                                  </p:childTnLst>
                                </p:cTn>
                              </p:par>
                              <p:par>
                                <p:cTn id="40" presetID="10" presetClass="entr" presetSubtype="0" fill="hold" nodeType="withEffect">
                                  <p:stCondLst>
                                    <p:cond delay="250"/>
                                  </p:stCondLst>
                                  <p:childTnLst>
                                    <p:set>
                                      <p:cBhvr>
                                        <p:cTn id="41" dur="1" fill="hold">
                                          <p:stCondLst>
                                            <p:cond delay="0"/>
                                          </p:stCondLst>
                                        </p:cTn>
                                        <p:tgtEl>
                                          <p:spTgt spid="41"/>
                                        </p:tgtEl>
                                        <p:attrNameLst>
                                          <p:attrName>style.visibility</p:attrName>
                                        </p:attrNameLst>
                                      </p:cBhvr>
                                      <p:to>
                                        <p:strVal val="visible"/>
                                      </p:to>
                                    </p:set>
                                    <p:animEffect transition="in" filter="fade">
                                      <p:cBhvr>
                                        <p:cTn id="42" dur="500"/>
                                        <p:tgtEl>
                                          <p:spTgt spid="41"/>
                                        </p:tgtEl>
                                      </p:cBhvr>
                                    </p:animEffect>
                                  </p:childTnLst>
                                </p:cTn>
                              </p:par>
                              <p:par>
                                <p:cTn id="43" presetID="35" presetClass="path" presetSubtype="0" accel="17000" decel="83000" fill="hold" nodeType="withEffect">
                                  <p:stCondLst>
                                    <p:cond delay="250"/>
                                  </p:stCondLst>
                                  <p:childTnLst>
                                    <p:animMotion origin="layout" path="M -0.03211 4.16118E-6 L 5.85641E-7 4.16118E-6 " pathEditMode="relative" rAng="0" ptsTypes="AA">
                                      <p:cBhvr>
                                        <p:cTn id="44" dur="750" fill="hold"/>
                                        <p:tgtEl>
                                          <p:spTgt spid="41"/>
                                        </p:tgtEl>
                                        <p:attrNameLst>
                                          <p:attrName>ppt_x</p:attrName>
                                          <p:attrName>ppt_y</p:attrName>
                                        </p:attrNameLst>
                                      </p:cBhvr>
                                      <p:rCtr x="1605" y="0"/>
                                    </p:animMotion>
                                  </p:childTnLst>
                                </p:cTn>
                              </p:par>
                              <p:par>
                                <p:cTn id="45" presetID="10" presetClass="entr" presetSubtype="0" fill="hold" grpId="0" nodeType="withEffect">
                                  <p:stCondLst>
                                    <p:cond delay="250"/>
                                  </p:stCondLst>
                                  <p:childTnLst>
                                    <p:set>
                                      <p:cBhvr>
                                        <p:cTn id="46" dur="1" fill="hold">
                                          <p:stCondLst>
                                            <p:cond delay="0"/>
                                          </p:stCondLst>
                                        </p:cTn>
                                        <p:tgtEl>
                                          <p:spTgt spid="50"/>
                                        </p:tgtEl>
                                        <p:attrNameLst>
                                          <p:attrName>style.visibility</p:attrName>
                                        </p:attrNameLst>
                                      </p:cBhvr>
                                      <p:to>
                                        <p:strVal val="visible"/>
                                      </p:to>
                                    </p:set>
                                    <p:animEffect transition="in" filter="fade">
                                      <p:cBhvr>
                                        <p:cTn id="47" dur="500"/>
                                        <p:tgtEl>
                                          <p:spTgt spid="50"/>
                                        </p:tgtEl>
                                      </p:cBhvr>
                                    </p:animEffect>
                                  </p:childTnLst>
                                </p:cTn>
                              </p:par>
                              <p:par>
                                <p:cTn id="48" presetID="35" presetClass="path" presetSubtype="0" accel="17000" decel="83000" fill="hold" grpId="1" nodeType="withEffect">
                                  <p:stCondLst>
                                    <p:cond delay="250"/>
                                  </p:stCondLst>
                                  <p:childTnLst>
                                    <p:animMotion origin="layout" path="M 0.02046 2.78457E-6 L 2.96349E-7 2.78457E-6 " pathEditMode="relative" rAng="0" ptsTypes="AA">
                                      <p:cBhvr>
                                        <p:cTn id="49" dur="750" fill="hold"/>
                                        <p:tgtEl>
                                          <p:spTgt spid="50"/>
                                        </p:tgtEl>
                                        <p:attrNameLst>
                                          <p:attrName>ppt_x</p:attrName>
                                          <p:attrName>ppt_y</p:attrName>
                                        </p:attrNameLst>
                                      </p:cBhvr>
                                      <p:rCtr x="-1023" y="0"/>
                                    </p:animMotion>
                                  </p:childTnLst>
                                </p:cTn>
                              </p:par>
                              <p:par>
                                <p:cTn id="50" presetID="10" presetClass="entr" presetSubtype="0" fill="hold" nodeType="withEffect">
                                  <p:stCondLst>
                                    <p:cond delay="2000"/>
                                  </p:stCondLst>
                                  <p:childTnLst>
                                    <p:set>
                                      <p:cBhvr>
                                        <p:cTn id="51" dur="1" fill="hold">
                                          <p:stCondLst>
                                            <p:cond delay="0"/>
                                          </p:stCondLst>
                                        </p:cTn>
                                        <p:tgtEl>
                                          <p:spTgt spid="193"/>
                                        </p:tgtEl>
                                        <p:attrNameLst>
                                          <p:attrName>style.visibility</p:attrName>
                                        </p:attrNameLst>
                                      </p:cBhvr>
                                      <p:to>
                                        <p:strVal val="visible"/>
                                      </p:to>
                                    </p:set>
                                    <p:animEffect transition="in" filter="fade">
                                      <p:cBhvr>
                                        <p:cTn id="52" dur="500"/>
                                        <p:tgtEl>
                                          <p:spTgt spid="193"/>
                                        </p:tgtEl>
                                      </p:cBhvr>
                                    </p:animEffect>
                                  </p:childTnLst>
                                </p:cTn>
                              </p:par>
                              <p:par>
                                <p:cTn id="53" presetID="35" presetClass="path" presetSubtype="0" accel="17000" decel="83000" fill="hold" nodeType="withEffect">
                                  <p:stCondLst>
                                    <p:cond delay="2000"/>
                                  </p:stCondLst>
                                  <p:childTnLst>
                                    <p:animMotion origin="layout" path="M 0.04092 -1.32957E-6 L 4.56518E-6 -1.32957E-6 " pathEditMode="relative" rAng="0" ptsTypes="AA">
                                      <p:cBhvr>
                                        <p:cTn id="54" dur="750" fill="hold"/>
                                        <p:tgtEl>
                                          <p:spTgt spid="193"/>
                                        </p:tgtEl>
                                        <p:attrNameLst>
                                          <p:attrName>ppt_x</p:attrName>
                                          <p:attrName>ppt_y</p:attrName>
                                        </p:attrNameLst>
                                      </p:cBhvr>
                                      <p:rCtr x="-2046" y="0"/>
                                    </p:animMotion>
                                  </p:childTnLst>
                                </p:cTn>
                              </p:par>
                              <p:par>
                                <p:cTn id="55" presetID="10" presetClass="entr" presetSubtype="0" fill="hold" grpId="0" nodeType="withEffect">
                                  <p:stCondLst>
                                    <p:cond delay="300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5" grpId="1"/>
      <p:bldP spid="50" grpId="0"/>
      <p:bldP spid="50" grpId="1"/>
      <p:bldP spid="93" grpId="0"/>
      <p:bldP spid="93" grpId="1"/>
      <p:bldP spid="127" grpId="0"/>
      <p:bldP spid="127" grpId="1"/>
      <p:bldP spid="3"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73" imgH="476" progId="TCLayout.ActiveDocument.1">
                  <p:embed/>
                </p:oleObj>
              </mc:Choice>
              <mc:Fallback>
                <p:oleObj name="Slide do think-cell" r:id="rId4"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m 1" descr="Tela de computador com fundo azul&#10;&#10;Descrição gerada automaticamente com confiança média">
            <a:extLst>
              <a:ext uri="{FF2B5EF4-FFF2-40B4-BE49-F238E27FC236}">
                <a16:creationId xmlns:a16="http://schemas.microsoft.com/office/drawing/2014/main" id="{EF11FDFD-6B4B-CB6C-462E-DB09FCDB4CB3}"/>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pSp>
        <p:nvGrpSpPr>
          <p:cNvPr id="5" name="Agrupar 4">
            <a:extLst>
              <a:ext uri="{FF2B5EF4-FFF2-40B4-BE49-F238E27FC236}">
                <a16:creationId xmlns:a16="http://schemas.microsoft.com/office/drawing/2014/main" id="{8953CBF2-A1B2-B720-CDFD-254C0F853470}"/>
              </a:ext>
            </a:extLst>
          </p:cNvPr>
          <p:cNvGrpSpPr/>
          <p:nvPr/>
        </p:nvGrpSpPr>
        <p:grpSpPr>
          <a:xfrm>
            <a:off x="218383" y="178646"/>
            <a:ext cx="304729" cy="336545"/>
            <a:chOff x="218383" y="178646"/>
            <a:chExt cx="304729" cy="336545"/>
          </a:xfrm>
        </p:grpSpPr>
        <p:sp>
          <p:nvSpPr>
            <p:cNvPr id="6" name="Forma Livre: Forma 5">
              <a:extLst>
                <a:ext uri="{FF2B5EF4-FFF2-40B4-BE49-F238E27FC236}">
                  <a16:creationId xmlns:a16="http://schemas.microsoft.com/office/drawing/2014/main" id="{C033BBB4-3984-9DBD-6511-142C49C116C5}"/>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7" name="CaixaDeTexto 6">
              <a:extLst>
                <a:ext uri="{FF2B5EF4-FFF2-40B4-BE49-F238E27FC236}">
                  <a16:creationId xmlns:a16="http://schemas.microsoft.com/office/drawing/2014/main" id="{48355691-99CB-C22B-A9C9-114DDCAF7965}"/>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sp>
        <p:nvSpPr>
          <p:cNvPr id="17" name="CaixaDeTexto 16">
            <a:extLst>
              <a:ext uri="{FF2B5EF4-FFF2-40B4-BE49-F238E27FC236}">
                <a16:creationId xmlns:a16="http://schemas.microsoft.com/office/drawing/2014/main" id="{4BD0DEFB-DFF9-BB63-583E-8504EEA97A98}"/>
              </a:ext>
            </a:extLst>
          </p:cNvPr>
          <p:cNvSpPr txBox="1"/>
          <p:nvPr/>
        </p:nvSpPr>
        <p:spPr>
          <a:xfrm>
            <a:off x="221527" y="1464378"/>
            <a:ext cx="4597899" cy="510909"/>
          </a:xfrm>
          <a:prstGeom prst="rect">
            <a:avLst/>
          </a:prstGeom>
          <a:noFill/>
        </p:spPr>
        <p:txBody>
          <a:bodyPr wrap="square" rtlCol="0">
            <a:spAutoFit/>
          </a:bodyPr>
          <a:lstStyle/>
          <a:p>
            <a:pPr lvl="0" defTabSz="675010">
              <a:lnSpc>
                <a:spcPct val="85000"/>
              </a:lnSpc>
              <a:spcBef>
                <a:spcPts val="148"/>
              </a:spcBef>
              <a:spcAft>
                <a:spcPts val="148"/>
              </a:spcAft>
              <a:defRPr/>
            </a:pPr>
            <a:r>
              <a:rPr lang="en-US"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Revenue from Improvements between Tariff Cycles</a:t>
            </a:r>
            <a:endPar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endParaRPr>
          </a:p>
        </p:txBody>
      </p:sp>
      <p:sp>
        <p:nvSpPr>
          <p:cNvPr id="18" name="CaixaDeTexto 17">
            <a:extLst>
              <a:ext uri="{FF2B5EF4-FFF2-40B4-BE49-F238E27FC236}">
                <a16:creationId xmlns:a16="http://schemas.microsoft.com/office/drawing/2014/main" id="{CBBDF43D-294C-3A09-4F7B-C8CAEED86A00}"/>
              </a:ext>
            </a:extLst>
          </p:cNvPr>
          <p:cNvSpPr txBox="1"/>
          <p:nvPr/>
        </p:nvSpPr>
        <p:spPr>
          <a:xfrm>
            <a:off x="221527" y="691859"/>
            <a:ext cx="4278242" cy="82484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a:solidFill>
                  <a:srgbClr val="002581"/>
                </a:solidFill>
                <a:effectLst/>
                <a:uFillTx/>
                <a:latin typeface="Segoe UI Black"/>
              </a:rPr>
              <a:t>PERIODIC TARIFF REVIEW (RTP)</a:t>
            </a:r>
            <a:endParaRPr lang="en-US" sz="2800" b="1" i="0" u="none" strike="noStrike" cap="none" baseline="0" dirty="0">
              <a:solidFill>
                <a:srgbClr val="002581"/>
              </a:solidFill>
              <a:effectLst/>
              <a:uFillTx/>
              <a:latin typeface="Segoe UI Black"/>
            </a:endParaRPr>
          </a:p>
        </p:txBody>
      </p:sp>
      <p:sp>
        <p:nvSpPr>
          <p:cNvPr id="22" name="Isosceles Triangle 1">
            <a:extLst>
              <a:ext uri="{FF2B5EF4-FFF2-40B4-BE49-F238E27FC236}">
                <a16:creationId xmlns:a16="http://schemas.microsoft.com/office/drawing/2014/main" id="{0A7DD805-07A7-E647-B52A-BA63576D7F96}"/>
              </a:ext>
            </a:extLst>
          </p:cNvPr>
          <p:cNvSpPr/>
          <p:nvPr/>
        </p:nvSpPr>
        <p:spPr>
          <a:xfrm>
            <a:off x="5936183"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3" name="Isosceles Triangle 4">
            <a:extLst>
              <a:ext uri="{FF2B5EF4-FFF2-40B4-BE49-F238E27FC236}">
                <a16:creationId xmlns:a16="http://schemas.microsoft.com/office/drawing/2014/main" id="{1F83C2AB-35CE-A662-A1BF-5C80009AD824}"/>
              </a:ext>
            </a:extLst>
          </p:cNvPr>
          <p:cNvSpPr/>
          <p:nvPr/>
        </p:nvSpPr>
        <p:spPr>
          <a:xfrm>
            <a:off x="6396125"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rgbClr val="00BCB8"/>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4" name="Isosceles Triangle 4">
            <a:extLst>
              <a:ext uri="{FF2B5EF4-FFF2-40B4-BE49-F238E27FC236}">
                <a16:creationId xmlns:a16="http://schemas.microsoft.com/office/drawing/2014/main" id="{B9C4556F-6B3C-FBBC-9E7C-ADA3FEFC8B8C}"/>
              </a:ext>
            </a:extLst>
          </p:cNvPr>
          <p:cNvSpPr/>
          <p:nvPr/>
        </p:nvSpPr>
        <p:spPr>
          <a:xfrm flipH="1">
            <a:off x="7093445"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5" name="Isosceles Triangle 1">
            <a:extLst>
              <a:ext uri="{FF2B5EF4-FFF2-40B4-BE49-F238E27FC236}">
                <a16:creationId xmlns:a16="http://schemas.microsoft.com/office/drawing/2014/main" id="{A08545A9-70AF-2B2F-2347-9F57B0BED86D}"/>
              </a:ext>
            </a:extLst>
          </p:cNvPr>
          <p:cNvSpPr/>
          <p:nvPr/>
        </p:nvSpPr>
        <p:spPr>
          <a:xfrm flipH="1">
            <a:off x="7070491"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6" name="Rectangle 16">
            <a:extLst>
              <a:ext uri="{FF2B5EF4-FFF2-40B4-BE49-F238E27FC236}">
                <a16:creationId xmlns:a16="http://schemas.microsoft.com/office/drawing/2014/main" id="{DD7EA6A4-F153-81DC-35CC-BE1D3DEEDE95}"/>
              </a:ext>
            </a:extLst>
          </p:cNvPr>
          <p:cNvSpPr/>
          <p:nvPr/>
        </p:nvSpPr>
        <p:spPr>
          <a:xfrm>
            <a:off x="6856393" y="1979858"/>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7" name="CaixaDeTexto 26">
            <a:extLst>
              <a:ext uri="{FF2B5EF4-FFF2-40B4-BE49-F238E27FC236}">
                <a16:creationId xmlns:a16="http://schemas.microsoft.com/office/drawing/2014/main" id="{95D02310-1AFD-11C4-AD5D-358E351D022A}"/>
              </a:ext>
            </a:extLst>
          </p:cNvPr>
          <p:cNvSpPr txBox="1"/>
          <p:nvPr/>
        </p:nvSpPr>
        <p:spPr>
          <a:xfrm>
            <a:off x="6844670" y="2659730"/>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thers</a:t>
            </a:r>
          </a:p>
        </p:txBody>
      </p:sp>
      <p:sp>
        <p:nvSpPr>
          <p:cNvPr id="28" name="CaixaDeTexto 27">
            <a:extLst>
              <a:ext uri="{FF2B5EF4-FFF2-40B4-BE49-F238E27FC236}">
                <a16:creationId xmlns:a16="http://schemas.microsoft.com/office/drawing/2014/main" id="{A89FFAA8-8181-18DB-0B43-A4D4BC270B20}"/>
              </a:ext>
            </a:extLst>
          </p:cNvPr>
          <p:cNvSpPr txBox="1"/>
          <p:nvPr/>
        </p:nvSpPr>
        <p:spPr>
          <a:xfrm>
            <a:off x="6414389" y="3520566"/>
            <a:ext cx="933576"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AP</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Improvements</a:t>
            </a:r>
          </a:p>
        </p:txBody>
      </p:sp>
      <p:sp>
        <p:nvSpPr>
          <p:cNvPr id="29" name="CaixaDeTexto 28">
            <a:extLst>
              <a:ext uri="{FF2B5EF4-FFF2-40B4-BE49-F238E27FC236}">
                <a16:creationId xmlns:a16="http://schemas.microsoft.com/office/drawing/2014/main" id="{7E4F5BBB-A08B-9CE0-4D78-570E2FFC05B1}"/>
              </a:ext>
            </a:extLst>
          </p:cNvPr>
          <p:cNvSpPr txBox="1"/>
          <p:nvPr/>
        </p:nvSpPr>
        <p:spPr>
          <a:xfrm>
            <a:off x="7208810" y="3422472"/>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WACC</a:t>
            </a:r>
          </a:p>
        </p:txBody>
      </p:sp>
      <p:sp>
        <p:nvSpPr>
          <p:cNvPr id="30" name="CaixaDeTexto 29">
            <a:extLst>
              <a:ext uri="{FF2B5EF4-FFF2-40B4-BE49-F238E27FC236}">
                <a16:creationId xmlns:a16="http://schemas.microsoft.com/office/drawing/2014/main" id="{340DAC9D-A266-0F5E-C8B2-3001E7AFDC66}"/>
              </a:ext>
            </a:extLst>
          </p:cNvPr>
          <p:cNvSpPr txBox="1"/>
          <p:nvPr/>
        </p:nvSpPr>
        <p:spPr>
          <a:xfrm>
            <a:off x="6206075" y="4398898"/>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BRR</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BP</a:t>
            </a:r>
          </a:p>
        </p:txBody>
      </p:sp>
      <p:sp>
        <p:nvSpPr>
          <p:cNvPr id="33" name="CaixaDeTexto 32">
            <a:extLst>
              <a:ext uri="{FF2B5EF4-FFF2-40B4-BE49-F238E27FC236}">
                <a16:creationId xmlns:a16="http://schemas.microsoft.com/office/drawing/2014/main" id="{03CE4228-93A2-526B-834F-9AAF268C3A37}"/>
              </a:ext>
            </a:extLst>
          </p:cNvPr>
          <p:cNvSpPr txBox="1"/>
          <p:nvPr/>
        </p:nvSpPr>
        <p:spPr>
          <a:xfrm>
            <a:off x="7418475" y="4472764"/>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amp;M</a:t>
            </a:r>
          </a:p>
        </p:txBody>
      </p:sp>
      <p:grpSp>
        <p:nvGrpSpPr>
          <p:cNvPr id="47" name="Agrupar 46">
            <a:extLst>
              <a:ext uri="{FF2B5EF4-FFF2-40B4-BE49-F238E27FC236}">
                <a16:creationId xmlns:a16="http://schemas.microsoft.com/office/drawing/2014/main" id="{D143F08E-A7D4-8554-41F2-02D14C9A3EAD}"/>
              </a:ext>
            </a:extLst>
          </p:cNvPr>
          <p:cNvGrpSpPr/>
          <p:nvPr/>
        </p:nvGrpSpPr>
        <p:grpSpPr>
          <a:xfrm>
            <a:off x="4725990" y="875938"/>
            <a:ext cx="297884" cy="291179"/>
            <a:chOff x="8313122" y="2344436"/>
            <a:chExt cx="373665" cy="373665"/>
          </a:xfrm>
        </p:grpSpPr>
        <p:sp>
          <p:nvSpPr>
            <p:cNvPr id="48" name="Elipse 47">
              <a:extLst>
                <a:ext uri="{FF2B5EF4-FFF2-40B4-BE49-F238E27FC236}">
                  <a16:creationId xmlns:a16="http://schemas.microsoft.com/office/drawing/2014/main" id="{FD35F3C9-E426-6405-5EBB-C131BEB25727}"/>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Seta: Divisa 48">
              <a:extLst>
                <a:ext uri="{FF2B5EF4-FFF2-40B4-BE49-F238E27FC236}">
                  <a16:creationId xmlns:a16="http://schemas.microsoft.com/office/drawing/2014/main" id="{2882974E-4692-0B2E-F358-2DDB6D996E25}"/>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1" name="CaixaDeTexto 50">
            <a:extLst>
              <a:ext uri="{FF2B5EF4-FFF2-40B4-BE49-F238E27FC236}">
                <a16:creationId xmlns:a16="http://schemas.microsoft.com/office/drawing/2014/main" id="{E28F2B82-3417-089E-375A-0A3C1E172248}"/>
              </a:ext>
            </a:extLst>
          </p:cNvPr>
          <p:cNvSpPr txBox="1"/>
          <p:nvPr/>
        </p:nvSpPr>
        <p:spPr>
          <a:xfrm>
            <a:off x="5034469" y="910310"/>
            <a:ext cx="1546777"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400" b="1" spc="0">
                <a:solidFill>
                  <a:srgbClr val="011F57"/>
                </a:solidFill>
                <a:latin typeface="Segoe UI" panose="020B0502040204020203" pitchFamily="34" charset="0"/>
                <a:cs typeface="Segoe UI" panose="020B0502040204020203" pitchFamily="34" charset="0"/>
              </a:rPr>
              <a:t>RAP Melhorias</a:t>
            </a:r>
          </a:p>
        </p:txBody>
      </p:sp>
      <p:pic>
        <p:nvPicPr>
          <p:cNvPr id="53" name="Imagem 52" descr="Uma imagem contendo Interface gráfica do usuário&#10;&#10;Descrição gerada automaticamente">
            <a:extLst>
              <a:ext uri="{FF2B5EF4-FFF2-40B4-BE49-F238E27FC236}">
                <a16:creationId xmlns:a16="http://schemas.microsoft.com/office/drawing/2014/main" id="{A10131C1-14F7-2FBA-CEA5-3026AF4D89A8}"/>
              </a:ext>
            </a:extLst>
          </p:cNvPr>
          <p:cNvPicPr>
            <a:picLocks noChangeAspect="1"/>
          </p:cNvPicPr>
          <p:nvPr/>
        </p:nvPicPr>
        <p:blipFill>
          <a:blip r:embed="rId7"/>
          <a:stretch>
            <a:fillRect/>
          </a:stretch>
        </p:blipFill>
        <p:spPr>
          <a:xfrm>
            <a:off x="8039840" y="60434"/>
            <a:ext cx="920231" cy="509571"/>
          </a:xfrm>
          <a:prstGeom prst="rect">
            <a:avLst/>
          </a:prstGeom>
        </p:spPr>
      </p:pic>
      <p:sp>
        <p:nvSpPr>
          <p:cNvPr id="54" name="CaixaDeTexto 53">
            <a:extLst>
              <a:ext uri="{FF2B5EF4-FFF2-40B4-BE49-F238E27FC236}">
                <a16:creationId xmlns:a16="http://schemas.microsoft.com/office/drawing/2014/main" id="{D644D624-E4AC-A7DC-C04B-829EC3630760}"/>
              </a:ext>
            </a:extLst>
          </p:cNvPr>
          <p:cNvSpPr txBox="1"/>
          <p:nvPr/>
        </p:nvSpPr>
        <p:spPr>
          <a:xfrm>
            <a:off x="4633145" y="1205710"/>
            <a:ext cx="4069682"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200" spc="0">
                <a:solidFill>
                  <a:srgbClr val="F66727"/>
                </a:solidFill>
                <a:latin typeface="Segoe UI" panose="020B0502040204020203" pitchFamily="34" charset="0"/>
                <a:cs typeface="Segoe UI" panose="020B0502040204020203" pitchFamily="34" charset="0"/>
              </a:rPr>
              <a:t>Tariff Regulation Procedures (PRORET) provides for regulatory annuity for small improvements with definitive review in the RTP (retroactive adjustment)</a:t>
            </a:r>
            <a:endParaRPr lang="pt-BR" sz="1200" spc="0">
              <a:solidFill>
                <a:srgbClr val="F66727"/>
              </a:solidFill>
              <a:latin typeface="Segoe UI" panose="020B0502040204020203" pitchFamily="34" charset="0"/>
              <a:cs typeface="Segoe UI" panose="020B0502040204020203" pitchFamily="34" charset="0"/>
            </a:endParaRPr>
          </a:p>
        </p:txBody>
      </p:sp>
      <p:grpSp>
        <p:nvGrpSpPr>
          <p:cNvPr id="56" name="Agrupar 55">
            <a:extLst>
              <a:ext uri="{FF2B5EF4-FFF2-40B4-BE49-F238E27FC236}">
                <a16:creationId xmlns:a16="http://schemas.microsoft.com/office/drawing/2014/main" id="{8E6A7586-BCE5-A98E-7C39-2C20A42D00F2}"/>
              </a:ext>
            </a:extLst>
          </p:cNvPr>
          <p:cNvGrpSpPr/>
          <p:nvPr/>
        </p:nvGrpSpPr>
        <p:grpSpPr>
          <a:xfrm>
            <a:off x="326429" y="2575532"/>
            <a:ext cx="5558555" cy="654845"/>
            <a:chOff x="326429" y="1870245"/>
            <a:chExt cx="5558555" cy="485680"/>
          </a:xfrm>
        </p:grpSpPr>
        <p:sp>
          <p:nvSpPr>
            <p:cNvPr id="57" name="Retângulo: Cantos Arredondados 56">
              <a:extLst>
                <a:ext uri="{FF2B5EF4-FFF2-40B4-BE49-F238E27FC236}">
                  <a16:creationId xmlns:a16="http://schemas.microsoft.com/office/drawing/2014/main" id="{E5085153-FD7F-9378-C4ED-910573117F8F}"/>
                </a:ext>
              </a:extLst>
            </p:cNvPr>
            <p:cNvSpPr/>
            <p:nvPr/>
          </p:nvSpPr>
          <p:spPr>
            <a:xfrm>
              <a:off x="326429" y="1870245"/>
              <a:ext cx="5558555" cy="485680"/>
            </a:xfrm>
            <a:prstGeom prst="roundRect">
              <a:avLst>
                <a:gd name="adj" fmla="val 50000"/>
              </a:avLst>
            </a:prstGeom>
            <a:gradFill>
              <a:gsLst>
                <a:gs pos="0">
                  <a:srgbClr val="05C8C4">
                    <a:alpha val="56000"/>
                  </a:srgbClr>
                </a:gs>
                <a:gs pos="100000">
                  <a:srgbClr val="05C8C4"/>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400">
                <a:solidFill>
                  <a:prstClr val="white"/>
                </a:solidFill>
                <a:latin typeface="Calibri" panose="020F0502020204030204"/>
              </a:endParaRPr>
            </a:p>
          </p:txBody>
        </p:sp>
        <p:sp>
          <p:nvSpPr>
            <p:cNvPr id="58" name="CaixaDeTexto 57">
              <a:extLst>
                <a:ext uri="{FF2B5EF4-FFF2-40B4-BE49-F238E27FC236}">
                  <a16:creationId xmlns:a16="http://schemas.microsoft.com/office/drawing/2014/main" id="{E0E4FB63-7112-1CF9-BD7B-CC9CA6F6A3F0}"/>
                </a:ext>
              </a:extLst>
            </p:cNvPr>
            <p:cNvSpPr txBox="1"/>
            <p:nvPr/>
          </p:nvSpPr>
          <p:spPr>
            <a:xfrm>
              <a:off x="978946" y="1957613"/>
              <a:ext cx="4111896" cy="32414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400" b="1" spc="0">
                  <a:latin typeface="Segoe UI" panose="020B0502040204020203" pitchFamily="34" charset="0"/>
                  <a:cs typeface="Segoe UI" panose="020B0502040204020203" pitchFamily="34" charset="0"/>
                </a:rPr>
                <a:t>RTP Public Consult</a:t>
              </a:r>
            </a:p>
            <a:p>
              <a:pPr algn="ctr" defTabSz="234364"/>
              <a:r>
                <a:rPr lang="en-US" sz="1400" spc="0">
                  <a:latin typeface="Segoe UI" panose="020B0502040204020203" pitchFamily="34" charset="0"/>
                  <a:cs typeface="Segoe UI" panose="020B0502040204020203" pitchFamily="34" charset="0"/>
                </a:rPr>
                <a:t>Does not include alternative proposal to PRORET</a:t>
              </a:r>
              <a:endParaRPr lang="pt-BR" sz="1400" spc="0">
                <a:latin typeface="Segoe UI" panose="020B0502040204020203" pitchFamily="34" charset="0"/>
                <a:cs typeface="Segoe UI" panose="020B0502040204020203" pitchFamily="34" charset="0"/>
              </a:endParaRPr>
            </a:p>
          </p:txBody>
        </p:sp>
      </p:grpSp>
      <p:grpSp>
        <p:nvGrpSpPr>
          <p:cNvPr id="210" name="Agrupar 209">
            <a:extLst>
              <a:ext uri="{FF2B5EF4-FFF2-40B4-BE49-F238E27FC236}">
                <a16:creationId xmlns:a16="http://schemas.microsoft.com/office/drawing/2014/main" id="{C53498D3-4B14-6D84-8E75-4FE78E594FB1}"/>
              </a:ext>
            </a:extLst>
          </p:cNvPr>
          <p:cNvGrpSpPr/>
          <p:nvPr/>
        </p:nvGrpSpPr>
        <p:grpSpPr>
          <a:xfrm>
            <a:off x="326429" y="3397691"/>
            <a:ext cx="5558555" cy="654845"/>
            <a:chOff x="326429" y="3086424"/>
            <a:chExt cx="5558555" cy="654845"/>
          </a:xfrm>
        </p:grpSpPr>
        <p:sp>
          <p:nvSpPr>
            <p:cNvPr id="60" name="Retângulo: Cantos Arredondados 59">
              <a:extLst>
                <a:ext uri="{FF2B5EF4-FFF2-40B4-BE49-F238E27FC236}">
                  <a16:creationId xmlns:a16="http://schemas.microsoft.com/office/drawing/2014/main" id="{904FDE61-194E-8D8D-2D1A-217D47E297EF}"/>
                </a:ext>
              </a:extLst>
            </p:cNvPr>
            <p:cNvSpPr/>
            <p:nvPr/>
          </p:nvSpPr>
          <p:spPr>
            <a:xfrm>
              <a:off x="326429" y="3086424"/>
              <a:ext cx="5558555" cy="654845"/>
            </a:xfrm>
            <a:prstGeom prst="roundRect">
              <a:avLst>
                <a:gd name="adj" fmla="val 50000"/>
              </a:avLst>
            </a:prstGeom>
            <a:gradFill>
              <a:gsLst>
                <a:gs pos="0">
                  <a:srgbClr val="05C8C4">
                    <a:alpha val="56000"/>
                  </a:srgbClr>
                </a:gs>
                <a:gs pos="100000">
                  <a:srgbClr val="05C8C4"/>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400">
                <a:solidFill>
                  <a:prstClr val="white"/>
                </a:solidFill>
                <a:latin typeface="Calibri" panose="020F0502020204030204"/>
              </a:endParaRPr>
            </a:p>
          </p:txBody>
        </p:sp>
        <p:sp>
          <p:nvSpPr>
            <p:cNvPr id="61" name="CaixaDeTexto 60">
              <a:extLst>
                <a:ext uri="{FF2B5EF4-FFF2-40B4-BE49-F238E27FC236}">
                  <a16:creationId xmlns:a16="http://schemas.microsoft.com/office/drawing/2014/main" id="{F709EFFC-EA70-BFA0-77E3-681D6D2B08A5}"/>
                </a:ext>
              </a:extLst>
            </p:cNvPr>
            <p:cNvSpPr txBox="1"/>
            <p:nvPr/>
          </p:nvSpPr>
          <p:spPr>
            <a:xfrm>
              <a:off x="645459" y="3118037"/>
              <a:ext cx="4778870" cy="6093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400" b="1" spc="0">
                  <a:latin typeface="Segoe UI" panose="020B0502040204020203" pitchFamily="34" charset="0"/>
                  <a:cs typeface="Segoe UI" panose="020B0502040204020203" pitchFamily="34" charset="0"/>
                </a:rPr>
                <a:t>Action Plan</a:t>
              </a:r>
            </a:p>
            <a:p>
              <a:pPr algn="ctr" defTabSz="234364"/>
              <a:r>
                <a:rPr lang="en-US" sz="1400" spc="0">
                  <a:latin typeface="Segoe UI" panose="020B0502040204020203" pitchFamily="34" charset="0"/>
                  <a:cs typeface="Segoe UI" panose="020B0502040204020203" pitchFamily="34" charset="0"/>
                </a:rPr>
                <a:t>Leadership in sectoral action to present a proposal to improve PRORET</a:t>
              </a:r>
              <a:endParaRPr lang="pt-BR" sz="1400" spc="0">
                <a:latin typeface="Segoe UI" panose="020B0502040204020203" pitchFamily="34" charset="0"/>
                <a:cs typeface="Segoe UI" panose="020B0502040204020203" pitchFamily="34" charset="0"/>
              </a:endParaRPr>
            </a:p>
          </p:txBody>
        </p:sp>
      </p:grpSp>
      <p:sp>
        <p:nvSpPr>
          <p:cNvPr id="9" name="CaixaDeTexto 8">
            <a:extLst>
              <a:ext uri="{FF2B5EF4-FFF2-40B4-BE49-F238E27FC236}">
                <a16:creationId xmlns:a16="http://schemas.microsoft.com/office/drawing/2014/main" id="{3D636952-1A05-F4A3-0687-7B3484B120AC}"/>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sp>
        <p:nvSpPr>
          <p:cNvPr id="3" name="CaixaDeTexto 2">
            <a:extLst>
              <a:ext uri="{FF2B5EF4-FFF2-40B4-BE49-F238E27FC236}">
                <a16:creationId xmlns:a16="http://schemas.microsoft.com/office/drawing/2014/main" id="{AD0A8ED9-C8FB-9DCF-A6E6-8E811D0AA619}"/>
              </a:ext>
            </a:extLst>
          </p:cNvPr>
          <p:cNvSpPr txBox="1"/>
          <p:nvPr/>
        </p:nvSpPr>
        <p:spPr>
          <a:xfrm>
            <a:off x="28821" y="4810631"/>
            <a:ext cx="18624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Values in Jan/2023 database</a:t>
            </a:r>
            <a:endParaRPr lang="pt-BR" sz="800">
              <a:solidFill>
                <a:srgbClr val="011F5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26579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4"/>
                                        </p:tgtEl>
                                        <p:attrNameLst>
                                          <p:attrName>style.visibility</p:attrName>
                                        </p:attrNameLst>
                                      </p:cBhvr>
                                      <p:to>
                                        <p:strVal val="visible"/>
                                      </p:to>
                                    </p:set>
                                    <p:animEffect transition="in" filter="fade">
                                      <p:cBhvr>
                                        <p:cTn id="7" dur="500"/>
                                        <p:tgtEl>
                                          <p:spTgt spid="54"/>
                                        </p:tgtEl>
                                      </p:cBhvr>
                                    </p:animEffect>
                                  </p:childTnLst>
                                </p:cTn>
                              </p:par>
                              <p:par>
                                <p:cTn id="8" presetID="35" presetClass="path" presetSubtype="0" accel="17000" decel="83000" fill="hold" grpId="1" nodeType="withEffect">
                                  <p:stCondLst>
                                    <p:cond delay="500"/>
                                  </p:stCondLst>
                                  <p:childTnLst>
                                    <p:animMotion origin="layout" path="M 0.02046 -3.13578E-7 L -1.40589E-6 -3.13578E-7 " pathEditMode="relative" rAng="0" ptsTypes="AA">
                                      <p:cBhvr>
                                        <p:cTn id="9" dur="750" fill="hold"/>
                                        <p:tgtEl>
                                          <p:spTgt spid="54"/>
                                        </p:tgtEl>
                                        <p:attrNameLst>
                                          <p:attrName>ppt_x</p:attrName>
                                          <p:attrName>ppt_y</p:attrName>
                                        </p:attrNameLst>
                                      </p:cBhvr>
                                      <p:rCtr x="-1023" y="0"/>
                                    </p:animMotion>
                                  </p:childTnLst>
                                </p:cTn>
                              </p:par>
                              <p:par>
                                <p:cTn id="10" presetID="10"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childTnLst>
                                </p:cTn>
                              </p:par>
                              <p:par>
                                <p:cTn id="13" presetID="35" presetClass="path" presetSubtype="0" accel="17000" decel="83000" fill="hold" grpId="1" nodeType="withEffect">
                                  <p:stCondLst>
                                    <p:cond delay="0"/>
                                  </p:stCondLst>
                                  <p:childTnLst>
                                    <p:animMotion origin="layout" path="M 0.02046 -4.89182E-6 L 4.93914E-8 -4.89182E-6 " pathEditMode="relative" rAng="0" ptsTypes="AA">
                                      <p:cBhvr>
                                        <p:cTn id="14" dur="750" fill="hold"/>
                                        <p:tgtEl>
                                          <p:spTgt spid="17"/>
                                        </p:tgtEl>
                                        <p:attrNameLst>
                                          <p:attrName>ppt_x</p:attrName>
                                          <p:attrName>ppt_y</p:attrName>
                                        </p:attrNameLst>
                                      </p:cBhvr>
                                      <p:rCtr x="-1023" y="0"/>
                                    </p:animMotion>
                                  </p:childTnLst>
                                </p:cTn>
                              </p:par>
                              <p:par>
                                <p:cTn id="15" presetID="10" presetClass="entr" presetSubtype="0" fill="hold" nodeType="withEffect">
                                  <p:stCondLst>
                                    <p:cond delay="750"/>
                                  </p:stCondLst>
                                  <p:childTnLst>
                                    <p:set>
                                      <p:cBhvr>
                                        <p:cTn id="16" dur="1" fill="hold">
                                          <p:stCondLst>
                                            <p:cond delay="0"/>
                                          </p:stCondLst>
                                        </p:cTn>
                                        <p:tgtEl>
                                          <p:spTgt spid="56"/>
                                        </p:tgtEl>
                                        <p:attrNameLst>
                                          <p:attrName>style.visibility</p:attrName>
                                        </p:attrNameLst>
                                      </p:cBhvr>
                                      <p:to>
                                        <p:strVal val="visible"/>
                                      </p:to>
                                    </p:set>
                                    <p:animEffect transition="in" filter="fade">
                                      <p:cBhvr>
                                        <p:cTn id="17" dur="500"/>
                                        <p:tgtEl>
                                          <p:spTgt spid="56"/>
                                        </p:tgtEl>
                                      </p:cBhvr>
                                    </p:animEffect>
                                  </p:childTnLst>
                                </p:cTn>
                              </p:par>
                              <p:par>
                                <p:cTn id="18" presetID="23" presetClass="entr" presetSubtype="288" fill="hold" nodeType="withEffect">
                                  <p:stCondLst>
                                    <p:cond delay="750"/>
                                  </p:stCondLst>
                                  <p:childTnLst>
                                    <p:set>
                                      <p:cBhvr>
                                        <p:cTn id="19" dur="1" fill="hold">
                                          <p:stCondLst>
                                            <p:cond delay="0"/>
                                          </p:stCondLst>
                                        </p:cTn>
                                        <p:tgtEl>
                                          <p:spTgt spid="56"/>
                                        </p:tgtEl>
                                        <p:attrNameLst>
                                          <p:attrName>style.visibility</p:attrName>
                                        </p:attrNameLst>
                                      </p:cBhvr>
                                      <p:to>
                                        <p:strVal val="visible"/>
                                      </p:to>
                                    </p:set>
                                    <p:anim calcmode="lin" valueType="num">
                                      <p:cBhvr>
                                        <p:cTn id="20" dur="500" fill="hold"/>
                                        <p:tgtEl>
                                          <p:spTgt spid="56"/>
                                        </p:tgtEl>
                                        <p:attrNameLst>
                                          <p:attrName>ppt_w</p:attrName>
                                        </p:attrNameLst>
                                      </p:cBhvr>
                                      <p:tavLst>
                                        <p:tav tm="0">
                                          <p:val>
                                            <p:strVal val="4/3*#ppt_w"/>
                                          </p:val>
                                        </p:tav>
                                        <p:tav tm="100000">
                                          <p:val>
                                            <p:strVal val="#ppt_w"/>
                                          </p:val>
                                        </p:tav>
                                      </p:tavLst>
                                    </p:anim>
                                    <p:anim calcmode="lin" valueType="num">
                                      <p:cBhvr>
                                        <p:cTn id="21" dur="500" fill="hold"/>
                                        <p:tgtEl>
                                          <p:spTgt spid="56"/>
                                        </p:tgtEl>
                                        <p:attrNameLst>
                                          <p:attrName>ppt_h</p:attrName>
                                        </p:attrNameLst>
                                      </p:cBhvr>
                                      <p:tavLst>
                                        <p:tav tm="0">
                                          <p:val>
                                            <p:strVal val="4/3*#ppt_h"/>
                                          </p:val>
                                        </p:tav>
                                        <p:tav tm="100000">
                                          <p:val>
                                            <p:strVal val="#ppt_h"/>
                                          </p:val>
                                        </p:tav>
                                      </p:tavLst>
                                    </p:anim>
                                  </p:childTnLst>
                                </p:cTn>
                              </p:par>
                              <p:par>
                                <p:cTn id="22" presetID="10" presetClass="entr" presetSubtype="0" fill="hold" nodeType="withEffect">
                                  <p:stCondLst>
                                    <p:cond delay="250"/>
                                  </p:stCondLst>
                                  <p:childTnLst>
                                    <p:set>
                                      <p:cBhvr>
                                        <p:cTn id="23" dur="1" fill="hold">
                                          <p:stCondLst>
                                            <p:cond delay="0"/>
                                          </p:stCondLst>
                                        </p:cTn>
                                        <p:tgtEl>
                                          <p:spTgt spid="47"/>
                                        </p:tgtEl>
                                        <p:attrNameLst>
                                          <p:attrName>style.visibility</p:attrName>
                                        </p:attrNameLst>
                                      </p:cBhvr>
                                      <p:to>
                                        <p:strVal val="visible"/>
                                      </p:to>
                                    </p:set>
                                    <p:animEffect transition="in" filter="fade">
                                      <p:cBhvr>
                                        <p:cTn id="24" dur="500"/>
                                        <p:tgtEl>
                                          <p:spTgt spid="47"/>
                                        </p:tgtEl>
                                      </p:cBhvr>
                                    </p:animEffect>
                                  </p:childTnLst>
                                </p:cTn>
                              </p:par>
                              <p:par>
                                <p:cTn id="25" presetID="35" presetClass="path" presetSubtype="0" accel="17000" decel="83000" fill="hold" nodeType="withEffect">
                                  <p:stCondLst>
                                    <p:cond delay="250"/>
                                  </p:stCondLst>
                                  <p:childTnLst>
                                    <p:animMotion origin="layout" path="M -0.03211 -6.05205E-7 L 1.88393E-6 -6.05205E-7 " pathEditMode="relative" rAng="0" ptsTypes="AA">
                                      <p:cBhvr>
                                        <p:cTn id="26" dur="750" fill="hold"/>
                                        <p:tgtEl>
                                          <p:spTgt spid="47"/>
                                        </p:tgtEl>
                                        <p:attrNameLst>
                                          <p:attrName>ppt_x</p:attrName>
                                          <p:attrName>ppt_y</p:attrName>
                                        </p:attrNameLst>
                                      </p:cBhvr>
                                      <p:rCtr x="1605" y="0"/>
                                    </p:animMotion>
                                  </p:childTnLst>
                                </p:cTn>
                              </p:par>
                              <p:par>
                                <p:cTn id="27" presetID="10" presetClass="entr" presetSubtype="0" fill="hold" grpId="0" nodeType="withEffect">
                                  <p:stCondLst>
                                    <p:cond delay="250"/>
                                  </p:stCondLst>
                                  <p:childTnLst>
                                    <p:set>
                                      <p:cBhvr>
                                        <p:cTn id="28" dur="1" fill="hold">
                                          <p:stCondLst>
                                            <p:cond delay="0"/>
                                          </p:stCondLst>
                                        </p:cTn>
                                        <p:tgtEl>
                                          <p:spTgt spid="51"/>
                                        </p:tgtEl>
                                        <p:attrNameLst>
                                          <p:attrName>style.visibility</p:attrName>
                                        </p:attrNameLst>
                                      </p:cBhvr>
                                      <p:to>
                                        <p:strVal val="visible"/>
                                      </p:to>
                                    </p:set>
                                    <p:animEffect transition="in" filter="fade">
                                      <p:cBhvr>
                                        <p:cTn id="29" dur="500"/>
                                        <p:tgtEl>
                                          <p:spTgt spid="51"/>
                                        </p:tgtEl>
                                      </p:cBhvr>
                                    </p:animEffect>
                                  </p:childTnLst>
                                </p:cTn>
                              </p:par>
                              <p:par>
                                <p:cTn id="30" presetID="35" presetClass="path" presetSubtype="0" accel="17000" decel="83000" fill="hold" grpId="1" nodeType="withEffect">
                                  <p:stCondLst>
                                    <p:cond delay="250"/>
                                  </p:stCondLst>
                                  <p:childTnLst>
                                    <p:animMotion origin="layout" path="M 0.02047 2.88178E-6 L -3.71494E-6 2.88178E-6 " pathEditMode="relative" rAng="0" ptsTypes="AA">
                                      <p:cBhvr>
                                        <p:cTn id="31" dur="750" fill="hold"/>
                                        <p:tgtEl>
                                          <p:spTgt spid="51"/>
                                        </p:tgtEl>
                                        <p:attrNameLst>
                                          <p:attrName>ppt_x</p:attrName>
                                          <p:attrName>ppt_y</p:attrName>
                                        </p:attrNameLst>
                                      </p:cBhvr>
                                      <p:rCtr x="-1023" y="0"/>
                                    </p:animMotion>
                                  </p:childTnLst>
                                </p:cTn>
                              </p:par>
                              <p:par>
                                <p:cTn id="32" presetID="10" presetClass="entr" presetSubtype="0" fill="hold" nodeType="withEffect">
                                  <p:stCondLst>
                                    <p:cond delay="1000"/>
                                  </p:stCondLst>
                                  <p:childTnLst>
                                    <p:set>
                                      <p:cBhvr>
                                        <p:cTn id="33" dur="1" fill="hold">
                                          <p:stCondLst>
                                            <p:cond delay="0"/>
                                          </p:stCondLst>
                                        </p:cTn>
                                        <p:tgtEl>
                                          <p:spTgt spid="210"/>
                                        </p:tgtEl>
                                        <p:attrNameLst>
                                          <p:attrName>style.visibility</p:attrName>
                                        </p:attrNameLst>
                                      </p:cBhvr>
                                      <p:to>
                                        <p:strVal val="visible"/>
                                      </p:to>
                                    </p:set>
                                    <p:animEffect transition="in" filter="fade">
                                      <p:cBhvr>
                                        <p:cTn id="34" dur="500"/>
                                        <p:tgtEl>
                                          <p:spTgt spid="210"/>
                                        </p:tgtEl>
                                      </p:cBhvr>
                                    </p:animEffect>
                                  </p:childTnLst>
                                </p:cTn>
                              </p:par>
                              <p:par>
                                <p:cTn id="35" presetID="23" presetClass="entr" presetSubtype="288" fill="hold" nodeType="withEffect">
                                  <p:stCondLst>
                                    <p:cond delay="1000"/>
                                  </p:stCondLst>
                                  <p:childTnLst>
                                    <p:set>
                                      <p:cBhvr>
                                        <p:cTn id="36" dur="1" fill="hold">
                                          <p:stCondLst>
                                            <p:cond delay="0"/>
                                          </p:stCondLst>
                                        </p:cTn>
                                        <p:tgtEl>
                                          <p:spTgt spid="210"/>
                                        </p:tgtEl>
                                        <p:attrNameLst>
                                          <p:attrName>style.visibility</p:attrName>
                                        </p:attrNameLst>
                                      </p:cBhvr>
                                      <p:to>
                                        <p:strVal val="visible"/>
                                      </p:to>
                                    </p:set>
                                    <p:anim calcmode="lin" valueType="num">
                                      <p:cBhvr>
                                        <p:cTn id="37" dur="500" fill="hold"/>
                                        <p:tgtEl>
                                          <p:spTgt spid="210"/>
                                        </p:tgtEl>
                                        <p:attrNameLst>
                                          <p:attrName>ppt_w</p:attrName>
                                        </p:attrNameLst>
                                      </p:cBhvr>
                                      <p:tavLst>
                                        <p:tav tm="0">
                                          <p:val>
                                            <p:strVal val="4/3*#ppt_w"/>
                                          </p:val>
                                        </p:tav>
                                        <p:tav tm="100000">
                                          <p:val>
                                            <p:strVal val="#ppt_w"/>
                                          </p:val>
                                        </p:tav>
                                      </p:tavLst>
                                    </p:anim>
                                    <p:anim calcmode="lin" valueType="num">
                                      <p:cBhvr>
                                        <p:cTn id="38" dur="500" fill="hold"/>
                                        <p:tgtEl>
                                          <p:spTgt spid="210"/>
                                        </p:tgtEl>
                                        <p:attrNameLst>
                                          <p:attrName>ppt_h</p:attrName>
                                        </p:attrNameLst>
                                      </p:cBhvr>
                                      <p:tavLst>
                                        <p:tav tm="0">
                                          <p:val>
                                            <p:strVal val="4/3*#ppt_h"/>
                                          </p:val>
                                        </p:tav>
                                        <p:tav tm="100000">
                                          <p:val>
                                            <p:strVal val="#ppt_h"/>
                                          </p:val>
                                        </p:tav>
                                      </p:tavLst>
                                    </p:anim>
                                  </p:childTnLst>
                                </p:cTn>
                              </p:par>
                              <p:par>
                                <p:cTn id="39" presetID="10" presetClass="entr" presetSubtype="0" fill="hold" grpId="0" nodeType="withEffect">
                                  <p:stCondLst>
                                    <p:cond delay="3000"/>
                                  </p:stCondLst>
                                  <p:childTnLst>
                                    <p:set>
                                      <p:cBhvr>
                                        <p:cTn id="40" dur="1" fill="hold">
                                          <p:stCondLst>
                                            <p:cond delay="0"/>
                                          </p:stCondLst>
                                        </p:cTn>
                                        <p:tgtEl>
                                          <p:spTgt spid="3"/>
                                        </p:tgtEl>
                                        <p:attrNameLst>
                                          <p:attrName>style.visibility</p:attrName>
                                        </p:attrNameLst>
                                      </p:cBhvr>
                                      <p:to>
                                        <p:strVal val="visible"/>
                                      </p:to>
                                    </p:set>
                                    <p:animEffect transition="in" filter="fade">
                                      <p:cBhvr>
                                        <p:cTn id="4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7" grpId="1"/>
      <p:bldP spid="51" grpId="0"/>
      <p:bldP spid="51" grpId="1"/>
      <p:bldP spid="54" grpId="0"/>
      <p:bldP spid="54" grpId="1"/>
      <p:bldP spid="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73" imgH="476" progId="TCLayout.ActiveDocument.1">
                  <p:embed/>
                </p:oleObj>
              </mc:Choice>
              <mc:Fallback>
                <p:oleObj name="Slide do think-cell" r:id="rId4"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m 1" descr="Tela de computador com fundo azul&#10;&#10;Descrição gerada automaticamente com confiança média">
            <a:extLst>
              <a:ext uri="{FF2B5EF4-FFF2-40B4-BE49-F238E27FC236}">
                <a16:creationId xmlns:a16="http://schemas.microsoft.com/office/drawing/2014/main" id="{FEAD3178-7A2E-5344-7168-5DC88FBBB4AC}"/>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pSp>
        <p:nvGrpSpPr>
          <p:cNvPr id="5" name="Agrupar 4">
            <a:extLst>
              <a:ext uri="{FF2B5EF4-FFF2-40B4-BE49-F238E27FC236}">
                <a16:creationId xmlns:a16="http://schemas.microsoft.com/office/drawing/2014/main" id="{4A51B877-D1B9-BAF9-63D5-844337AFAEEA}"/>
              </a:ext>
            </a:extLst>
          </p:cNvPr>
          <p:cNvGrpSpPr/>
          <p:nvPr/>
        </p:nvGrpSpPr>
        <p:grpSpPr>
          <a:xfrm>
            <a:off x="218383" y="178646"/>
            <a:ext cx="304729" cy="336545"/>
            <a:chOff x="218383" y="178646"/>
            <a:chExt cx="304729" cy="336545"/>
          </a:xfrm>
        </p:grpSpPr>
        <p:sp>
          <p:nvSpPr>
            <p:cNvPr id="6" name="Forma Livre: Forma 5">
              <a:extLst>
                <a:ext uri="{FF2B5EF4-FFF2-40B4-BE49-F238E27FC236}">
                  <a16:creationId xmlns:a16="http://schemas.microsoft.com/office/drawing/2014/main" id="{A5556698-C358-6EC8-A2B3-F987E4197B0C}"/>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7" name="CaixaDeTexto 6">
              <a:extLst>
                <a:ext uri="{FF2B5EF4-FFF2-40B4-BE49-F238E27FC236}">
                  <a16:creationId xmlns:a16="http://schemas.microsoft.com/office/drawing/2014/main" id="{61FED4AD-7B26-1B79-961C-097997AED7B6}"/>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sp>
        <p:nvSpPr>
          <p:cNvPr id="33" name="CaixaDeTexto 32">
            <a:extLst>
              <a:ext uri="{FF2B5EF4-FFF2-40B4-BE49-F238E27FC236}">
                <a16:creationId xmlns:a16="http://schemas.microsoft.com/office/drawing/2014/main" id="{442D58B8-55D1-4669-8F1A-90DE9821C528}"/>
              </a:ext>
            </a:extLst>
          </p:cNvPr>
          <p:cNvSpPr txBox="1"/>
          <p:nvPr/>
        </p:nvSpPr>
        <p:spPr>
          <a:xfrm>
            <a:off x="221527" y="1464378"/>
            <a:ext cx="4597899" cy="301621"/>
          </a:xfrm>
          <a:prstGeom prst="rect">
            <a:avLst/>
          </a:prstGeom>
          <a:noFill/>
        </p:spPr>
        <p:txBody>
          <a:bodyPr wrap="square" rtlCol="0">
            <a:spAutoFit/>
          </a:bodyPr>
          <a:lstStyle/>
          <a:p>
            <a:pPr lvl="0" defTabSz="675010">
              <a:lnSpc>
                <a:spcPct val="85000"/>
              </a:lnSpc>
              <a:spcBef>
                <a:spcPts val="148"/>
              </a:spcBef>
              <a:spcAft>
                <a:spcPts val="148"/>
              </a:spcAft>
              <a:defRPr/>
            </a:pPr>
            <a:r>
              <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WACC (</a:t>
            </a:r>
            <a:r>
              <a:rPr lang="en-US"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Weighted Average Cost of Capital</a:t>
            </a:r>
            <a:r>
              <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a:t>
            </a:r>
          </a:p>
        </p:txBody>
      </p:sp>
      <p:sp>
        <p:nvSpPr>
          <p:cNvPr id="34" name="CaixaDeTexto 33">
            <a:extLst>
              <a:ext uri="{FF2B5EF4-FFF2-40B4-BE49-F238E27FC236}">
                <a16:creationId xmlns:a16="http://schemas.microsoft.com/office/drawing/2014/main" id="{30E0D4EA-A4F7-A3FA-A688-FA0D28170EC5}"/>
              </a:ext>
            </a:extLst>
          </p:cNvPr>
          <p:cNvSpPr txBox="1"/>
          <p:nvPr/>
        </p:nvSpPr>
        <p:spPr>
          <a:xfrm>
            <a:off x="221527" y="691859"/>
            <a:ext cx="4278242" cy="82484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a:solidFill>
                  <a:srgbClr val="002581"/>
                </a:solidFill>
                <a:effectLst/>
                <a:uFillTx/>
                <a:latin typeface="Segoe UI Black"/>
              </a:rPr>
              <a:t>PERIODIC TARIFF REVIEW (RTP)</a:t>
            </a:r>
            <a:endParaRPr lang="en-US" sz="2800" b="1" i="0" u="none" strike="noStrike" cap="none" baseline="0" dirty="0">
              <a:solidFill>
                <a:srgbClr val="002581"/>
              </a:solidFill>
              <a:effectLst/>
              <a:uFillTx/>
              <a:latin typeface="Segoe UI Black"/>
            </a:endParaRPr>
          </a:p>
        </p:txBody>
      </p:sp>
      <p:sp>
        <p:nvSpPr>
          <p:cNvPr id="35" name="Isosceles Triangle 1">
            <a:extLst>
              <a:ext uri="{FF2B5EF4-FFF2-40B4-BE49-F238E27FC236}">
                <a16:creationId xmlns:a16="http://schemas.microsoft.com/office/drawing/2014/main" id="{699BE596-5C94-DE67-A7D4-31D0E27AB1EC}"/>
              </a:ext>
            </a:extLst>
          </p:cNvPr>
          <p:cNvSpPr/>
          <p:nvPr/>
        </p:nvSpPr>
        <p:spPr>
          <a:xfrm>
            <a:off x="5936183"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6" name="Isosceles Triangle 4">
            <a:extLst>
              <a:ext uri="{FF2B5EF4-FFF2-40B4-BE49-F238E27FC236}">
                <a16:creationId xmlns:a16="http://schemas.microsoft.com/office/drawing/2014/main" id="{1E61D123-E91C-1DCD-096C-D0AA7DDAC4FC}"/>
              </a:ext>
            </a:extLst>
          </p:cNvPr>
          <p:cNvSpPr/>
          <p:nvPr/>
        </p:nvSpPr>
        <p:spPr>
          <a:xfrm>
            <a:off x="6396125"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7" name="Isosceles Triangle 4">
            <a:extLst>
              <a:ext uri="{FF2B5EF4-FFF2-40B4-BE49-F238E27FC236}">
                <a16:creationId xmlns:a16="http://schemas.microsoft.com/office/drawing/2014/main" id="{1096B590-5E63-B4F2-0BCE-8C81F133ECCC}"/>
              </a:ext>
            </a:extLst>
          </p:cNvPr>
          <p:cNvSpPr/>
          <p:nvPr/>
        </p:nvSpPr>
        <p:spPr>
          <a:xfrm flipH="1">
            <a:off x="7093445"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rgbClr val="0098FF"/>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8" name="Isosceles Triangle 1">
            <a:extLst>
              <a:ext uri="{FF2B5EF4-FFF2-40B4-BE49-F238E27FC236}">
                <a16:creationId xmlns:a16="http://schemas.microsoft.com/office/drawing/2014/main" id="{508CFEF5-5943-7339-6A3C-1A46E8A82BCA}"/>
              </a:ext>
            </a:extLst>
          </p:cNvPr>
          <p:cNvSpPr/>
          <p:nvPr/>
        </p:nvSpPr>
        <p:spPr>
          <a:xfrm flipH="1">
            <a:off x="7070491"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39" name="Rectangle 16">
            <a:extLst>
              <a:ext uri="{FF2B5EF4-FFF2-40B4-BE49-F238E27FC236}">
                <a16:creationId xmlns:a16="http://schemas.microsoft.com/office/drawing/2014/main" id="{4FC3E207-E8D8-40E0-A813-71E343BA887B}"/>
              </a:ext>
            </a:extLst>
          </p:cNvPr>
          <p:cNvSpPr/>
          <p:nvPr/>
        </p:nvSpPr>
        <p:spPr>
          <a:xfrm>
            <a:off x="6856393" y="1979858"/>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40" name="CaixaDeTexto 39">
            <a:extLst>
              <a:ext uri="{FF2B5EF4-FFF2-40B4-BE49-F238E27FC236}">
                <a16:creationId xmlns:a16="http://schemas.microsoft.com/office/drawing/2014/main" id="{D61DEC80-44FE-5A76-12B9-DB2FAD4EAA4C}"/>
              </a:ext>
            </a:extLst>
          </p:cNvPr>
          <p:cNvSpPr txBox="1"/>
          <p:nvPr/>
        </p:nvSpPr>
        <p:spPr>
          <a:xfrm>
            <a:off x="6844670" y="2659730"/>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thers</a:t>
            </a:r>
          </a:p>
        </p:txBody>
      </p:sp>
      <p:sp>
        <p:nvSpPr>
          <p:cNvPr id="41" name="CaixaDeTexto 40">
            <a:extLst>
              <a:ext uri="{FF2B5EF4-FFF2-40B4-BE49-F238E27FC236}">
                <a16:creationId xmlns:a16="http://schemas.microsoft.com/office/drawing/2014/main" id="{597E4247-6244-AD48-8A24-F25EB4DF4D82}"/>
              </a:ext>
            </a:extLst>
          </p:cNvPr>
          <p:cNvSpPr txBox="1"/>
          <p:nvPr/>
        </p:nvSpPr>
        <p:spPr>
          <a:xfrm>
            <a:off x="6414389" y="3520566"/>
            <a:ext cx="933576"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AP</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Improvements</a:t>
            </a:r>
          </a:p>
        </p:txBody>
      </p:sp>
      <p:sp>
        <p:nvSpPr>
          <p:cNvPr id="42" name="CaixaDeTexto 41">
            <a:extLst>
              <a:ext uri="{FF2B5EF4-FFF2-40B4-BE49-F238E27FC236}">
                <a16:creationId xmlns:a16="http://schemas.microsoft.com/office/drawing/2014/main" id="{21ABB1B7-3CB3-7E4C-889D-DFD112EAB3A7}"/>
              </a:ext>
            </a:extLst>
          </p:cNvPr>
          <p:cNvSpPr txBox="1"/>
          <p:nvPr/>
        </p:nvSpPr>
        <p:spPr>
          <a:xfrm>
            <a:off x="7208810" y="3422472"/>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WACC</a:t>
            </a:r>
          </a:p>
        </p:txBody>
      </p:sp>
      <p:sp>
        <p:nvSpPr>
          <p:cNvPr id="43" name="CaixaDeTexto 42">
            <a:extLst>
              <a:ext uri="{FF2B5EF4-FFF2-40B4-BE49-F238E27FC236}">
                <a16:creationId xmlns:a16="http://schemas.microsoft.com/office/drawing/2014/main" id="{CB563FC8-F7EC-615D-D410-C365D86AFB63}"/>
              </a:ext>
            </a:extLst>
          </p:cNvPr>
          <p:cNvSpPr txBox="1"/>
          <p:nvPr/>
        </p:nvSpPr>
        <p:spPr>
          <a:xfrm>
            <a:off x="6206075" y="4398898"/>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BRR</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BP</a:t>
            </a:r>
          </a:p>
        </p:txBody>
      </p:sp>
      <p:sp>
        <p:nvSpPr>
          <p:cNvPr id="44" name="CaixaDeTexto 43">
            <a:extLst>
              <a:ext uri="{FF2B5EF4-FFF2-40B4-BE49-F238E27FC236}">
                <a16:creationId xmlns:a16="http://schemas.microsoft.com/office/drawing/2014/main" id="{08305655-F849-B27A-E955-958CAB8F3E79}"/>
              </a:ext>
            </a:extLst>
          </p:cNvPr>
          <p:cNvSpPr txBox="1"/>
          <p:nvPr/>
        </p:nvSpPr>
        <p:spPr>
          <a:xfrm>
            <a:off x="7418475" y="4472764"/>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amp;M</a:t>
            </a:r>
          </a:p>
        </p:txBody>
      </p:sp>
      <p:grpSp>
        <p:nvGrpSpPr>
          <p:cNvPr id="45" name="Agrupar 44">
            <a:extLst>
              <a:ext uri="{FF2B5EF4-FFF2-40B4-BE49-F238E27FC236}">
                <a16:creationId xmlns:a16="http://schemas.microsoft.com/office/drawing/2014/main" id="{077A20FD-D399-5DBA-15E6-963F2DB4C8C3}"/>
              </a:ext>
            </a:extLst>
          </p:cNvPr>
          <p:cNvGrpSpPr/>
          <p:nvPr/>
        </p:nvGrpSpPr>
        <p:grpSpPr>
          <a:xfrm>
            <a:off x="4564620" y="738461"/>
            <a:ext cx="297884" cy="291179"/>
            <a:chOff x="8313122" y="2344436"/>
            <a:chExt cx="373665" cy="373665"/>
          </a:xfrm>
        </p:grpSpPr>
        <p:sp>
          <p:nvSpPr>
            <p:cNvPr id="46" name="Elipse 45">
              <a:extLst>
                <a:ext uri="{FF2B5EF4-FFF2-40B4-BE49-F238E27FC236}">
                  <a16:creationId xmlns:a16="http://schemas.microsoft.com/office/drawing/2014/main" id="{C3D9051C-DE86-9C17-C4B5-0B423E0F00EC}"/>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Seta: Divisa 47">
              <a:extLst>
                <a:ext uri="{FF2B5EF4-FFF2-40B4-BE49-F238E27FC236}">
                  <a16:creationId xmlns:a16="http://schemas.microsoft.com/office/drawing/2014/main" id="{2C244E7B-2016-C369-D049-D0D58D36C161}"/>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0" name="CaixaDeTexto 49">
            <a:extLst>
              <a:ext uri="{FF2B5EF4-FFF2-40B4-BE49-F238E27FC236}">
                <a16:creationId xmlns:a16="http://schemas.microsoft.com/office/drawing/2014/main" id="{520B343B-51A9-4E30-FAFB-F7E98341CBA2}"/>
              </a:ext>
            </a:extLst>
          </p:cNvPr>
          <p:cNvSpPr txBox="1"/>
          <p:nvPr/>
        </p:nvSpPr>
        <p:spPr>
          <a:xfrm>
            <a:off x="4873099" y="686656"/>
            <a:ext cx="3107917"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b="1" spc="0">
                <a:solidFill>
                  <a:srgbClr val="011F57"/>
                </a:solidFill>
                <a:latin typeface="Segoe UI" panose="020B0502040204020203" pitchFamily="34" charset="0"/>
                <a:cs typeface="Segoe UI" panose="020B0502040204020203" pitchFamily="34" charset="0"/>
              </a:rPr>
              <a:t>Investment Remuneration by Regulatory WACC</a:t>
            </a:r>
            <a:endParaRPr lang="pt-BR" sz="1400" b="1" spc="0">
              <a:solidFill>
                <a:srgbClr val="011F57"/>
              </a:solidFill>
              <a:latin typeface="Segoe UI" panose="020B0502040204020203" pitchFamily="34" charset="0"/>
              <a:cs typeface="Segoe UI" panose="020B0502040204020203" pitchFamily="34" charset="0"/>
            </a:endParaRPr>
          </a:p>
        </p:txBody>
      </p:sp>
      <p:pic>
        <p:nvPicPr>
          <p:cNvPr id="54" name="Imagem 53" descr="Uma imagem contendo Interface gráfica do usuário&#10;&#10;Descrição gerada automaticamente">
            <a:extLst>
              <a:ext uri="{FF2B5EF4-FFF2-40B4-BE49-F238E27FC236}">
                <a16:creationId xmlns:a16="http://schemas.microsoft.com/office/drawing/2014/main" id="{A178FFB0-7953-0BDE-C37C-ABF2278B591D}"/>
              </a:ext>
            </a:extLst>
          </p:cNvPr>
          <p:cNvPicPr>
            <a:picLocks noChangeAspect="1"/>
          </p:cNvPicPr>
          <p:nvPr/>
        </p:nvPicPr>
        <p:blipFill>
          <a:blip r:embed="rId7"/>
          <a:stretch>
            <a:fillRect/>
          </a:stretch>
        </p:blipFill>
        <p:spPr>
          <a:xfrm>
            <a:off x="8039840" y="60434"/>
            <a:ext cx="920231" cy="509571"/>
          </a:xfrm>
          <a:prstGeom prst="rect">
            <a:avLst/>
          </a:prstGeom>
        </p:spPr>
      </p:pic>
      <p:sp>
        <p:nvSpPr>
          <p:cNvPr id="55" name="CaixaDeTexto 54">
            <a:extLst>
              <a:ext uri="{FF2B5EF4-FFF2-40B4-BE49-F238E27FC236}">
                <a16:creationId xmlns:a16="http://schemas.microsoft.com/office/drawing/2014/main" id="{A6979083-8257-0F94-582C-43826FC71726}"/>
              </a:ext>
            </a:extLst>
          </p:cNvPr>
          <p:cNvSpPr txBox="1"/>
          <p:nvPr/>
        </p:nvSpPr>
        <p:spPr>
          <a:xfrm>
            <a:off x="4471775" y="1100404"/>
            <a:ext cx="4430941" cy="7940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200" spc="0">
                <a:solidFill>
                  <a:srgbClr val="F66727"/>
                </a:solidFill>
                <a:latin typeface="Segoe UI" panose="020B0502040204020203" pitchFamily="34" charset="0"/>
                <a:cs typeface="Segoe UI" panose="020B0502040204020203" pitchFamily="34" charset="0"/>
              </a:rPr>
              <a:t>Maintained the 2018 calculation methodology for RTP 2023:</a:t>
            </a:r>
          </a:p>
          <a:p>
            <a:pPr defTabSz="234364"/>
            <a:r>
              <a:rPr lang="pt-BR" sz="1100" spc="0">
                <a:solidFill>
                  <a:srgbClr val="011F57"/>
                </a:solidFill>
                <a:latin typeface="Segoe UI" panose="020B0502040204020203" pitchFamily="34" charset="0"/>
                <a:cs typeface="Segoe UI" panose="020B0502040204020203" pitchFamily="34" charset="0"/>
              </a:rPr>
              <a:t>Variation from 2018 to </a:t>
            </a:r>
            <a:r>
              <a:rPr lang="pt-BR" sz="1100" spc="0" dirty="0">
                <a:solidFill>
                  <a:srgbClr val="011F57"/>
                </a:solidFill>
                <a:latin typeface="Segoe UI" panose="020B0502040204020203" pitchFamily="34" charset="0"/>
                <a:cs typeface="Segoe UI" panose="020B0502040204020203" pitchFamily="34" charset="0"/>
              </a:rPr>
              <a:t>2023 =</a:t>
            </a:r>
            <a:br>
              <a:rPr lang="pt-BR" sz="1100" spc="0" dirty="0">
                <a:solidFill>
                  <a:srgbClr val="011F57"/>
                </a:solidFill>
                <a:latin typeface="Segoe UI" panose="020B0502040204020203" pitchFamily="34" charset="0"/>
                <a:cs typeface="Segoe UI" panose="020B0502040204020203" pitchFamily="34" charset="0"/>
              </a:rPr>
            </a:br>
            <a:r>
              <a:rPr lang="pt-BR" sz="1100" spc="0" dirty="0">
                <a:solidFill>
                  <a:srgbClr val="011F57"/>
                </a:solidFill>
                <a:latin typeface="Segoe UI" panose="020B0502040204020203" pitchFamily="34" charset="0"/>
                <a:cs typeface="Segoe UI" panose="020B0502040204020203" pitchFamily="34" charset="0"/>
              </a:rPr>
              <a:t>- 0,5 </a:t>
            </a:r>
            <a:r>
              <a:rPr lang="pt-BR" sz="1100" spc="0" dirty="0" err="1">
                <a:solidFill>
                  <a:srgbClr val="011F57"/>
                </a:solidFill>
                <a:latin typeface="Segoe UI" panose="020B0502040204020203" pitchFamily="34" charset="0"/>
                <a:cs typeface="Segoe UI" panose="020B0502040204020203" pitchFamily="34" charset="0"/>
              </a:rPr>
              <a:t>p.</a:t>
            </a:r>
            <a:r>
              <a:rPr lang="pt-BR" sz="1100" spc="0" err="1">
                <a:solidFill>
                  <a:srgbClr val="011F57"/>
                </a:solidFill>
                <a:latin typeface="Segoe UI" panose="020B0502040204020203" pitchFamily="34" charset="0"/>
                <a:cs typeface="Segoe UI" panose="020B0502040204020203" pitchFamily="34" charset="0"/>
              </a:rPr>
              <a:t>p</a:t>
            </a:r>
            <a:r>
              <a:rPr lang="pt-BR" sz="1100" spc="0">
                <a:solidFill>
                  <a:srgbClr val="011F57"/>
                </a:solidFill>
                <a:latin typeface="Segoe UI" panose="020B0502040204020203" pitchFamily="34" charset="0"/>
                <a:cs typeface="Segoe UI" panose="020B0502040204020203" pitchFamily="34" charset="0"/>
              </a:rPr>
              <a:t> </a:t>
            </a:r>
            <a:r>
              <a:rPr lang="en-US" sz="1100" spc="0">
                <a:solidFill>
                  <a:srgbClr val="011F57"/>
                </a:solidFill>
                <a:latin typeface="Segoe UI" panose="020B0502040204020203" pitchFamily="34" charset="0"/>
                <a:cs typeface="Segoe UI" panose="020B0502040204020203" pitchFamily="34" charset="0"/>
              </a:rPr>
              <a:t>main explanatory factor is the American beta</a:t>
            </a:r>
          </a:p>
          <a:p>
            <a:pPr defTabSz="234364"/>
            <a:r>
              <a:rPr lang="en-US" sz="1100" spc="0">
                <a:solidFill>
                  <a:srgbClr val="011F57"/>
                </a:solidFill>
                <a:latin typeface="Segoe UI" panose="020B0502040204020203" pitchFamily="34" charset="0"/>
                <a:cs typeface="Segoe UI" panose="020B0502040204020203" pitchFamily="34" charset="0"/>
              </a:rPr>
              <a:t>Capital structure: ~ 55% (equity), ~ 45% (third party capital)</a:t>
            </a:r>
          </a:p>
          <a:p>
            <a:pPr defTabSz="234364"/>
            <a:r>
              <a:rPr lang="en-US" sz="1100" spc="0">
                <a:solidFill>
                  <a:srgbClr val="011F57"/>
                </a:solidFill>
                <a:latin typeface="Segoe UI" panose="020B0502040204020203" pitchFamily="34" charset="0"/>
                <a:cs typeface="Segoe UI" panose="020B0502040204020203" pitchFamily="34" charset="0"/>
              </a:rPr>
              <a:t>Ke Shielding: historical series CAPM calculation (long window)</a:t>
            </a:r>
            <a:endParaRPr lang="pt-BR" sz="1100" spc="0" dirty="0">
              <a:solidFill>
                <a:srgbClr val="011F57"/>
              </a:solidFill>
              <a:latin typeface="Segoe UI" panose="020B0502040204020203" pitchFamily="34" charset="0"/>
              <a:cs typeface="Segoe UI" panose="020B0502040204020203" pitchFamily="34" charset="0"/>
            </a:endParaRPr>
          </a:p>
        </p:txBody>
      </p:sp>
      <p:grpSp>
        <p:nvGrpSpPr>
          <p:cNvPr id="192" name="Agrupar 191">
            <a:extLst>
              <a:ext uri="{FF2B5EF4-FFF2-40B4-BE49-F238E27FC236}">
                <a16:creationId xmlns:a16="http://schemas.microsoft.com/office/drawing/2014/main" id="{7AACD5DE-6FCD-F78D-9598-47E432CD1C73}"/>
              </a:ext>
            </a:extLst>
          </p:cNvPr>
          <p:cNvGrpSpPr/>
          <p:nvPr/>
        </p:nvGrpSpPr>
        <p:grpSpPr>
          <a:xfrm>
            <a:off x="349817" y="2055270"/>
            <a:ext cx="5586366" cy="292133"/>
            <a:chOff x="5538385" y="813527"/>
            <a:chExt cx="1675697" cy="264688"/>
          </a:xfrm>
        </p:grpSpPr>
        <p:sp>
          <p:nvSpPr>
            <p:cNvPr id="193" name="Retângulo: Cantos Arredondados 192">
              <a:extLst>
                <a:ext uri="{FF2B5EF4-FFF2-40B4-BE49-F238E27FC236}">
                  <a16:creationId xmlns:a16="http://schemas.microsoft.com/office/drawing/2014/main" id="{F1235803-4324-4A8A-D72A-A2A8E3AB33F6}"/>
                </a:ext>
              </a:extLst>
            </p:cNvPr>
            <p:cNvSpPr/>
            <p:nvPr/>
          </p:nvSpPr>
          <p:spPr>
            <a:xfrm>
              <a:off x="5538385" y="813527"/>
              <a:ext cx="1675697" cy="264688"/>
            </a:xfrm>
            <a:prstGeom prst="roundRect">
              <a:avLst>
                <a:gd name="adj" fmla="val 50000"/>
              </a:avLst>
            </a:prstGeom>
            <a:gradFill>
              <a:gsLst>
                <a:gs pos="0">
                  <a:srgbClr val="05A2FF">
                    <a:alpha val="54000"/>
                  </a:srgbClr>
                </a:gs>
                <a:gs pos="81000">
                  <a:srgbClr val="05A2FF"/>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94" name="CaixaDeTexto 193">
              <a:extLst>
                <a:ext uri="{FF2B5EF4-FFF2-40B4-BE49-F238E27FC236}">
                  <a16:creationId xmlns:a16="http://schemas.microsoft.com/office/drawing/2014/main" id="{59DF2A82-B0E6-8A94-9E10-96C9EDB2589F}"/>
                </a:ext>
              </a:extLst>
            </p:cNvPr>
            <p:cNvSpPr txBox="1"/>
            <p:nvPr/>
          </p:nvSpPr>
          <p:spPr>
            <a:xfrm>
              <a:off x="5824630" y="834557"/>
              <a:ext cx="1116406" cy="23982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400" b="1" i="0" u="none" strike="noStrike" kern="1200" cap="none" spc="0" normalizeH="0" baseline="0" noProof="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WACC Regulatory¹</a:t>
              </a:r>
            </a:p>
          </p:txBody>
        </p:sp>
      </p:grpSp>
      <p:graphicFrame>
        <p:nvGraphicFramePr>
          <p:cNvPr id="195" name="Gráfico 194">
            <a:extLst>
              <a:ext uri="{FF2B5EF4-FFF2-40B4-BE49-F238E27FC236}">
                <a16:creationId xmlns:a16="http://schemas.microsoft.com/office/drawing/2014/main" id="{07402991-8365-018A-A28D-6E88471A214D}"/>
              </a:ext>
            </a:extLst>
          </p:cNvPr>
          <p:cNvGraphicFramePr>
            <a:graphicFrameLocks/>
          </p:cNvGraphicFramePr>
          <p:nvPr>
            <p:extLst>
              <p:ext uri="{D42A27DB-BD31-4B8C-83A1-F6EECF244321}">
                <p14:modId xmlns:p14="http://schemas.microsoft.com/office/powerpoint/2010/main" val="3610246793"/>
              </p:ext>
            </p:extLst>
          </p:nvPr>
        </p:nvGraphicFramePr>
        <p:xfrm>
          <a:off x="13196" y="2548066"/>
          <a:ext cx="6247983" cy="2226251"/>
        </p:xfrm>
        <a:graphic>
          <a:graphicData uri="http://schemas.openxmlformats.org/drawingml/2006/chart">
            <c:chart xmlns:c="http://schemas.openxmlformats.org/drawingml/2006/chart" xmlns:r="http://schemas.openxmlformats.org/officeDocument/2006/relationships" r:id="rId8"/>
          </a:graphicData>
        </a:graphic>
      </p:graphicFrame>
      <p:sp>
        <p:nvSpPr>
          <p:cNvPr id="9" name="CaixaDeTexto 8">
            <a:extLst>
              <a:ext uri="{FF2B5EF4-FFF2-40B4-BE49-F238E27FC236}">
                <a16:creationId xmlns:a16="http://schemas.microsoft.com/office/drawing/2014/main" id="{CBA43F28-6927-87CA-F43B-2793777FD46E}"/>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sp>
        <p:nvSpPr>
          <p:cNvPr id="3" name="CaixaDeTexto 2">
            <a:extLst>
              <a:ext uri="{FF2B5EF4-FFF2-40B4-BE49-F238E27FC236}">
                <a16:creationId xmlns:a16="http://schemas.microsoft.com/office/drawing/2014/main" id="{E4397B79-5B2F-357D-33F3-AAA1F02E41DA}"/>
              </a:ext>
            </a:extLst>
          </p:cNvPr>
          <p:cNvSpPr txBox="1"/>
          <p:nvPr/>
        </p:nvSpPr>
        <p:spPr>
          <a:xfrm>
            <a:off x="28821" y="4810631"/>
            <a:ext cx="1862489" cy="21544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8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Values in Jan/2023 database</a:t>
            </a:r>
            <a:endParaRPr lang="pt-BR" sz="800">
              <a:solidFill>
                <a:srgbClr val="011F57"/>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73400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35" presetClass="path" presetSubtype="0" accel="17000" decel="83000" fill="hold" grpId="1" nodeType="withEffect">
                                  <p:stCondLst>
                                    <p:cond delay="500"/>
                                  </p:stCondLst>
                                  <p:childTnLst>
                                    <p:animMotion origin="layout" path="M 0.02046 -3.98244E-6 L 1.81866E-6 -3.98244E-6 " pathEditMode="relative" rAng="0" ptsTypes="AA">
                                      <p:cBhvr>
                                        <p:cTn id="9" dur="750" fill="hold"/>
                                        <p:tgtEl>
                                          <p:spTgt spid="55"/>
                                        </p:tgtEl>
                                        <p:attrNameLst>
                                          <p:attrName>ppt_x</p:attrName>
                                          <p:attrName>ppt_y</p:attrName>
                                        </p:attrNameLst>
                                      </p:cBhvr>
                                      <p:rCtr x="-1023" y="0"/>
                                    </p:animMotion>
                                  </p:childTnLst>
                                </p:cTn>
                              </p:par>
                              <p:par>
                                <p:cTn id="10" presetID="10" presetClass="entr" presetSubtype="0" fill="hold" grpId="0" nodeType="withEffect">
                                  <p:stCondLst>
                                    <p:cond delay="0"/>
                                  </p:stCondLst>
                                  <p:childTnLst>
                                    <p:set>
                                      <p:cBhvr>
                                        <p:cTn id="11" dur="1" fill="hold">
                                          <p:stCondLst>
                                            <p:cond delay="0"/>
                                          </p:stCondLst>
                                        </p:cTn>
                                        <p:tgtEl>
                                          <p:spTgt spid="33"/>
                                        </p:tgtEl>
                                        <p:attrNameLst>
                                          <p:attrName>style.visibility</p:attrName>
                                        </p:attrNameLst>
                                      </p:cBhvr>
                                      <p:to>
                                        <p:strVal val="visible"/>
                                      </p:to>
                                    </p:set>
                                    <p:animEffect transition="in" filter="fade">
                                      <p:cBhvr>
                                        <p:cTn id="12" dur="500"/>
                                        <p:tgtEl>
                                          <p:spTgt spid="33"/>
                                        </p:tgtEl>
                                      </p:cBhvr>
                                    </p:animEffect>
                                  </p:childTnLst>
                                </p:cTn>
                              </p:par>
                              <p:par>
                                <p:cTn id="13" presetID="35" presetClass="path" presetSubtype="0" accel="17000" decel="83000" fill="hold" grpId="1" nodeType="withEffect">
                                  <p:stCondLst>
                                    <p:cond delay="0"/>
                                  </p:stCondLst>
                                  <p:childTnLst>
                                    <p:animMotion origin="layout" path="M 0.02046 1.25118E-6 L 4.93914E-8 1.25118E-6 " pathEditMode="relative" rAng="0" ptsTypes="AA">
                                      <p:cBhvr>
                                        <p:cTn id="14" dur="750" fill="hold"/>
                                        <p:tgtEl>
                                          <p:spTgt spid="33"/>
                                        </p:tgtEl>
                                        <p:attrNameLst>
                                          <p:attrName>ppt_x</p:attrName>
                                          <p:attrName>ppt_y</p:attrName>
                                        </p:attrNameLst>
                                      </p:cBhvr>
                                      <p:rCtr x="-1023" y="0"/>
                                    </p:animMotion>
                                  </p:childTnLst>
                                </p:cTn>
                              </p:par>
                              <p:par>
                                <p:cTn id="15" presetID="10" presetClass="entr" presetSubtype="0" fill="hold" nodeType="withEffect">
                                  <p:stCondLst>
                                    <p:cond delay="25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35" presetClass="path" presetSubtype="0" accel="17000" decel="83000" fill="hold" nodeType="withEffect">
                                  <p:stCondLst>
                                    <p:cond delay="250"/>
                                  </p:stCondLst>
                                  <p:childTnLst>
                                    <p:animMotion origin="layout" path="M -0.03211 -2.90373E-6 L 4.47522E-6 -2.90373E-6 " pathEditMode="relative" rAng="0" ptsTypes="AA">
                                      <p:cBhvr>
                                        <p:cTn id="19" dur="750" fill="hold"/>
                                        <p:tgtEl>
                                          <p:spTgt spid="45"/>
                                        </p:tgtEl>
                                        <p:attrNameLst>
                                          <p:attrName>ppt_x</p:attrName>
                                          <p:attrName>ppt_y</p:attrName>
                                        </p:attrNameLst>
                                      </p:cBhvr>
                                      <p:rCtr x="1605" y="0"/>
                                    </p:animMotion>
                                  </p:childTnLst>
                                </p:cTn>
                              </p:par>
                              <p:par>
                                <p:cTn id="20" presetID="10" presetClass="entr" presetSubtype="0" fill="hold" grpId="0" nodeType="withEffect">
                                  <p:stCondLst>
                                    <p:cond delay="25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35" presetClass="path" presetSubtype="0" accel="17000" decel="83000" fill="hold" grpId="1" nodeType="withEffect">
                                  <p:stCondLst>
                                    <p:cond delay="250"/>
                                  </p:stCondLst>
                                  <p:childTnLst>
                                    <p:animMotion origin="layout" path="M 0.02046 5.83255E-7 L 1.08308E-6 5.83255E-7 " pathEditMode="relative" rAng="0" ptsTypes="AA">
                                      <p:cBhvr>
                                        <p:cTn id="24" dur="750" fill="hold"/>
                                        <p:tgtEl>
                                          <p:spTgt spid="50"/>
                                        </p:tgtEl>
                                        <p:attrNameLst>
                                          <p:attrName>ppt_x</p:attrName>
                                          <p:attrName>ppt_y</p:attrName>
                                        </p:attrNameLst>
                                      </p:cBhvr>
                                      <p:rCtr x="-1023" y="0"/>
                                    </p:animMotion>
                                  </p:childTnLst>
                                </p:cTn>
                              </p:par>
                              <p:par>
                                <p:cTn id="25" presetID="10" presetClass="entr" presetSubtype="0" fill="hold" nodeType="withEffect">
                                  <p:stCondLst>
                                    <p:cond delay="750"/>
                                  </p:stCondLst>
                                  <p:childTnLst>
                                    <p:set>
                                      <p:cBhvr>
                                        <p:cTn id="26" dur="1" fill="hold">
                                          <p:stCondLst>
                                            <p:cond delay="0"/>
                                          </p:stCondLst>
                                        </p:cTn>
                                        <p:tgtEl>
                                          <p:spTgt spid="192"/>
                                        </p:tgtEl>
                                        <p:attrNameLst>
                                          <p:attrName>style.visibility</p:attrName>
                                        </p:attrNameLst>
                                      </p:cBhvr>
                                      <p:to>
                                        <p:strVal val="visible"/>
                                      </p:to>
                                    </p:set>
                                    <p:animEffect transition="in" filter="fade">
                                      <p:cBhvr>
                                        <p:cTn id="27" dur="500"/>
                                        <p:tgtEl>
                                          <p:spTgt spid="192"/>
                                        </p:tgtEl>
                                      </p:cBhvr>
                                    </p:animEffect>
                                  </p:childTnLst>
                                </p:cTn>
                              </p:par>
                              <p:par>
                                <p:cTn id="28" presetID="23" presetClass="entr" presetSubtype="288" fill="hold" nodeType="withEffect">
                                  <p:stCondLst>
                                    <p:cond delay="750"/>
                                  </p:stCondLst>
                                  <p:childTnLst>
                                    <p:set>
                                      <p:cBhvr>
                                        <p:cTn id="29" dur="1" fill="hold">
                                          <p:stCondLst>
                                            <p:cond delay="0"/>
                                          </p:stCondLst>
                                        </p:cTn>
                                        <p:tgtEl>
                                          <p:spTgt spid="192"/>
                                        </p:tgtEl>
                                        <p:attrNameLst>
                                          <p:attrName>style.visibility</p:attrName>
                                        </p:attrNameLst>
                                      </p:cBhvr>
                                      <p:to>
                                        <p:strVal val="visible"/>
                                      </p:to>
                                    </p:set>
                                    <p:anim calcmode="lin" valueType="num">
                                      <p:cBhvr>
                                        <p:cTn id="30" dur="500" fill="hold"/>
                                        <p:tgtEl>
                                          <p:spTgt spid="192"/>
                                        </p:tgtEl>
                                        <p:attrNameLst>
                                          <p:attrName>ppt_w</p:attrName>
                                        </p:attrNameLst>
                                      </p:cBhvr>
                                      <p:tavLst>
                                        <p:tav tm="0">
                                          <p:val>
                                            <p:strVal val="4/3*#ppt_w"/>
                                          </p:val>
                                        </p:tav>
                                        <p:tav tm="100000">
                                          <p:val>
                                            <p:strVal val="#ppt_w"/>
                                          </p:val>
                                        </p:tav>
                                      </p:tavLst>
                                    </p:anim>
                                    <p:anim calcmode="lin" valueType="num">
                                      <p:cBhvr>
                                        <p:cTn id="31" dur="500" fill="hold"/>
                                        <p:tgtEl>
                                          <p:spTgt spid="192"/>
                                        </p:tgtEl>
                                        <p:attrNameLst>
                                          <p:attrName>ppt_h</p:attrName>
                                        </p:attrNameLst>
                                      </p:cBhvr>
                                      <p:tavLst>
                                        <p:tav tm="0">
                                          <p:val>
                                            <p:strVal val="4/3*#ppt_h"/>
                                          </p:val>
                                        </p:tav>
                                        <p:tav tm="100000">
                                          <p:val>
                                            <p:strVal val="#ppt_h"/>
                                          </p:val>
                                        </p:tav>
                                      </p:tavLst>
                                    </p:anim>
                                  </p:childTnLst>
                                </p:cTn>
                              </p:par>
                              <p:par>
                                <p:cTn id="32" presetID="22" presetClass="entr" presetSubtype="8" fill="hold" grpId="0" nodeType="withEffect">
                                  <p:stCondLst>
                                    <p:cond delay="1000"/>
                                  </p:stCondLst>
                                  <p:childTnLst>
                                    <p:set>
                                      <p:cBhvr>
                                        <p:cTn id="33" dur="1" fill="hold">
                                          <p:stCondLst>
                                            <p:cond delay="0"/>
                                          </p:stCondLst>
                                        </p:cTn>
                                        <p:tgtEl>
                                          <p:spTgt spid="195"/>
                                        </p:tgtEl>
                                        <p:attrNameLst>
                                          <p:attrName>style.visibility</p:attrName>
                                        </p:attrNameLst>
                                      </p:cBhvr>
                                      <p:to>
                                        <p:strVal val="visible"/>
                                      </p:to>
                                    </p:set>
                                    <p:animEffect transition="in" filter="wipe(left)">
                                      <p:cBhvr>
                                        <p:cTn id="34" dur="750"/>
                                        <p:tgtEl>
                                          <p:spTgt spid="195"/>
                                        </p:tgtEl>
                                      </p:cBhvr>
                                    </p:animEffect>
                                  </p:childTnLst>
                                </p:cTn>
                              </p:par>
                              <p:par>
                                <p:cTn id="35" presetID="10" presetClass="entr" presetSubtype="0" fill="hold" grpId="0" nodeType="withEffect">
                                  <p:stCondLst>
                                    <p:cond delay="3000"/>
                                  </p:stCondLst>
                                  <p:childTnLst>
                                    <p:set>
                                      <p:cBhvr>
                                        <p:cTn id="36" dur="1" fill="hold">
                                          <p:stCondLst>
                                            <p:cond delay="0"/>
                                          </p:stCondLst>
                                        </p:cTn>
                                        <p:tgtEl>
                                          <p:spTgt spid="3"/>
                                        </p:tgtEl>
                                        <p:attrNameLst>
                                          <p:attrName>style.visibility</p:attrName>
                                        </p:attrNameLst>
                                      </p:cBhvr>
                                      <p:to>
                                        <p:strVal val="visible"/>
                                      </p:to>
                                    </p:set>
                                    <p:animEffect transition="in" filter="fade">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50" grpId="0"/>
      <p:bldP spid="50" grpId="1"/>
      <p:bldP spid="55" grpId="0"/>
      <p:bldP spid="55" grpId="1"/>
      <p:bldGraphic spid="195" grpId="0">
        <p:bldAsOne/>
      </p:bldGraphic>
      <p:bldP spid="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E07C2562-F2CF-D639-8189-DE46B276B76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473" imgH="476" progId="TCLayout.ActiveDocument.1">
                  <p:embed/>
                </p:oleObj>
              </mc:Choice>
              <mc:Fallback>
                <p:oleObj name="Slide do think-cell" r:id="rId4" imgW="473" imgH="476" progId="TCLayout.ActiveDocument.1">
                  <p:embed/>
                  <p:pic>
                    <p:nvPicPr>
                      <p:cNvPr id="8" name="Objeto 7" hidden="1">
                        <a:extLst>
                          <a:ext uri="{FF2B5EF4-FFF2-40B4-BE49-F238E27FC236}">
                            <a16:creationId xmlns:a16="http://schemas.microsoft.com/office/drawing/2014/main" id="{E07C2562-F2CF-D639-8189-DE46B276B7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Imagem 1" descr="Tela de computador com fundo azul&#10;&#10;Descrição gerada automaticamente com confiança média">
            <a:extLst>
              <a:ext uri="{FF2B5EF4-FFF2-40B4-BE49-F238E27FC236}">
                <a16:creationId xmlns:a16="http://schemas.microsoft.com/office/drawing/2014/main" id="{F1D6A537-66B2-D924-4D8A-D105B915CD46}"/>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0" y="0"/>
            <a:ext cx="8999538" cy="5062389"/>
          </a:xfrm>
          <a:prstGeom prst="rect">
            <a:avLst/>
          </a:prstGeom>
        </p:spPr>
      </p:pic>
      <p:grpSp>
        <p:nvGrpSpPr>
          <p:cNvPr id="5" name="Agrupar 4">
            <a:extLst>
              <a:ext uri="{FF2B5EF4-FFF2-40B4-BE49-F238E27FC236}">
                <a16:creationId xmlns:a16="http://schemas.microsoft.com/office/drawing/2014/main" id="{CA07D92B-5D15-840F-803E-1AADDB26DB7A}"/>
              </a:ext>
            </a:extLst>
          </p:cNvPr>
          <p:cNvGrpSpPr/>
          <p:nvPr/>
        </p:nvGrpSpPr>
        <p:grpSpPr>
          <a:xfrm>
            <a:off x="218383" y="178646"/>
            <a:ext cx="304729" cy="336545"/>
            <a:chOff x="218383" y="178646"/>
            <a:chExt cx="304729" cy="336545"/>
          </a:xfrm>
        </p:grpSpPr>
        <p:sp>
          <p:nvSpPr>
            <p:cNvPr id="6" name="Forma Livre: Forma 5">
              <a:extLst>
                <a:ext uri="{FF2B5EF4-FFF2-40B4-BE49-F238E27FC236}">
                  <a16:creationId xmlns:a16="http://schemas.microsoft.com/office/drawing/2014/main" id="{A3F94DE1-034F-AE33-EFC5-56ACF47132D5}"/>
                </a:ext>
              </a:extLst>
            </p:cNvPr>
            <p:cNvSpPr/>
            <p:nvPr/>
          </p:nvSpPr>
          <p:spPr>
            <a:xfrm>
              <a:off x="218383" y="178646"/>
              <a:ext cx="304729" cy="336545"/>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a:p>
          </p:txBody>
        </p:sp>
        <p:sp>
          <p:nvSpPr>
            <p:cNvPr id="7" name="CaixaDeTexto 6">
              <a:extLst>
                <a:ext uri="{FF2B5EF4-FFF2-40B4-BE49-F238E27FC236}">
                  <a16:creationId xmlns:a16="http://schemas.microsoft.com/office/drawing/2014/main" id="{EE628145-9E14-0934-667B-4BC757D73BF4}"/>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5</a:t>
              </a:r>
            </a:p>
          </p:txBody>
        </p:sp>
      </p:grpSp>
      <p:sp>
        <p:nvSpPr>
          <p:cNvPr id="23" name="CaixaDeTexto 22">
            <a:extLst>
              <a:ext uri="{FF2B5EF4-FFF2-40B4-BE49-F238E27FC236}">
                <a16:creationId xmlns:a16="http://schemas.microsoft.com/office/drawing/2014/main" id="{14726F91-8ECA-4C38-83F7-18AEB4ED18E6}"/>
              </a:ext>
            </a:extLst>
          </p:cNvPr>
          <p:cNvSpPr txBox="1"/>
          <p:nvPr/>
        </p:nvSpPr>
        <p:spPr>
          <a:xfrm>
            <a:off x="221527" y="1464378"/>
            <a:ext cx="1182031" cy="301621"/>
          </a:xfrm>
          <a:prstGeom prst="rect">
            <a:avLst/>
          </a:prstGeom>
          <a:noFill/>
        </p:spPr>
        <p:txBody>
          <a:bodyPr wrap="square" rtlCol="0">
            <a:spAutoFit/>
          </a:bodyPr>
          <a:lstStyle/>
          <a:p>
            <a:pPr lvl="0" defTabSz="675010">
              <a:lnSpc>
                <a:spcPct val="85000"/>
              </a:lnSpc>
              <a:spcBef>
                <a:spcPts val="148"/>
              </a:spcBef>
              <a:spcAft>
                <a:spcPts val="148"/>
              </a:spcAft>
              <a:defRPr/>
            </a:pPr>
            <a:r>
              <a:rPr lang="pt-BR" sz="1600" b="1">
                <a:solidFill>
                  <a:srgbClr val="002581"/>
                </a:solidFill>
                <a:latin typeface="Segoe UI" panose="020B0502040204020203" pitchFamily="34" charset="0"/>
                <a:ea typeface="Segoe UI Black" panose="020B0A02040204020203" pitchFamily="34" charset="0"/>
                <a:cs typeface="Segoe UI" panose="020B0502040204020203" pitchFamily="34" charset="0"/>
              </a:rPr>
              <a:t>Others</a:t>
            </a:r>
          </a:p>
        </p:txBody>
      </p:sp>
      <p:sp>
        <p:nvSpPr>
          <p:cNvPr id="24" name="CaixaDeTexto 23">
            <a:extLst>
              <a:ext uri="{FF2B5EF4-FFF2-40B4-BE49-F238E27FC236}">
                <a16:creationId xmlns:a16="http://schemas.microsoft.com/office/drawing/2014/main" id="{F25DF5FC-7E87-DCB8-C65A-98221A65E1F9}"/>
              </a:ext>
            </a:extLst>
          </p:cNvPr>
          <p:cNvSpPr txBox="1"/>
          <p:nvPr/>
        </p:nvSpPr>
        <p:spPr>
          <a:xfrm>
            <a:off x="221527" y="691859"/>
            <a:ext cx="4278242" cy="824841"/>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800" b="1" i="0" u="none" strike="noStrike" cap="none" baseline="0">
                <a:solidFill>
                  <a:srgbClr val="002581"/>
                </a:solidFill>
                <a:effectLst/>
                <a:uFillTx/>
                <a:latin typeface="Segoe UI Black"/>
              </a:rPr>
              <a:t>PERIODIC TARIFF REVIEW (RTP)</a:t>
            </a:r>
            <a:endParaRPr lang="en-US" sz="2800" b="1" i="0" u="none" strike="noStrike" cap="none" baseline="0" dirty="0">
              <a:solidFill>
                <a:srgbClr val="002581"/>
              </a:solidFill>
              <a:effectLst/>
              <a:uFillTx/>
              <a:latin typeface="Segoe UI Black"/>
            </a:endParaRPr>
          </a:p>
        </p:txBody>
      </p:sp>
      <p:sp>
        <p:nvSpPr>
          <p:cNvPr id="25" name="Isosceles Triangle 1">
            <a:extLst>
              <a:ext uri="{FF2B5EF4-FFF2-40B4-BE49-F238E27FC236}">
                <a16:creationId xmlns:a16="http://schemas.microsoft.com/office/drawing/2014/main" id="{183D12F1-0037-7558-1AE3-E9D9CA55D650}"/>
              </a:ext>
            </a:extLst>
          </p:cNvPr>
          <p:cNvSpPr/>
          <p:nvPr/>
        </p:nvSpPr>
        <p:spPr>
          <a:xfrm>
            <a:off x="5936183" y="4036956"/>
            <a:ext cx="1400363" cy="1024436"/>
          </a:xfrm>
          <a:custGeom>
            <a:avLst/>
            <a:gdLst/>
            <a:ahLst/>
            <a:cxnLst/>
            <a:rect l="l" t="t" r="r" b="b"/>
            <a:pathLst>
              <a:path w="1512168" h="972000">
                <a:moveTo>
                  <a:pt x="504056" y="0"/>
                </a:moveTo>
                <a:lnTo>
                  <a:pt x="1512168" y="0"/>
                </a:lnTo>
                <a:lnTo>
                  <a:pt x="1512168" y="972000"/>
                </a:lnTo>
                <a:lnTo>
                  <a:pt x="0" y="972000"/>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6" name="Isosceles Triangle 4">
            <a:extLst>
              <a:ext uri="{FF2B5EF4-FFF2-40B4-BE49-F238E27FC236}">
                <a16:creationId xmlns:a16="http://schemas.microsoft.com/office/drawing/2014/main" id="{45CFA07C-5661-A2C0-CE44-BF260810A3B6}"/>
              </a:ext>
            </a:extLst>
          </p:cNvPr>
          <p:cNvSpPr/>
          <p:nvPr/>
        </p:nvSpPr>
        <p:spPr>
          <a:xfrm>
            <a:off x="6396125" y="3027851"/>
            <a:ext cx="933576" cy="1299349"/>
          </a:xfrm>
          <a:custGeom>
            <a:avLst/>
            <a:gdLst/>
            <a:ahLst/>
            <a:cxnLst/>
            <a:rect l="l" t="t" r="r" b="b"/>
            <a:pathLst>
              <a:path w="1294465" h="1583028">
                <a:moveTo>
                  <a:pt x="647233" y="0"/>
                </a:moveTo>
                <a:lnTo>
                  <a:pt x="1207846" y="0"/>
                </a:lnTo>
                <a:cubicBezTo>
                  <a:pt x="1221046" y="104799"/>
                  <a:pt x="1117021" y="131256"/>
                  <a:pt x="1116463" y="233773"/>
                </a:cubicBezTo>
                <a:cubicBezTo>
                  <a:pt x="1122156" y="310112"/>
                  <a:pt x="1207800" y="351849"/>
                  <a:pt x="1294465" y="354722"/>
                </a:cubicBezTo>
                <a:lnTo>
                  <a:pt x="1294465" y="1248095"/>
                </a:lnTo>
                <a:lnTo>
                  <a:pt x="732378" y="1248095"/>
                </a:lnTo>
                <a:cubicBezTo>
                  <a:pt x="741388" y="1338213"/>
                  <a:pt x="814812" y="1331847"/>
                  <a:pt x="825235" y="1433338"/>
                </a:cubicBezTo>
                <a:cubicBezTo>
                  <a:pt x="824578" y="1525968"/>
                  <a:pt x="757290" y="1575569"/>
                  <a:pt x="652160" y="1583028"/>
                </a:cubicBezTo>
                <a:cubicBezTo>
                  <a:pt x="563856" y="1581056"/>
                  <a:pt x="475032" y="1539196"/>
                  <a:pt x="469230" y="1461404"/>
                </a:cubicBezTo>
                <a:cubicBezTo>
                  <a:pt x="469751" y="1365932"/>
                  <a:pt x="560004" y="1336426"/>
                  <a:pt x="561088" y="1248095"/>
                </a:cubicBezTo>
                <a:lnTo>
                  <a:pt x="0" y="1248095"/>
                </a:ln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7" name="Isosceles Triangle 4">
            <a:extLst>
              <a:ext uri="{FF2B5EF4-FFF2-40B4-BE49-F238E27FC236}">
                <a16:creationId xmlns:a16="http://schemas.microsoft.com/office/drawing/2014/main" id="{A2EDFFEB-1AE9-0958-4F79-DC00CC5ADFED}"/>
              </a:ext>
            </a:extLst>
          </p:cNvPr>
          <p:cNvSpPr/>
          <p:nvPr/>
        </p:nvSpPr>
        <p:spPr>
          <a:xfrm flipH="1">
            <a:off x="7093445" y="3031230"/>
            <a:ext cx="1164307" cy="1024436"/>
          </a:xfrm>
          <a:custGeom>
            <a:avLst/>
            <a:gdLst/>
            <a:ahLst/>
            <a:cxnLst/>
            <a:rect l="l" t="t" r="r" b="b"/>
            <a:pathLst>
              <a:path w="1614390" h="1248095">
                <a:moveTo>
                  <a:pt x="1206748" y="0"/>
                </a:moveTo>
                <a:lnTo>
                  <a:pt x="647233" y="0"/>
                </a:lnTo>
                <a:lnTo>
                  <a:pt x="0" y="1248095"/>
                </a:lnTo>
                <a:lnTo>
                  <a:pt x="1294465" y="1248095"/>
                </a:lnTo>
                <a:lnTo>
                  <a:pt x="1294465" y="710919"/>
                </a:lnTo>
                <a:cubicBezTo>
                  <a:pt x="1369199" y="726645"/>
                  <a:pt x="1369193" y="792243"/>
                  <a:pt x="1464699" y="802051"/>
                </a:cubicBezTo>
                <a:cubicBezTo>
                  <a:pt x="1557329" y="801393"/>
                  <a:pt x="1606931" y="734105"/>
                  <a:pt x="1614390" y="628975"/>
                </a:cubicBezTo>
                <a:cubicBezTo>
                  <a:pt x="1612417" y="540671"/>
                  <a:pt x="1570557" y="451847"/>
                  <a:pt x="1492766" y="446046"/>
                </a:cubicBezTo>
                <a:cubicBezTo>
                  <a:pt x="1402925" y="446535"/>
                  <a:pt x="1371498" y="526484"/>
                  <a:pt x="1294465" y="537352"/>
                </a:cubicBezTo>
                <a:lnTo>
                  <a:pt x="1294465" y="354151"/>
                </a:lnTo>
                <a:lnTo>
                  <a:pt x="1285364" y="355396"/>
                </a:lnTo>
                <a:cubicBezTo>
                  <a:pt x="1180234" y="347937"/>
                  <a:pt x="1112946" y="298336"/>
                  <a:pt x="1112288" y="205706"/>
                </a:cubicBezTo>
                <a:cubicBezTo>
                  <a:pt x="1123447" y="97055"/>
                  <a:pt x="1206810" y="112018"/>
                  <a:pt x="1206748"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28" name="Isosceles Triangle 1">
            <a:extLst>
              <a:ext uri="{FF2B5EF4-FFF2-40B4-BE49-F238E27FC236}">
                <a16:creationId xmlns:a16="http://schemas.microsoft.com/office/drawing/2014/main" id="{A3D67E65-23A9-5A6E-1540-AC1689801D38}"/>
              </a:ext>
            </a:extLst>
          </p:cNvPr>
          <p:cNvSpPr/>
          <p:nvPr/>
        </p:nvSpPr>
        <p:spPr>
          <a:xfrm flipH="1">
            <a:off x="7070491" y="3764885"/>
            <a:ext cx="1651704" cy="1297504"/>
          </a:xfrm>
          <a:custGeom>
            <a:avLst/>
            <a:gdLst/>
            <a:ahLst/>
            <a:cxnLst/>
            <a:rect l="l" t="t" r="r" b="b"/>
            <a:pathLst>
              <a:path w="2290199" h="1580780">
                <a:moveTo>
                  <a:pt x="1339903" y="0"/>
                </a:moveTo>
                <a:cubicBezTo>
                  <a:pt x="1251599" y="1972"/>
                  <a:pt x="1162775" y="43832"/>
                  <a:pt x="1156973" y="121624"/>
                </a:cubicBezTo>
                <a:cubicBezTo>
                  <a:pt x="1157489" y="216276"/>
                  <a:pt x="1246203" y="246090"/>
                  <a:pt x="1248883" y="332684"/>
                </a:cubicBezTo>
                <a:lnTo>
                  <a:pt x="647233" y="332684"/>
                </a:lnTo>
                <a:lnTo>
                  <a:pt x="0" y="1580780"/>
                </a:lnTo>
                <a:lnTo>
                  <a:pt x="1941698" y="1580780"/>
                </a:lnTo>
                <a:lnTo>
                  <a:pt x="1941698" y="1040816"/>
                </a:lnTo>
                <a:cubicBezTo>
                  <a:pt x="2046243" y="1043701"/>
                  <a:pt x="2034149" y="1123813"/>
                  <a:pt x="2140508" y="1134736"/>
                </a:cubicBezTo>
                <a:cubicBezTo>
                  <a:pt x="2233138" y="1134078"/>
                  <a:pt x="2282740" y="1066790"/>
                  <a:pt x="2290199" y="961660"/>
                </a:cubicBezTo>
                <a:cubicBezTo>
                  <a:pt x="2288226" y="873356"/>
                  <a:pt x="2246366" y="784532"/>
                  <a:pt x="2168575" y="778731"/>
                </a:cubicBezTo>
                <a:cubicBezTo>
                  <a:pt x="2068337" y="779277"/>
                  <a:pt x="2040816" y="878736"/>
                  <a:pt x="1941698" y="870274"/>
                </a:cubicBezTo>
                <a:lnTo>
                  <a:pt x="1941698" y="332684"/>
                </a:lnTo>
                <a:lnTo>
                  <a:pt x="1420297" y="332684"/>
                </a:lnTo>
                <a:cubicBezTo>
                  <a:pt x="1430362" y="244914"/>
                  <a:pt x="1502643" y="250328"/>
                  <a:pt x="1512978" y="149690"/>
                </a:cubicBezTo>
                <a:cubicBezTo>
                  <a:pt x="1512321" y="57060"/>
                  <a:pt x="1445033" y="7459"/>
                  <a:pt x="1339903" y="0"/>
                </a:cubicBezTo>
                <a:close/>
              </a:path>
            </a:pathLst>
          </a:custGeom>
          <a:solidFill>
            <a:schemeClr val="bg1">
              <a:lumMod val="75000"/>
            </a:schemeClr>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41" name="Rectangle 16">
            <a:extLst>
              <a:ext uri="{FF2B5EF4-FFF2-40B4-BE49-F238E27FC236}">
                <a16:creationId xmlns:a16="http://schemas.microsoft.com/office/drawing/2014/main" id="{25BBAE44-1858-482A-4986-36D3A9548067}"/>
              </a:ext>
            </a:extLst>
          </p:cNvPr>
          <p:cNvSpPr/>
          <p:nvPr/>
        </p:nvSpPr>
        <p:spPr>
          <a:xfrm>
            <a:off x="6856393" y="1979858"/>
            <a:ext cx="933576" cy="1314022"/>
          </a:xfrm>
          <a:custGeom>
            <a:avLst/>
            <a:gdLst/>
            <a:ahLst/>
            <a:cxnLst/>
            <a:rect l="l" t="t" r="r" b="b"/>
            <a:pathLst>
              <a:path w="1294465" h="1600904">
                <a:moveTo>
                  <a:pt x="647233" y="0"/>
                </a:moveTo>
                <a:lnTo>
                  <a:pt x="1294465" y="1248095"/>
                </a:lnTo>
                <a:lnTo>
                  <a:pt x="730978" y="1248095"/>
                </a:lnTo>
                <a:cubicBezTo>
                  <a:pt x="732008" y="1357299"/>
                  <a:pt x="814164" y="1343408"/>
                  <a:pt x="825235" y="1451213"/>
                </a:cubicBezTo>
                <a:cubicBezTo>
                  <a:pt x="824578" y="1543844"/>
                  <a:pt x="757290" y="1593445"/>
                  <a:pt x="652160" y="1600904"/>
                </a:cubicBezTo>
                <a:cubicBezTo>
                  <a:pt x="563856" y="1598932"/>
                  <a:pt x="475031" y="1557072"/>
                  <a:pt x="469230" y="1479280"/>
                </a:cubicBezTo>
                <a:cubicBezTo>
                  <a:pt x="469784" y="1377606"/>
                  <a:pt x="572108" y="1350747"/>
                  <a:pt x="560674" y="1248095"/>
                </a:cubicBezTo>
                <a:lnTo>
                  <a:pt x="0" y="1248095"/>
                </a:lnTo>
                <a:close/>
              </a:path>
            </a:pathLst>
          </a:custGeom>
          <a:solidFill>
            <a:srgbClr val="F66727"/>
          </a:solidFill>
          <a:ln>
            <a:noFill/>
          </a:ln>
          <a:effectLst>
            <a:outerShdw blurRad="12700" dist="12700" dir="5400000" algn="t" rotWithShape="0">
              <a:prstClr val="black">
                <a:alpha val="80000"/>
              </a:prstClr>
            </a:outerShdw>
          </a:effectLst>
          <a:scene3d>
            <a:camera prst="orthographicFront"/>
            <a:lightRig rig="threePt" dir="t"/>
          </a:scene3d>
          <a:sp3d>
            <a:bevelT w="50800" h="254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994"/>
          </a:p>
        </p:txBody>
      </p:sp>
      <p:sp>
        <p:nvSpPr>
          <p:cNvPr id="42" name="CaixaDeTexto 41">
            <a:extLst>
              <a:ext uri="{FF2B5EF4-FFF2-40B4-BE49-F238E27FC236}">
                <a16:creationId xmlns:a16="http://schemas.microsoft.com/office/drawing/2014/main" id="{75ECADA7-6FB6-14E9-6F75-2DC4AE1EB07F}"/>
              </a:ext>
            </a:extLst>
          </p:cNvPr>
          <p:cNvSpPr txBox="1"/>
          <p:nvPr/>
        </p:nvSpPr>
        <p:spPr>
          <a:xfrm>
            <a:off x="6844670" y="2659730"/>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thers</a:t>
            </a:r>
          </a:p>
        </p:txBody>
      </p:sp>
      <p:sp>
        <p:nvSpPr>
          <p:cNvPr id="43" name="CaixaDeTexto 42">
            <a:extLst>
              <a:ext uri="{FF2B5EF4-FFF2-40B4-BE49-F238E27FC236}">
                <a16:creationId xmlns:a16="http://schemas.microsoft.com/office/drawing/2014/main" id="{8441D7B0-9088-DFCB-841E-22DA6A2C885E}"/>
              </a:ext>
            </a:extLst>
          </p:cNvPr>
          <p:cNvSpPr txBox="1"/>
          <p:nvPr/>
        </p:nvSpPr>
        <p:spPr>
          <a:xfrm>
            <a:off x="6414389" y="3594432"/>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RAP</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Melhorias</a:t>
            </a:r>
          </a:p>
        </p:txBody>
      </p:sp>
      <p:sp>
        <p:nvSpPr>
          <p:cNvPr id="44" name="CaixaDeTexto 43">
            <a:extLst>
              <a:ext uri="{FF2B5EF4-FFF2-40B4-BE49-F238E27FC236}">
                <a16:creationId xmlns:a16="http://schemas.microsoft.com/office/drawing/2014/main" id="{390F44CB-1648-61BE-EAA3-2E5D623E603A}"/>
              </a:ext>
            </a:extLst>
          </p:cNvPr>
          <p:cNvSpPr txBox="1"/>
          <p:nvPr/>
        </p:nvSpPr>
        <p:spPr>
          <a:xfrm>
            <a:off x="7208810" y="3422472"/>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WACC</a:t>
            </a:r>
          </a:p>
        </p:txBody>
      </p:sp>
      <p:sp>
        <p:nvSpPr>
          <p:cNvPr id="45" name="CaixaDeTexto 44">
            <a:extLst>
              <a:ext uri="{FF2B5EF4-FFF2-40B4-BE49-F238E27FC236}">
                <a16:creationId xmlns:a16="http://schemas.microsoft.com/office/drawing/2014/main" id="{364A5843-69BF-17F0-CF29-41502C816567}"/>
              </a:ext>
            </a:extLst>
          </p:cNvPr>
          <p:cNvSpPr txBox="1"/>
          <p:nvPr/>
        </p:nvSpPr>
        <p:spPr>
          <a:xfrm>
            <a:off x="6206075" y="4398898"/>
            <a:ext cx="933576"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BRR</a:t>
            </a:r>
            <a:br>
              <a:rPr lang="pt-BR" sz="1200" b="1" spc="0">
                <a:latin typeface="Segoe UI" panose="020B0502040204020203" pitchFamily="34" charset="0"/>
                <a:cs typeface="Segoe UI" panose="020B0502040204020203" pitchFamily="34" charset="0"/>
              </a:rPr>
            </a:br>
            <a:r>
              <a:rPr lang="pt-BR" sz="1200" b="1" spc="0">
                <a:latin typeface="Segoe UI" panose="020B0502040204020203" pitchFamily="34" charset="0"/>
                <a:cs typeface="Segoe UI" panose="020B0502040204020203" pitchFamily="34" charset="0"/>
              </a:rPr>
              <a:t>BP</a:t>
            </a:r>
          </a:p>
        </p:txBody>
      </p:sp>
      <p:sp>
        <p:nvSpPr>
          <p:cNvPr id="46" name="CaixaDeTexto 45">
            <a:extLst>
              <a:ext uri="{FF2B5EF4-FFF2-40B4-BE49-F238E27FC236}">
                <a16:creationId xmlns:a16="http://schemas.microsoft.com/office/drawing/2014/main" id="{9E9C4C34-96D2-3D15-90D7-E08CE08477B9}"/>
              </a:ext>
            </a:extLst>
          </p:cNvPr>
          <p:cNvSpPr txBox="1"/>
          <p:nvPr/>
        </p:nvSpPr>
        <p:spPr>
          <a:xfrm>
            <a:off x="7418475" y="4472764"/>
            <a:ext cx="9335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algn="ctr" defTabSz="234364"/>
            <a:r>
              <a:rPr lang="pt-BR" sz="1200" b="1" spc="0">
                <a:latin typeface="Segoe UI" panose="020B0502040204020203" pitchFamily="34" charset="0"/>
                <a:cs typeface="Segoe UI" panose="020B0502040204020203" pitchFamily="34" charset="0"/>
              </a:rPr>
              <a:t>O&amp;M</a:t>
            </a:r>
          </a:p>
        </p:txBody>
      </p:sp>
      <p:grpSp>
        <p:nvGrpSpPr>
          <p:cNvPr id="47" name="Agrupar 46">
            <a:extLst>
              <a:ext uri="{FF2B5EF4-FFF2-40B4-BE49-F238E27FC236}">
                <a16:creationId xmlns:a16="http://schemas.microsoft.com/office/drawing/2014/main" id="{E695A505-03F0-A2CF-EFAB-6A7D576488B6}"/>
              </a:ext>
            </a:extLst>
          </p:cNvPr>
          <p:cNvGrpSpPr/>
          <p:nvPr/>
        </p:nvGrpSpPr>
        <p:grpSpPr>
          <a:xfrm>
            <a:off x="1105674" y="1834268"/>
            <a:ext cx="297884" cy="291179"/>
            <a:chOff x="8313122" y="2344436"/>
            <a:chExt cx="373665" cy="373665"/>
          </a:xfrm>
        </p:grpSpPr>
        <p:sp>
          <p:nvSpPr>
            <p:cNvPr id="48" name="Elipse 47">
              <a:extLst>
                <a:ext uri="{FF2B5EF4-FFF2-40B4-BE49-F238E27FC236}">
                  <a16:creationId xmlns:a16="http://schemas.microsoft.com/office/drawing/2014/main" id="{44697A6F-3426-36D6-7986-791E3CA19E51}"/>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9" name="Seta: Divisa 48">
              <a:extLst>
                <a:ext uri="{FF2B5EF4-FFF2-40B4-BE49-F238E27FC236}">
                  <a16:creationId xmlns:a16="http://schemas.microsoft.com/office/drawing/2014/main" id="{01C3AB96-36CA-9482-E891-D8EF74FC6D1F}"/>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50" name="CaixaDeTexto 49">
            <a:extLst>
              <a:ext uri="{FF2B5EF4-FFF2-40B4-BE49-F238E27FC236}">
                <a16:creationId xmlns:a16="http://schemas.microsoft.com/office/drawing/2014/main" id="{5C0298E0-A290-8879-8943-1A47918BDDBF}"/>
              </a:ext>
            </a:extLst>
          </p:cNvPr>
          <p:cNvSpPr txBox="1"/>
          <p:nvPr/>
        </p:nvSpPr>
        <p:spPr>
          <a:xfrm>
            <a:off x="1414154" y="1868640"/>
            <a:ext cx="2150980"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400" b="1" spc="0">
                <a:solidFill>
                  <a:srgbClr val="011F57"/>
                </a:solidFill>
                <a:latin typeface="Segoe UI" panose="020B0502040204020203" pitchFamily="34" charset="0"/>
                <a:cs typeface="Segoe UI" panose="020B0502040204020203" pitchFamily="34" charset="0"/>
              </a:rPr>
              <a:t>Administrative Cost </a:t>
            </a:r>
          </a:p>
        </p:txBody>
      </p:sp>
      <p:pic>
        <p:nvPicPr>
          <p:cNvPr id="51" name="Imagem 50" descr="Uma imagem contendo Interface gráfica do usuário&#10;&#10;Descrição gerada automaticamente">
            <a:extLst>
              <a:ext uri="{FF2B5EF4-FFF2-40B4-BE49-F238E27FC236}">
                <a16:creationId xmlns:a16="http://schemas.microsoft.com/office/drawing/2014/main" id="{86A052CE-C942-0295-670A-B1620BF6D763}"/>
              </a:ext>
            </a:extLst>
          </p:cNvPr>
          <p:cNvPicPr>
            <a:picLocks noChangeAspect="1"/>
          </p:cNvPicPr>
          <p:nvPr/>
        </p:nvPicPr>
        <p:blipFill>
          <a:blip r:embed="rId7"/>
          <a:stretch>
            <a:fillRect/>
          </a:stretch>
        </p:blipFill>
        <p:spPr>
          <a:xfrm>
            <a:off x="8039840" y="60434"/>
            <a:ext cx="920231" cy="509571"/>
          </a:xfrm>
          <a:prstGeom prst="rect">
            <a:avLst/>
          </a:prstGeom>
        </p:spPr>
      </p:pic>
      <p:sp>
        <p:nvSpPr>
          <p:cNvPr id="52" name="CaixaDeTexto 51">
            <a:extLst>
              <a:ext uri="{FF2B5EF4-FFF2-40B4-BE49-F238E27FC236}">
                <a16:creationId xmlns:a16="http://schemas.microsoft.com/office/drawing/2014/main" id="{34352572-4A95-ADBD-6EFA-15E171A95A27}"/>
              </a:ext>
            </a:extLst>
          </p:cNvPr>
          <p:cNvSpPr txBox="1"/>
          <p:nvPr/>
        </p:nvSpPr>
        <p:spPr>
          <a:xfrm>
            <a:off x="1012829" y="2088683"/>
            <a:ext cx="4915513" cy="95410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spc="0">
                <a:solidFill>
                  <a:srgbClr val="011F57"/>
                </a:solidFill>
                <a:latin typeface="Segoe UI" panose="020B0502040204020203" pitchFamily="34" charset="0"/>
                <a:cs typeface="Segoe UI" panose="020B0502040204020203" pitchFamily="34" charset="0"/>
              </a:rPr>
              <a:t>The Company is efficient in relation to regulatory administrative costs</a:t>
            </a:r>
          </a:p>
          <a:p>
            <a:pPr defTabSz="234364"/>
            <a:endParaRPr lang="en-US" sz="1400" spc="0">
              <a:solidFill>
                <a:srgbClr val="011F57"/>
              </a:solidFill>
              <a:latin typeface="Segoe UI" panose="020B0502040204020203" pitchFamily="34" charset="0"/>
              <a:cs typeface="Segoe UI" panose="020B0502040204020203" pitchFamily="34" charset="0"/>
            </a:endParaRPr>
          </a:p>
          <a:p>
            <a:pPr defTabSz="234364"/>
            <a:r>
              <a:rPr lang="en-US" sz="1400" spc="0">
                <a:solidFill>
                  <a:srgbClr val="011F57"/>
                </a:solidFill>
                <a:latin typeface="Segoe UI" panose="020B0502040204020203" pitchFamily="34" charset="0"/>
                <a:cs typeface="Segoe UI" panose="020B0502040204020203" pitchFamily="34" charset="0"/>
              </a:rPr>
              <a:t>Public Consultation RTP recognizes additional value for Reinforcements of Tendered Contracts</a:t>
            </a:r>
            <a:endParaRPr lang="pt-BR" sz="1400" spc="0">
              <a:solidFill>
                <a:srgbClr val="011F57"/>
              </a:solidFill>
              <a:latin typeface="Segoe UI" panose="020B0502040204020203" pitchFamily="34" charset="0"/>
              <a:cs typeface="Segoe UI" panose="020B0502040204020203" pitchFamily="34" charset="0"/>
            </a:endParaRPr>
          </a:p>
        </p:txBody>
      </p:sp>
      <p:grpSp>
        <p:nvGrpSpPr>
          <p:cNvPr id="60" name="Agrupar 59">
            <a:extLst>
              <a:ext uri="{FF2B5EF4-FFF2-40B4-BE49-F238E27FC236}">
                <a16:creationId xmlns:a16="http://schemas.microsoft.com/office/drawing/2014/main" id="{250E686A-83ED-12A7-9390-1699A900E189}"/>
              </a:ext>
            </a:extLst>
          </p:cNvPr>
          <p:cNvGrpSpPr/>
          <p:nvPr/>
        </p:nvGrpSpPr>
        <p:grpSpPr>
          <a:xfrm>
            <a:off x="1083593" y="2970920"/>
            <a:ext cx="4589010" cy="297883"/>
            <a:chOff x="3572142" y="2029787"/>
            <a:chExt cx="4465662" cy="297883"/>
          </a:xfrm>
        </p:grpSpPr>
        <p:sp>
          <p:nvSpPr>
            <p:cNvPr id="61" name="Retângulo: Cantos Arredondados 60">
              <a:extLst>
                <a:ext uri="{FF2B5EF4-FFF2-40B4-BE49-F238E27FC236}">
                  <a16:creationId xmlns:a16="http://schemas.microsoft.com/office/drawing/2014/main" id="{A17AB490-22AA-B400-3D28-A56163ED60D1}"/>
                </a:ext>
              </a:extLst>
            </p:cNvPr>
            <p:cNvSpPr/>
            <p:nvPr/>
          </p:nvSpPr>
          <p:spPr>
            <a:xfrm flipH="1">
              <a:off x="3572142" y="2029787"/>
              <a:ext cx="4465662" cy="289310"/>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sp>
          <p:nvSpPr>
            <p:cNvPr id="62" name="CaixaDeTexto 61">
              <a:extLst>
                <a:ext uri="{FF2B5EF4-FFF2-40B4-BE49-F238E27FC236}">
                  <a16:creationId xmlns:a16="http://schemas.microsoft.com/office/drawing/2014/main" id="{631A69F5-13DD-E053-8D17-E24974825730}"/>
                </a:ext>
              </a:extLst>
            </p:cNvPr>
            <p:cNvSpPr txBox="1"/>
            <p:nvPr/>
          </p:nvSpPr>
          <p:spPr>
            <a:xfrm>
              <a:off x="3997667" y="2038360"/>
              <a:ext cx="3614611"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600" i="0" u="none" strike="noStrike" kern="1200" cap="none" spc="0" normalizeH="0" baseline="0" noProof="0">
                  <a:ln>
                    <a:noFill/>
                  </a:ln>
                  <a:effectLst/>
                  <a:uLnTx/>
                  <a:uFillTx/>
                  <a:latin typeface="Segoe UI Black" panose="020B0A02040204020203" pitchFamily="34" charset="0"/>
                  <a:ea typeface="Segoe UI Black" panose="020B0A02040204020203" pitchFamily="34" charset="0"/>
                  <a:cs typeface="Segoe UI" panose="020B0502040204020203" pitchFamily="34" charset="0"/>
                </a:rPr>
                <a:t>Impact: + R$ 1 million p.y.</a:t>
              </a:r>
            </a:p>
          </p:txBody>
        </p:sp>
      </p:grpSp>
      <p:grpSp>
        <p:nvGrpSpPr>
          <p:cNvPr id="193" name="Agrupar 192">
            <a:extLst>
              <a:ext uri="{FF2B5EF4-FFF2-40B4-BE49-F238E27FC236}">
                <a16:creationId xmlns:a16="http://schemas.microsoft.com/office/drawing/2014/main" id="{BAEAB221-4EB5-E8EC-A876-52130534E4C0}"/>
              </a:ext>
            </a:extLst>
          </p:cNvPr>
          <p:cNvGrpSpPr/>
          <p:nvPr/>
        </p:nvGrpSpPr>
        <p:grpSpPr>
          <a:xfrm>
            <a:off x="1105674" y="3565396"/>
            <a:ext cx="297884" cy="291179"/>
            <a:chOff x="8313122" y="2344436"/>
            <a:chExt cx="373665" cy="373665"/>
          </a:xfrm>
        </p:grpSpPr>
        <p:sp>
          <p:nvSpPr>
            <p:cNvPr id="194" name="Elipse 193">
              <a:extLst>
                <a:ext uri="{FF2B5EF4-FFF2-40B4-BE49-F238E27FC236}">
                  <a16:creationId xmlns:a16="http://schemas.microsoft.com/office/drawing/2014/main" id="{1B69DC95-78DA-4772-887B-45F86EE4F3D7}"/>
                </a:ext>
              </a:extLst>
            </p:cNvPr>
            <p:cNvSpPr/>
            <p:nvPr/>
          </p:nvSpPr>
          <p:spPr>
            <a:xfrm>
              <a:off x="8313122" y="2344436"/>
              <a:ext cx="373665" cy="373665"/>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Seta: Divisa 194">
              <a:extLst>
                <a:ext uri="{FF2B5EF4-FFF2-40B4-BE49-F238E27FC236}">
                  <a16:creationId xmlns:a16="http://schemas.microsoft.com/office/drawing/2014/main" id="{5F5BD373-8F1E-8F49-6A2D-341646160A93}"/>
                </a:ext>
              </a:extLst>
            </p:cNvPr>
            <p:cNvSpPr/>
            <p:nvPr/>
          </p:nvSpPr>
          <p:spPr>
            <a:xfrm>
              <a:off x="8414971" y="2441686"/>
              <a:ext cx="185203" cy="185203"/>
            </a:xfrm>
            <a:prstGeom prst="chevron">
              <a:avLst/>
            </a:prstGeom>
            <a:solidFill>
              <a:schemeClr val="bg1"/>
            </a:solidFill>
            <a:ln w="19050">
              <a:noFill/>
            </a:ln>
            <a:effectLst>
              <a:glow rad="139700">
                <a:schemeClr val="bg1">
                  <a:alpha val="15000"/>
                </a:schemeClr>
              </a:glow>
            </a:effectLst>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7497" tIns="33748" rIns="67497" bIns="33748" numCol="1" spcCol="0" rtlCol="0" fromWordArt="0" anchor="ctr" anchorCtr="0" forceAA="0" compatLnSpc="1">
              <a:prstTxWarp prst="textNoShape">
                <a:avLst/>
              </a:prstTxWarp>
              <a:noAutofit/>
            </a:bodyP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96" name="CaixaDeTexto 195">
            <a:extLst>
              <a:ext uri="{FF2B5EF4-FFF2-40B4-BE49-F238E27FC236}">
                <a16:creationId xmlns:a16="http://schemas.microsoft.com/office/drawing/2014/main" id="{BA080813-3EAF-2A3B-DA60-5C2F7CCC019D}"/>
              </a:ext>
            </a:extLst>
          </p:cNvPr>
          <p:cNvSpPr txBox="1"/>
          <p:nvPr/>
        </p:nvSpPr>
        <p:spPr>
          <a:xfrm>
            <a:off x="1414154" y="3599768"/>
            <a:ext cx="2150980"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pt-BR" sz="1400" b="1" spc="0">
                <a:solidFill>
                  <a:srgbClr val="011F57"/>
                </a:solidFill>
                <a:latin typeface="Segoe UI" panose="020B0502040204020203" pitchFamily="34" charset="0"/>
                <a:cs typeface="Segoe UI" panose="020B0502040204020203" pitchFamily="34" charset="0"/>
              </a:rPr>
              <a:t>Other Revenues</a:t>
            </a:r>
          </a:p>
        </p:txBody>
      </p:sp>
      <p:sp>
        <p:nvSpPr>
          <p:cNvPr id="198" name="CaixaDeTexto 197">
            <a:extLst>
              <a:ext uri="{FF2B5EF4-FFF2-40B4-BE49-F238E27FC236}">
                <a16:creationId xmlns:a16="http://schemas.microsoft.com/office/drawing/2014/main" id="{17EE96B9-A9CA-DE6D-558D-3341DF229FCA}"/>
              </a:ext>
            </a:extLst>
          </p:cNvPr>
          <p:cNvSpPr txBox="1"/>
          <p:nvPr/>
        </p:nvSpPr>
        <p:spPr>
          <a:xfrm>
            <a:off x="1012829" y="3896155"/>
            <a:ext cx="4110669"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r>
              <a:rPr lang="en-US" sz="1400" spc="0">
                <a:solidFill>
                  <a:srgbClr val="011F57"/>
                </a:solidFill>
                <a:latin typeface="Segoe UI" panose="020B0502040204020203" pitchFamily="34" charset="0"/>
                <a:cs typeface="Segoe UI" panose="020B0502040204020203" pitchFamily="34" charset="0"/>
              </a:rPr>
              <a:t>Maintained the current methodology (PRORET)</a:t>
            </a:r>
          </a:p>
          <a:p>
            <a:pPr defTabSz="234364"/>
            <a:r>
              <a:rPr lang="en-US" sz="1400" spc="0">
                <a:solidFill>
                  <a:srgbClr val="011F57"/>
                </a:solidFill>
                <a:latin typeface="Segoe UI" panose="020B0502040204020203" pitchFamily="34" charset="0"/>
                <a:cs typeface="Segoe UI" panose="020B0502040204020203" pitchFamily="34" charset="0"/>
              </a:rPr>
              <a:t>Total value of current contracts:</a:t>
            </a:r>
            <a:endParaRPr lang="pt-BR" sz="1400" spc="0">
              <a:solidFill>
                <a:srgbClr val="011F57"/>
              </a:solidFill>
              <a:latin typeface="Segoe UI" panose="020B0502040204020203" pitchFamily="34" charset="0"/>
              <a:cs typeface="Segoe UI" panose="020B0502040204020203" pitchFamily="34" charset="0"/>
            </a:endParaRPr>
          </a:p>
        </p:txBody>
      </p:sp>
      <p:grpSp>
        <p:nvGrpSpPr>
          <p:cNvPr id="199" name="Agrupar 198">
            <a:extLst>
              <a:ext uri="{FF2B5EF4-FFF2-40B4-BE49-F238E27FC236}">
                <a16:creationId xmlns:a16="http://schemas.microsoft.com/office/drawing/2014/main" id="{D37866A2-88B5-7531-4F37-5E05D50095CD}"/>
              </a:ext>
            </a:extLst>
          </p:cNvPr>
          <p:cNvGrpSpPr/>
          <p:nvPr/>
        </p:nvGrpSpPr>
        <p:grpSpPr>
          <a:xfrm>
            <a:off x="1083593" y="4334813"/>
            <a:ext cx="4589010" cy="297883"/>
            <a:chOff x="3572142" y="2029787"/>
            <a:chExt cx="4465662" cy="297883"/>
          </a:xfrm>
        </p:grpSpPr>
        <p:sp>
          <p:nvSpPr>
            <p:cNvPr id="200" name="Retângulo: Cantos Arredondados 199">
              <a:extLst>
                <a:ext uri="{FF2B5EF4-FFF2-40B4-BE49-F238E27FC236}">
                  <a16:creationId xmlns:a16="http://schemas.microsoft.com/office/drawing/2014/main" id="{8DCF0B33-D2E1-7CBC-A24E-9A4B13F621E8}"/>
                </a:ext>
              </a:extLst>
            </p:cNvPr>
            <p:cNvSpPr/>
            <p:nvPr/>
          </p:nvSpPr>
          <p:spPr>
            <a:xfrm flipH="1">
              <a:off x="3572142" y="2029787"/>
              <a:ext cx="4465662" cy="289310"/>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sp>
          <p:nvSpPr>
            <p:cNvPr id="201" name="CaixaDeTexto 200">
              <a:extLst>
                <a:ext uri="{FF2B5EF4-FFF2-40B4-BE49-F238E27FC236}">
                  <a16:creationId xmlns:a16="http://schemas.microsoft.com/office/drawing/2014/main" id="{3B1BB104-AE0E-C279-511C-07CD2B10F00A}"/>
                </a:ext>
              </a:extLst>
            </p:cNvPr>
            <p:cNvSpPr txBox="1"/>
            <p:nvPr/>
          </p:nvSpPr>
          <p:spPr>
            <a:xfrm>
              <a:off x="4713451" y="2038360"/>
              <a:ext cx="2183043"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kumimoji="0" lang="pt-BR" sz="1600" i="0" u="none" strike="noStrike" kern="1200" cap="none" spc="0" normalizeH="0" baseline="0" noProof="0">
                  <a:ln>
                    <a:noFill/>
                  </a:ln>
                  <a:effectLst/>
                  <a:uLnTx/>
                  <a:uFillTx/>
                  <a:latin typeface="Segoe UI Black" panose="020B0A02040204020203" pitchFamily="34" charset="0"/>
                  <a:ea typeface="Segoe UI Black" panose="020B0A02040204020203" pitchFamily="34" charset="0"/>
                  <a:cs typeface="Segoe UI" panose="020B0502040204020203" pitchFamily="34" charset="0"/>
                </a:rPr>
                <a:t>R$ 18 million</a:t>
              </a:r>
            </a:p>
          </p:txBody>
        </p:sp>
      </p:grpSp>
      <p:sp>
        <p:nvSpPr>
          <p:cNvPr id="10" name="CaixaDeTexto 9">
            <a:extLst>
              <a:ext uri="{FF2B5EF4-FFF2-40B4-BE49-F238E27FC236}">
                <a16:creationId xmlns:a16="http://schemas.microsoft.com/office/drawing/2014/main" id="{3700F3EA-FC4F-B7B3-5B89-7C386B3F870D}"/>
              </a:ext>
            </a:extLst>
          </p:cNvPr>
          <p:cNvSpPr txBox="1"/>
          <p:nvPr/>
        </p:nvSpPr>
        <p:spPr>
          <a:xfrm>
            <a:off x="528793" y="116087"/>
            <a:ext cx="2152025" cy="461665"/>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spc="0">
                <a:solidFill>
                  <a:srgbClr val="011F57"/>
                </a:solidFill>
                <a:latin typeface="Segoe UI"/>
              </a:rPr>
              <a:t>REGULATORY MANAGEMENT</a:t>
            </a:r>
          </a:p>
          <a:p>
            <a:pPr defTabSz="234364"/>
            <a:r>
              <a:rPr lang="en-US" sz="1000" spc="0">
                <a:solidFill>
                  <a:srgbClr val="011F57"/>
                </a:solidFill>
                <a:latin typeface="Segoe UI" panose="020B0502040204020203" pitchFamily="34" charset="0"/>
                <a:cs typeface="Segoe UI" panose="020B0502040204020203" pitchFamily="34" charset="0"/>
              </a:rPr>
              <a:t>Active management with competitive advantage</a:t>
            </a:r>
          </a:p>
        </p:txBody>
      </p:sp>
    </p:spTree>
    <p:extLst>
      <p:ext uri="{BB962C8B-B14F-4D97-AF65-F5344CB8AC3E}">
        <p14:creationId xmlns:p14="http://schemas.microsoft.com/office/powerpoint/2010/main" val="73716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2"/>
                                        </p:tgtEl>
                                        <p:attrNameLst>
                                          <p:attrName>style.visibility</p:attrName>
                                        </p:attrNameLst>
                                      </p:cBhvr>
                                      <p:to>
                                        <p:strVal val="visible"/>
                                      </p:to>
                                    </p:set>
                                    <p:animEffect transition="in" filter="fade">
                                      <p:cBhvr>
                                        <p:cTn id="7" dur="500"/>
                                        <p:tgtEl>
                                          <p:spTgt spid="52"/>
                                        </p:tgtEl>
                                      </p:cBhvr>
                                    </p:animEffect>
                                  </p:childTnLst>
                                </p:cTn>
                              </p:par>
                              <p:par>
                                <p:cTn id="8" presetID="35" presetClass="path" presetSubtype="0" accel="17000" decel="83000" fill="hold" grpId="1" nodeType="withEffect">
                                  <p:stCondLst>
                                    <p:cond delay="500"/>
                                  </p:stCondLst>
                                  <p:childTnLst>
                                    <p:animMotion origin="layout" path="M -0.03405 -1.92537E-6 L 4.07303E-6 -1.92537E-6 " pathEditMode="relative" rAng="0" ptsTypes="AA">
                                      <p:cBhvr>
                                        <p:cTn id="9" dur="750" fill="hold"/>
                                        <p:tgtEl>
                                          <p:spTgt spid="52"/>
                                        </p:tgtEl>
                                        <p:attrNameLst>
                                          <p:attrName>ppt_x</p:attrName>
                                          <p:attrName>ppt_y</p:attrName>
                                        </p:attrNameLst>
                                      </p:cBhvr>
                                      <p:rCtr x="1693" y="0"/>
                                    </p:animMotion>
                                  </p:childTnLst>
                                </p:cTn>
                              </p:par>
                              <p:par>
                                <p:cTn id="10" presetID="10"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par>
                                <p:cTn id="13" presetID="35" presetClass="path" presetSubtype="0" accel="17000" decel="83000" fill="hold" grpId="1" nodeType="withEffect">
                                  <p:stCondLst>
                                    <p:cond delay="0"/>
                                  </p:stCondLst>
                                  <p:childTnLst>
                                    <p:animMotion origin="layout" path="M 0.02046 1.25118E-6 L 4.24766E-6 1.25118E-6 " pathEditMode="relative" rAng="0" ptsTypes="AA">
                                      <p:cBhvr>
                                        <p:cTn id="14" dur="750" fill="hold"/>
                                        <p:tgtEl>
                                          <p:spTgt spid="23"/>
                                        </p:tgtEl>
                                        <p:attrNameLst>
                                          <p:attrName>ppt_x</p:attrName>
                                          <p:attrName>ppt_y</p:attrName>
                                        </p:attrNameLst>
                                      </p:cBhvr>
                                      <p:rCtr x="-1023" y="0"/>
                                    </p:animMotion>
                                  </p:childTnLst>
                                </p:cTn>
                              </p:par>
                              <p:par>
                                <p:cTn id="15" presetID="10" presetClass="entr" presetSubtype="0" fill="hold" nodeType="withEffect">
                                  <p:stCondLst>
                                    <p:cond delay="25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500"/>
                                        <p:tgtEl>
                                          <p:spTgt spid="47"/>
                                        </p:tgtEl>
                                      </p:cBhvr>
                                    </p:animEffect>
                                  </p:childTnLst>
                                </p:cTn>
                              </p:par>
                              <p:par>
                                <p:cTn id="18" presetID="35" presetClass="path" presetSubtype="0" accel="17000" decel="83000" fill="hold" nodeType="withEffect">
                                  <p:stCondLst>
                                    <p:cond delay="250"/>
                                  </p:stCondLst>
                                  <p:childTnLst>
                                    <p:animMotion origin="layout" path="M -0.0321 -1.67137E-6 L -4.38349E-6 -1.67137E-6 " pathEditMode="relative" rAng="0" ptsTypes="AA">
                                      <p:cBhvr>
                                        <p:cTn id="19" dur="750" fill="hold"/>
                                        <p:tgtEl>
                                          <p:spTgt spid="47"/>
                                        </p:tgtEl>
                                        <p:attrNameLst>
                                          <p:attrName>ppt_x</p:attrName>
                                          <p:attrName>ppt_y</p:attrName>
                                        </p:attrNameLst>
                                      </p:cBhvr>
                                      <p:rCtr x="1605" y="0"/>
                                    </p:animMotion>
                                  </p:childTnLst>
                                </p:cTn>
                              </p:par>
                              <p:par>
                                <p:cTn id="20" presetID="10" presetClass="entr" presetSubtype="0" fill="hold" grpId="0" nodeType="withEffect">
                                  <p:stCondLst>
                                    <p:cond delay="250"/>
                                  </p:stCondLst>
                                  <p:childTnLst>
                                    <p:set>
                                      <p:cBhvr>
                                        <p:cTn id="21" dur="1" fill="hold">
                                          <p:stCondLst>
                                            <p:cond delay="0"/>
                                          </p:stCondLst>
                                        </p:cTn>
                                        <p:tgtEl>
                                          <p:spTgt spid="50"/>
                                        </p:tgtEl>
                                        <p:attrNameLst>
                                          <p:attrName>style.visibility</p:attrName>
                                        </p:attrNameLst>
                                      </p:cBhvr>
                                      <p:to>
                                        <p:strVal val="visible"/>
                                      </p:to>
                                    </p:set>
                                    <p:animEffect transition="in" filter="fade">
                                      <p:cBhvr>
                                        <p:cTn id="22" dur="500"/>
                                        <p:tgtEl>
                                          <p:spTgt spid="50"/>
                                        </p:tgtEl>
                                      </p:cBhvr>
                                    </p:animEffect>
                                  </p:childTnLst>
                                </p:cTn>
                              </p:par>
                              <p:par>
                                <p:cTn id="23" presetID="35" presetClass="path" presetSubtype="0" accel="17000" decel="83000" fill="hold" grpId="1" nodeType="withEffect">
                                  <p:stCondLst>
                                    <p:cond delay="250"/>
                                  </p:stCondLst>
                                  <p:childTnLst>
                                    <p:animMotion origin="layout" path="M 0.02046 1.81562E-6 L -1.99153E-6 1.81562E-6 " pathEditMode="relative" rAng="0" ptsTypes="AA">
                                      <p:cBhvr>
                                        <p:cTn id="24" dur="750" fill="hold"/>
                                        <p:tgtEl>
                                          <p:spTgt spid="50"/>
                                        </p:tgtEl>
                                        <p:attrNameLst>
                                          <p:attrName>ppt_x</p:attrName>
                                          <p:attrName>ppt_y</p:attrName>
                                        </p:attrNameLst>
                                      </p:cBhvr>
                                      <p:rCtr x="-1023" y="0"/>
                                    </p:animMotion>
                                  </p:childTnLst>
                                </p:cTn>
                              </p:par>
                              <p:par>
                                <p:cTn id="25" presetID="10" presetClass="entr" presetSubtype="0" fill="hold" nodeType="withEffect">
                                  <p:stCondLst>
                                    <p:cond delay="75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23" presetClass="entr" presetSubtype="288" fill="hold" nodeType="withEffect">
                                  <p:stCondLst>
                                    <p:cond delay="750"/>
                                  </p:stCondLst>
                                  <p:childTnLst>
                                    <p:set>
                                      <p:cBhvr>
                                        <p:cTn id="29" dur="1" fill="hold">
                                          <p:stCondLst>
                                            <p:cond delay="0"/>
                                          </p:stCondLst>
                                        </p:cTn>
                                        <p:tgtEl>
                                          <p:spTgt spid="60"/>
                                        </p:tgtEl>
                                        <p:attrNameLst>
                                          <p:attrName>style.visibility</p:attrName>
                                        </p:attrNameLst>
                                      </p:cBhvr>
                                      <p:to>
                                        <p:strVal val="visible"/>
                                      </p:to>
                                    </p:set>
                                    <p:anim calcmode="lin" valueType="num">
                                      <p:cBhvr>
                                        <p:cTn id="30" dur="500" fill="hold"/>
                                        <p:tgtEl>
                                          <p:spTgt spid="60"/>
                                        </p:tgtEl>
                                        <p:attrNameLst>
                                          <p:attrName>ppt_w</p:attrName>
                                        </p:attrNameLst>
                                      </p:cBhvr>
                                      <p:tavLst>
                                        <p:tav tm="0">
                                          <p:val>
                                            <p:strVal val="4/3*#ppt_w"/>
                                          </p:val>
                                        </p:tav>
                                        <p:tav tm="100000">
                                          <p:val>
                                            <p:strVal val="#ppt_w"/>
                                          </p:val>
                                        </p:tav>
                                      </p:tavLst>
                                    </p:anim>
                                    <p:anim calcmode="lin" valueType="num">
                                      <p:cBhvr>
                                        <p:cTn id="31" dur="500" fill="hold"/>
                                        <p:tgtEl>
                                          <p:spTgt spid="60"/>
                                        </p:tgtEl>
                                        <p:attrNameLst>
                                          <p:attrName>ppt_h</p:attrName>
                                        </p:attrNameLst>
                                      </p:cBhvr>
                                      <p:tavLst>
                                        <p:tav tm="0">
                                          <p:val>
                                            <p:strVal val="4/3*#ppt_h"/>
                                          </p:val>
                                        </p:tav>
                                        <p:tav tm="100000">
                                          <p:val>
                                            <p:strVal val="#ppt_h"/>
                                          </p:val>
                                        </p:tav>
                                      </p:tavLst>
                                    </p:anim>
                                  </p:childTnLst>
                                </p:cTn>
                              </p:par>
                              <p:par>
                                <p:cTn id="32" presetID="10" presetClass="entr" presetSubtype="0" fill="hold" grpId="0" nodeType="withEffect">
                                  <p:stCondLst>
                                    <p:cond delay="1500"/>
                                  </p:stCondLst>
                                  <p:childTnLst>
                                    <p:set>
                                      <p:cBhvr>
                                        <p:cTn id="33" dur="1" fill="hold">
                                          <p:stCondLst>
                                            <p:cond delay="0"/>
                                          </p:stCondLst>
                                        </p:cTn>
                                        <p:tgtEl>
                                          <p:spTgt spid="198"/>
                                        </p:tgtEl>
                                        <p:attrNameLst>
                                          <p:attrName>style.visibility</p:attrName>
                                        </p:attrNameLst>
                                      </p:cBhvr>
                                      <p:to>
                                        <p:strVal val="visible"/>
                                      </p:to>
                                    </p:set>
                                    <p:animEffect transition="in" filter="fade">
                                      <p:cBhvr>
                                        <p:cTn id="34" dur="500"/>
                                        <p:tgtEl>
                                          <p:spTgt spid="198"/>
                                        </p:tgtEl>
                                      </p:cBhvr>
                                    </p:animEffect>
                                  </p:childTnLst>
                                </p:cTn>
                              </p:par>
                              <p:par>
                                <p:cTn id="35" presetID="35" presetClass="path" presetSubtype="0" accel="17000" decel="83000" fill="hold" grpId="1" nodeType="withEffect">
                                  <p:stCondLst>
                                    <p:cond delay="1500"/>
                                  </p:stCondLst>
                                  <p:childTnLst>
                                    <p:animMotion origin="layout" path="M 0.02046 -3.9793E-6 L -8.4671E-7 -3.9793E-6 " pathEditMode="relative" rAng="0" ptsTypes="AA">
                                      <p:cBhvr>
                                        <p:cTn id="36" dur="750" fill="hold"/>
                                        <p:tgtEl>
                                          <p:spTgt spid="198"/>
                                        </p:tgtEl>
                                        <p:attrNameLst>
                                          <p:attrName>ppt_x</p:attrName>
                                          <p:attrName>ppt_y</p:attrName>
                                        </p:attrNameLst>
                                      </p:cBhvr>
                                      <p:rCtr x="-1023" y="0"/>
                                    </p:animMotion>
                                  </p:childTnLst>
                                </p:cTn>
                              </p:par>
                              <p:par>
                                <p:cTn id="37" presetID="10" presetClass="entr" presetSubtype="0" fill="hold" nodeType="withEffect">
                                  <p:stCondLst>
                                    <p:cond delay="1250"/>
                                  </p:stCondLst>
                                  <p:childTnLst>
                                    <p:set>
                                      <p:cBhvr>
                                        <p:cTn id="38" dur="1" fill="hold">
                                          <p:stCondLst>
                                            <p:cond delay="0"/>
                                          </p:stCondLst>
                                        </p:cTn>
                                        <p:tgtEl>
                                          <p:spTgt spid="193"/>
                                        </p:tgtEl>
                                        <p:attrNameLst>
                                          <p:attrName>style.visibility</p:attrName>
                                        </p:attrNameLst>
                                      </p:cBhvr>
                                      <p:to>
                                        <p:strVal val="visible"/>
                                      </p:to>
                                    </p:set>
                                    <p:animEffect transition="in" filter="fade">
                                      <p:cBhvr>
                                        <p:cTn id="39" dur="500"/>
                                        <p:tgtEl>
                                          <p:spTgt spid="193"/>
                                        </p:tgtEl>
                                      </p:cBhvr>
                                    </p:animEffect>
                                  </p:childTnLst>
                                </p:cTn>
                              </p:par>
                              <p:par>
                                <p:cTn id="40" presetID="35" presetClass="path" presetSubtype="0" accel="17000" decel="83000" fill="hold" nodeType="withEffect">
                                  <p:stCondLst>
                                    <p:cond delay="1250"/>
                                  </p:stCondLst>
                                  <p:childTnLst>
                                    <p:animMotion origin="layout" path="M -0.0321 -1.60865E-6 L -4.38349E-6 -1.60865E-6 " pathEditMode="relative" rAng="0" ptsTypes="AA">
                                      <p:cBhvr>
                                        <p:cTn id="41" dur="750" fill="hold"/>
                                        <p:tgtEl>
                                          <p:spTgt spid="193"/>
                                        </p:tgtEl>
                                        <p:attrNameLst>
                                          <p:attrName>ppt_x</p:attrName>
                                          <p:attrName>ppt_y</p:attrName>
                                        </p:attrNameLst>
                                      </p:cBhvr>
                                      <p:rCtr x="1605" y="0"/>
                                    </p:animMotion>
                                  </p:childTnLst>
                                </p:cTn>
                              </p:par>
                              <p:par>
                                <p:cTn id="42" presetID="10" presetClass="entr" presetSubtype="0" fill="hold" grpId="0" nodeType="withEffect">
                                  <p:stCondLst>
                                    <p:cond delay="1250"/>
                                  </p:stCondLst>
                                  <p:childTnLst>
                                    <p:set>
                                      <p:cBhvr>
                                        <p:cTn id="43" dur="1" fill="hold">
                                          <p:stCondLst>
                                            <p:cond delay="0"/>
                                          </p:stCondLst>
                                        </p:cTn>
                                        <p:tgtEl>
                                          <p:spTgt spid="196"/>
                                        </p:tgtEl>
                                        <p:attrNameLst>
                                          <p:attrName>style.visibility</p:attrName>
                                        </p:attrNameLst>
                                      </p:cBhvr>
                                      <p:to>
                                        <p:strVal val="visible"/>
                                      </p:to>
                                    </p:set>
                                    <p:animEffect transition="in" filter="fade">
                                      <p:cBhvr>
                                        <p:cTn id="44" dur="500"/>
                                        <p:tgtEl>
                                          <p:spTgt spid="196"/>
                                        </p:tgtEl>
                                      </p:cBhvr>
                                    </p:animEffect>
                                  </p:childTnLst>
                                </p:cTn>
                              </p:par>
                              <p:par>
                                <p:cTn id="45" presetID="35" presetClass="path" presetSubtype="0" accel="17000" decel="83000" fill="hold" grpId="1" nodeType="withEffect">
                                  <p:stCondLst>
                                    <p:cond delay="1250"/>
                                  </p:stCondLst>
                                  <p:childTnLst>
                                    <p:animMotion origin="layout" path="M 0.02046 -1.69959E-6 L -1.99153E-6 -1.69959E-6 " pathEditMode="relative" rAng="0" ptsTypes="AA">
                                      <p:cBhvr>
                                        <p:cTn id="46" dur="750" fill="hold"/>
                                        <p:tgtEl>
                                          <p:spTgt spid="196"/>
                                        </p:tgtEl>
                                        <p:attrNameLst>
                                          <p:attrName>ppt_x</p:attrName>
                                          <p:attrName>ppt_y</p:attrName>
                                        </p:attrNameLst>
                                      </p:cBhvr>
                                      <p:rCtr x="-1023" y="0"/>
                                    </p:animMotion>
                                  </p:childTnLst>
                                </p:cTn>
                              </p:par>
                              <p:par>
                                <p:cTn id="47" presetID="10" presetClass="entr" presetSubtype="0" fill="hold" nodeType="withEffect">
                                  <p:stCondLst>
                                    <p:cond delay="1750"/>
                                  </p:stCondLst>
                                  <p:childTnLst>
                                    <p:set>
                                      <p:cBhvr>
                                        <p:cTn id="48" dur="1" fill="hold">
                                          <p:stCondLst>
                                            <p:cond delay="0"/>
                                          </p:stCondLst>
                                        </p:cTn>
                                        <p:tgtEl>
                                          <p:spTgt spid="199"/>
                                        </p:tgtEl>
                                        <p:attrNameLst>
                                          <p:attrName>style.visibility</p:attrName>
                                        </p:attrNameLst>
                                      </p:cBhvr>
                                      <p:to>
                                        <p:strVal val="visible"/>
                                      </p:to>
                                    </p:set>
                                    <p:animEffect transition="in" filter="fade">
                                      <p:cBhvr>
                                        <p:cTn id="49" dur="500"/>
                                        <p:tgtEl>
                                          <p:spTgt spid="199"/>
                                        </p:tgtEl>
                                      </p:cBhvr>
                                    </p:animEffect>
                                  </p:childTnLst>
                                </p:cTn>
                              </p:par>
                              <p:par>
                                <p:cTn id="50" presetID="23" presetClass="entr" presetSubtype="288" fill="hold" nodeType="withEffect">
                                  <p:stCondLst>
                                    <p:cond delay="1750"/>
                                  </p:stCondLst>
                                  <p:childTnLst>
                                    <p:set>
                                      <p:cBhvr>
                                        <p:cTn id="51" dur="1" fill="hold">
                                          <p:stCondLst>
                                            <p:cond delay="0"/>
                                          </p:stCondLst>
                                        </p:cTn>
                                        <p:tgtEl>
                                          <p:spTgt spid="199"/>
                                        </p:tgtEl>
                                        <p:attrNameLst>
                                          <p:attrName>style.visibility</p:attrName>
                                        </p:attrNameLst>
                                      </p:cBhvr>
                                      <p:to>
                                        <p:strVal val="visible"/>
                                      </p:to>
                                    </p:set>
                                    <p:anim calcmode="lin" valueType="num">
                                      <p:cBhvr>
                                        <p:cTn id="52" dur="500" fill="hold"/>
                                        <p:tgtEl>
                                          <p:spTgt spid="199"/>
                                        </p:tgtEl>
                                        <p:attrNameLst>
                                          <p:attrName>ppt_w</p:attrName>
                                        </p:attrNameLst>
                                      </p:cBhvr>
                                      <p:tavLst>
                                        <p:tav tm="0">
                                          <p:val>
                                            <p:strVal val="4/3*#ppt_w"/>
                                          </p:val>
                                        </p:tav>
                                        <p:tav tm="100000">
                                          <p:val>
                                            <p:strVal val="#ppt_w"/>
                                          </p:val>
                                        </p:tav>
                                      </p:tavLst>
                                    </p:anim>
                                    <p:anim calcmode="lin" valueType="num">
                                      <p:cBhvr>
                                        <p:cTn id="53" dur="500" fill="hold"/>
                                        <p:tgtEl>
                                          <p:spTgt spid="199"/>
                                        </p:tgtEl>
                                        <p:attrNameLst>
                                          <p:attrName>ppt_h</p:attrName>
                                        </p:attrNameLst>
                                      </p:cBhvr>
                                      <p:tavLst>
                                        <p:tav tm="0">
                                          <p:val>
                                            <p:strVal val="4/3*#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50" grpId="0"/>
      <p:bldP spid="50" grpId="1"/>
      <p:bldP spid="52" grpId="0"/>
      <p:bldP spid="52" grpId="1"/>
      <p:bldP spid="196" grpId="0"/>
      <p:bldP spid="196" grpId="1"/>
      <p:bldP spid="198" grpId="0"/>
      <p:bldP spid="198"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514102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9439" y="-30119"/>
            <a:ext cx="8999538" cy="5062240"/>
          </a:xfrm>
          <a:prstGeom prst="rect">
            <a:avLst/>
          </a:prstGeom>
        </p:spPr>
      </p:pic>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F8681E"/>
                </a:solidFill>
                <a:latin typeface="Segoe UI"/>
              </a:rPr>
              <a:t>SUSTAINABLE VALUE GENERATION</a:t>
            </a:r>
            <a:endParaRPr lang="en-US" sz="1200" b="1" spc="0" dirty="0">
              <a:solidFill>
                <a:srgbClr val="F8681E"/>
              </a:solidFill>
              <a:latin typeface="Segoe UI"/>
            </a:endParaRPr>
          </a:p>
        </p:txBody>
      </p:sp>
    </p:spTree>
    <p:extLst>
      <p:ext uri="{BB962C8B-B14F-4D97-AF65-F5344CB8AC3E}">
        <p14:creationId xmlns:p14="http://schemas.microsoft.com/office/powerpoint/2010/main" val="2024011446"/>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8" grpId="0"/>
      <p:bldP spid="28" grpId="1"/>
      <p:bldP spid="2" grpId="0"/>
      <p:bldP spid="2" grpId="1"/>
      <p:bldP spid="5" grpId="0"/>
      <p:bldP spid="5" grpId="1"/>
      <p:bldP spid="6" grpId="0"/>
      <p:bldP spid="6" grpId="1"/>
      <p:bldP spid="14" grpId="0"/>
      <p:bldP spid="14" grpId="1"/>
      <p:bldP spid="17" grpId="0"/>
      <p:bldP spid="17" grpId="1"/>
      <p:bldP spid="7" grpId="0"/>
      <p:bldP spid="7" grpId="1"/>
      <p:bldP spid="15" grpId="0"/>
      <p:bldP spid="15" grpId="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Imagem 13" descr="Imagem em branco e azul&#10;&#10;Descrição gerada automaticamente com confiança média">
            <a:extLst>
              <a:ext uri="{FF2B5EF4-FFF2-40B4-BE49-F238E27FC236}">
                <a16:creationId xmlns:a16="http://schemas.microsoft.com/office/drawing/2014/main" id="{3BAFD237-22B9-06FB-95EE-989B70568BC8}"/>
              </a:ext>
            </a:extLst>
          </p:cNvPr>
          <p:cNvPicPr>
            <a:picLocks noChangeAspect="1"/>
          </p:cNvPicPr>
          <p:nvPr>
            <p:custDataLst>
              <p:tags r:id="rId1"/>
            </p:custDataLst>
          </p:nvPr>
        </p:nvPicPr>
        <p:blipFill>
          <a:blip r:embed="rId23">
            <a:extLst>
              <a:ext uri="{28A0092B-C50C-407E-A947-70E740481C1C}">
                <a14:useLocalDpi xmlns:a14="http://schemas.microsoft.com/office/drawing/2010/main"/>
              </a:ext>
            </a:extLst>
          </a:blip>
          <a:stretch>
            <a:fillRect/>
          </a:stretch>
        </p:blipFill>
        <p:spPr>
          <a:xfrm>
            <a:off x="0" y="149"/>
            <a:ext cx="8999538" cy="5062240"/>
          </a:xfrm>
          <a:prstGeom prst="rect">
            <a:avLst/>
          </a:prstGeom>
        </p:spPr>
      </p:pic>
      <p:grpSp>
        <p:nvGrpSpPr>
          <p:cNvPr id="4" name="Agrupar 3">
            <a:extLst>
              <a:ext uri="{FF2B5EF4-FFF2-40B4-BE49-F238E27FC236}">
                <a16:creationId xmlns:a16="http://schemas.microsoft.com/office/drawing/2014/main" id="{E7E5B52B-472B-46B4-9072-EEB5893E3A03}"/>
              </a:ext>
            </a:extLst>
          </p:cNvPr>
          <p:cNvGrpSpPr/>
          <p:nvPr>
            <p:custDataLst>
              <p:tags r:id="rId2"/>
            </p:custDataLst>
          </p:nvPr>
        </p:nvGrpSpPr>
        <p:grpSpPr>
          <a:xfrm>
            <a:off x="0" y="75"/>
            <a:ext cx="8999538" cy="5062389"/>
            <a:chOff x="-273742" y="149"/>
            <a:chExt cx="8999538" cy="5062389"/>
          </a:xfrm>
        </p:grpSpPr>
        <p:pic>
          <p:nvPicPr>
            <p:cNvPr id="19" name="Imagem 18" descr="Uma imagem contendo Padrão do plano de fundo&#10;&#10;Descrição gerada automaticamente">
              <a:extLst>
                <a:ext uri="{FF2B5EF4-FFF2-40B4-BE49-F238E27FC236}">
                  <a16:creationId xmlns:a16="http://schemas.microsoft.com/office/drawing/2014/main" id="{AD240761-805C-327E-1FD6-13F87611AA32}"/>
                </a:ext>
              </a:extLst>
            </p:cNvPr>
            <p:cNvPicPr>
              <a:picLocks noChangeAspect="1"/>
            </p:cNvPicPr>
            <p:nvPr>
              <p:custDataLst>
                <p:tags r:id="rId19"/>
              </p:custDataLst>
            </p:nvPr>
          </p:nvPicPr>
          <p:blipFill>
            <a:blip r:embed="rId24">
              <a:extLst>
                <a:ext uri="{28A0092B-C50C-407E-A947-70E740481C1C}">
                  <a14:useLocalDpi xmlns:a14="http://schemas.microsoft.com/office/drawing/2010/main"/>
                </a:ext>
              </a:extLst>
            </a:blip>
            <a:srcRect r="9363"/>
            <a:stretch>
              <a:fillRect/>
            </a:stretch>
          </p:blipFill>
          <p:spPr>
            <a:xfrm>
              <a:off x="568849" y="149"/>
              <a:ext cx="8156947" cy="5062240"/>
            </a:xfrm>
            <a:prstGeom prst="rect">
              <a:avLst/>
            </a:prstGeom>
          </p:spPr>
        </p:pic>
        <p:pic>
          <p:nvPicPr>
            <p:cNvPr id="44" name="Imagem 43" descr="Uma imagem contendo Padrão do plano de fundo&#10;&#10;Descrição gerada automaticamente">
              <a:extLst>
                <a:ext uri="{FF2B5EF4-FFF2-40B4-BE49-F238E27FC236}">
                  <a16:creationId xmlns:a16="http://schemas.microsoft.com/office/drawing/2014/main" id="{A8F5F6FA-92AE-47AD-A6CF-F38C65694A02}"/>
                </a:ext>
              </a:extLst>
            </p:cNvPr>
            <p:cNvPicPr>
              <a:picLocks noChangeAspect="1"/>
            </p:cNvPicPr>
            <p:nvPr>
              <p:custDataLst>
                <p:tags r:id="rId20"/>
              </p:custDataLst>
            </p:nvPr>
          </p:nvPicPr>
          <p:blipFill>
            <a:blip r:embed="rId24">
              <a:extLst>
                <a:ext uri="{28A0092B-C50C-407E-A947-70E740481C1C}">
                  <a14:useLocalDpi xmlns:a14="http://schemas.microsoft.com/office/drawing/2010/main"/>
                </a:ext>
              </a:extLst>
            </a:blip>
            <a:srcRect r="89480"/>
            <a:stretch>
              <a:fillRect/>
            </a:stretch>
          </p:blipFill>
          <p:spPr>
            <a:xfrm flipH="1">
              <a:off x="-273742" y="298"/>
              <a:ext cx="946683" cy="5062240"/>
            </a:xfrm>
            <a:prstGeom prst="rect">
              <a:avLst/>
            </a:prstGeom>
          </p:spPr>
        </p:pic>
      </p:grpSp>
      <p:graphicFrame>
        <p:nvGraphicFramePr>
          <p:cNvPr id="5" name="think-cell data - do not delete" hidden="1">
            <a:extLst>
              <a:ext uri="{FF2B5EF4-FFF2-40B4-BE49-F238E27FC236}">
                <a16:creationId xmlns:a16="http://schemas.microsoft.com/office/drawing/2014/main" id="{1A7BB42E-D822-F2C1-590F-40CDAEF63624}"/>
              </a:ext>
            </a:extLst>
          </p:cNvPr>
          <p:cNvGraphicFramePr>
            <a:graphicFrameLocks noChangeAspect="1"/>
          </p:cNvGraphicFramePr>
          <p:nvPr>
            <p:custDataLst>
              <p:tags r:id="rId3"/>
            </p:custDataLst>
          </p:nvPr>
        </p:nvGraphicFramePr>
        <p:xfrm>
          <a:off x="1853" y="1737"/>
          <a:ext cx="1588" cy="1588"/>
        </p:xfrm>
        <a:graphic>
          <a:graphicData uri="http://schemas.openxmlformats.org/presentationml/2006/ole">
            <mc:AlternateContent xmlns:mc="http://schemas.openxmlformats.org/markup-compatibility/2006">
              <mc:Choice xmlns:v="urn:schemas-microsoft-com:vml" Requires="v">
                <p:oleObj name="Slide do think-cell" r:id="rId25" imgW="0" imgH="0" progId="TCLayout.ActiveDocument.1">
                  <p:embed/>
                </p:oleObj>
              </mc:Choice>
              <mc:Fallback>
                <p:oleObj name="Slide do think-cell" r:id="rId25" imgW="0" imgH="0" progId="TCLayout.ActiveDocument.1">
                  <p:embed/>
                  <p:pic>
                    <p:nvPicPr>
                      <p:cNvPr id="0" name=""/>
                      <p:cNvPicPr/>
                      <p:nvPr/>
                    </p:nvPicPr>
                    <p:blipFill>
                      <a:blip r:embed="rId26"/>
                      <a:stretch>
                        <a:fillRect/>
                      </a:stretch>
                    </p:blipFill>
                    <p:spPr>
                      <a:xfrm>
                        <a:off x="1853" y="1737"/>
                        <a:ext cx="1588" cy="1588"/>
                      </a:xfrm>
                      <a:prstGeom prst="rect">
                        <a:avLst/>
                      </a:prstGeom>
                    </p:spPr>
                  </p:pic>
                </p:oleObj>
              </mc:Fallback>
            </mc:AlternateContent>
          </a:graphicData>
        </a:graphic>
      </p:graphicFrame>
      <p:sp>
        <p:nvSpPr>
          <p:cNvPr id="20" name="CaixaDeTexto 19">
            <a:extLst>
              <a:ext uri="{FF2B5EF4-FFF2-40B4-BE49-F238E27FC236}">
                <a16:creationId xmlns:a16="http://schemas.microsoft.com/office/drawing/2014/main" id="{12C2F361-B401-3C6F-7CC5-9BE24D0DCA13}"/>
              </a:ext>
            </a:extLst>
          </p:cNvPr>
          <p:cNvSpPr txBox="1"/>
          <p:nvPr>
            <p:custDataLst>
              <p:tags r:id="rId4"/>
            </p:custDataLst>
          </p:nvPr>
        </p:nvSpPr>
        <p:spPr>
          <a:xfrm>
            <a:off x="164691" y="941095"/>
            <a:ext cx="3569171" cy="40273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400" b="0" i="0" u="none" strike="noStrike" cap="none" spc="600" baseline="0" dirty="0">
                <a:solidFill>
                  <a:srgbClr val="002581"/>
                </a:solidFill>
                <a:effectLst/>
                <a:uFillTx/>
                <a:latin typeface="Segoe UI Light"/>
              </a:rPr>
              <a:t>OUTLOOK  FOR</a:t>
            </a:r>
          </a:p>
        </p:txBody>
      </p:sp>
      <p:sp>
        <p:nvSpPr>
          <p:cNvPr id="21" name="CaixaDeTexto 20">
            <a:extLst>
              <a:ext uri="{FF2B5EF4-FFF2-40B4-BE49-F238E27FC236}">
                <a16:creationId xmlns:a16="http://schemas.microsoft.com/office/drawing/2014/main" id="{89DADD61-60F0-31D3-0850-7E2586C945B7}"/>
              </a:ext>
            </a:extLst>
          </p:cNvPr>
          <p:cNvSpPr txBox="1"/>
          <p:nvPr>
            <p:custDataLst>
              <p:tags r:id="rId5"/>
            </p:custDataLst>
          </p:nvPr>
        </p:nvSpPr>
        <p:spPr>
          <a:xfrm>
            <a:off x="155637" y="1319899"/>
            <a:ext cx="5296149" cy="506474"/>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3200" b="1" i="0" u="none" strike="noStrike" cap="none" baseline="0" dirty="0">
                <a:solidFill>
                  <a:srgbClr val="002581"/>
                </a:solidFill>
                <a:effectLst/>
                <a:uFillTx/>
                <a:latin typeface="Segoe UI Black"/>
              </a:rPr>
              <a:t>REVENUE GROWTH</a:t>
            </a:r>
          </a:p>
        </p:txBody>
      </p:sp>
      <p:sp>
        <p:nvSpPr>
          <p:cNvPr id="34" name="CaixaDeTexto 33">
            <a:extLst>
              <a:ext uri="{FF2B5EF4-FFF2-40B4-BE49-F238E27FC236}">
                <a16:creationId xmlns:a16="http://schemas.microsoft.com/office/drawing/2014/main" id="{6D526679-CAC0-5D7A-C43D-A0C884A1EE1F}"/>
              </a:ext>
            </a:extLst>
          </p:cNvPr>
          <p:cNvSpPr txBox="1"/>
          <p:nvPr>
            <p:custDataLst>
              <p:tags r:id="rId6"/>
            </p:custDataLst>
          </p:nvPr>
        </p:nvSpPr>
        <p:spPr>
          <a:xfrm>
            <a:off x="164690" y="1796566"/>
            <a:ext cx="5626095" cy="313932"/>
          </a:xfrm>
          <a:prstGeom prst="rect">
            <a:avLst/>
          </a:prstGeom>
          <a:noFill/>
        </p:spPr>
        <p:txBody>
          <a:bodyPr wrap="square" rtlCol="0" anchor="ctr">
            <a:spAutoFit/>
          </a:bodyPr>
          <a:lstStyle/>
          <a:p>
            <a:pPr marL="0" marR="0" lvl="0" indent="0" algn="l" defTabSz="449931" rtl="0" eaLnBrk="1" fontAlgn="auto" latinLnBrk="0" hangingPunct="1">
              <a:lnSpc>
                <a:spcPct val="80000"/>
              </a:lnSpc>
              <a:spcBef>
                <a:spcPts val="148"/>
              </a:spcBef>
              <a:spcAft>
                <a:spcPts val="148"/>
              </a:spcAft>
              <a:buClrTx/>
              <a:buSzTx/>
              <a:buFontTx/>
              <a:buNone/>
              <a:defRPr/>
            </a:pPr>
            <a:r>
              <a:rPr lang="en-US" sz="1800" b="1" i="0" u="none" strike="noStrike" cap="none" baseline="0" dirty="0">
                <a:solidFill>
                  <a:srgbClr val="002581"/>
                </a:solidFill>
                <a:effectLst/>
                <a:uFillTx/>
                <a:latin typeface="Segoe UI"/>
              </a:rPr>
              <a:t>Revenue growth with profitability and longevity</a:t>
            </a:r>
          </a:p>
        </p:txBody>
      </p:sp>
      <p:sp>
        <p:nvSpPr>
          <p:cNvPr id="60" name="Elipse 59">
            <a:extLst>
              <a:ext uri="{FF2B5EF4-FFF2-40B4-BE49-F238E27FC236}">
                <a16:creationId xmlns:a16="http://schemas.microsoft.com/office/drawing/2014/main" id="{1B9CD8ED-524B-717B-A460-76D549ECC55D}"/>
              </a:ext>
            </a:extLst>
          </p:cNvPr>
          <p:cNvSpPr/>
          <p:nvPr>
            <p:custDataLst>
              <p:tags r:id="rId7"/>
            </p:custDataLst>
          </p:nvPr>
        </p:nvSpPr>
        <p:spPr>
          <a:xfrm>
            <a:off x="269546" y="2224618"/>
            <a:ext cx="551247" cy="551247"/>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1" name="CaixaDeTexto 80">
            <a:extLst>
              <a:ext uri="{FF2B5EF4-FFF2-40B4-BE49-F238E27FC236}">
                <a16:creationId xmlns:a16="http://schemas.microsoft.com/office/drawing/2014/main" id="{7CAC0321-76CB-6BBF-4BB0-CFD334812941}"/>
              </a:ext>
            </a:extLst>
          </p:cNvPr>
          <p:cNvSpPr txBox="1"/>
          <p:nvPr>
            <p:custDataLst>
              <p:tags r:id="rId8"/>
            </p:custDataLst>
          </p:nvPr>
        </p:nvSpPr>
        <p:spPr>
          <a:xfrm>
            <a:off x="2817553" y="2845022"/>
            <a:ext cx="2870865" cy="289310"/>
          </a:xfrm>
          <a:prstGeom prst="rect">
            <a:avLst/>
          </a:prstGeom>
          <a:noFill/>
        </p:spPr>
        <p:txBody>
          <a:bodyPr wrap="square">
            <a:spAutoFit/>
          </a:bodyPr>
          <a:lstStyle/>
          <a:p>
            <a:pPr marL="0" marR="0" lvl="0" indent="0" algn="l" defTabSz="457200" rtl="0" eaLnBrk="1" fontAlgn="auto" latinLnBrk="0" hangingPunct="1">
              <a:lnSpc>
                <a:spcPct val="80000"/>
              </a:lnSpc>
              <a:spcBef>
                <a:spcPts val="200"/>
              </a:spcBef>
              <a:spcAft>
                <a:spcPts val="200"/>
              </a:spcAft>
              <a:buClr>
                <a:srgbClr val="00FFFF"/>
              </a:buClr>
              <a:buSzTx/>
              <a:buFontTx/>
              <a:buNone/>
              <a:defRPr/>
            </a:pPr>
            <a:r>
              <a:rPr lang="en-US" sz="1600" b="1" i="0" u="none" strike="noStrike" cap="none" baseline="0" dirty="0">
                <a:solidFill>
                  <a:srgbClr val="005FD7"/>
                </a:solidFill>
                <a:effectLst/>
                <a:uFillTx/>
                <a:latin typeface="Segoe UI"/>
              </a:rPr>
              <a:t>RETROFITTING PROJECTS</a:t>
            </a:r>
          </a:p>
        </p:txBody>
      </p:sp>
      <p:sp>
        <p:nvSpPr>
          <p:cNvPr id="59" name="CaixaDeTexto 58">
            <a:extLst>
              <a:ext uri="{FF2B5EF4-FFF2-40B4-BE49-F238E27FC236}">
                <a16:creationId xmlns:a16="http://schemas.microsoft.com/office/drawing/2014/main" id="{8151675E-014D-0BD3-8FF6-2BF6502E602D}"/>
              </a:ext>
            </a:extLst>
          </p:cNvPr>
          <p:cNvSpPr txBox="1"/>
          <p:nvPr>
            <p:custDataLst>
              <p:tags r:id="rId9"/>
            </p:custDataLst>
          </p:nvPr>
        </p:nvSpPr>
        <p:spPr>
          <a:xfrm>
            <a:off x="181184" y="2845022"/>
            <a:ext cx="1706245" cy="286799"/>
          </a:xfrm>
          <a:prstGeom prst="rect">
            <a:avLst/>
          </a:prstGeom>
          <a:noFill/>
        </p:spPr>
        <p:txBody>
          <a:bodyPr wrap="square">
            <a:spAutoFit/>
          </a:bodyPr>
          <a:lstStyle/>
          <a:p>
            <a:pPr marL="0" marR="0" lvl="0" indent="0" algn="l" defTabSz="457200" rtl="0" eaLnBrk="1" fontAlgn="auto" latinLnBrk="0" hangingPunct="1">
              <a:lnSpc>
                <a:spcPct val="80000"/>
              </a:lnSpc>
              <a:spcBef>
                <a:spcPts val="200"/>
              </a:spcBef>
              <a:spcAft>
                <a:spcPts val="200"/>
              </a:spcAft>
              <a:buClr>
                <a:srgbClr val="00FFFF"/>
              </a:buClr>
              <a:buSzTx/>
              <a:buFontTx/>
              <a:buNone/>
              <a:defRPr/>
            </a:pPr>
            <a:r>
              <a:rPr lang="en-US" sz="1600" b="1" i="0" u="none" strike="noStrike" cap="none" baseline="0" dirty="0">
                <a:solidFill>
                  <a:srgbClr val="F8681E"/>
                </a:solidFill>
                <a:effectLst/>
                <a:uFillTx/>
                <a:latin typeface="Segoe UI"/>
              </a:rPr>
              <a:t>BIDDED</a:t>
            </a:r>
          </a:p>
        </p:txBody>
      </p:sp>
      <p:grpSp>
        <p:nvGrpSpPr>
          <p:cNvPr id="38" name="Agrupar 37">
            <a:extLst>
              <a:ext uri="{FF2B5EF4-FFF2-40B4-BE49-F238E27FC236}">
                <a16:creationId xmlns:a16="http://schemas.microsoft.com/office/drawing/2014/main" id="{A74B5D84-961B-424F-12C7-ED8630ADC003}"/>
              </a:ext>
            </a:extLst>
          </p:cNvPr>
          <p:cNvGrpSpPr/>
          <p:nvPr>
            <p:custDataLst>
              <p:tags r:id="rId10"/>
            </p:custDataLst>
          </p:nvPr>
        </p:nvGrpSpPr>
        <p:grpSpPr>
          <a:xfrm>
            <a:off x="205992" y="3209117"/>
            <a:ext cx="2150696" cy="451499"/>
            <a:chOff x="3572142" y="2050680"/>
            <a:chExt cx="4973004" cy="264394"/>
          </a:xfrm>
        </p:grpSpPr>
        <p:sp>
          <p:nvSpPr>
            <p:cNvPr id="39" name="Retângulo: Cantos Arredondados 38">
              <a:extLst>
                <a:ext uri="{FF2B5EF4-FFF2-40B4-BE49-F238E27FC236}">
                  <a16:creationId xmlns:a16="http://schemas.microsoft.com/office/drawing/2014/main" id="{1A5A8F7C-5361-51D3-8B8B-870516261087}"/>
                </a:ext>
              </a:extLst>
            </p:cNvPr>
            <p:cNvSpPr/>
            <p:nvPr>
              <p:custDataLst>
                <p:tags r:id="rId17"/>
              </p:custDataLst>
            </p:nvPr>
          </p:nvSpPr>
          <p:spPr>
            <a:xfrm>
              <a:off x="3572142" y="2050680"/>
              <a:ext cx="4973004" cy="248908"/>
            </a:xfrm>
            <a:prstGeom prst="roundRect">
              <a:avLst>
                <a:gd name="adj" fmla="val 50000"/>
              </a:avLst>
            </a:prstGeom>
            <a:gradFill>
              <a:gsLst>
                <a:gs pos="0">
                  <a:srgbClr val="F8681E">
                    <a:alpha val="0"/>
                  </a:srgbClr>
                </a:gs>
                <a:gs pos="46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40" name="CaixaDeTexto 39">
              <a:extLst>
                <a:ext uri="{FF2B5EF4-FFF2-40B4-BE49-F238E27FC236}">
                  <a16:creationId xmlns:a16="http://schemas.microsoft.com/office/drawing/2014/main" id="{DCE9D293-BCCA-C754-18F0-610C7336E2F3}"/>
                </a:ext>
              </a:extLst>
            </p:cNvPr>
            <p:cNvSpPr txBox="1"/>
            <p:nvPr>
              <p:custDataLst>
                <p:tags r:id="rId18"/>
              </p:custDataLst>
            </p:nvPr>
          </p:nvSpPr>
          <p:spPr>
            <a:xfrm>
              <a:off x="3662189" y="2059145"/>
              <a:ext cx="4369084" cy="25592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Double-digit real IRR for shareholders</a:t>
              </a:r>
            </a:p>
          </p:txBody>
        </p:sp>
      </p:grpSp>
      <p:grpSp>
        <p:nvGrpSpPr>
          <p:cNvPr id="88" name="Agrupar 87">
            <a:extLst>
              <a:ext uri="{FF2B5EF4-FFF2-40B4-BE49-F238E27FC236}">
                <a16:creationId xmlns:a16="http://schemas.microsoft.com/office/drawing/2014/main" id="{DB3329FE-30E2-F908-D287-9D95BBAE546B}"/>
              </a:ext>
            </a:extLst>
          </p:cNvPr>
          <p:cNvGrpSpPr/>
          <p:nvPr>
            <p:custDataLst>
              <p:tags r:id="rId11"/>
            </p:custDataLst>
          </p:nvPr>
        </p:nvGrpSpPr>
        <p:grpSpPr>
          <a:xfrm>
            <a:off x="2870914" y="3218047"/>
            <a:ext cx="2150696" cy="451498"/>
            <a:chOff x="3136528" y="172445"/>
            <a:chExt cx="2150696" cy="451498"/>
          </a:xfrm>
        </p:grpSpPr>
        <p:sp>
          <p:nvSpPr>
            <p:cNvPr id="79" name="Retângulo: Cantos Arredondados 78">
              <a:extLst>
                <a:ext uri="{FF2B5EF4-FFF2-40B4-BE49-F238E27FC236}">
                  <a16:creationId xmlns:a16="http://schemas.microsoft.com/office/drawing/2014/main" id="{5259EFCE-F267-4C61-BA16-1D8801A408B6}"/>
                </a:ext>
              </a:extLst>
            </p:cNvPr>
            <p:cNvSpPr/>
            <p:nvPr>
              <p:custDataLst>
                <p:tags r:id="rId15"/>
              </p:custDataLst>
            </p:nvPr>
          </p:nvSpPr>
          <p:spPr>
            <a:xfrm>
              <a:off x="3136528" y="172445"/>
              <a:ext cx="2150696" cy="425054"/>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0" name="CaixaDeTexto 79">
              <a:extLst>
                <a:ext uri="{FF2B5EF4-FFF2-40B4-BE49-F238E27FC236}">
                  <a16:creationId xmlns:a16="http://schemas.microsoft.com/office/drawing/2014/main" id="{6575412A-BC7E-D470-C3DD-3C18A4867AA7}"/>
                </a:ext>
              </a:extLst>
            </p:cNvPr>
            <p:cNvSpPr txBox="1"/>
            <p:nvPr>
              <p:custDataLst>
                <p:tags r:id="rId16"/>
              </p:custDataLst>
            </p:nvPr>
          </p:nvSpPr>
          <p:spPr>
            <a:xfrm>
              <a:off x="3383039" y="186900"/>
              <a:ext cx="1685566" cy="4370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RAP/CAPEX of 12% to 17%</a:t>
              </a:r>
            </a:p>
          </p:txBody>
        </p:sp>
      </p:grpSp>
      <p:grpSp>
        <p:nvGrpSpPr>
          <p:cNvPr id="95" name="Agrupar 94">
            <a:extLst>
              <a:ext uri="{FF2B5EF4-FFF2-40B4-BE49-F238E27FC236}">
                <a16:creationId xmlns:a16="http://schemas.microsoft.com/office/drawing/2014/main" id="{1D64746C-1060-3F0C-6A93-5A734E3D9BFA}"/>
              </a:ext>
            </a:extLst>
          </p:cNvPr>
          <p:cNvGrpSpPr/>
          <p:nvPr>
            <p:custDataLst>
              <p:tags r:id="rId12"/>
            </p:custDataLst>
          </p:nvPr>
        </p:nvGrpSpPr>
        <p:grpSpPr>
          <a:xfrm>
            <a:off x="2926193" y="2224618"/>
            <a:ext cx="551247" cy="551247"/>
            <a:chOff x="4148441" y="4178590"/>
            <a:chExt cx="502901" cy="502901"/>
          </a:xfrm>
        </p:grpSpPr>
        <p:sp>
          <p:nvSpPr>
            <p:cNvPr id="83" name="Elipse 82">
              <a:extLst>
                <a:ext uri="{FF2B5EF4-FFF2-40B4-BE49-F238E27FC236}">
                  <a16:creationId xmlns:a16="http://schemas.microsoft.com/office/drawing/2014/main" id="{CDED956B-DCBB-3657-F8E4-E808D2878A96}"/>
                </a:ext>
              </a:extLst>
            </p:cNvPr>
            <p:cNvSpPr/>
            <p:nvPr>
              <p:custDataLst>
                <p:tags r:id="rId13"/>
              </p:custDataLst>
            </p:nvPr>
          </p:nvSpPr>
          <p:spPr>
            <a:xfrm>
              <a:off x="4148441" y="4178590"/>
              <a:ext cx="502901" cy="502901"/>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92" name="Forma Livre: Forma 91">
              <a:extLst>
                <a:ext uri="{FF2B5EF4-FFF2-40B4-BE49-F238E27FC236}">
                  <a16:creationId xmlns:a16="http://schemas.microsoft.com/office/drawing/2014/main" id="{B25B33A7-AFA7-CA6F-9A4C-0859F7D10424}"/>
                </a:ext>
              </a:extLst>
            </p:cNvPr>
            <p:cNvSpPr/>
            <p:nvPr>
              <p:custDataLst>
                <p:tags r:id="rId14"/>
              </p:custDataLst>
            </p:nvPr>
          </p:nvSpPr>
          <p:spPr>
            <a:xfrm>
              <a:off x="4249665" y="4280200"/>
              <a:ext cx="294018" cy="294396"/>
            </a:xfrm>
            <a:custGeom>
              <a:avLst/>
              <a:gdLst>
                <a:gd name="connsiteX0" fmla="*/ 555525 w 555525"/>
                <a:gd name="connsiteY0" fmla="*/ 170715 h 556239"/>
                <a:gd name="connsiteX1" fmla="*/ 519071 w 555525"/>
                <a:gd name="connsiteY1" fmla="*/ 207113 h 556239"/>
                <a:gd name="connsiteX2" fmla="*/ 493360 w 555525"/>
                <a:gd name="connsiteY2" fmla="*/ 196462 h 556239"/>
                <a:gd name="connsiteX3" fmla="*/ 359464 w 555525"/>
                <a:gd name="connsiteY3" fmla="*/ 62566 h 556239"/>
                <a:gd name="connsiteX4" fmla="*/ 358657 w 555525"/>
                <a:gd name="connsiteY4" fmla="*/ 11073 h 556239"/>
                <a:gd name="connsiteX5" fmla="*/ 410150 w 555525"/>
                <a:gd name="connsiteY5" fmla="*/ 10266 h 556239"/>
                <a:gd name="connsiteX6" fmla="*/ 410957 w 555525"/>
                <a:gd name="connsiteY6" fmla="*/ 11073 h 556239"/>
                <a:gd name="connsiteX7" fmla="*/ 544857 w 555525"/>
                <a:gd name="connsiteY7" fmla="*/ 144972 h 556239"/>
                <a:gd name="connsiteX8" fmla="*/ 555525 w 555525"/>
                <a:gd name="connsiteY8" fmla="*/ 170715 h 556239"/>
                <a:gd name="connsiteX9" fmla="*/ 338866 w 555525"/>
                <a:gd name="connsiteY9" fmla="*/ 83161 h 556239"/>
                <a:gd name="connsiteX10" fmla="*/ 334215 w 555525"/>
                <a:gd name="connsiteY10" fmla="*/ 77512 h 556239"/>
                <a:gd name="connsiteX11" fmla="*/ 251312 w 555525"/>
                <a:gd name="connsiteY11" fmla="*/ 160417 h 556239"/>
                <a:gd name="connsiteX12" fmla="*/ 251312 w 555525"/>
                <a:gd name="connsiteY12" fmla="*/ 222217 h 556239"/>
                <a:gd name="connsiteX13" fmla="*/ 333713 w 555525"/>
                <a:gd name="connsiteY13" fmla="*/ 304614 h 556239"/>
                <a:gd name="connsiteX14" fmla="*/ 395490 w 555525"/>
                <a:gd name="connsiteY14" fmla="*/ 304631 h 556239"/>
                <a:gd name="connsiteX15" fmla="*/ 395507 w 555525"/>
                <a:gd name="connsiteY15" fmla="*/ 304614 h 556239"/>
                <a:gd name="connsiteX16" fmla="*/ 478414 w 555525"/>
                <a:gd name="connsiteY16" fmla="*/ 221707 h 556239"/>
                <a:gd name="connsiteX17" fmla="*/ 472762 w 555525"/>
                <a:gd name="connsiteY17" fmla="*/ 217061 h 556239"/>
                <a:gd name="connsiteX18" fmla="*/ 158626 w 555525"/>
                <a:gd name="connsiteY18" fmla="*/ 438523 h 556239"/>
                <a:gd name="connsiteX19" fmla="*/ 117404 w 555525"/>
                <a:gd name="connsiteY19" fmla="*/ 397300 h 556239"/>
                <a:gd name="connsiteX20" fmla="*/ 108153 w 555525"/>
                <a:gd name="connsiteY20" fmla="*/ 385961 h 556239"/>
                <a:gd name="connsiteX21" fmla="*/ 35014 w 555525"/>
                <a:gd name="connsiteY21" fmla="*/ 459119 h 556239"/>
                <a:gd name="connsiteX22" fmla="*/ 24708 w 555525"/>
                <a:gd name="connsiteY22" fmla="*/ 448812 h 556239"/>
                <a:gd name="connsiteX23" fmla="*/ 4111 w 555525"/>
                <a:gd name="connsiteY23" fmla="*/ 449126 h 556239"/>
                <a:gd name="connsiteX24" fmla="*/ 4111 w 555525"/>
                <a:gd name="connsiteY24" fmla="*/ 469410 h 556239"/>
                <a:gd name="connsiteX25" fmla="*/ 24715 w 555525"/>
                <a:gd name="connsiteY25" fmla="*/ 490016 h 556239"/>
                <a:gd name="connsiteX26" fmla="*/ 65910 w 555525"/>
                <a:gd name="connsiteY26" fmla="*/ 531211 h 556239"/>
                <a:gd name="connsiteX27" fmla="*/ 86523 w 555525"/>
                <a:gd name="connsiteY27" fmla="*/ 551815 h 556239"/>
                <a:gd name="connsiteX28" fmla="*/ 107121 w 555525"/>
                <a:gd name="connsiteY28" fmla="*/ 552129 h 556239"/>
                <a:gd name="connsiteX29" fmla="*/ 107435 w 555525"/>
                <a:gd name="connsiteY29" fmla="*/ 531532 h 556239"/>
                <a:gd name="connsiteX30" fmla="*/ 107121 w 555525"/>
                <a:gd name="connsiteY30" fmla="*/ 531218 h 556239"/>
                <a:gd name="connsiteX31" fmla="*/ 96814 w 555525"/>
                <a:gd name="connsiteY31" fmla="*/ 520913 h 556239"/>
                <a:gd name="connsiteX32" fmla="*/ 169960 w 555525"/>
                <a:gd name="connsiteY32" fmla="*/ 447771 h 556239"/>
                <a:gd name="connsiteX33" fmla="*/ 158626 w 555525"/>
                <a:gd name="connsiteY33" fmla="*/ 438523 h 556239"/>
                <a:gd name="connsiteX34" fmla="*/ 230718 w 555525"/>
                <a:gd name="connsiteY34" fmla="*/ 242810 h 556239"/>
                <a:gd name="connsiteX35" fmla="*/ 221460 w 555525"/>
                <a:gd name="connsiteY35" fmla="*/ 231467 h 556239"/>
                <a:gd name="connsiteX36" fmla="*/ 138008 w 555525"/>
                <a:gd name="connsiteY36" fmla="*/ 314908 h 556239"/>
                <a:gd name="connsiteX37" fmla="*/ 138008 w 555525"/>
                <a:gd name="connsiteY37" fmla="*/ 376707 h 556239"/>
                <a:gd name="connsiteX38" fmla="*/ 179211 w 555525"/>
                <a:gd name="connsiteY38" fmla="*/ 417911 h 556239"/>
                <a:gd name="connsiteX39" fmla="*/ 179211 w 555525"/>
                <a:gd name="connsiteY39" fmla="*/ 417911 h 556239"/>
                <a:gd name="connsiteX40" fmla="*/ 241011 w 555525"/>
                <a:gd name="connsiteY40" fmla="*/ 417911 h 556239"/>
                <a:gd name="connsiteX41" fmla="*/ 324455 w 555525"/>
                <a:gd name="connsiteY41" fmla="*/ 334467 h 556239"/>
                <a:gd name="connsiteX42" fmla="*/ 313104 w 555525"/>
                <a:gd name="connsiteY42" fmla="*/ 325200 h 55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555525" h="556239">
                  <a:moveTo>
                    <a:pt x="555525" y="170715"/>
                  </a:moveTo>
                  <a:cubicBezTo>
                    <a:pt x="555509" y="190833"/>
                    <a:pt x="539188" y="207128"/>
                    <a:pt x="519071" y="207113"/>
                  </a:cubicBezTo>
                  <a:cubicBezTo>
                    <a:pt x="509429" y="207106"/>
                    <a:pt x="500183" y="203276"/>
                    <a:pt x="493360" y="196462"/>
                  </a:cubicBezTo>
                  <a:lnTo>
                    <a:pt x="359464" y="62566"/>
                  </a:lnTo>
                  <a:cubicBezTo>
                    <a:pt x="345021" y="48569"/>
                    <a:pt x="344660" y="25515"/>
                    <a:pt x="358657" y="11073"/>
                  </a:cubicBezTo>
                  <a:cubicBezTo>
                    <a:pt x="372654" y="-3370"/>
                    <a:pt x="395708" y="-3731"/>
                    <a:pt x="410150" y="10266"/>
                  </a:cubicBezTo>
                  <a:cubicBezTo>
                    <a:pt x="410423" y="10530"/>
                    <a:pt x="410692" y="10799"/>
                    <a:pt x="410957" y="11073"/>
                  </a:cubicBezTo>
                  <a:lnTo>
                    <a:pt x="544857" y="144972"/>
                  </a:lnTo>
                  <a:cubicBezTo>
                    <a:pt x="551710" y="151782"/>
                    <a:pt x="555552" y="161053"/>
                    <a:pt x="555525" y="170715"/>
                  </a:cubicBezTo>
                  <a:close/>
                  <a:moveTo>
                    <a:pt x="338866" y="83161"/>
                  </a:moveTo>
                  <a:cubicBezTo>
                    <a:pt x="337211" y="81367"/>
                    <a:pt x="335658" y="79481"/>
                    <a:pt x="334215" y="77512"/>
                  </a:cubicBezTo>
                  <a:lnTo>
                    <a:pt x="251312" y="160417"/>
                  </a:lnTo>
                  <a:cubicBezTo>
                    <a:pt x="234269" y="177492"/>
                    <a:pt x="234269" y="205142"/>
                    <a:pt x="251312" y="222217"/>
                  </a:cubicBezTo>
                  <a:lnTo>
                    <a:pt x="333713" y="304614"/>
                  </a:lnTo>
                  <a:cubicBezTo>
                    <a:pt x="350768" y="321678"/>
                    <a:pt x="378427" y="321685"/>
                    <a:pt x="395490" y="304631"/>
                  </a:cubicBezTo>
                  <a:cubicBezTo>
                    <a:pt x="395496" y="304625"/>
                    <a:pt x="395501" y="304620"/>
                    <a:pt x="395507" y="304614"/>
                  </a:cubicBezTo>
                  <a:lnTo>
                    <a:pt x="478414" y="221707"/>
                  </a:lnTo>
                  <a:cubicBezTo>
                    <a:pt x="476445" y="220265"/>
                    <a:pt x="474558" y="218713"/>
                    <a:pt x="472762" y="217061"/>
                  </a:cubicBezTo>
                  <a:close/>
                  <a:moveTo>
                    <a:pt x="158626" y="438523"/>
                  </a:moveTo>
                  <a:lnTo>
                    <a:pt x="117404" y="397300"/>
                  </a:lnTo>
                  <a:cubicBezTo>
                    <a:pt x="113948" y="393840"/>
                    <a:pt x="110848" y="390042"/>
                    <a:pt x="108153" y="385961"/>
                  </a:cubicBezTo>
                  <a:lnTo>
                    <a:pt x="35014" y="459119"/>
                  </a:lnTo>
                  <a:lnTo>
                    <a:pt x="24708" y="448812"/>
                  </a:lnTo>
                  <a:cubicBezTo>
                    <a:pt x="18933" y="443211"/>
                    <a:pt x="9712" y="443352"/>
                    <a:pt x="4111" y="449126"/>
                  </a:cubicBezTo>
                  <a:cubicBezTo>
                    <a:pt x="-1370" y="454777"/>
                    <a:pt x="-1370" y="463760"/>
                    <a:pt x="4111" y="469410"/>
                  </a:cubicBezTo>
                  <a:lnTo>
                    <a:pt x="24715" y="490016"/>
                  </a:lnTo>
                  <a:lnTo>
                    <a:pt x="65910" y="531211"/>
                  </a:lnTo>
                  <a:lnTo>
                    <a:pt x="86523" y="551815"/>
                  </a:lnTo>
                  <a:cubicBezTo>
                    <a:pt x="92124" y="557590"/>
                    <a:pt x="101346" y="557730"/>
                    <a:pt x="107121" y="552129"/>
                  </a:cubicBezTo>
                  <a:cubicBezTo>
                    <a:pt x="112895" y="546528"/>
                    <a:pt x="113036" y="537306"/>
                    <a:pt x="107435" y="531532"/>
                  </a:cubicBezTo>
                  <a:cubicBezTo>
                    <a:pt x="107332" y="531425"/>
                    <a:pt x="107227" y="531321"/>
                    <a:pt x="107121" y="531218"/>
                  </a:cubicBezTo>
                  <a:lnTo>
                    <a:pt x="96814" y="520913"/>
                  </a:lnTo>
                  <a:lnTo>
                    <a:pt x="169960" y="447771"/>
                  </a:lnTo>
                  <a:cubicBezTo>
                    <a:pt x="165883" y="445074"/>
                    <a:pt x="162087" y="441976"/>
                    <a:pt x="158626" y="438523"/>
                  </a:cubicBezTo>
                  <a:close/>
                  <a:moveTo>
                    <a:pt x="230718" y="242810"/>
                  </a:moveTo>
                  <a:cubicBezTo>
                    <a:pt x="227261" y="239347"/>
                    <a:pt x="224159" y="235547"/>
                    <a:pt x="221460" y="231467"/>
                  </a:cubicBezTo>
                  <a:lnTo>
                    <a:pt x="138008" y="314908"/>
                  </a:lnTo>
                  <a:cubicBezTo>
                    <a:pt x="120977" y="331988"/>
                    <a:pt x="120977" y="359628"/>
                    <a:pt x="138008" y="376707"/>
                  </a:cubicBezTo>
                  <a:lnTo>
                    <a:pt x="179211" y="417911"/>
                  </a:lnTo>
                  <a:lnTo>
                    <a:pt x="179211" y="417911"/>
                  </a:lnTo>
                  <a:cubicBezTo>
                    <a:pt x="196293" y="434939"/>
                    <a:pt x="223930" y="434939"/>
                    <a:pt x="241011" y="417911"/>
                  </a:cubicBezTo>
                  <a:lnTo>
                    <a:pt x="324455" y="334467"/>
                  </a:lnTo>
                  <a:cubicBezTo>
                    <a:pt x="320372" y="331764"/>
                    <a:pt x="316569" y="328660"/>
                    <a:pt x="313104" y="325200"/>
                  </a:cubicBezTo>
                  <a:close/>
                </a:path>
              </a:pathLst>
            </a:custGeom>
            <a:solidFill>
              <a:schemeClr val="bg1"/>
            </a:solidFill>
            <a:ln w="14486"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0" name="CaixaDeTexto 9">
            <a:extLst>
              <a:ext uri="{FF2B5EF4-FFF2-40B4-BE49-F238E27FC236}">
                <a16:creationId xmlns:a16="http://schemas.microsoft.com/office/drawing/2014/main" id="{2323EA36-EFC8-C651-24BA-E6B145931F10}"/>
              </a:ext>
            </a:extLst>
          </p:cNvPr>
          <p:cNvSpPr txBox="1"/>
          <p:nvPr/>
        </p:nvSpPr>
        <p:spPr>
          <a:xfrm>
            <a:off x="470072" y="143278"/>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1" name="Forma Livre: Forma 10">
            <a:extLst>
              <a:ext uri="{FF2B5EF4-FFF2-40B4-BE49-F238E27FC236}">
                <a16:creationId xmlns:a16="http://schemas.microsoft.com/office/drawing/2014/main" id="{F4719EB2-282E-F176-8B39-48302329B13E}"/>
              </a:ext>
            </a:extLst>
          </p:cNvPr>
          <p:cNvSpPr/>
          <p:nvPr/>
        </p:nvSpPr>
        <p:spPr>
          <a:xfrm>
            <a:off x="225728" y="108650"/>
            <a:ext cx="302808" cy="334423"/>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a:p>
        </p:txBody>
      </p:sp>
      <p:sp>
        <p:nvSpPr>
          <p:cNvPr id="12" name="CaixaDeTexto 11">
            <a:extLst>
              <a:ext uri="{FF2B5EF4-FFF2-40B4-BE49-F238E27FC236}">
                <a16:creationId xmlns:a16="http://schemas.microsoft.com/office/drawing/2014/main" id="{47E28DF4-D1F0-DD76-D417-0B630E2189F6}"/>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6</a:t>
            </a:r>
          </a:p>
        </p:txBody>
      </p:sp>
      <p:grpSp>
        <p:nvGrpSpPr>
          <p:cNvPr id="13" name="Agrupar 12">
            <a:extLst>
              <a:ext uri="{FF2B5EF4-FFF2-40B4-BE49-F238E27FC236}">
                <a16:creationId xmlns:a16="http://schemas.microsoft.com/office/drawing/2014/main" id="{518D2D62-0D74-67D9-6D64-5D564383CCE2}"/>
              </a:ext>
            </a:extLst>
          </p:cNvPr>
          <p:cNvGrpSpPr/>
          <p:nvPr/>
        </p:nvGrpSpPr>
        <p:grpSpPr>
          <a:xfrm>
            <a:off x="-129617" y="3749650"/>
            <a:ext cx="5911686" cy="428325"/>
            <a:chOff x="-129617" y="3749650"/>
            <a:chExt cx="5911686" cy="428325"/>
          </a:xfrm>
        </p:grpSpPr>
        <p:grpSp>
          <p:nvGrpSpPr>
            <p:cNvPr id="18" name="Agrupar 17">
              <a:extLst>
                <a:ext uri="{FF2B5EF4-FFF2-40B4-BE49-F238E27FC236}">
                  <a16:creationId xmlns:a16="http://schemas.microsoft.com/office/drawing/2014/main" id="{6F810609-FBA7-0C18-8CC6-7DEA1A36526F}"/>
                </a:ext>
              </a:extLst>
            </p:cNvPr>
            <p:cNvGrpSpPr/>
            <p:nvPr/>
          </p:nvGrpSpPr>
          <p:grpSpPr>
            <a:xfrm>
              <a:off x="2549731" y="3792285"/>
              <a:ext cx="3232338" cy="385690"/>
              <a:chOff x="2524607" y="3744778"/>
              <a:chExt cx="3232338" cy="385690"/>
            </a:xfrm>
          </p:grpSpPr>
          <p:grpSp>
            <p:nvGrpSpPr>
              <p:cNvPr id="27" name="Agrupar 26">
                <a:extLst>
                  <a:ext uri="{FF2B5EF4-FFF2-40B4-BE49-F238E27FC236}">
                    <a16:creationId xmlns:a16="http://schemas.microsoft.com/office/drawing/2014/main" id="{F06EBFF5-54E3-E450-593B-F49D0CC92A1F}"/>
                  </a:ext>
                </a:extLst>
              </p:cNvPr>
              <p:cNvGrpSpPr/>
              <p:nvPr/>
            </p:nvGrpSpPr>
            <p:grpSpPr>
              <a:xfrm>
                <a:off x="2524607" y="3760048"/>
                <a:ext cx="3232338" cy="360000"/>
                <a:chOff x="2524607" y="3760048"/>
                <a:chExt cx="3232338" cy="360000"/>
              </a:xfrm>
            </p:grpSpPr>
            <p:sp>
              <p:nvSpPr>
                <p:cNvPr id="29" name="Rectángulo redondeado 1">
                  <a:extLst>
                    <a:ext uri="{FF2B5EF4-FFF2-40B4-BE49-F238E27FC236}">
                      <a16:creationId xmlns:a16="http://schemas.microsoft.com/office/drawing/2014/main" id="{E99261C2-8233-B55C-D198-23ECC46B433E}"/>
                    </a:ext>
                  </a:extLst>
                </p:cNvPr>
                <p:cNvSpPr/>
                <p:nvPr/>
              </p:nvSpPr>
              <p:spPr>
                <a:xfrm>
                  <a:off x="2881111" y="3760048"/>
                  <a:ext cx="2167691" cy="360000"/>
                </a:xfrm>
                <a:prstGeom prst="roundRect">
                  <a:avLst>
                    <a:gd name="adj" fmla="val 3392"/>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CaixaDeTexto 29">
                  <a:extLst>
                    <a:ext uri="{FF2B5EF4-FFF2-40B4-BE49-F238E27FC236}">
                      <a16:creationId xmlns:a16="http://schemas.microsoft.com/office/drawing/2014/main" id="{9D728243-29C8-94E6-2F1E-3C52E4E0F70E}"/>
                    </a:ext>
                  </a:extLst>
                </p:cNvPr>
                <p:cNvSpPr txBox="1"/>
                <p:nvPr/>
              </p:nvSpPr>
              <p:spPr>
                <a:xfrm>
                  <a:off x="2524607" y="3822863"/>
                  <a:ext cx="3232338" cy="275460"/>
                </a:xfrm>
                <a:prstGeom prst="rect">
                  <a:avLst/>
                </a:prstGeom>
                <a:noFill/>
              </p:spPr>
              <p:txBody>
                <a:bodyPr wrap="square">
                  <a:spAutoFit/>
                </a:bodyPr>
                <a:lstStyle/>
                <a:p>
                  <a:pPr marL="0" marR="0" lvl="0" indent="0" algn="ctr" defTabSz="449931" rtl="0" eaLnBrk="1" fontAlgn="auto" latinLnBrk="0" hangingPunct="1">
                    <a:lnSpc>
                      <a:spcPct val="85000"/>
                    </a:lnSpc>
                    <a:spcBef>
                      <a:spcPts val="200"/>
                    </a:spcBef>
                    <a:spcAft>
                      <a:spcPts val="200"/>
                    </a:spcAft>
                    <a:buClrTx/>
                    <a:buSzTx/>
                    <a:buFontTx/>
                    <a:buNone/>
                    <a:tabLst/>
                    <a:defRPr/>
                  </a:pPr>
                  <a:r>
                    <a:rPr lang="pt-BR" sz="1400">
                      <a:solidFill>
                        <a:srgbClr val="011F57"/>
                      </a:solidFill>
                      <a:latin typeface="Segoe UI" panose="020B0502040204020203" pitchFamily="34" charset="0"/>
                      <a:cs typeface="Segoe UI" panose="020B0502040204020203" pitchFamily="34" charset="0"/>
                    </a:rPr>
                    <a:t>Greater</a:t>
                  </a:r>
                  <a:r>
                    <a:rPr kumimoji="0" lang="pt-BR" sz="1400"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 </a:t>
                  </a:r>
                  <a:r>
                    <a:rPr kumimoji="0" lang="pt-BR" sz="1400" b="1" i="0" u="none" strike="noStrike" kern="1200" cap="none" spc="0" normalizeH="0" baseline="0" noProof="0">
                      <a:ln>
                        <a:noFill/>
                      </a:ln>
                      <a:solidFill>
                        <a:srgbClr val="00B0F0"/>
                      </a:solidFill>
                      <a:effectLst/>
                      <a:uLnTx/>
                      <a:uFillTx/>
                      <a:latin typeface="Segoe UI" panose="020B0502040204020203" pitchFamily="34" charset="0"/>
                      <a:ea typeface="Tahoma" panose="020B0604030504040204" pitchFamily="34" charset="0"/>
                      <a:cs typeface="Segoe UI" panose="020B0502040204020203" pitchFamily="34" charset="0"/>
                    </a:rPr>
                    <a:t>Profitability</a:t>
                  </a:r>
                  <a:endParaRPr kumimoji="0" lang="pt-BR" sz="1200" b="0" i="0" u="none" strike="noStrike" kern="1200" cap="none" spc="0" normalizeH="0" baseline="0" noProof="0">
                    <a:ln>
                      <a:noFill/>
                    </a:ln>
                    <a:solidFill>
                      <a:srgbClr val="00B0F0"/>
                    </a:solidFill>
                    <a:effectLst/>
                    <a:uLnTx/>
                    <a:uFillTx/>
                    <a:latin typeface="Segoe UI" panose="020B0502040204020203" pitchFamily="34" charset="0"/>
                    <a:ea typeface="Tahoma" panose="020B0604030504040204" pitchFamily="34" charset="0"/>
                    <a:cs typeface="Segoe UI" panose="020B0502040204020203" pitchFamily="34" charset="0"/>
                  </a:endParaRPr>
                </a:p>
              </p:txBody>
            </p:sp>
          </p:grpSp>
          <p:pic>
            <p:nvPicPr>
              <p:cNvPr id="28" name="Gráfico 27" descr="Exponential Graph contorno">
                <a:extLst>
                  <a:ext uri="{FF2B5EF4-FFF2-40B4-BE49-F238E27FC236}">
                    <a16:creationId xmlns:a16="http://schemas.microsoft.com/office/drawing/2014/main" id="{0B2DD4C3-49F0-4456-BBA7-CC53619A3E12}"/>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2896949" y="3744778"/>
                <a:ext cx="385690" cy="385690"/>
              </a:xfrm>
              <a:prstGeom prst="rect">
                <a:avLst/>
              </a:prstGeom>
            </p:spPr>
          </p:pic>
        </p:grpSp>
        <p:grpSp>
          <p:nvGrpSpPr>
            <p:cNvPr id="22" name="Agrupar 21">
              <a:extLst>
                <a:ext uri="{FF2B5EF4-FFF2-40B4-BE49-F238E27FC236}">
                  <a16:creationId xmlns:a16="http://schemas.microsoft.com/office/drawing/2014/main" id="{CBD12A22-A2B7-AB99-B73A-6B761F2B0554}"/>
                </a:ext>
              </a:extLst>
            </p:cNvPr>
            <p:cNvGrpSpPr/>
            <p:nvPr/>
          </p:nvGrpSpPr>
          <p:grpSpPr>
            <a:xfrm>
              <a:off x="-129617" y="3749650"/>
              <a:ext cx="3232338" cy="400365"/>
              <a:chOff x="-126523" y="3834560"/>
              <a:chExt cx="3232338" cy="400365"/>
            </a:xfrm>
          </p:grpSpPr>
          <p:grpSp>
            <p:nvGrpSpPr>
              <p:cNvPr id="23" name="Agrupar 22">
                <a:extLst>
                  <a:ext uri="{FF2B5EF4-FFF2-40B4-BE49-F238E27FC236}">
                    <a16:creationId xmlns:a16="http://schemas.microsoft.com/office/drawing/2014/main" id="{9FD5D2C6-37E2-6560-3224-427FBE2609A3}"/>
                  </a:ext>
                </a:extLst>
              </p:cNvPr>
              <p:cNvGrpSpPr/>
              <p:nvPr/>
            </p:nvGrpSpPr>
            <p:grpSpPr>
              <a:xfrm>
                <a:off x="-126523" y="3874888"/>
                <a:ext cx="3232338" cy="360000"/>
                <a:chOff x="-195190" y="3760048"/>
                <a:chExt cx="3232338" cy="360000"/>
              </a:xfrm>
            </p:grpSpPr>
            <p:sp>
              <p:nvSpPr>
                <p:cNvPr id="25" name="Rectángulo redondeado 1">
                  <a:extLst>
                    <a:ext uri="{FF2B5EF4-FFF2-40B4-BE49-F238E27FC236}">
                      <a16:creationId xmlns:a16="http://schemas.microsoft.com/office/drawing/2014/main" id="{7D4424E3-B3EB-D4D8-F485-00D57CC4D223}"/>
                    </a:ext>
                  </a:extLst>
                </p:cNvPr>
                <p:cNvSpPr/>
                <p:nvPr/>
              </p:nvSpPr>
              <p:spPr>
                <a:xfrm>
                  <a:off x="164690" y="3760048"/>
                  <a:ext cx="2167691" cy="360000"/>
                </a:xfrm>
                <a:prstGeom prst="roundRect">
                  <a:avLst>
                    <a:gd name="adj" fmla="val 4355"/>
                  </a:avLst>
                </a:prstGeom>
                <a:solidFill>
                  <a:schemeClr val="bg1">
                    <a:alpha val="60000"/>
                  </a:schemeClr>
                </a:solidFill>
                <a:ln w="19050">
                  <a:gradFill flip="none" rotWithShape="1">
                    <a:gsLst>
                      <a:gs pos="0">
                        <a:srgbClr val="F8681E"/>
                      </a:gs>
                      <a:gs pos="100000">
                        <a:srgbClr val="F8681E">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sp>
              <p:nvSpPr>
                <p:cNvPr id="26" name="CaixaDeTexto 25">
                  <a:extLst>
                    <a:ext uri="{FF2B5EF4-FFF2-40B4-BE49-F238E27FC236}">
                      <a16:creationId xmlns:a16="http://schemas.microsoft.com/office/drawing/2014/main" id="{0234C315-BB58-BF6D-D038-D485B69F2A0F}"/>
                    </a:ext>
                  </a:extLst>
                </p:cNvPr>
                <p:cNvSpPr txBox="1"/>
                <p:nvPr/>
              </p:nvSpPr>
              <p:spPr>
                <a:xfrm>
                  <a:off x="-195190" y="3831938"/>
                  <a:ext cx="3232338" cy="275460"/>
                </a:xfrm>
                <a:prstGeom prst="rect">
                  <a:avLst/>
                </a:prstGeom>
                <a:noFill/>
              </p:spPr>
              <p:txBody>
                <a:bodyPr wrap="square">
                  <a:spAutoFit/>
                </a:bodyPr>
                <a:lstStyle/>
                <a:p>
                  <a:pPr marL="0" marR="0" lvl="0" indent="0" algn="ctr" defTabSz="449931" rtl="0" eaLnBrk="1" fontAlgn="auto" latinLnBrk="0" hangingPunct="1">
                    <a:lnSpc>
                      <a:spcPct val="85000"/>
                    </a:lnSpc>
                    <a:spcBef>
                      <a:spcPts val="200"/>
                    </a:spcBef>
                    <a:spcAft>
                      <a:spcPts val="200"/>
                    </a:spcAft>
                    <a:buClrTx/>
                    <a:buSzTx/>
                    <a:buFontTx/>
                    <a:buNone/>
                    <a:tabLst/>
                    <a:defRPr/>
                  </a:pPr>
                  <a:r>
                    <a:rPr lang="pt-BR" sz="1400">
                      <a:solidFill>
                        <a:schemeClr val="accent2"/>
                      </a:solidFill>
                      <a:latin typeface="Segoe UI" panose="020B0502040204020203" pitchFamily="34" charset="0"/>
                      <a:ea typeface="Tahoma" panose="020B0604030504040204" pitchFamily="34" charset="0"/>
                      <a:cs typeface="Segoe UI" panose="020B0502040204020203" pitchFamily="34" charset="0"/>
                    </a:rPr>
                    <a:t>Greater </a:t>
                  </a:r>
                  <a:r>
                    <a:rPr kumimoji="0" lang="pt-BR" sz="1400" b="1" i="0" u="none" strike="noStrike" kern="1200" cap="none" spc="0" normalizeH="0" baseline="0" noProof="0">
                      <a:ln>
                        <a:noFill/>
                      </a:ln>
                      <a:solidFill>
                        <a:schemeClr val="accent2"/>
                      </a:solidFill>
                      <a:effectLst/>
                      <a:uLnTx/>
                      <a:uFillTx/>
                      <a:latin typeface="Segoe UI" panose="020B0502040204020203" pitchFamily="34" charset="0"/>
                      <a:ea typeface="Tahoma" panose="020B0604030504040204" pitchFamily="34" charset="0"/>
                      <a:cs typeface="Segoe UI" panose="020B0502040204020203" pitchFamily="34" charset="0"/>
                    </a:rPr>
                    <a:t>Longevity</a:t>
                  </a:r>
                  <a:endParaRPr kumimoji="0" lang="pt-BR" sz="1200" b="0" i="0" u="none" strike="noStrike" kern="1200" cap="none" spc="0" normalizeH="0" baseline="0" noProof="0">
                    <a:ln>
                      <a:noFill/>
                    </a:ln>
                    <a:solidFill>
                      <a:schemeClr val="accent2"/>
                    </a:solidFill>
                    <a:effectLst/>
                    <a:uLnTx/>
                    <a:uFillTx/>
                    <a:latin typeface="Segoe UI" panose="020B0502040204020203" pitchFamily="34" charset="0"/>
                    <a:ea typeface="Tahoma" panose="020B0604030504040204" pitchFamily="34" charset="0"/>
                    <a:cs typeface="Segoe UI" panose="020B0502040204020203" pitchFamily="34" charset="0"/>
                  </a:endParaRPr>
                </a:p>
              </p:txBody>
            </p:sp>
          </p:grpSp>
          <p:pic>
            <p:nvPicPr>
              <p:cNvPr id="24" name="Gráfico 23" descr="Upstairs contorno">
                <a:extLst>
                  <a:ext uri="{FF2B5EF4-FFF2-40B4-BE49-F238E27FC236}">
                    <a16:creationId xmlns:a16="http://schemas.microsoft.com/office/drawing/2014/main" id="{2C68A01F-F4EF-5431-43D0-B2891C50167B}"/>
                  </a:ext>
                </a:extLst>
              </p:cNvPr>
              <p:cNvPicPr>
                <a:picLocks noChangeAspect="1"/>
              </p:cNvPicPr>
              <p:nvPr/>
            </p:nvPicPr>
            <p:blipFill>
              <a:blip r:embed="rId29" cstate="screen">
                <a:extLst>
                  <a:ext uri="{28A0092B-C50C-407E-A947-70E740481C1C}">
                    <a14:useLocalDpi xmlns:a14="http://schemas.microsoft.com/office/drawing/2010/main"/>
                  </a:ext>
                  <a:ext uri="{96DAC541-7B7A-43D3-8B79-37D633B846F1}">
                    <asvg:svgBlip xmlns:asvg="http://schemas.microsoft.com/office/drawing/2016/SVG/main" r:embed="rId30"/>
                  </a:ext>
                </a:extLst>
              </a:blip>
              <a:stretch>
                <a:fillRect/>
              </a:stretch>
            </p:blipFill>
            <p:spPr>
              <a:xfrm>
                <a:off x="251235" y="3834560"/>
                <a:ext cx="400365" cy="400365"/>
              </a:xfrm>
              <a:prstGeom prst="rect">
                <a:avLst/>
              </a:prstGeom>
            </p:spPr>
          </p:pic>
        </p:grpSp>
      </p:grpSp>
      <p:pic>
        <p:nvPicPr>
          <p:cNvPr id="2" name="Imagem 1" descr="Uma imagem contendo Interface gráfica do usuário&#10;&#10;Descrição gerada automaticamente">
            <a:extLst>
              <a:ext uri="{FF2B5EF4-FFF2-40B4-BE49-F238E27FC236}">
                <a16:creationId xmlns:a16="http://schemas.microsoft.com/office/drawing/2014/main" id="{98400E60-9474-B17D-E8F9-4F85AD0F53A0}"/>
              </a:ext>
            </a:extLst>
          </p:cNvPr>
          <p:cNvPicPr>
            <a:picLocks noChangeAspect="1"/>
          </p:cNvPicPr>
          <p:nvPr/>
        </p:nvPicPr>
        <p:blipFill>
          <a:blip r:embed="rId31">
            <a:duotone>
              <a:schemeClr val="bg2">
                <a:shade val="45000"/>
                <a:satMod val="135000"/>
              </a:schemeClr>
              <a:prstClr val="white"/>
            </a:duotone>
          </a:blip>
          <a:stretch>
            <a:fillRect/>
          </a:stretch>
        </p:blipFill>
        <p:spPr>
          <a:xfrm>
            <a:off x="8039840" y="60434"/>
            <a:ext cx="920231" cy="509571"/>
          </a:xfrm>
          <a:prstGeom prst="rect">
            <a:avLst/>
          </a:prstGeom>
        </p:spPr>
      </p:pic>
      <p:sp>
        <p:nvSpPr>
          <p:cNvPr id="3" name="Forma Livre: Forma 2">
            <a:extLst>
              <a:ext uri="{FF2B5EF4-FFF2-40B4-BE49-F238E27FC236}">
                <a16:creationId xmlns:a16="http://schemas.microsoft.com/office/drawing/2014/main" id="{763D1D3C-E1A9-6E44-B4CD-5522258C7F40}"/>
              </a:ext>
            </a:extLst>
          </p:cNvPr>
          <p:cNvSpPr/>
          <p:nvPr/>
        </p:nvSpPr>
        <p:spPr>
          <a:xfrm>
            <a:off x="399692" y="2349790"/>
            <a:ext cx="288000" cy="288000"/>
          </a:xfrm>
          <a:custGeom>
            <a:avLst/>
            <a:gdLst>
              <a:gd name="connsiteX0" fmla="*/ 225076 w 526567"/>
              <a:gd name="connsiteY0" fmla="*/ 438246 h 545402"/>
              <a:gd name="connsiteX1" fmla="*/ 234601 w 526567"/>
              <a:gd name="connsiteY1" fmla="*/ 447771 h 545402"/>
              <a:gd name="connsiteX2" fmla="*/ 234601 w 526567"/>
              <a:gd name="connsiteY2" fmla="*/ 477489 h 545402"/>
              <a:gd name="connsiteX3" fmla="*/ 39624 w 526567"/>
              <a:gd name="connsiteY3" fmla="*/ 477489 h 545402"/>
              <a:gd name="connsiteX4" fmla="*/ 39624 w 526567"/>
              <a:gd name="connsiteY4" fmla="*/ 447771 h 545402"/>
              <a:gd name="connsiteX5" fmla="*/ 49149 w 526567"/>
              <a:gd name="connsiteY5" fmla="*/ 438246 h 545402"/>
              <a:gd name="connsiteX6" fmla="*/ 264700 w 526567"/>
              <a:gd name="connsiteY6" fmla="*/ 506064 h 545402"/>
              <a:gd name="connsiteX7" fmla="*/ 9525 w 526567"/>
              <a:gd name="connsiteY7" fmla="*/ 506064 h 545402"/>
              <a:gd name="connsiteX8" fmla="*/ 0 w 526567"/>
              <a:gd name="connsiteY8" fmla="*/ 515589 h 545402"/>
              <a:gd name="connsiteX9" fmla="*/ 0 w 526567"/>
              <a:gd name="connsiteY9" fmla="*/ 545402 h 545402"/>
              <a:gd name="connsiteX10" fmla="*/ 274225 w 526567"/>
              <a:gd name="connsiteY10" fmla="*/ 545402 h 545402"/>
              <a:gd name="connsiteX11" fmla="*/ 274225 w 526567"/>
              <a:gd name="connsiteY11" fmla="*/ 515589 h 545402"/>
              <a:gd name="connsiteX12" fmla="*/ 264700 w 526567"/>
              <a:gd name="connsiteY12" fmla="*/ 506064 h 545402"/>
              <a:gd name="connsiteX13" fmla="*/ 304895 w 526567"/>
              <a:gd name="connsiteY13" fmla="*/ 203264 h 545402"/>
              <a:gd name="connsiteX14" fmla="*/ 284607 w 526567"/>
              <a:gd name="connsiteY14" fmla="*/ 183167 h 545402"/>
              <a:gd name="connsiteX15" fmla="*/ 186976 w 526567"/>
              <a:gd name="connsiteY15" fmla="*/ 84964 h 545402"/>
              <a:gd name="connsiteX16" fmla="*/ 92678 w 526567"/>
              <a:gd name="connsiteY16" fmla="*/ 178880 h 545402"/>
              <a:gd name="connsiteX17" fmla="*/ 210979 w 526567"/>
              <a:gd name="connsiteY17" fmla="*/ 297181 h 545402"/>
              <a:gd name="connsiteX18" fmla="*/ 226981 w 526567"/>
              <a:gd name="connsiteY18" fmla="*/ 84964 h 545402"/>
              <a:gd name="connsiteX19" fmla="*/ 304800 w 526567"/>
              <a:gd name="connsiteY19" fmla="*/ 162878 h 545402"/>
              <a:gd name="connsiteX20" fmla="*/ 325088 w 526567"/>
              <a:gd name="connsiteY20" fmla="*/ 183071 h 545402"/>
              <a:gd name="connsiteX21" fmla="*/ 326422 w 526567"/>
              <a:gd name="connsiteY21" fmla="*/ 184405 h 545402"/>
              <a:gd name="connsiteX22" fmla="*/ 336518 w 526567"/>
              <a:gd name="connsiteY22" fmla="*/ 188596 h 545402"/>
              <a:gd name="connsiteX23" fmla="*/ 346615 w 526567"/>
              <a:gd name="connsiteY23" fmla="*/ 184405 h 545402"/>
              <a:gd name="connsiteX24" fmla="*/ 385858 w 526567"/>
              <a:gd name="connsiteY24" fmla="*/ 145162 h 545402"/>
              <a:gd name="connsiteX25" fmla="*/ 390049 w 526567"/>
              <a:gd name="connsiteY25" fmla="*/ 135065 h 545402"/>
              <a:gd name="connsiteX26" fmla="*/ 385858 w 526567"/>
              <a:gd name="connsiteY26" fmla="*/ 124969 h 545402"/>
              <a:gd name="connsiteX27" fmla="*/ 264890 w 526567"/>
              <a:gd name="connsiteY27" fmla="*/ 4001 h 545402"/>
              <a:gd name="connsiteX28" fmla="*/ 244602 w 526567"/>
              <a:gd name="connsiteY28" fmla="*/ 4001 h 545402"/>
              <a:gd name="connsiteX29" fmla="*/ 205454 w 526567"/>
              <a:gd name="connsiteY29" fmla="*/ 43244 h 545402"/>
              <a:gd name="connsiteX30" fmla="*/ 205332 w 526567"/>
              <a:gd name="connsiteY30" fmla="*/ 63315 h 545402"/>
              <a:gd name="connsiteX31" fmla="*/ 205454 w 526567"/>
              <a:gd name="connsiteY31" fmla="*/ 63437 h 545402"/>
              <a:gd name="connsiteX32" fmla="*/ 132683 w 526567"/>
              <a:gd name="connsiteY32" fmla="*/ 378143 h 545402"/>
              <a:gd name="connsiteX33" fmla="*/ 142780 w 526567"/>
              <a:gd name="connsiteY33" fmla="*/ 382334 h 545402"/>
              <a:gd name="connsiteX34" fmla="*/ 152876 w 526567"/>
              <a:gd name="connsiteY34" fmla="*/ 378143 h 545402"/>
              <a:gd name="connsiteX35" fmla="*/ 192119 w 526567"/>
              <a:gd name="connsiteY35" fmla="*/ 339377 h 545402"/>
              <a:gd name="connsiteX36" fmla="*/ 192119 w 526567"/>
              <a:gd name="connsiteY36" fmla="*/ 319184 h 545402"/>
              <a:gd name="connsiteX37" fmla="*/ 190786 w 526567"/>
              <a:gd name="connsiteY37" fmla="*/ 317850 h 545402"/>
              <a:gd name="connsiteX38" fmla="*/ 170593 w 526567"/>
              <a:gd name="connsiteY38" fmla="*/ 297657 h 545402"/>
              <a:gd name="connsiteX39" fmla="*/ 92678 w 526567"/>
              <a:gd name="connsiteY39" fmla="*/ 219266 h 545402"/>
              <a:gd name="connsiteX40" fmla="*/ 72676 w 526567"/>
              <a:gd name="connsiteY40" fmla="*/ 199073 h 545402"/>
              <a:gd name="connsiteX41" fmla="*/ 71342 w 526567"/>
              <a:gd name="connsiteY41" fmla="*/ 197740 h 545402"/>
              <a:gd name="connsiteX42" fmla="*/ 51149 w 526567"/>
              <a:gd name="connsiteY42" fmla="*/ 197740 h 545402"/>
              <a:gd name="connsiteX43" fmla="*/ 11716 w 526567"/>
              <a:gd name="connsiteY43" fmla="*/ 236983 h 545402"/>
              <a:gd name="connsiteX44" fmla="*/ 11593 w 526567"/>
              <a:gd name="connsiteY44" fmla="*/ 257053 h 545402"/>
              <a:gd name="connsiteX45" fmla="*/ 11716 w 526567"/>
              <a:gd name="connsiteY45" fmla="*/ 257176 h 545402"/>
              <a:gd name="connsiteX46" fmla="*/ 514541 w 526567"/>
              <a:gd name="connsiteY46" fmla="*/ 448914 h 545402"/>
              <a:gd name="connsiteX47" fmla="*/ 306610 w 526567"/>
              <a:gd name="connsiteY47" fmla="*/ 241936 h 545402"/>
              <a:gd name="connsiteX48" fmla="*/ 249460 w 526567"/>
              <a:gd name="connsiteY48" fmla="*/ 299086 h 545402"/>
              <a:gd name="connsiteX49" fmla="*/ 457581 w 526567"/>
              <a:gd name="connsiteY49" fmla="*/ 505969 h 545402"/>
              <a:gd name="connsiteX50" fmla="*/ 514731 w 526567"/>
              <a:gd name="connsiteY50" fmla="*/ 505969 h 545402"/>
              <a:gd name="connsiteX51" fmla="*/ 514731 w 526567"/>
              <a:gd name="connsiteY51" fmla="*/ 448819 h 54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6567" h="545402">
                <a:moveTo>
                  <a:pt x="225076" y="438246"/>
                </a:moveTo>
                <a:cubicBezTo>
                  <a:pt x="230336" y="438246"/>
                  <a:pt x="234601" y="442511"/>
                  <a:pt x="234601" y="447771"/>
                </a:cubicBezTo>
                <a:lnTo>
                  <a:pt x="234601" y="477489"/>
                </a:lnTo>
                <a:lnTo>
                  <a:pt x="39624" y="477489"/>
                </a:lnTo>
                <a:lnTo>
                  <a:pt x="39624" y="447771"/>
                </a:lnTo>
                <a:cubicBezTo>
                  <a:pt x="39624" y="442511"/>
                  <a:pt x="43888" y="438246"/>
                  <a:pt x="49149" y="438246"/>
                </a:cubicBezTo>
                <a:close/>
                <a:moveTo>
                  <a:pt x="264700" y="506064"/>
                </a:moveTo>
                <a:lnTo>
                  <a:pt x="9525" y="506064"/>
                </a:lnTo>
                <a:cubicBezTo>
                  <a:pt x="4264" y="506064"/>
                  <a:pt x="0" y="510329"/>
                  <a:pt x="0" y="515589"/>
                </a:cubicBezTo>
                <a:lnTo>
                  <a:pt x="0" y="545402"/>
                </a:lnTo>
                <a:lnTo>
                  <a:pt x="274225" y="545402"/>
                </a:lnTo>
                <a:lnTo>
                  <a:pt x="274225" y="515589"/>
                </a:lnTo>
                <a:cubicBezTo>
                  <a:pt x="274225" y="510329"/>
                  <a:pt x="269960" y="506064"/>
                  <a:pt x="264700" y="506064"/>
                </a:cubicBezTo>
                <a:close/>
                <a:moveTo>
                  <a:pt x="304895" y="203264"/>
                </a:moveTo>
                <a:lnTo>
                  <a:pt x="284607" y="183167"/>
                </a:lnTo>
                <a:lnTo>
                  <a:pt x="186976" y="84964"/>
                </a:lnTo>
                <a:lnTo>
                  <a:pt x="92678" y="178880"/>
                </a:lnTo>
                <a:lnTo>
                  <a:pt x="210979" y="297181"/>
                </a:lnTo>
                <a:close/>
                <a:moveTo>
                  <a:pt x="226981" y="84964"/>
                </a:moveTo>
                <a:lnTo>
                  <a:pt x="304800" y="162878"/>
                </a:lnTo>
                <a:lnTo>
                  <a:pt x="325088" y="183071"/>
                </a:lnTo>
                <a:lnTo>
                  <a:pt x="326422" y="184405"/>
                </a:lnTo>
                <a:cubicBezTo>
                  <a:pt x="329068" y="187131"/>
                  <a:pt x="332720" y="188647"/>
                  <a:pt x="336518" y="188596"/>
                </a:cubicBezTo>
                <a:cubicBezTo>
                  <a:pt x="340310" y="188614"/>
                  <a:pt x="343950" y="187103"/>
                  <a:pt x="346615" y="184405"/>
                </a:cubicBezTo>
                <a:lnTo>
                  <a:pt x="385858" y="145162"/>
                </a:lnTo>
                <a:cubicBezTo>
                  <a:pt x="388538" y="142485"/>
                  <a:pt x="390045" y="138853"/>
                  <a:pt x="390049" y="135065"/>
                </a:cubicBezTo>
                <a:cubicBezTo>
                  <a:pt x="390025" y="131282"/>
                  <a:pt x="388520" y="127657"/>
                  <a:pt x="385858" y="124969"/>
                </a:cubicBezTo>
                <a:lnTo>
                  <a:pt x="264890" y="4001"/>
                </a:lnTo>
                <a:cubicBezTo>
                  <a:pt x="259180" y="-1334"/>
                  <a:pt x="250312" y="-1334"/>
                  <a:pt x="244602" y="4001"/>
                </a:cubicBezTo>
                <a:lnTo>
                  <a:pt x="205454" y="43244"/>
                </a:lnTo>
                <a:cubicBezTo>
                  <a:pt x="199878" y="48753"/>
                  <a:pt x="199823" y="57739"/>
                  <a:pt x="205332" y="63315"/>
                </a:cubicBezTo>
                <a:cubicBezTo>
                  <a:pt x="205372" y="63356"/>
                  <a:pt x="205413" y="63397"/>
                  <a:pt x="205454" y="63437"/>
                </a:cubicBezTo>
                <a:close/>
                <a:moveTo>
                  <a:pt x="132683" y="378143"/>
                </a:moveTo>
                <a:cubicBezTo>
                  <a:pt x="135354" y="380833"/>
                  <a:pt x="138990" y="382342"/>
                  <a:pt x="142780" y="382334"/>
                </a:cubicBezTo>
                <a:cubicBezTo>
                  <a:pt x="146566" y="382321"/>
                  <a:pt x="150194" y="380815"/>
                  <a:pt x="152876" y="378143"/>
                </a:cubicBezTo>
                <a:lnTo>
                  <a:pt x="192119" y="339377"/>
                </a:lnTo>
                <a:cubicBezTo>
                  <a:pt x="197691" y="333799"/>
                  <a:pt x="197691" y="324762"/>
                  <a:pt x="192119" y="319184"/>
                </a:cubicBezTo>
                <a:lnTo>
                  <a:pt x="190786" y="317850"/>
                </a:lnTo>
                <a:lnTo>
                  <a:pt x="170593" y="297657"/>
                </a:lnTo>
                <a:lnTo>
                  <a:pt x="92678" y="219266"/>
                </a:lnTo>
                <a:lnTo>
                  <a:pt x="72676" y="199073"/>
                </a:lnTo>
                <a:lnTo>
                  <a:pt x="71342" y="197740"/>
                </a:lnTo>
                <a:cubicBezTo>
                  <a:pt x="65664" y="192417"/>
                  <a:pt x="56828" y="192417"/>
                  <a:pt x="51149" y="197740"/>
                </a:cubicBezTo>
                <a:lnTo>
                  <a:pt x="11716" y="236983"/>
                </a:lnTo>
                <a:cubicBezTo>
                  <a:pt x="6140" y="242491"/>
                  <a:pt x="6085" y="251477"/>
                  <a:pt x="11593" y="257053"/>
                </a:cubicBezTo>
                <a:cubicBezTo>
                  <a:pt x="11634" y="257095"/>
                  <a:pt x="11675" y="257135"/>
                  <a:pt x="11716" y="257176"/>
                </a:cubicBezTo>
                <a:close/>
                <a:moveTo>
                  <a:pt x="514541" y="448914"/>
                </a:moveTo>
                <a:lnTo>
                  <a:pt x="306610" y="241936"/>
                </a:lnTo>
                <a:lnTo>
                  <a:pt x="249460" y="299086"/>
                </a:lnTo>
                <a:lnTo>
                  <a:pt x="457581" y="505969"/>
                </a:lnTo>
                <a:cubicBezTo>
                  <a:pt x="473363" y="521750"/>
                  <a:pt x="498949" y="521750"/>
                  <a:pt x="514731" y="505969"/>
                </a:cubicBezTo>
                <a:cubicBezTo>
                  <a:pt x="530513" y="490187"/>
                  <a:pt x="530513" y="464600"/>
                  <a:pt x="514731" y="448819"/>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096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35" presetClass="path" presetSubtype="0" accel="17000" decel="83000" fill="hold" grpId="1" nodeType="withEffect">
                                  <p:stCondLst>
                                    <p:cond delay="0"/>
                                  </p:stCondLst>
                                  <p:childTnLst>
                                    <p:animMotion origin="layout" path="M 0.02311 3.16714E-07 L -2.89293E-07 3.16714E-07" pathEditMode="relative" rAng="0" ptsTypes="AA">
                                      <p:cBhvr>
                                        <p:cTn id="9" dur="1100" fill="hold"/>
                                        <p:tgtEl>
                                          <p:spTgt spid="20"/>
                                        </p:tgtEl>
                                        <p:attrNameLst>
                                          <p:attrName>ppt_x</p:attrName>
                                          <p:attrName>ppt_y</p:attrName>
                                        </p:attrNameLst>
                                      </p:cBhvr>
                                      <p:rCtr x="-1164" y="0"/>
                                    </p:animMotion>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35" presetClass="path" presetSubtype="0" accel="17000" decel="83000" fill="hold" grpId="1" nodeType="withEffect">
                                  <p:stCondLst>
                                    <p:cond delay="0"/>
                                  </p:stCondLst>
                                  <p:childTnLst>
                                    <p:animMotion origin="layout" path="M -0.03211 6.99279E-07 L 4.00953E-06 6.99279E-07" pathEditMode="relative" rAng="0" ptsTypes="AA">
                                      <p:cBhvr>
                                        <p:cTn id="14" dur="1100" fill="hold"/>
                                        <p:tgtEl>
                                          <p:spTgt spid="21"/>
                                        </p:tgtEl>
                                        <p:attrNameLst>
                                          <p:attrName>ppt_x</p:attrName>
                                          <p:attrName>ppt_y</p:attrName>
                                        </p:attrNameLst>
                                      </p:cBhvr>
                                      <p:rCtr x="1605" y="0"/>
                                    </p:animMotion>
                                  </p:childTnLst>
                                </p:cTn>
                              </p:par>
                              <p:par>
                                <p:cTn id="15" presetID="10" presetClass="entr" presetSubtype="0" fill="hold" grpId="0" nodeType="withEffect">
                                  <p:stCondLst>
                                    <p:cond delay="50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par>
                                <p:cTn id="18" presetID="35" presetClass="path" presetSubtype="0" accel="17000" decel="83000" fill="hold" grpId="1" nodeType="withEffect">
                                  <p:stCondLst>
                                    <p:cond delay="500"/>
                                  </p:stCondLst>
                                  <p:childTnLst>
                                    <p:animMotion origin="layout" path="M 0.00053 -0.04484 L 2.34609E-07 -8.4666E-07" pathEditMode="relative" rAng="0" ptsTypes="AA">
                                      <p:cBhvr>
                                        <p:cTn id="19" dur="750" fill="hold"/>
                                        <p:tgtEl>
                                          <p:spTgt spid="34"/>
                                        </p:tgtEl>
                                        <p:attrNameLst>
                                          <p:attrName>ppt_x</p:attrName>
                                          <p:attrName>ppt_y</p:attrName>
                                        </p:attrNameLst>
                                      </p:cBhvr>
                                      <p:rCtr x="-35" y="2226"/>
                                    </p:animMotion>
                                  </p:childTnLst>
                                </p:cTn>
                              </p:par>
                              <p:par>
                                <p:cTn id="20" presetID="10" presetClass="entr" presetSubtype="0" fill="hold" grpId="0" nodeType="withEffect">
                                  <p:stCondLst>
                                    <p:cond delay="1000"/>
                                  </p:stCondLst>
                                  <p:childTnLst>
                                    <p:set>
                                      <p:cBhvr>
                                        <p:cTn id="21" dur="1" fill="hold">
                                          <p:stCondLst>
                                            <p:cond delay="0"/>
                                          </p:stCondLst>
                                        </p:cTn>
                                        <p:tgtEl>
                                          <p:spTgt spid="59"/>
                                        </p:tgtEl>
                                        <p:attrNameLst>
                                          <p:attrName>style.visibility</p:attrName>
                                        </p:attrNameLst>
                                      </p:cBhvr>
                                      <p:to>
                                        <p:strVal val="visible"/>
                                      </p:to>
                                    </p:set>
                                    <p:animEffect transition="in" filter="fade">
                                      <p:cBhvr>
                                        <p:cTn id="22" dur="500"/>
                                        <p:tgtEl>
                                          <p:spTgt spid="59"/>
                                        </p:tgtEl>
                                      </p:cBhvr>
                                    </p:animEffect>
                                  </p:childTnLst>
                                </p:cTn>
                              </p:par>
                              <p:par>
                                <p:cTn id="23" presetID="35" presetClass="path" presetSubtype="0" accel="17000" decel="83000" fill="hold" grpId="1" nodeType="withEffect">
                                  <p:stCondLst>
                                    <p:cond delay="1000"/>
                                  </p:stCondLst>
                                  <p:childTnLst>
                                    <p:animMotion origin="layout" path="M 0.0231 2.76889E-06 L 4.93209E-06 2.76889E-06" pathEditMode="relative" rAng="0" ptsTypes="AA">
                                      <p:cBhvr>
                                        <p:cTn id="24" dur="750" fill="hold"/>
                                        <p:tgtEl>
                                          <p:spTgt spid="59"/>
                                        </p:tgtEl>
                                        <p:attrNameLst>
                                          <p:attrName>ppt_x</p:attrName>
                                          <p:attrName>ppt_y</p:attrName>
                                        </p:attrNameLst>
                                      </p:cBhvr>
                                      <p:rCtr x="-1164" y="0"/>
                                    </p:animMotion>
                                  </p:childTnLst>
                                </p:cTn>
                              </p:par>
                              <p:par>
                                <p:cTn id="25" presetID="10" presetClass="entr" presetSubtype="0" fill="hold" nodeType="withEffect">
                                  <p:stCondLst>
                                    <p:cond delay="1250"/>
                                  </p:stCondLst>
                                  <p:childTnLst>
                                    <p:set>
                                      <p:cBhvr>
                                        <p:cTn id="26" dur="1" fill="hold">
                                          <p:stCondLst>
                                            <p:cond delay="0"/>
                                          </p:stCondLst>
                                        </p:cTn>
                                        <p:tgtEl>
                                          <p:spTgt spid="38"/>
                                        </p:tgtEl>
                                        <p:attrNameLst>
                                          <p:attrName>style.visibility</p:attrName>
                                        </p:attrNameLst>
                                      </p:cBhvr>
                                      <p:to>
                                        <p:strVal val="visible"/>
                                      </p:to>
                                    </p:set>
                                    <p:animEffect transition="in" filter="fade">
                                      <p:cBhvr>
                                        <p:cTn id="27" dur="500"/>
                                        <p:tgtEl>
                                          <p:spTgt spid="38"/>
                                        </p:tgtEl>
                                      </p:cBhvr>
                                    </p:animEffect>
                                  </p:childTnLst>
                                </p:cTn>
                              </p:par>
                              <p:par>
                                <p:cTn id="28" presetID="23" presetClass="entr" presetSubtype="288" fill="hold" nodeType="withEffect">
                                  <p:stCondLst>
                                    <p:cond delay="1250"/>
                                  </p:stCondLst>
                                  <p:childTnLst>
                                    <p:set>
                                      <p:cBhvr>
                                        <p:cTn id="29" dur="1" fill="hold">
                                          <p:stCondLst>
                                            <p:cond delay="0"/>
                                          </p:stCondLst>
                                        </p:cTn>
                                        <p:tgtEl>
                                          <p:spTgt spid="38"/>
                                        </p:tgtEl>
                                        <p:attrNameLst>
                                          <p:attrName>style.visibility</p:attrName>
                                        </p:attrNameLst>
                                      </p:cBhvr>
                                      <p:to>
                                        <p:strVal val="visible"/>
                                      </p:to>
                                    </p:set>
                                    <p:anim calcmode="lin" valueType="num">
                                      <p:cBhvr>
                                        <p:cTn id="30" dur="500" fill="hold"/>
                                        <p:tgtEl>
                                          <p:spTgt spid="38"/>
                                        </p:tgtEl>
                                        <p:attrNameLst>
                                          <p:attrName>ppt_w</p:attrName>
                                        </p:attrNameLst>
                                      </p:cBhvr>
                                      <p:tavLst>
                                        <p:tav tm="0">
                                          <p:val>
                                            <p:strVal val="4/3*#ppt_w"/>
                                          </p:val>
                                        </p:tav>
                                        <p:tav tm="100000">
                                          <p:val>
                                            <p:strVal val="#ppt_w"/>
                                          </p:val>
                                        </p:tav>
                                      </p:tavLst>
                                    </p:anim>
                                    <p:anim calcmode="lin" valueType="num">
                                      <p:cBhvr>
                                        <p:cTn id="31" dur="500" fill="hold"/>
                                        <p:tgtEl>
                                          <p:spTgt spid="38"/>
                                        </p:tgtEl>
                                        <p:attrNameLst>
                                          <p:attrName>ppt_h</p:attrName>
                                        </p:attrNameLst>
                                      </p:cBhvr>
                                      <p:tavLst>
                                        <p:tav tm="0">
                                          <p:val>
                                            <p:strVal val="4/3*#ppt_h"/>
                                          </p:val>
                                        </p:tav>
                                        <p:tav tm="100000">
                                          <p:val>
                                            <p:strVal val="#ppt_h"/>
                                          </p:val>
                                        </p:tav>
                                      </p:tavLst>
                                    </p:anim>
                                  </p:childTnLst>
                                </p:cTn>
                              </p:par>
                              <p:par>
                                <p:cTn id="32" presetID="53" presetClass="entr" presetSubtype="0" fill="hold" nodeType="withEffect">
                                  <p:stCondLst>
                                    <p:cond delay="1500"/>
                                  </p:stCondLst>
                                  <p:childTnLst>
                                    <p:set>
                                      <p:cBhvr>
                                        <p:cTn id="33" dur="1" fill="hold">
                                          <p:stCondLst>
                                            <p:cond delay="0"/>
                                          </p:stCondLst>
                                        </p:cTn>
                                        <p:tgtEl>
                                          <p:spTgt spid="95"/>
                                        </p:tgtEl>
                                        <p:attrNameLst>
                                          <p:attrName>style.visibility</p:attrName>
                                        </p:attrNameLst>
                                      </p:cBhvr>
                                      <p:to>
                                        <p:strVal val="visible"/>
                                      </p:to>
                                    </p:set>
                                    <p:anim calcmode="lin" valueType="num">
                                      <p:cBhvr>
                                        <p:cTn id="34" dur="500" fill="hold"/>
                                        <p:tgtEl>
                                          <p:spTgt spid="95"/>
                                        </p:tgtEl>
                                        <p:attrNameLst>
                                          <p:attrName>ppt_w</p:attrName>
                                        </p:attrNameLst>
                                      </p:cBhvr>
                                      <p:tavLst>
                                        <p:tav tm="0">
                                          <p:val>
                                            <p:fltVal val="0"/>
                                          </p:val>
                                        </p:tav>
                                        <p:tav tm="100000">
                                          <p:val>
                                            <p:strVal val="#ppt_w"/>
                                          </p:val>
                                        </p:tav>
                                      </p:tavLst>
                                    </p:anim>
                                    <p:anim calcmode="lin" valueType="num">
                                      <p:cBhvr>
                                        <p:cTn id="35" dur="500" fill="hold"/>
                                        <p:tgtEl>
                                          <p:spTgt spid="95"/>
                                        </p:tgtEl>
                                        <p:attrNameLst>
                                          <p:attrName>ppt_h</p:attrName>
                                        </p:attrNameLst>
                                      </p:cBhvr>
                                      <p:tavLst>
                                        <p:tav tm="0">
                                          <p:val>
                                            <p:fltVal val="0"/>
                                          </p:val>
                                        </p:tav>
                                        <p:tav tm="100000">
                                          <p:val>
                                            <p:strVal val="#ppt_h"/>
                                          </p:val>
                                        </p:tav>
                                      </p:tavLst>
                                    </p:anim>
                                    <p:animEffect transition="in" filter="fade">
                                      <p:cBhvr>
                                        <p:cTn id="36" dur="500"/>
                                        <p:tgtEl>
                                          <p:spTgt spid="95"/>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81"/>
                                        </p:tgtEl>
                                        <p:attrNameLst>
                                          <p:attrName>style.visibility</p:attrName>
                                        </p:attrNameLst>
                                      </p:cBhvr>
                                      <p:to>
                                        <p:strVal val="visible"/>
                                      </p:to>
                                    </p:set>
                                    <p:animEffect transition="in" filter="fade">
                                      <p:cBhvr>
                                        <p:cTn id="39" dur="500"/>
                                        <p:tgtEl>
                                          <p:spTgt spid="81"/>
                                        </p:tgtEl>
                                      </p:cBhvr>
                                    </p:animEffect>
                                  </p:childTnLst>
                                </p:cTn>
                              </p:par>
                              <p:par>
                                <p:cTn id="40" presetID="35" presetClass="path" presetSubtype="0" accel="17000" decel="83000" fill="hold" grpId="1" nodeType="withEffect">
                                  <p:stCondLst>
                                    <p:cond delay="1500"/>
                                  </p:stCondLst>
                                  <p:childTnLst>
                                    <p:animMotion origin="layout" path="M 0.02311 2.76889E-06 L -3.8737E-06 2.76889E-06" pathEditMode="relative" rAng="0" ptsTypes="AA">
                                      <p:cBhvr>
                                        <p:cTn id="41" dur="750" fill="hold"/>
                                        <p:tgtEl>
                                          <p:spTgt spid="81"/>
                                        </p:tgtEl>
                                        <p:attrNameLst>
                                          <p:attrName>ppt_x</p:attrName>
                                          <p:attrName>ppt_y</p:attrName>
                                        </p:attrNameLst>
                                      </p:cBhvr>
                                      <p:rCtr x="-1164" y="0"/>
                                    </p:animMotion>
                                  </p:childTnLst>
                                </p:cTn>
                              </p:par>
                              <p:par>
                                <p:cTn id="42" presetID="10" presetClass="entr" presetSubtype="0" fill="hold" nodeType="withEffect">
                                  <p:stCondLst>
                                    <p:cond delay="1750"/>
                                  </p:stCondLst>
                                  <p:childTnLst>
                                    <p:set>
                                      <p:cBhvr>
                                        <p:cTn id="43" dur="1" fill="hold">
                                          <p:stCondLst>
                                            <p:cond delay="0"/>
                                          </p:stCondLst>
                                        </p:cTn>
                                        <p:tgtEl>
                                          <p:spTgt spid="88"/>
                                        </p:tgtEl>
                                        <p:attrNameLst>
                                          <p:attrName>style.visibility</p:attrName>
                                        </p:attrNameLst>
                                      </p:cBhvr>
                                      <p:to>
                                        <p:strVal val="visible"/>
                                      </p:to>
                                    </p:set>
                                    <p:animEffect transition="in" filter="fade">
                                      <p:cBhvr>
                                        <p:cTn id="44" dur="500"/>
                                        <p:tgtEl>
                                          <p:spTgt spid="88"/>
                                        </p:tgtEl>
                                      </p:cBhvr>
                                    </p:animEffect>
                                  </p:childTnLst>
                                </p:cTn>
                              </p:par>
                              <p:par>
                                <p:cTn id="45" presetID="23" presetClass="entr" presetSubtype="288" fill="hold" nodeType="withEffect">
                                  <p:stCondLst>
                                    <p:cond delay="1750"/>
                                  </p:stCondLst>
                                  <p:childTnLst>
                                    <p:set>
                                      <p:cBhvr>
                                        <p:cTn id="46" dur="1" fill="hold">
                                          <p:stCondLst>
                                            <p:cond delay="0"/>
                                          </p:stCondLst>
                                        </p:cTn>
                                        <p:tgtEl>
                                          <p:spTgt spid="88"/>
                                        </p:tgtEl>
                                        <p:attrNameLst>
                                          <p:attrName>style.visibility</p:attrName>
                                        </p:attrNameLst>
                                      </p:cBhvr>
                                      <p:to>
                                        <p:strVal val="visible"/>
                                      </p:to>
                                    </p:set>
                                    <p:anim calcmode="lin" valueType="num">
                                      <p:cBhvr>
                                        <p:cTn id="47" dur="500" fill="hold"/>
                                        <p:tgtEl>
                                          <p:spTgt spid="88"/>
                                        </p:tgtEl>
                                        <p:attrNameLst>
                                          <p:attrName>ppt_w</p:attrName>
                                        </p:attrNameLst>
                                      </p:cBhvr>
                                      <p:tavLst>
                                        <p:tav tm="0">
                                          <p:val>
                                            <p:strVal val="4/3*#ppt_w"/>
                                          </p:val>
                                        </p:tav>
                                        <p:tav tm="100000">
                                          <p:val>
                                            <p:strVal val="#ppt_w"/>
                                          </p:val>
                                        </p:tav>
                                      </p:tavLst>
                                    </p:anim>
                                    <p:anim calcmode="lin" valueType="num">
                                      <p:cBhvr>
                                        <p:cTn id="48" dur="500" fill="hold"/>
                                        <p:tgtEl>
                                          <p:spTgt spid="88"/>
                                        </p:tgtEl>
                                        <p:attrNameLst>
                                          <p:attrName>ppt_h</p:attrName>
                                        </p:attrNameLst>
                                      </p:cBhvr>
                                      <p:tavLst>
                                        <p:tav tm="0">
                                          <p:val>
                                            <p:strVal val="4/3*#ppt_h"/>
                                          </p:val>
                                        </p:tav>
                                        <p:tav tm="100000">
                                          <p:val>
                                            <p:strVal val="#ppt_h"/>
                                          </p:val>
                                        </p:tav>
                                      </p:tavLst>
                                    </p:anim>
                                  </p:childTnLst>
                                </p:cTn>
                              </p:par>
                              <p:par>
                                <p:cTn id="49" presetID="10" presetClass="entr" presetSubtype="0" fill="hold" grpId="0" nodeType="withEffect">
                                  <p:stCondLst>
                                    <p:cond delay="2500"/>
                                  </p:stCondLst>
                                  <p:childTnLst>
                                    <p:set>
                                      <p:cBhvr>
                                        <p:cTn id="50" dur="1" fill="hold">
                                          <p:stCondLst>
                                            <p:cond delay="0"/>
                                          </p:stCondLst>
                                        </p:cTn>
                                        <p:tgtEl>
                                          <p:spTgt spid="10"/>
                                        </p:tgtEl>
                                        <p:attrNameLst>
                                          <p:attrName>style.visibility</p:attrName>
                                        </p:attrNameLst>
                                      </p:cBhvr>
                                      <p:to>
                                        <p:strVal val="visible"/>
                                      </p:to>
                                    </p:set>
                                    <p:animEffect transition="in" filter="fade">
                                      <p:cBhvr>
                                        <p:cTn id="51" dur="500"/>
                                        <p:tgtEl>
                                          <p:spTgt spid="10"/>
                                        </p:tgtEl>
                                      </p:cBhvr>
                                    </p:animEffect>
                                  </p:childTnLst>
                                </p:cTn>
                              </p:par>
                              <p:par>
                                <p:cTn id="52" presetID="35" presetClass="path" presetSubtype="0" accel="17000" decel="83000" fill="hold" grpId="1" nodeType="withEffect">
                                  <p:stCondLst>
                                    <p:cond delay="2500"/>
                                  </p:stCondLst>
                                  <p:childTnLst>
                                    <p:animMotion origin="layout" path="M -0.02275 1.48009E-6 L -6.79132E-7 1.48009E-6 " pathEditMode="relative" rAng="0" ptsTypes="AA">
                                      <p:cBhvr>
                                        <p:cTn id="53" dur="1100" fill="hold"/>
                                        <p:tgtEl>
                                          <p:spTgt spid="10"/>
                                        </p:tgtEl>
                                        <p:attrNameLst>
                                          <p:attrName>ppt_x</p:attrName>
                                          <p:attrName>ppt_y</p:attrName>
                                        </p:attrNameLst>
                                      </p:cBhvr>
                                      <p:rCtr x="1129" y="0"/>
                                    </p:animMotion>
                                  </p:childTnLst>
                                </p:cTn>
                              </p:par>
                              <p:par>
                                <p:cTn id="54" presetID="53" presetClass="entr" presetSubtype="16" fill="hold" nodeType="withEffect">
                                  <p:stCondLst>
                                    <p:cond delay="1750"/>
                                  </p:stCondLst>
                                  <p:childTnLst>
                                    <p:set>
                                      <p:cBhvr>
                                        <p:cTn id="55" dur="1" fill="hold">
                                          <p:stCondLst>
                                            <p:cond delay="0"/>
                                          </p:stCondLst>
                                        </p:cTn>
                                        <p:tgtEl>
                                          <p:spTgt spid="13"/>
                                        </p:tgtEl>
                                        <p:attrNameLst>
                                          <p:attrName>style.visibility</p:attrName>
                                        </p:attrNameLst>
                                      </p:cBhvr>
                                      <p:to>
                                        <p:strVal val="visible"/>
                                      </p:to>
                                    </p:set>
                                    <p:anim calcmode="lin" valueType="num">
                                      <p:cBhvr>
                                        <p:cTn id="56" dur="500" fill="hold"/>
                                        <p:tgtEl>
                                          <p:spTgt spid="13"/>
                                        </p:tgtEl>
                                        <p:attrNameLst>
                                          <p:attrName>ppt_w</p:attrName>
                                        </p:attrNameLst>
                                      </p:cBhvr>
                                      <p:tavLst>
                                        <p:tav tm="0">
                                          <p:val>
                                            <p:fltVal val="0"/>
                                          </p:val>
                                        </p:tav>
                                        <p:tav tm="100000">
                                          <p:val>
                                            <p:strVal val="#ppt_w"/>
                                          </p:val>
                                        </p:tav>
                                      </p:tavLst>
                                    </p:anim>
                                    <p:anim calcmode="lin" valueType="num">
                                      <p:cBhvr>
                                        <p:cTn id="57" dur="500" fill="hold"/>
                                        <p:tgtEl>
                                          <p:spTgt spid="13"/>
                                        </p:tgtEl>
                                        <p:attrNameLst>
                                          <p:attrName>ppt_h</p:attrName>
                                        </p:attrNameLst>
                                      </p:cBhvr>
                                      <p:tavLst>
                                        <p:tav tm="0">
                                          <p:val>
                                            <p:fltVal val="0"/>
                                          </p:val>
                                        </p:tav>
                                        <p:tav tm="100000">
                                          <p:val>
                                            <p:strVal val="#ppt_h"/>
                                          </p:val>
                                        </p:tav>
                                      </p:tavLst>
                                    </p:anim>
                                    <p:animEffect transition="in" filter="fade">
                                      <p:cBhvr>
                                        <p:cTn id="58"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1" grpId="0"/>
      <p:bldP spid="21" grpId="1"/>
      <p:bldP spid="34" grpId="0"/>
      <p:bldP spid="34" grpId="1"/>
      <p:bldP spid="81" grpId="0"/>
      <p:bldP spid="81" grpId="1"/>
      <p:bldP spid="59" grpId="0"/>
      <p:bldP spid="59" grpId="1"/>
      <p:bldP spid="10" grpId="0"/>
      <p:bldP spid="10"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E7FD7588-B1B7-08C1-97AC-DC0FD0AABCEE}"/>
              </a:ext>
            </a:extLst>
          </p:cNvPr>
          <p:cNvGraphicFramePr>
            <a:graphicFrameLocks noChangeAspect="1"/>
          </p:cNvGraphicFramePr>
          <p:nvPr>
            <p:custDataLst>
              <p:tags r:id="rId1"/>
            </p:custDataLst>
            <p:extLst>
              <p:ext uri="{D42A27DB-BD31-4B8C-83A1-F6EECF244321}">
                <p14:modId xmlns:p14="http://schemas.microsoft.com/office/powerpoint/2010/main" val="2445892110"/>
              </p:ext>
            </p:ext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48" imgW="0" imgH="0" progId="TCLayout.ActiveDocument.1">
                  <p:embed/>
                </p:oleObj>
              </mc:Choice>
              <mc:Fallback>
                <p:oleObj name="Slide do think-cell" r:id="rId48" imgW="0" imgH="0" progId="TCLayout.ActiveDocument.1">
                  <p:embed/>
                  <p:pic>
                    <p:nvPicPr>
                      <p:cNvPr id="0" name=""/>
                      <p:cNvPicPr/>
                      <p:nvPr/>
                    </p:nvPicPr>
                    <p:blipFill>
                      <a:blip r:embed="rId49"/>
                      <a:stretch>
                        <a:fillRect/>
                      </a:stretch>
                    </p:blipFill>
                    <p:spPr>
                      <a:xfrm>
                        <a:off x="1173" y="1321"/>
                        <a:ext cx="1172" cy="1172"/>
                      </a:xfrm>
                      <a:prstGeom prst="rect">
                        <a:avLst/>
                      </a:prstGeom>
                    </p:spPr>
                  </p:pic>
                </p:oleObj>
              </mc:Fallback>
            </mc:AlternateContent>
          </a:graphicData>
        </a:graphic>
      </p:graphicFrame>
      <p:pic>
        <p:nvPicPr>
          <p:cNvPr id="14" name="Imagem 13" descr="Imagem em branco e azul&#10;&#10;Descrição gerada automaticamente com confiança média">
            <a:extLst>
              <a:ext uri="{FF2B5EF4-FFF2-40B4-BE49-F238E27FC236}">
                <a16:creationId xmlns:a16="http://schemas.microsoft.com/office/drawing/2014/main" id="{84E7ACA5-E012-5A58-55D0-040BFCCDB3B7}"/>
              </a:ext>
            </a:extLst>
          </p:cNvPr>
          <p:cNvPicPr>
            <a:picLocks noChangeAspect="1"/>
          </p:cNvPicPr>
          <p:nvPr>
            <p:custDataLst>
              <p:tags r:id="rId2"/>
            </p:custDataLst>
          </p:nvPr>
        </p:nvPicPr>
        <p:blipFill>
          <a:blip r:embed="rId50">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5" name="Imagem 4" descr="Uma imagem contendo mesa, computador, teclado, pedaço&#10;&#10;Descrição gerada automaticamente">
            <a:extLst>
              <a:ext uri="{FF2B5EF4-FFF2-40B4-BE49-F238E27FC236}">
                <a16:creationId xmlns:a16="http://schemas.microsoft.com/office/drawing/2014/main" id="{D9D1A61C-EF4A-A17D-89AD-CB1B5955ECCF}"/>
              </a:ext>
            </a:extLst>
          </p:cNvPr>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0" y="393878"/>
            <a:ext cx="8999538" cy="4668511"/>
          </a:xfrm>
          <a:prstGeom prst="rect">
            <a:avLst/>
          </a:prstGeom>
        </p:spPr>
      </p:pic>
      <p:sp>
        <p:nvSpPr>
          <p:cNvPr id="6" name="Retângulo: Cantos Arredondados 5">
            <a:extLst>
              <a:ext uri="{FF2B5EF4-FFF2-40B4-BE49-F238E27FC236}">
                <a16:creationId xmlns:a16="http://schemas.microsoft.com/office/drawing/2014/main" id="{14FFE6F6-37E6-D453-6B02-1A4014CEFA60}"/>
              </a:ext>
            </a:extLst>
          </p:cNvPr>
          <p:cNvSpPr/>
          <p:nvPr/>
        </p:nvSpPr>
        <p:spPr>
          <a:xfrm rot="5400000">
            <a:off x="2732539" y="-803107"/>
            <a:ext cx="3534456" cy="8058149"/>
          </a:xfrm>
          <a:prstGeom prst="roundRect">
            <a:avLst>
              <a:gd name="adj" fmla="val 6988"/>
            </a:avLst>
          </a:prstGeom>
          <a:gradFill>
            <a:gsLst>
              <a:gs pos="0">
                <a:schemeClr val="bg1">
                  <a:alpha val="0"/>
                </a:schemeClr>
              </a:gs>
              <a:gs pos="34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pt-BR" sz="1329" b="0" i="0" u="none" strike="noStrike" kern="1200" cap="none" spc="0" normalizeH="0" baseline="0" noProof="0">
              <a:ln>
                <a:noFill/>
              </a:ln>
              <a:solidFill>
                <a:prstClr val="white"/>
              </a:solidFill>
              <a:effectLst/>
              <a:uLnTx/>
              <a:uFillTx/>
              <a:latin typeface="Segoe UI" panose="020B0502040204020203" pitchFamily="34" charset="0"/>
              <a:cs typeface="Segoe UI" panose="020B0502040204020203" pitchFamily="34" charset="0"/>
            </a:endParaRPr>
          </a:p>
        </p:txBody>
      </p:sp>
      <p:pic>
        <p:nvPicPr>
          <p:cNvPr id="22" name="Imagem 21" descr="Fundo preto com letras brancas&#10;&#10;Descrição gerada automaticamente com confiança média">
            <a:extLst>
              <a:ext uri="{FF2B5EF4-FFF2-40B4-BE49-F238E27FC236}">
                <a16:creationId xmlns:a16="http://schemas.microsoft.com/office/drawing/2014/main" id="{99E9BD82-3B0B-3B80-6E2F-41B86EF194A8}"/>
              </a:ext>
            </a:extLst>
          </p:cNvPr>
          <p:cNvPicPr>
            <a:picLocks noChangeAspect="1"/>
          </p:cNvPicPr>
          <p:nvPr>
            <p:custDataLst>
              <p:tags r:id="rId3"/>
            </p:custDataLst>
          </p:nvPr>
        </p:nvPicPr>
        <p:blipFill>
          <a:blip r:embed="rId52">
            <a:extLst>
              <a:ext uri="{28A0092B-C50C-407E-A947-70E740481C1C}">
                <a14:useLocalDpi xmlns:a14="http://schemas.microsoft.com/office/drawing/2010/main"/>
              </a:ext>
            </a:extLst>
          </a:blip>
          <a:srcRect l="1" t="53816" r="49890"/>
          <a:stretch>
            <a:fillRect/>
          </a:stretch>
        </p:blipFill>
        <p:spPr>
          <a:xfrm>
            <a:off x="5146535" y="0"/>
            <a:ext cx="3853003" cy="3568730"/>
          </a:xfrm>
          <a:prstGeom prst="rect">
            <a:avLst/>
          </a:prstGeom>
        </p:spPr>
      </p:pic>
      <p:sp>
        <p:nvSpPr>
          <p:cNvPr id="32" name="CaixaDeTexto 31">
            <a:extLst>
              <a:ext uri="{FF2B5EF4-FFF2-40B4-BE49-F238E27FC236}">
                <a16:creationId xmlns:a16="http://schemas.microsoft.com/office/drawing/2014/main" id="{D03A252A-340C-4A87-321F-338D0D60109C}"/>
              </a:ext>
            </a:extLst>
          </p:cNvPr>
          <p:cNvSpPr txBox="1"/>
          <p:nvPr>
            <p:custDataLst>
              <p:tags r:id="rId4"/>
            </p:custDataLst>
          </p:nvPr>
        </p:nvSpPr>
        <p:spPr>
          <a:xfrm>
            <a:off x="3011434" y="315390"/>
            <a:ext cx="2979649" cy="61555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defRPr/>
            </a:pPr>
            <a:r>
              <a:rPr lang="en-US" sz="2000" b="0" i="0" u="none" strike="noStrike" cap="none" spc="600" baseline="0">
                <a:solidFill>
                  <a:srgbClr val="002581"/>
                </a:solidFill>
                <a:effectLst/>
                <a:uFillTx/>
                <a:latin typeface="Segoe UI Light"/>
              </a:rPr>
              <a:t>FIXED COSTS AND EXPENSES</a:t>
            </a:r>
            <a:endParaRPr lang="en-US" sz="2000" b="0" i="0" u="none" strike="noStrike" cap="none" spc="600" baseline="0" dirty="0">
              <a:solidFill>
                <a:srgbClr val="002581"/>
              </a:solidFill>
              <a:effectLst/>
              <a:uFillTx/>
              <a:latin typeface="Segoe UI Light"/>
            </a:endParaRPr>
          </a:p>
        </p:txBody>
      </p:sp>
      <p:sp>
        <p:nvSpPr>
          <p:cNvPr id="35" name="CaixaDeTexto 34">
            <a:extLst>
              <a:ext uri="{FF2B5EF4-FFF2-40B4-BE49-F238E27FC236}">
                <a16:creationId xmlns:a16="http://schemas.microsoft.com/office/drawing/2014/main" id="{008BF968-89CC-A8A2-ECDB-651C8FE1056C}"/>
              </a:ext>
            </a:extLst>
          </p:cNvPr>
          <p:cNvSpPr txBox="1"/>
          <p:nvPr>
            <p:custDataLst>
              <p:tags r:id="rId5"/>
            </p:custDataLst>
          </p:nvPr>
        </p:nvSpPr>
        <p:spPr>
          <a:xfrm>
            <a:off x="1919357" y="878666"/>
            <a:ext cx="5166686" cy="402738"/>
          </a:xfrm>
          <a:prstGeom prst="rect">
            <a:avLst/>
          </a:prstGeom>
          <a:noFill/>
        </p:spPr>
        <p:txBody>
          <a:bodyPr wrap="square" rtlCol="0">
            <a:spAutoFit/>
          </a:bodyPr>
          <a:lstStyle/>
          <a:p>
            <a:pPr lvl="0" algn="ctr" defTabSz="675010">
              <a:lnSpc>
                <a:spcPct val="85000"/>
              </a:lnSpc>
              <a:spcBef>
                <a:spcPts val="148"/>
              </a:spcBef>
              <a:spcAft>
                <a:spcPts val="148"/>
              </a:spcAft>
              <a:defRPr/>
            </a:pPr>
            <a:r>
              <a:rPr lang="en-US" sz="2400" b="1" i="0" u="none" strike="noStrike" cap="none" baseline="0">
                <a:solidFill>
                  <a:srgbClr val="002581"/>
                </a:solidFill>
                <a:effectLst/>
                <a:uFillTx/>
                <a:latin typeface="Segoe UI Black"/>
              </a:rPr>
              <a:t>CONTROLLED EVOLUTION</a:t>
            </a:r>
            <a:endParaRPr lang="en-US" sz="2400" b="1" i="0" u="none" strike="noStrike" cap="none" baseline="0" dirty="0">
              <a:solidFill>
                <a:srgbClr val="002581"/>
              </a:solidFill>
              <a:effectLst/>
              <a:uFillTx/>
              <a:latin typeface="Segoe UI Black"/>
            </a:endParaRPr>
          </a:p>
        </p:txBody>
      </p:sp>
      <p:grpSp>
        <p:nvGrpSpPr>
          <p:cNvPr id="36" name="Agrupar 35">
            <a:extLst>
              <a:ext uri="{FF2B5EF4-FFF2-40B4-BE49-F238E27FC236}">
                <a16:creationId xmlns:a16="http://schemas.microsoft.com/office/drawing/2014/main" id="{A7F201D2-4558-50ED-B315-6DB5E69B0176}"/>
              </a:ext>
            </a:extLst>
          </p:cNvPr>
          <p:cNvGrpSpPr/>
          <p:nvPr>
            <p:custDataLst>
              <p:tags r:id="rId6"/>
            </p:custDataLst>
          </p:nvPr>
        </p:nvGrpSpPr>
        <p:grpSpPr>
          <a:xfrm>
            <a:off x="639442" y="1356858"/>
            <a:ext cx="2655383" cy="290515"/>
            <a:chOff x="3212028" y="191775"/>
            <a:chExt cx="677191" cy="383032"/>
          </a:xfrm>
        </p:grpSpPr>
        <p:sp>
          <p:nvSpPr>
            <p:cNvPr id="37" name="Retângulo: Cantos Arredondados 36">
              <a:extLst>
                <a:ext uri="{FF2B5EF4-FFF2-40B4-BE49-F238E27FC236}">
                  <a16:creationId xmlns:a16="http://schemas.microsoft.com/office/drawing/2014/main" id="{CDA77015-70F3-6F9F-F66F-172BEBE698AC}"/>
                </a:ext>
              </a:extLst>
            </p:cNvPr>
            <p:cNvSpPr/>
            <p:nvPr>
              <p:custDataLst>
                <p:tags r:id="rId44"/>
              </p:custDataLst>
            </p:nvPr>
          </p:nvSpPr>
          <p:spPr>
            <a:xfrm>
              <a:off x="3212028" y="191775"/>
              <a:ext cx="662484" cy="33940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schemeClr val="bg1"/>
                </a:solidFill>
                <a:latin typeface="Calibri" panose="020F0502020204030204"/>
              </a:endParaRPr>
            </a:p>
          </p:txBody>
        </p:sp>
        <p:sp>
          <p:nvSpPr>
            <p:cNvPr id="38" name="CaixaDeTexto 37">
              <a:extLst>
                <a:ext uri="{FF2B5EF4-FFF2-40B4-BE49-F238E27FC236}">
                  <a16:creationId xmlns:a16="http://schemas.microsoft.com/office/drawing/2014/main" id="{A19C0777-665D-2905-904A-CA0616E863B9}"/>
                </a:ext>
              </a:extLst>
            </p:cNvPr>
            <p:cNvSpPr txBox="1"/>
            <p:nvPr>
              <p:custDataLst>
                <p:tags r:id="rId45"/>
              </p:custDataLst>
            </p:nvPr>
          </p:nvSpPr>
          <p:spPr>
            <a:xfrm>
              <a:off x="3264634" y="193364"/>
              <a:ext cx="624585" cy="381443"/>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defTabSz="234364" rtl="0" eaLnBrk="1" fontAlgn="auto" latinLnBrk="0" hangingPunct="1">
                <a:lnSpc>
                  <a:spcPct val="80000"/>
                </a:lnSpc>
                <a:spcBef>
                  <a:spcPct val="0"/>
                </a:spcBef>
                <a:spcAft>
                  <a:spcPct val="0"/>
                </a:spcAft>
                <a:buClrTx/>
                <a:buSzTx/>
                <a:buFontTx/>
                <a:buNone/>
                <a:defRPr/>
              </a:pPr>
              <a:r>
                <a:rPr lang="en-US" sz="1600" b="1" i="0" u="none" strike="noStrike" cap="none" spc="0" baseline="0" dirty="0">
                  <a:solidFill>
                    <a:srgbClr val="FFFFFF"/>
                  </a:solidFill>
                  <a:effectLst/>
                  <a:uFillTx/>
                  <a:latin typeface="Segoe UI"/>
                </a:rPr>
                <a:t>Operating efficiency</a:t>
              </a:r>
            </a:p>
          </p:txBody>
        </p:sp>
      </p:grpSp>
      <p:grpSp>
        <p:nvGrpSpPr>
          <p:cNvPr id="55" name="Agrupar 54">
            <a:extLst>
              <a:ext uri="{FF2B5EF4-FFF2-40B4-BE49-F238E27FC236}">
                <a16:creationId xmlns:a16="http://schemas.microsoft.com/office/drawing/2014/main" id="{39099175-FC10-BDC3-35FB-79C11A331918}"/>
              </a:ext>
            </a:extLst>
          </p:cNvPr>
          <p:cNvGrpSpPr/>
          <p:nvPr>
            <p:custDataLst>
              <p:tags r:id="rId7"/>
            </p:custDataLst>
          </p:nvPr>
        </p:nvGrpSpPr>
        <p:grpSpPr>
          <a:xfrm>
            <a:off x="243813" y="1201854"/>
            <a:ext cx="551247" cy="551247"/>
            <a:chOff x="243813" y="967541"/>
            <a:chExt cx="551247" cy="551247"/>
          </a:xfrm>
        </p:grpSpPr>
        <p:sp>
          <p:nvSpPr>
            <p:cNvPr id="40" name="Elipse 39">
              <a:extLst>
                <a:ext uri="{FF2B5EF4-FFF2-40B4-BE49-F238E27FC236}">
                  <a16:creationId xmlns:a16="http://schemas.microsoft.com/office/drawing/2014/main" id="{F5E656EA-880C-87CC-C030-4D945B737AD9}"/>
                </a:ext>
              </a:extLst>
            </p:cNvPr>
            <p:cNvSpPr/>
            <p:nvPr>
              <p:custDataLst>
                <p:tags r:id="rId38"/>
              </p:custDataLst>
            </p:nvPr>
          </p:nvSpPr>
          <p:spPr>
            <a:xfrm>
              <a:off x="243813" y="967541"/>
              <a:ext cx="551247" cy="551247"/>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Calibri" panose="020F0502020204030204"/>
              </a:endParaRPr>
            </a:p>
          </p:txBody>
        </p:sp>
        <p:grpSp>
          <p:nvGrpSpPr>
            <p:cNvPr id="54" name="Agrupar 53">
              <a:extLst>
                <a:ext uri="{FF2B5EF4-FFF2-40B4-BE49-F238E27FC236}">
                  <a16:creationId xmlns:a16="http://schemas.microsoft.com/office/drawing/2014/main" id="{C36AA3C4-8246-8A0E-1110-1E07704E3CD1}"/>
                </a:ext>
              </a:extLst>
            </p:cNvPr>
            <p:cNvGrpSpPr/>
            <p:nvPr>
              <p:custDataLst>
                <p:tags r:id="rId39"/>
              </p:custDataLst>
            </p:nvPr>
          </p:nvGrpSpPr>
          <p:grpSpPr>
            <a:xfrm>
              <a:off x="344220" y="1065900"/>
              <a:ext cx="345710" cy="359005"/>
              <a:chOff x="-635472" y="2108885"/>
              <a:chExt cx="495302" cy="514350"/>
            </a:xfrm>
            <a:solidFill>
              <a:srgbClr val="00FFFF"/>
            </a:solidFill>
          </p:grpSpPr>
          <p:sp>
            <p:nvSpPr>
              <p:cNvPr id="48" name="Forma Livre: Forma 47">
                <a:extLst>
                  <a:ext uri="{FF2B5EF4-FFF2-40B4-BE49-F238E27FC236}">
                    <a16:creationId xmlns:a16="http://schemas.microsoft.com/office/drawing/2014/main" id="{14906E19-C916-0957-23CA-ACBA7E90C5FF}"/>
                  </a:ext>
                </a:extLst>
              </p:cNvPr>
              <p:cNvSpPr/>
              <p:nvPr>
                <p:custDataLst>
                  <p:tags r:id="rId40"/>
                </p:custDataLst>
              </p:nvPr>
            </p:nvSpPr>
            <p:spPr>
              <a:xfrm>
                <a:off x="-268752" y="2394643"/>
                <a:ext cx="47583" cy="76048"/>
              </a:xfrm>
              <a:custGeom>
                <a:avLst/>
                <a:gdLst>
                  <a:gd name="connsiteX0" fmla="*/ 28826 w 47583"/>
                  <a:gd name="connsiteY0" fmla="*/ 7158 h 76048"/>
                  <a:gd name="connsiteX1" fmla="*/ 2088 w 47583"/>
                  <a:gd name="connsiteY1" fmla="*/ 60566 h 76048"/>
                  <a:gd name="connsiteX2" fmla="*/ 3578 w 47583"/>
                  <a:gd name="connsiteY2" fmla="*/ 73960 h 76048"/>
                  <a:gd name="connsiteX3" fmla="*/ 16956 w 47583"/>
                  <a:gd name="connsiteY3" fmla="*/ 72470 h 76048"/>
                  <a:gd name="connsiteX4" fmla="*/ 47283 w 47583"/>
                  <a:gd name="connsiteY4" fmla="*/ 11899 h 76048"/>
                  <a:gd name="connsiteX5" fmla="*/ 40425 w 47583"/>
                  <a:gd name="connsiteY5" fmla="*/ 300 h 76048"/>
                  <a:gd name="connsiteX6" fmla="*/ 28826 w 47583"/>
                  <a:gd name="connsiteY6" fmla="*/ 7158 h 7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583" h="76048">
                    <a:moveTo>
                      <a:pt x="28826" y="7158"/>
                    </a:moveTo>
                    <a:cubicBezTo>
                      <a:pt x="23729" y="26936"/>
                      <a:pt x="14484" y="45072"/>
                      <a:pt x="2088" y="60566"/>
                    </a:cubicBezTo>
                    <a:cubicBezTo>
                      <a:pt x="-1197" y="64681"/>
                      <a:pt x="-536" y="70675"/>
                      <a:pt x="3578" y="73960"/>
                    </a:cubicBezTo>
                    <a:cubicBezTo>
                      <a:pt x="7676" y="77245"/>
                      <a:pt x="13688" y="76585"/>
                      <a:pt x="16956" y="72470"/>
                    </a:cubicBezTo>
                    <a:cubicBezTo>
                      <a:pt x="31027" y="54893"/>
                      <a:pt x="41492" y="34336"/>
                      <a:pt x="47283" y="11899"/>
                    </a:cubicBezTo>
                    <a:cubicBezTo>
                      <a:pt x="48587" y="6819"/>
                      <a:pt x="45522" y="1621"/>
                      <a:pt x="40425" y="300"/>
                    </a:cubicBezTo>
                    <a:cubicBezTo>
                      <a:pt x="35345" y="-1004"/>
                      <a:pt x="30147" y="2061"/>
                      <a:pt x="28826" y="7158"/>
                    </a:cubicBezTo>
                    <a:close/>
                  </a:path>
                </a:pathLst>
              </a:custGeom>
              <a:grpFill/>
              <a:ln w="16933" cap="flat">
                <a:noFill/>
                <a:prstDash val="solid"/>
                <a:round/>
              </a:ln>
            </p:spPr>
            <p:txBody>
              <a:bodyPr rtlCol="0" anchor="ctr"/>
              <a:lstStyle/>
              <a:p>
                <a:endParaRPr lang="pt-BR" dirty="0"/>
              </a:p>
            </p:txBody>
          </p:sp>
          <p:sp>
            <p:nvSpPr>
              <p:cNvPr id="49" name="Forma Livre: Forma 48">
                <a:extLst>
                  <a:ext uri="{FF2B5EF4-FFF2-40B4-BE49-F238E27FC236}">
                    <a16:creationId xmlns:a16="http://schemas.microsoft.com/office/drawing/2014/main" id="{676324AE-1A86-9A18-8AB0-382C57F08505}"/>
                  </a:ext>
                </a:extLst>
              </p:cNvPr>
              <p:cNvSpPr/>
              <p:nvPr>
                <p:custDataLst>
                  <p:tags r:id="rId41"/>
                </p:custDataLst>
              </p:nvPr>
            </p:nvSpPr>
            <p:spPr>
              <a:xfrm>
                <a:off x="-635472" y="2108885"/>
                <a:ext cx="495302" cy="514350"/>
              </a:xfrm>
              <a:custGeom>
                <a:avLst/>
                <a:gdLst>
                  <a:gd name="connsiteX0" fmla="*/ 266702 w 495302"/>
                  <a:gd name="connsiteY0" fmla="*/ 123882 h 514350"/>
                  <a:gd name="connsiteX1" fmla="*/ 257177 w 495302"/>
                  <a:gd name="connsiteY1" fmla="*/ 133350 h 514350"/>
                  <a:gd name="connsiteX2" fmla="*/ 133352 w 495302"/>
                  <a:gd name="connsiteY2" fmla="*/ 257175 h 514350"/>
                  <a:gd name="connsiteX3" fmla="*/ 257177 w 495302"/>
                  <a:gd name="connsiteY3" fmla="*/ 381000 h 514350"/>
                  <a:gd name="connsiteX4" fmla="*/ 266702 w 495302"/>
                  <a:gd name="connsiteY4" fmla="*/ 390525 h 514350"/>
                  <a:gd name="connsiteX5" fmla="*/ 266702 w 495302"/>
                  <a:gd name="connsiteY5" fmla="*/ 504825 h 514350"/>
                  <a:gd name="connsiteX6" fmla="*/ 257177 w 495302"/>
                  <a:gd name="connsiteY6" fmla="*/ 514350 h 514350"/>
                  <a:gd name="connsiteX7" fmla="*/ 216944 w 495302"/>
                  <a:gd name="connsiteY7" fmla="*/ 511188 h 514350"/>
                  <a:gd name="connsiteX8" fmla="*/ 209219 w 495302"/>
                  <a:gd name="connsiteY8" fmla="*/ 504177 h 514350"/>
                  <a:gd name="connsiteX9" fmla="*/ 200237 w 495302"/>
                  <a:gd name="connsiteY9" fmla="*/ 469706 h 514350"/>
                  <a:gd name="connsiteX10" fmla="*/ 147164 w 495302"/>
                  <a:gd name="connsiteY10" fmla="*/ 447723 h 514350"/>
                  <a:gd name="connsiteX11" fmla="*/ 116436 w 495302"/>
                  <a:gd name="connsiteY11" fmla="*/ 465744 h 514350"/>
                  <a:gd name="connsiteX12" fmla="*/ 106016 w 495302"/>
                  <a:gd name="connsiteY12" fmla="*/ 465230 h 514350"/>
                  <a:gd name="connsiteX13" fmla="*/ 49123 w 495302"/>
                  <a:gd name="connsiteY13" fmla="*/ 408337 h 514350"/>
                  <a:gd name="connsiteX14" fmla="*/ 48608 w 495302"/>
                  <a:gd name="connsiteY14" fmla="*/ 397916 h 514350"/>
                  <a:gd name="connsiteX15" fmla="*/ 66630 w 495302"/>
                  <a:gd name="connsiteY15" fmla="*/ 367189 h 514350"/>
                  <a:gd name="connsiteX16" fmla="*/ 44646 w 495302"/>
                  <a:gd name="connsiteY16" fmla="*/ 314115 h 514350"/>
                  <a:gd name="connsiteX17" fmla="*/ 10175 w 495302"/>
                  <a:gd name="connsiteY17" fmla="*/ 305133 h 514350"/>
                  <a:gd name="connsiteX18" fmla="*/ 3165 w 495302"/>
                  <a:gd name="connsiteY18" fmla="*/ 297409 h 514350"/>
                  <a:gd name="connsiteX19" fmla="*/ 3165 w 495302"/>
                  <a:gd name="connsiteY19" fmla="*/ 216941 h 514350"/>
                  <a:gd name="connsiteX20" fmla="*/ 10175 w 495302"/>
                  <a:gd name="connsiteY20" fmla="*/ 209217 h 514350"/>
                  <a:gd name="connsiteX21" fmla="*/ 44646 w 495302"/>
                  <a:gd name="connsiteY21" fmla="*/ 200235 h 514350"/>
                  <a:gd name="connsiteX22" fmla="*/ 66630 w 495302"/>
                  <a:gd name="connsiteY22" fmla="*/ 147161 h 514350"/>
                  <a:gd name="connsiteX23" fmla="*/ 48608 w 495302"/>
                  <a:gd name="connsiteY23" fmla="*/ 116434 h 514350"/>
                  <a:gd name="connsiteX24" fmla="*/ 49123 w 495302"/>
                  <a:gd name="connsiteY24" fmla="*/ 106013 h 514350"/>
                  <a:gd name="connsiteX25" fmla="*/ 106016 w 495302"/>
                  <a:gd name="connsiteY25" fmla="*/ 49120 h 514350"/>
                  <a:gd name="connsiteX26" fmla="*/ 116436 w 495302"/>
                  <a:gd name="connsiteY26" fmla="*/ 48606 h 514350"/>
                  <a:gd name="connsiteX27" fmla="*/ 147164 w 495302"/>
                  <a:gd name="connsiteY27" fmla="*/ 66627 h 514350"/>
                  <a:gd name="connsiteX28" fmla="*/ 200237 w 495302"/>
                  <a:gd name="connsiteY28" fmla="*/ 44644 h 514350"/>
                  <a:gd name="connsiteX29" fmla="*/ 209219 w 495302"/>
                  <a:gd name="connsiteY29" fmla="*/ 10173 h 514350"/>
                  <a:gd name="connsiteX30" fmla="*/ 216944 w 495302"/>
                  <a:gd name="connsiteY30" fmla="*/ 3162 h 514350"/>
                  <a:gd name="connsiteX31" fmla="*/ 257177 w 495302"/>
                  <a:gd name="connsiteY31" fmla="*/ 0 h 514350"/>
                  <a:gd name="connsiteX32" fmla="*/ 266702 w 495302"/>
                  <a:gd name="connsiteY32" fmla="*/ 9525 h 514350"/>
                  <a:gd name="connsiteX33" fmla="*/ 266702 w 495302"/>
                  <a:gd name="connsiteY33" fmla="*/ 123825 h 514350"/>
                  <a:gd name="connsiteX34" fmla="*/ 285752 w 495302"/>
                  <a:gd name="connsiteY34" fmla="*/ 20755 h 514350"/>
                  <a:gd name="connsiteX35" fmla="*/ 495302 w 495302"/>
                  <a:gd name="connsiteY35" fmla="*/ 257175 h 514350"/>
                  <a:gd name="connsiteX36" fmla="*/ 285752 w 495302"/>
                  <a:gd name="connsiteY36" fmla="*/ 493595 h 514350"/>
                  <a:gd name="connsiteX37" fmla="*/ 285752 w 495302"/>
                  <a:gd name="connsiteY37" fmla="*/ 435902 h 514350"/>
                  <a:gd name="connsiteX38" fmla="*/ 438152 w 495302"/>
                  <a:gd name="connsiteY38" fmla="*/ 257175 h 514350"/>
                  <a:gd name="connsiteX39" fmla="*/ 285752 w 495302"/>
                  <a:gd name="connsiteY39" fmla="*/ 78448 h 51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95302" h="514350">
                    <a:moveTo>
                      <a:pt x="266702" y="123882"/>
                    </a:moveTo>
                    <a:cubicBezTo>
                      <a:pt x="266674" y="129121"/>
                      <a:pt x="262416" y="133350"/>
                      <a:pt x="257177" y="133350"/>
                    </a:cubicBezTo>
                    <a:cubicBezTo>
                      <a:pt x="188836" y="133350"/>
                      <a:pt x="133352" y="188833"/>
                      <a:pt x="133352" y="257175"/>
                    </a:cubicBezTo>
                    <a:cubicBezTo>
                      <a:pt x="133352" y="325517"/>
                      <a:pt x="188836" y="381000"/>
                      <a:pt x="257177" y="381000"/>
                    </a:cubicBezTo>
                    <a:cubicBezTo>
                      <a:pt x="262435" y="381000"/>
                      <a:pt x="266702" y="385267"/>
                      <a:pt x="266702" y="390525"/>
                    </a:cubicBezTo>
                    <a:lnTo>
                      <a:pt x="266702" y="504825"/>
                    </a:lnTo>
                    <a:cubicBezTo>
                      <a:pt x="266702" y="510083"/>
                      <a:pt x="262435" y="514350"/>
                      <a:pt x="257177" y="514350"/>
                    </a:cubicBezTo>
                    <a:cubicBezTo>
                      <a:pt x="243728" y="514350"/>
                      <a:pt x="230269" y="513293"/>
                      <a:pt x="216944" y="511188"/>
                    </a:cubicBezTo>
                    <a:cubicBezTo>
                      <a:pt x="213210" y="510588"/>
                      <a:pt x="210172" y="507844"/>
                      <a:pt x="209219" y="504177"/>
                    </a:cubicBezTo>
                    <a:lnTo>
                      <a:pt x="200237" y="469706"/>
                    </a:lnTo>
                    <a:cubicBezTo>
                      <a:pt x="181654" y="464725"/>
                      <a:pt x="163813" y="457333"/>
                      <a:pt x="147164" y="447723"/>
                    </a:cubicBezTo>
                    <a:lnTo>
                      <a:pt x="116436" y="465744"/>
                    </a:lnTo>
                    <a:cubicBezTo>
                      <a:pt x="113169" y="467658"/>
                      <a:pt x="109073" y="467458"/>
                      <a:pt x="106016" y="465230"/>
                    </a:cubicBezTo>
                    <a:cubicBezTo>
                      <a:pt x="84184" y="449370"/>
                      <a:pt x="64982" y="430168"/>
                      <a:pt x="49123" y="408337"/>
                    </a:cubicBezTo>
                    <a:cubicBezTo>
                      <a:pt x="46894" y="405279"/>
                      <a:pt x="46694" y="401183"/>
                      <a:pt x="48608" y="397916"/>
                    </a:cubicBezTo>
                    <a:lnTo>
                      <a:pt x="66630" y="367189"/>
                    </a:lnTo>
                    <a:cubicBezTo>
                      <a:pt x="57010" y="350539"/>
                      <a:pt x="49618" y="332689"/>
                      <a:pt x="44646" y="314115"/>
                    </a:cubicBezTo>
                    <a:lnTo>
                      <a:pt x="10175" y="305133"/>
                    </a:lnTo>
                    <a:cubicBezTo>
                      <a:pt x="6508" y="304181"/>
                      <a:pt x="3765" y="301142"/>
                      <a:pt x="3165" y="297409"/>
                    </a:cubicBezTo>
                    <a:cubicBezTo>
                      <a:pt x="-1055" y="270748"/>
                      <a:pt x="-1055" y="243602"/>
                      <a:pt x="3165" y="216941"/>
                    </a:cubicBezTo>
                    <a:cubicBezTo>
                      <a:pt x="3765" y="213208"/>
                      <a:pt x="6508" y="210169"/>
                      <a:pt x="10175" y="209217"/>
                    </a:cubicBezTo>
                    <a:lnTo>
                      <a:pt x="44646" y="200235"/>
                    </a:lnTo>
                    <a:cubicBezTo>
                      <a:pt x="49628" y="181651"/>
                      <a:pt x="57019" y="163811"/>
                      <a:pt x="66630" y="147161"/>
                    </a:cubicBezTo>
                    <a:lnTo>
                      <a:pt x="48608" y="116434"/>
                    </a:lnTo>
                    <a:cubicBezTo>
                      <a:pt x="46694" y="113167"/>
                      <a:pt x="46894" y="109071"/>
                      <a:pt x="49123" y="106013"/>
                    </a:cubicBezTo>
                    <a:cubicBezTo>
                      <a:pt x="64982" y="84182"/>
                      <a:pt x="84184" y="64980"/>
                      <a:pt x="106016" y="49120"/>
                    </a:cubicBezTo>
                    <a:cubicBezTo>
                      <a:pt x="109073" y="46892"/>
                      <a:pt x="113169" y="46692"/>
                      <a:pt x="116436" y="48606"/>
                    </a:cubicBezTo>
                    <a:lnTo>
                      <a:pt x="147164" y="66627"/>
                    </a:lnTo>
                    <a:cubicBezTo>
                      <a:pt x="163813" y="57007"/>
                      <a:pt x="181663" y="49616"/>
                      <a:pt x="200237" y="44644"/>
                    </a:cubicBezTo>
                    <a:lnTo>
                      <a:pt x="209219" y="10173"/>
                    </a:lnTo>
                    <a:cubicBezTo>
                      <a:pt x="210172" y="6506"/>
                      <a:pt x="213210" y="3762"/>
                      <a:pt x="216944" y="3162"/>
                    </a:cubicBezTo>
                    <a:cubicBezTo>
                      <a:pt x="230269" y="1057"/>
                      <a:pt x="243728" y="0"/>
                      <a:pt x="257177" y="0"/>
                    </a:cubicBezTo>
                    <a:cubicBezTo>
                      <a:pt x="262435" y="0"/>
                      <a:pt x="266702" y="4267"/>
                      <a:pt x="266702" y="9525"/>
                    </a:cubicBezTo>
                    <a:lnTo>
                      <a:pt x="266702" y="123825"/>
                    </a:lnTo>
                    <a:close/>
                    <a:moveTo>
                      <a:pt x="285752" y="20755"/>
                    </a:moveTo>
                    <a:cubicBezTo>
                      <a:pt x="403729" y="34881"/>
                      <a:pt x="495302" y="135417"/>
                      <a:pt x="495302" y="257175"/>
                    </a:cubicBezTo>
                    <a:cubicBezTo>
                      <a:pt x="495302" y="378933"/>
                      <a:pt x="403729" y="479469"/>
                      <a:pt x="285752" y="493595"/>
                    </a:cubicBezTo>
                    <a:lnTo>
                      <a:pt x="285752" y="435902"/>
                    </a:lnTo>
                    <a:cubicBezTo>
                      <a:pt x="372077" y="422186"/>
                      <a:pt x="438152" y="347339"/>
                      <a:pt x="438152" y="257175"/>
                    </a:cubicBezTo>
                    <a:cubicBezTo>
                      <a:pt x="438152" y="167011"/>
                      <a:pt x="372077" y="92164"/>
                      <a:pt x="285752" y="78448"/>
                    </a:cubicBezTo>
                    <a:close/>
                  </a:path>
                </a:pathLst>
              </a:custGeom>
              <a:grpFill/>
              <a:ln w="9525" cap="flat">
                <a:noFill/>
                <a:prstDash val="solid"/>
                <a:round/>
              </a:ln>
            </p:spPr>
            <p:txBody>
              <a:bodyPr rtlCol="0" anchor="ctr"/>
              <a:lstStyle/>
              <a:p>
                <a:endParaRPr lang="pt-BR" dirty="0"/>
              </a:p>
            </p:txBody>
          </p:sp>
          <p:sp>
            <p:nvSpPr>
              <p:cNvPr id="50" name="Forma Livre: Forma 49">
                <a:extLst>
                  <a:ext uri="{FF2B5EF4-FFF2-40B4-BE49-F238E27FC236}">
                    <a16:creationId xmlns:a16="http://schemas.microsoft.com/office/drawing/2014/main" id="{14419F5C-FA8A-D278-CB10-402BE1D0FC13}"/>
                  </a:ext>
                </a:extLst>
              </p:cNvPr>
              <p:cNvSpPr/>
              <p:nvPr>
                <p:custDataLst>
                  <p:tags r:id="rId42"/>
                </p:custDataLst>
              </p:nvPr>
            </p:nvSpPr>
            <p:spPr>
              <a:xfrm>
                <a:off x="-425920" y="2261286"/>
                <a:ext cx="152398" cy="152398"/>
              </a:xfrm>
              <a:custGeom>
                <a:avLst/>
                <a:gdLst>
                  <a:gd name="connsiteX0" fmla="*/ 49740 w 152398"/>
                  <a:gd name="connsiteY0" fmla="*/ 57196 h 152398"/>
                  <a:gd name="connsiteX1" fmla="*/ 137874 w 152398"/>
                  <a:gd name="connsiteY1" fmla="*/ 1418 h 152398"/>
                  <a:gd name="connsiteX2" fmla="*/ 149609 w 152398"/>
                  <a:gd name="connsiteY2" fmla="*/ 2790 h 152398"/>
                  <a:gd name="connsiteX3" fmla="*/ 150981 w 152398"/>
                  <a:gd name="connsiteY3" fmla="*/ 14524 h 152398"/>
                  <a:gd name="connsiteX4" fmla="*/ 95202 w 152398"/>
                  <a:gd name="connsiteY4" fmla="*/ 102659 h 152398"/>
                  <a:gd name="connsiteX5" fmla="*/ 95250 w 152398"/>
                  <a:gd name="connsiteY5" fmla="*/ 104774 h 152398"/>
                  <a:gd name="connsiteX6" fmla="*/ 47625 w 152398"/>
                  <a:gd name="connsiteY6" fmla="*/ 152399 h 152398"/>
                  <a:gd name="connsiteX7" fmla="*/ 0 w 152398"/>
                  <a:gd name="connsiteY7" fmla="*/ 104774 h 152398"/>
                  <a:gd name="connsiteX8" fmla="*/ 47625 w 152398"/>
                  <a:gd name="connsiteY8" fmla="*/ 57149 h 152398"/>
                  <a:gd name="connsiteX9" fmla="*/ 49740 w 152398"/>
                  <a:gd name="connsiteY9" fmla="*/ 57196 h 152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98" h="152398">
                    <a:moveTo>
                      <a:pt x="49740" y="57196"/>
                    </a:moveTo>
                    <a:cubicBezTo>
                      <a:pt x="84392" y="34374"/>
                      <a:pt x="137874" y="1418"/>
                      <a:pt x="137874" y="1418"/>
                    </a:cubicBezTo>
                    <a:cubicBezTo>
                      <a:pt x="141637" y="-897"/>
                      <a:pt x="146495" y="-335"/>
                      <a:pt x="149609" y="2790"/>
                    </a:cubicBezTo>
                    <a:cubicBezTo>
                      <a:pt x="152733" y="5904"/>
                      <a:pt x="153295" y="10762"/>
                      <a:pt x="150981" y="14524"/>
                    </a:cubicBezTo>
                    <a:cubicBezTo>
                      <a:pt x="150981" y="14524"/>
                      <a:pt x="118024" y="68007"/>
                      <a:pt x="95202" y="102659"/>
                    </a:cubicBezTo>
                    <a:cubicBezTo>
                      <a:pt x="95231" y="103364"/>
                      <a:pt x="95250" y="104069"/>
                      <a:pt x="95250" y="104774"/>
                    </a:cubicBezTo>
                    <a:cubicBezTo>
                      <a:pt x="95250" y="131063"/>
                      <a:pt x="73914" y="152399"/>
                      <a:pt x="47625" y="152399"/>
                    </a:cubicBezTo>
                    <a:cubicBezTo>
                      <a:pt x="21336" y="152399"/>
                      <a:pt x="0" y="131063"/>
                      <a:pt x="0" y="104774"/>
                    </a:cubicBezTo>
                    <a:cubicBezTo>
                      <a:pt x="0" y="78485"/>
                      <a:pt x="21336" y="57149"/>
                      <a:pt x="47625" y="57149"/>
                    </a:cubicBezTo>
                    <a:cubicBezTo>
                      <a:pt x="48330" y="57149"/>
                      <a:pt x="49035" y="57168"/>
                      <a:pt x="49740" y="57196"/>
                    </a:cubicBezTo>
                    <a:close/>
                  </a:path>
                </a:pathLst>
              </a:custGeom>
              <a:grpFill/>
              <a:ln w="9525" cap="flat">
                <a:noFill/>
                <a:prstDash val="solid"/>
                <a:round/>
              </a:ln>
            </p:spPr>
            <p:txBody>
              <a:bodyPr rtlCol="0" anchor="ctr"/>
              <a:lstStyle/>
              <a:p>
                <a:endParaRPr lang="pt-BR" dirty="0"/>
              </a:p>
            </p:txBody>
          </p:sp>
          <p:sp>
            <p:nvSpPr>
              <p:cNvPr id="51" name="Forma Livre: Forma 50">
                <a:extLst>
                  <a:ext uri="{FF2B5EF4-FFF2-40B4-BE49-F238E27FC236}">
                    <a16:creationId xmlns:a16="http://schemas.microsoft.com/office/drawing/2014/main" id="{C589D107-8CC8-022F-5ACE-211A0BADD713}"/>
                  </a:ext>
                </a:extLst>
              </p:cNvPr>
              <p:cNvSpPr/>
              <p:nvPr>
                <p:custDataLst>
                  <p:tags r:id="rId43"/>
                </p:custDataLst>
              </p:nvPr>
            </p:nvSpPr>
            <p:spPr>
              <a:xfrm>
                <a:off x="-235420" y="2356535"/>
                <a:ext cx="19050" cy="19050"/>
              </a:xfrm>
              <a:custGeom>
                <a:avLst/>
                <a:gdLst>
                  <a:gd name="connsiteX0" fmla="*/ 19050 w 19050"/>
                  <a:gd name="connsiteY0" fmla="*/ 9525 h 19050"/>
                  <a:gd name="connsiteX1" fmla="*/ 9525 w 19050"/>
                  <a:gd name="connsiteY1" fmla="*/ 19050 h 19050"/>
                  <a:gd name="connsiteX2" fmla="*/ 0 w 19050"/>
                  <a:gd name="connsiteY2" fmla="*/ 9525 h 19050"/>
                  <a:gd name="connsiteX3" fmla="*/ 9525 w 19050"/>
                  <a:gd name="connsiteY3" fmla="*/ 0 h 19050"/>
                  <a:gd name="connsiteX4" fmla="*/ 19050 w 19050"/>
                  <a:gd name="connsiteY4" fmla="*/ 9525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9050">
                    <a:moveTo>
                      <a:pt x="19050" y="9525"/>
                    </a:moveTo>
                    <a:cubicBezTo>
                      <a:pt x="19050" y="14786"/>
                      <a:pt x="14786" y="19050"/>
                      <a:pt x="9525" y="19050"/>
                    </a:cubicBezTo>
                    <a:cubicBezTo>
                      <a:pt x="4264" y="19050"/>
                      <a:pt x="0" y="14786"/>
                      <a:pt x="0" y="9525"/>
                    </a:cubicBezTo>
                    <a:cubicBezTo>
                      <a:pt x="0" y="4264"/>
                      <a:pt x="4264" y="0"/>
                      <a:pt x="9525" y="0"/>
                    </a:cubicBezTo>
                    <a:cubicBezTo>
                      <a:pt x="14786" y="0"/>
                      <a:pt x="19050" y="4264"/>
                      <a:pt x="19050" y="9525"/>
                    </a:cubicBezTo>
                    <a:close/>
                  </a:path>
                </a:pathLst>
              </a:custGeom>
              <a:grpFill/>
              <a:ln w="1905" cap="flat">
                <a:noFill/>
                <a:prstDash val="solid"/>
                <a:round/>
              </a:ln>
            </p:spPr>
            <p:txBody>
              <a:bodyPr rtlCol="0" anchor="ctr"/>
              <a:lstStyle/>
              <a:p>
                <a:endParaRPr lang="pt-BR" dirty="0"/>
              </a:p>
            </p:txBody>
          </p:sp>
        </p:grpSp>
      </p:grpSp>
      <p:graphicFrame>
        <p:nvGraphicFramePr>
          <p:cNvPr id="56" name="Chart 3">
            <a:extLst>
              <a:ext uri="{FF2B5EF4-FFF2-40B4-BE49-F238E27FC236}">
                <a16:creationId xmlns:a16="http://schemas.microsoft.com/office/drawing/2014/main" id="{48385A08-7A4C-258A-DAF5-0095E4AFA191}"/>
              </a:ext>
            </a:extLst>
          </p:cNvPr>
          <p:cNvGraphicFramePr/>
          <p:nvPr>
            <p:custDataLst>
              <p:tags r:id="rId8"/>
            </p:custDataLst>
            <p:extLst>
              <p:ext uri="{D42A27DB-BD31-4B8C-83A1-F6EECF244321}">
                <p14:modId xmlns:p14="http://schemas.microsoft.com/office/powerpoint/2010/main" val="2710534214"/>
              </p:ext>
            </p:extLst>
          </p:nvPr>
        </p:nvGraphicFramePr>
        <p:xfrm>
          <a:off x="517525" y="2058712"/>
          <a:ext cx="8058150" cy="1146175"/>
        </p:xfrm>
        <a:graphic>
          <a:graphicData uri="http://schemas.openxmlformats.org/drawingml/2006/chart">
            <c:chart xmlns:c="http://schemas.openxmlformats.org/drawingml/2006/chart" xmlns:r="http://schemas.openxmlformats.org/officeDocument/2006/relationships" r:id="rId53"/>
          </a:graphicData>
        </a:graphic>
      </p:graphicFrame>
      <p:sp>
        <p:nvSpPr>
          <p:cNvPr id="899" name="Text Placeholder 2">
            <a:extLst>
              <a:ext uri="{FF2B5EF4-FFF2-40B4-BE49-F238E27FC236}">
                <a16:creationId xmlns:a16="http://schemas.microsoft.com/office/drawing/2014/main" id="{E9743060-6540-0C2E-2333-7A4916B6C773}"/>
              </a:ext>
            </a:extLst>
          </p:cNvPr>
          <p:cNvSpPr>
            <a:spLocks noGrp="1"/>
          </p:cNvSpPr>
          <p:nvPr>
            <p:custDataLst>
              <p:tags r:id="rId9"/>
            </p:custDataLst>
          </p:nvPr>
        </p:nvSpPr>
        <p:spPr bwMode="gray">
          <a:xfrm>
            <a:off x="827088" y="2615925"/>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85%</a:t>
            </a:r>
          </a:p>
        </p:txBody>
      </p:sp>
      <p:sp>
        <p:nvSpPr>
          <p:cNvPr id="901" name="Text Placeholder 2">
            <a:extLst>
              <a:ext uri="{FF2B5EF4-FFF2-40B4-BE49-F238E27FC236}">
                <a16:creationId xmlns:a16="http://schemas.microsoft.com/office/drawing/2014/main" id="{D8101819-FE95-6287-6B71-E9A4918A632A}"/>
              </a:ext>
            </a:extLst>
          </p:cNvPr>
          <p:cNvSpPr>
            <a:spLocks noGrp="1"/>
          </p:cNvSpPr>
          <p:nvPr>
            <p:custDataLst>
              <p:tags r:id="rId10"/>
            </p:custDataLst>
          </p:nvPr>
        </p:nvSpPr>
        <p:spPr bwMode="auto">
          <a:xfrm>
            <a:off x="838200"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63209D72-CB47-421F-896D-E64A0EC28613}" type="datetime'''''''''''''''2''''''''''''01''3'''''''''''''''''''''''">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3</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03" name="Text Placeholder 2">
            <a:extLst>
              <a:ext uri="{FF2B5EF4-FFF2-40B4-BE49-F238E27FC236}">
                <a16:creationId xmlns:a16="http://schemas.microsoft.com/office/drawing/2014/main" id="{5469A290-4962-2D77-15AB-25B335098861}"/>
              </a:ext>
            </a:extLst>
          </p:cNvPr>
          <p:cNvSpPr>
            <a:spLocks noGrp="1"/>
          </p:cNvSpPr>
          <p:nvPr>
            <p:custDataLst>
              <p:tags r:id="rId11"/>
            </p:custDataLst>
          </p:nvPr>
        </p:nvSpPr>
        <p:spPr bwMode="gray">
          <a:xfrm>
            <a:off x="1616075" y="2619100"/>
            <a:ext cx="33496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54%</a:t>
            </a:r>
          </a:p>
        </p:txBody>
      </p:sp>
      <p:sp>
        <p:nvSpPr>
          <p:cNvPr id="905" name="Text Placeholder 2">
            <a:extLst>
              <a:ext uri="{FF2B5EF4-FFF2-40B4-BE49-F238E27FC236}">
                <a16:creationId xmlns:a16="http://schemas.microsoft.com/office/drawing/2014/main" id="{A6576A06-32E9-2992-A0D4-F302AD94E347}"/>
              </a:ext>
            </a:extLst>
          </p:cNvPr>
          <p:cNvSpPr>
            <a:spLocks noGrp="1"/>
          </p:cNvSpPr>
          <p:nvPr>
            <p:custDataLst>
              <p:tags r:id="rId12"/>
            </p:custDataLst>
          </p:nvPr>
        </p:nvSpPr>
        <p:spPr bwMode="auto">
          <a:xfrm>
            <a:off x="1627188"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163D96C1-8569-46EE-AE0B-6D20E7BEF73F}" type="datetime'''''''''2''''''''''01''''4'''''''''''''''''''''''''''''''''">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4</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06" name="Text Placeholder 2">
            <a:extLst>
              <a:ext uri="{FF2B5EF4-FFF2-40B4-BE49-F238E27FC236}">
                <a16:creationId xmlns:a16="http://schemas.microsoft.com/office/drawing/2014/main" id="{F49D2C6A-AD46-48D8-AD12-737782FB32D1}"/>
              </a:ext>
            </a:extLst>
          </p:cNvPr>
          <p:cNvSpPr>
            <a:spLocks noGrp="1"/>
          </p:cNvSpPr>
          <p:nvPr>
            <p:custDataLst>
              <p:tags r:id="rId13"/>
            </p:custDataLst>
          </p:nvPr>
        </p:nvSpPr>
        <p:spPr bwMode="gray">
          <a:xfrm>
            <a:off x="2406650" y="2647675"/>
            <a:ext cx="33496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48%</a:t>
            </a:r>
          </a:p>
        </p:txBody>
      </p:sp>
      <p:sp>
        <p:nvSpPr>
          <p:cNvPr id="907" name="Text Placeholder 2">
            <a:extLst>
              <a:ext uri="{FF2B5EF4-FFF2-40B4-BE49-F238E27FC236}">
                <a16:creationId xmlns:a16="http://schemas.microsoft.com/office/drawing/2014/main" id="{93A1569F-84F9-5C71-1FD8-B39AC5E11238}"/>
              </a:ext>
            </a:extLst>
          </p:cNvPr>
          <p:cNvSpPr>
            <a:spLocks noGrp="1"/>
          </p:cNvSpPr>
          <p:nvPr>
            <p:custDataLst>
              <p:tags r:id="rId14"/>
            </p:custDataLst>
          </p:nvPr>
        </p:nvSpPr>
        <p:spPr bwMode="auto">
          <a:xfrm>
            <a:off x="2416175"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20F4910E-E028-4EAD-91F4-8304A35C2D42}" type="datetime'''''2''''''''''''''0''1''''''''''''''''''''5'''''''''''">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5</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08" name="Text Placeholder 2">
            <a:extLst>
              <a:ext uri="{FF2B5EF4-FFF2-40B4-BE49-F238E27FC236}">
                <a16:creationId xmlns:a16="http://schemas.microsoft.com/office/drawing/2014/main" id="{36B1CE19-A1B4-95A1-70EB-49A70C0AF292}"/>
              </a:ext>
            </a:extLst>
          </p:cNvPr>
          <p:cNvSpPr>
            <a:spLocks noGrp="1"/>
          </p:cNvSpPr>
          <p:nvPr>
            <p:custDataLst>
              <p:tags r:id="rId15"/>
            </p:custDataLst>
          </p:nvPr>
        </p:nvSpPr>
        <p:spPr bwMode="gray">
          <a:xfrm>
            <a:off x="3181619" y="2615925"/>
            <a:ext cx="41751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52%</a:t>
            </a:r>
          </a:p>
        </p:txBody>
      </p:sp>
      <p:sp>
        <p:nvSpPr>
          <p:cNvPr id="911" name="Text Placeholder 2">
            <a:extLst>
              <a:ext uri="{FF2B5EF4-FFF2-40B4-BE49-F238E27FC236}">
                <a16:creationId xmlns:a16="http://schemas.microsoft.com/office/drawing/2014/main" id="{8C1A98FB-39B5-4808-D985-100237945F9B}"/>
              </a:ext>
            </a:extLst>
          </p:cNvPr>
          <p:cNvSpPr>
            <a:spLocks noGrp="1"/>
          </p:cNvSpPr>
          <p:nvPr>
            <p:custDataLst>
              <p:tags r:id="rId16"/>
            </p:custDataLst>
          </p:nvPr>
        </p:nvSpPr>
        <p:spPr bwMode="auto">
          <a:xfrm>
            <a:off x="3206750"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B3D249BD-3528-4935-AA7D-053A31F3E990}" type="datetime'''2''''''0''''''1''''''6'''''''''''''''''''''''''''">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6</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13" name="Text Placeholder 2">
            <a:extLst>
              <a:ext uri="{FF2B5EF4-FFF2-40B4-BE49-F238E27FC236}">
                <a16:creationId xmlns:a16="http://schemas.microsoft.com/office/drawing/2014/main" id="{1331E235-073C-6E6C-799D-313E40A8B552}"/>
              </a:ext>
            </a:extLst>
          </p:cNvPr>
          <p:cNvSpPr>
            <a:spLocks noGrp="1"/>
          </p:cNvSpPr>
          <p:nvPr>
            <p:custDataLst>
              <p:tags r:id="rId17"/>
            </p:custDataLst>
          </p:nvPr>
        </p:nvSpPr>
        <p:spPr bwMode="gray">
          <a:xfrm>
            <a:off x="3984625" y="2593700"/>
            <a:ext cx="334963" cy="165100"/>
          </a:xfrm>
          <a:prstGeom prst="rect">
            <a:avLst/>
          </a:prstGeom>
          <a:noFill/>
          <a:ln>
            <a:noFill/>
          </a:ln>
          <a:effectLst/>
          <a:extLst>
            <a:ext uri="{909E8E84-426E-40DD-AFC4-6F175D3DCCD1}">
              <a14:hiddenFill xmlns:a14="http://schemas.microsoft.com/office/drawing/2010/main">
                <a:solidFill>
                  <a:schemeClr val="accent2"/>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49%</a:t>
            </a:r>
          </a:p>
        </p:txBody>
      </p:sp>
      <p:sp>
        <p:nvSpPr>
          <p:cNvPr id="914" name="Text Placeholder 2">
            <a:extLst>
              <a:ext uri="{FF2B5EF4-FFF2-40B4-BE49-F238E27FC236}">
                <a16:creationId xmlns:a16="http://schemas.microsoft.com/office/drawing/2014/main" id="{62928054-73C1-62AE-5DF4-49AD6F6710C4}"/>
              </a:ext>
            </a:extLst>
          </p:cNvPr>
          <p:cNvSpPr>
            <a:spLocks noGrp="1"/>
          </p:cNvSpPr>
          <p:nvPr>
            <p:custDataLst>
              <p:tags r:id="rId18"/>
            </p:custDataLst>
          </p:nvPr>
        </p:nvSpPr>
        <p:spPr bwMode="auto">
          <a:xfrm>
            <a:off x="3995738"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400A8940-BEEB-4708-BC2A-23FCBA265B7A}" type="datetime'''''''''''''''2''''''''''''''''''''''''0''''17'''">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7</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15" name="Text Placeholder 2">
            <a:extLst>
              <a:ext uri="{FF2B5EF4-FFF2-40B4-BE49-F238E27FC236}">
                <a16:creationId xmlns:a16="http://schemas.microsoft.com/office/drawing/2014/main" id="{C8BB5D65-3B6E-541A-0F49-26F88E399276}"/>
              </a:ext>
            </a:extLst>
          </p:cNvPr>
          <p:cNvSpPr>
            <a:spLocks noGrp="1"/>
          </p:cNvSpPr>
          <p:nvPr>
            <p:custDataLst>
              <p:tags r:id="rId19"/>
            </p:custDataLst>
          </p:nvPr>
        </p:nvSpPr>
        <p:spPr bwMode="gray">
          <a:xfrm>
            <a:off x="4773613" y="2593700"/>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47%</a:t>
            </a:r>
          </a:p>
        </p:txBody>
      </p:sp>
      <p:sp>
        <p:nvSpPr>
          <p:cNvPr id="916" name="Text Placeholder 2">
            <a:extLst>
              <a:ext uri="{FF2B5EF4-FFF2-40B4-BE49-F238E27FC236}">
                <a16:creationId xmlns:a16="http://schemas.microsoft.com/office/drawing/2014/main" id="{CFEB7BE9-3381-C779-65D0-D377030013AF}"/>
              </a:ext>
            </a:extLst>
          </p:cNvPr>
          <p:cNvSpPr>
            <a:spLocks noGrp="1"/>
          </p:cNvSpPr>
          <p:nvPr>
            <p:custDataLst>
              <p:tags r:id="rId20"/>
            </p:custDataLst>
          </p:nvPr>
        </p:nvSpPr>
        <p:spPr bwMode="auto">
          <a:xfrm>
            <a:off x="4784725"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5F994B90-CC0C-40C7-B8FD-0F5E72AAB853}" type="datetime'2''''''''''''''''''''0''''''''''''''18'''''''''''''''''''">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8</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17" name="Text Placeholder 2">
            <a:extLst>
              <a:ext uri="{FF2B5EF4-FFF2-40B4-BE49-F238E27FC236}">
                <a16:creationId xmlns:a16="http://schemas.microsoft.com/office/drawing/2014/main" id="{AB061A4B-02C5-3451-059A-74C1824CAE6A}"/>
              </a:ext>
            </a:extLst>
          </p:cNvPr>
          <p:cNvSpPr>
            <a:spLocks noGrp="1"/>
          </p:cNvSpPr>
          <p:nvPr>
            <p:custDataLst>
              <p:tags r:id="rId21"/>
            </p:custDataLst>
          </p:nvPr>
        </p:nvSpPr>
        <p:spPr bwMode="gray">
          <a:xfrm>
            <a:off x="5562600" y="2569887"/>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46%</a:t>
            </a:r>
          </a:p>
        </p:txBody>
      </p:sp>
      <p:sp>
        <p:nvSpPr>
          <p:cNvPr id="918" name="Text Placeholder 2">
            <a:extLst>
              <a:ext uri="{FF2B5EF4-FFF2-40B4-BE49-F238E27FC236}">
                <a16:creationId xmlns:a16="http://schemas.microsoft.com/office/drawing/2014/main" id="{E030F4A9-5ED2-30CA-81CF-FEF0F5ED28E1}"/>
              </a:ext>
            </a:extLst>
          </p:cNvPr>
          <p:cNvSpPr>
            <a:spLocks noGrp="1"/>
          </p:cNvSpPr>
          <p:nvPr>
            <p:custDataLst>
              <p:tags r:id="rId22"/>
            </p:custDataLst>
          </p:nvPr>
        </p:nvSpPr>
        <p:spPr bwMode="auto">
          <a:xfrm>
            <a:off x="5573713"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6967FF48-E766-434D-8305-EA6CB7DAEF19}" type="datetime'''''''''''''''''2''''''''''''''''''''''0''1''''9'''''''">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19</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19" name="Text Placeholder 2">
            <a:extLst>
              <a:ext uri="{FF2B5EF4-FFF2-40B4-BE49-F238E27FC236}">
                <a16:creationId xmlns:a16="http://schemas.microsoft.com/office/drawing/2014/main" id="{40678747-AFA6-133A-FC46-A946D59219A2}"/>
              </a:ext>
            </a:extLst>
          </p:cNvPr>
          <p:cNvSpPr>
            <a:spLocks noGrp="1"/>
          </p:cNvSpPr>
          <p:nvPr>
            <p:custDataLst>
              <p:tags r:id="rId23"/>
            </p:custDataLst>
          </p:nvPr>
        </p:nvSpPr>
        <p:spPr bwMode="gray">
          <a:xfrm>
            <a:off x="6353175" y="2634975"/>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38%</a:t>
            </a:r>
          </a:p>
        </p:txBody>
      </p:sp>
      <p:sp>
        <p:nvSpPr>
          <p:cNvPr id="920" name="Text Placeholder 2">
            <a:extLst>
              <a:ext uri="{FF2B5EF4-FFF2-40B4-BE49-F238E27FC236}">
                <a16:creationId xmlns:a16="http://schemas.microsoft.com/office/drawing/2014/main" id="{8D6B0F18-29DB-8C8C-962E-1E4E68FBC404}"/>
              </a:ext>
            </a:extLst>
          </p:cNvPr>
          <p:cNvSpPr>
            <a:spLocks noGrp="1"/>
          </p:cNvSpPr>
          <p:nvPr>
            <p:custDataLst>
              <p:tags r:id="rId24"/>
            </p:custDataLst>
          </p:nvPr>
        </p:nvSpPr>
        <p:spPr bwMode="auto">
          <a:xfrm>
            <a:off x="6362700"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B2F2EBBC-54BE-4580-A630-634062A5438B}" type="datetime'''''''''''''''''''2''''''''''''''''''0''''2''''''''''0'''''''">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0</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21" name="Text Placeholder 2">
            <a:extLst>
              <a:ext uri="{FF2B5EF4-FFF2-40B4-BE49-F238E27FC236}">
                <a16:creationId xmlns:a16="http://schemas.microsoft.com/office/drawing/2014/main" id="{074C5354-CC8A-AAD8-F336-66C7CC753244}"/>
              </a:ext>
            </a:extLst>
          </p:cNvPr>
          <p:cNvSpPr>
            <a:spLocks noGrp="1"/>
          </p:cNvSpPr>
          <p:nvPr>
            <p:custDataLst>
              <p:tags r:id="rId25"/>
            </p:custDataLst>
          </p:nvPr>
        </p:nvSpPr>
        <p:spPr bwMode="gray">
          <a:xfrm>
            <a:off x="7142163" y="2595287"/>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40%</a:t>
            </a:r>
          </a:p>
        </p:txBody>
      </p:sp>
      <p:sp>
        <p:nvSpPr>
          <p:cNvPr id="922" name="Text Placeholder 2">
            <a:extLst>
              <a:ext uri="{FF2B5EF4-FFF2-40B4-BE49-F238E27FC236}">
                <a16:creationId xmlns:a16="http://schemas.microsoft.com/office/drawing/2014/main" id="{2C60F633-8723-B96A-0106-CD2BFDC234D1}"/>
              </a:ext>
            </a:extLst>
          </p:cNvPr>
          <p:cNvSpPr>
            <a:spLocks noGrp="1"/>
          </p:cNvSpPr>
          <p:nvPr>
            <p:custDataLst>
              <p:tags r:id="rId26"/>
            </p:custDataLst>
          </p:nvPr>
        </p:nvSpPr>
        <p:spPr bwMode="auto">
          <a:xfrm>
            <a:off x="7153275"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4102D765-7FDB-482C-BE6A-41C7D0123EEA}" type="datetime'''''''''2''''''''''''''''''''0''''''2''''''''''''''''''''''1'">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1</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sp>
        <p:nvSpPr>
          <p:cNvPr id="923" name="Text Placeholder 2">
            <a:extLst>
              <a:ext uri="{FF2B5EF4-FFF2-40B4-BE49-F238E27FC236}">
                <a16:creationId xmlns:a16="http://schemas.microsoft.com/office/drawing/2014/main" id="{DCCF1A44-7B46-6C30-CA05-7031514701AD}"/>
              </a:ext>
            </a:extLst>
          </p:cNvPr>
          <p:cNvSpPr>
            <a:spLocks noGrp="1"/>
          </p:cNvSpPr>
          <p:nvPr>
            <p:custDataLst>
              <p:tags r:id="rId27"/>
            </p:custDataLst>
          </p:nvPr>
        </p:nvSpPr>
        <p:spPr bwMode="gray">
          <a:xfrm>
            <a:off x="7931150" y="2590525"/>
            <a:ext cx="334963"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r>
              <a:rPr lang="en-US" sz="1200" b="1" i="0" u="none" strike="noStrike" cap="none" baseline="0" dirty="0">
                <a:solidFill>
                  <a:srgbClr val="00FFFF"/>
                </a:solidFill>
                <a:effectLst/>
                <a:uFillTx/>
                <a:latin typeface="Segoe UI"/>
              </a:rPr>
              <a:t>36%</a:t>
            </a:r>
          </a:p>
        </p:txBody>
      </p:sp>
      <p:sp>
        <p:nvSpPr>
          <p:cNvPr id="924" name="Text Placeholder 2">
            <a:extLst>
              <a:ext uri="{FF2B5EF4-FFF2-40B4-BE49-F238E27FC236}">
                <a16:creationId xmlns:a16="http://schemas.microsoft.com/office/drawing/2014/main" id="{A8CFC957-AC63-CAFD-ABAF-8010CCEC9041}"/>
              </a:ext>
            </a:extLst>
          </p:cNvPr>
          <p:cNvSpPr>
            <a:spLocks noGrp="1"/>
          </p:cNvSpPr>
          <p:nvPr>
            <p:custDataLst>
              <p:tags r:id="rId28"/>
            </p:custDataLst>
          </p:nvPr>
        </p:nvSpPr>
        <p:spPr bwMode="auto">
          <a:xfrm>
            <a:off x="7942263" y="3168375"/>
            <a:ext cx="311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fld id="{5C29AE7E-261F-4B40-8570-8BA45EE1D792}" type="datetime'''''''''''''2''''''''''''0''''2''''''''2'''''''''">
              <a:rPr kumimoji="0" lang="pt-BR" altLang="en-US" sz="1050" b="0" i="0" u="none" strike="noStrike" kern="1200" cap="none" normalizeH="0" baseline="0" noProof="0" smtClean="0">
                <a:ln>
                  <a:noFill/>
                </a:ln>
                <a:solidFill>
                  <a:srgbClr val="011F57"/>
                </a:solidFill>
                <a:effectLst/>
                <a:uLnTx/>
                <a:uFillTx/>
                <a:latin typeface="Segoe UI" panose="020B0502040204020203" pitchFamily="34" charset="0"/>
                <a:cs typeface="Segoe UI" panose="020B0502040204020203" pitchFamily="34" charset="0"/>
              </a:rPr>
              <a:pPr marL="0" marR="0" lvl="0" indent="0" algn="ctr" defTabSz="914377" rtl="0" eaLnBrk="1" fontAlgn="auto" latinLnBrk="0" hangingPunct="1">
                <a:lnSpc>
                  <a:spcPct val="90000"/>
                </a:lnSpc>
                <a:spcBef>
                  <a:spcPct val="0"/>
                </a:spcBef>
                <a:spcAft>
                  <a:spcPct val="0"/>
                </a:spcAft>
                <a:buClr>
                  <a:srgbClr val="5B9BD5"/>
                </a:buClr>
                <a:buSzTx/>
                <a:buFont typeface="Arial" panose="020B0604020202020204" pitchFamily="34" charset="0"/>
                <a:buNone/>
                <a:defRPr/>
              </a:pPr>
              <a:t>2022</a:t>
            </a:fld>
            <a:endParaRPr kumimoji="0" lang="pt-BR" sz="105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sym typeface="Segoe UI" panose="020B0502040204020203" pitchFamily="34" charset="0"/>
            </a:endParaRPr>
          </a:p>
        </p:txBody>
      </p:sp>
      <p:grpSp>
        <p:nvGrpSpPr>
          <p:cNvPr id="925" name="Agrupar 924">
            <a:extLst>
              <a:ext uri="{FF2B5EF4-FFF2-40B4-BE49-F238E27FC236}">
                <a16:creationId xmlns:a16="http://schemas.microsoft.com/office/drawing/2014/main" id="{1DE1FE4B-EFEA-AF3B-B831-511D6CE03828}"/>
              </a:ext>
            </a:extLst>
          </p:cNvPr>
          <p:cNvGrpSpPr/>
          <p:nvPr>
            <p:custDataLst>
              <p:tags r:id="rId29"/>
            </p:custDataLst>
          </p:nvPr>
        </p:nvGrpSpPr>
        <p:grpSpPr>
          <a:xfrm>
            <a:off x="945893" y="1751413"/>
            <a:ext cx="7151945" cy="464224"/>
            <a:chOff x="616585" y="3313130"/>
            <a:chExt cx="7151945" cy="464224"/>
          </a:xfrm>
        </p:grpSpPr>
        <p:cxnSp>
          <p:nvCxnSpPr>
            <p:cNvPr id="926" name="Conector reto 925">
              <a:extLst>
                <a:ext uri="{FF2B5EF4-FFF2-40B4-BE49-F238E27FC236}">
                  <a16:creationId xmlns:a16="http://schemas.microsoft.com/office/drawing/2014/main" id="{C410AA6F-CC7B-E673-C98B-9150B8F0A7AA}"/>
                </a:ext>
              </a:extLst>
            </p:cNvPr>
            <p:cNvCxnSpPr/>
            <p:nvPr>
              <p:custDataLst>
                <p:tags r:id="rId36"/>
              </p:custDataLst>
            </p:nvPr>
          </p:nvCxnSpPr>
          <p:spPr>
            <a:xfrm flipV="1">
              <a:off x="616585" y="3390484"/>
              <a:ext cx="7151945" cy="386870"/>
            </a:xfrm>
            <a:prstGeom prst="line">
              <a:avLst/>
            </a:prstGeom>
            <a:noFill/>
            <a:ln w="19050">
              <a:gradFill>
                <a:gsLst>
                  <a:gs pos="0">
                    <a:srgbClr val="F8681E">
                      <a:alpha val="0"/>
                    </a:srgbClr>
                  </a:gs>
                  <a:gs pos="50000">
                    <a:srgbClr val="F8681E"/>
                  </a:gs>
                  <a:gs pos="100000">
                    <a:srgbClr val="F8681E"/>
                  </a:gs>
                </a:gsLst>
                <a:lin ang="6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sp>
          <p:nvSpPr>
            <p:cNvPr id="927" name="CaixaDeTexto 926">
              <a:extLst>
                <a:ext uri="{FF2B5EF4-FFF2-40B4-BE49-F238E27FC236}">
                  <a16:creationId xmlns:a16="http://schemas.microsoft.com/office/drawing/2014/main" id="{948D3182-9038-445B-C594-8529FFC7E718}"/>
                </a:ext>
              </a:extLst>
            </p:cNvPr>
            <p:cNvSpPr txBox="1"/>
            <p:nvPr>
              <p:custDataLst>
                <p:tags r:id="rId37"/>
              </p:custDataLst>
            </p:nvPr>
          </p:nvSpPr>
          <p:spPr>
            <a:xfrm>
              <a:off x="3700607" y="3313130"/>
              <a:ext cx="939707"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400" b="1" i="0" u="none" strike="noStrike" cap="none" spc="0" baseline="0">
                  <a:solidFill>
                    <a:srgbClr val="F8681E"/>
                  </a:solidFill>
                  <a:effectLst/>
                  <a:uFillTx/>
                  <a:latin typeface="Segoe UI"/>
                </a:rPr>
                <a:t>+2.9%</a:t>
              </a:r>
              <a:endParaRPr lang="en-US" sz="1400" b="1" i="0" u="none" strike="noStrike" cap="none" spc="0" baseline="0" dirty="0">
                <a:solidFill>
                  <a:srgbClr val="F8681E"/>
                </a:solidFill>
                <a:effectLst/>
                <a:uFillTx/>
                <a:latin typeface="Segoe UI"/>
              </a:endParaRPr>
            </a:p>
          </p:txBody>
        </p:sp>
      </p:grpSp>
      <p:sp>
        <p:nvSpPr>
          <p:cNvPr id="930" name="Retângulo 929">
            <a:extLst>
              <a:ext uri="{FF2B5EF4-FFF2-40B4-BE49-F238E27FC236}">
                <a16:creationId xmlns:a16="http://schemas.microsoft.com/office/drawing/2014/main" id="{FEB4BB21-5154-25C2-BF24-B1CFB139C927}"/>
              </a:ext>
            </a:extLst>
          </p:cNvPr>
          <p:cNvSpPr/>
          <p:nvPr>
            <p:custDataLst>
              <p:tags r:id="rId30"/>
            </p:custDataLst>
          </p:nvPr>
        </p:nvSpPr>
        <p:spPr bwMode="auto">
          <a:xfrm>
            <a:off x="1521657" y="3448080"/>
            <a:ext cx="160338" cy="120650"/>
          </a:xfrm>
          <a:prstGeom prst="rect">
            <a:avLst/>
          </a:prstGeom>
          <a:solidFill>
            <a:srgbClr val="005FD7"/>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p:txBody>
      </p:sp>
      <p:sp>
        <p:nvSpPr>
          <p:cNvPr id="932" name="Text Placeholder 2">
            <a:extLst>
              <a:ext uri="{FF2B5EF4-FFF2-40B4-BE49-F238E27FC236}">
                <a16:creationId xmlns:a16="http://schemas.microsoft.com/office/drawing/2014/main" id="{9B77CD24-C9C9-4698-B3C9-B5F5B985F51F}"/>
              </a:ext>
            </a:extLst>
          </p:cNvPr>
          <p:cNvSpPr>
            <a:spLocks noGrp="1"/>
          </p:cNvSpPr>
          <p:nvPr>
            <p:custDataLst>
              <p:tags r:id="rId31"/>
            </p:custDataLst>
          </p:nvPr>
        </p:nvSpPr>
        <p:spPr bwMode="auto">
          <a:xfrm>
            <a:off x="1732795" y="3454430"/>
            <a:ext cx="969963"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Clr>
                <a:srgbClr val="5B9BD5"/>
              </a:buClr>
              <a:buNone/>
              <a:defRPr/>
            </a:pPr>
            <a:r>
              <a:rPr lang="en-US" sz="900">
                <a:solidFill>
                  <a:srgbClr val="011F57"/>
                </a:solidFill>
                <a:latin typeface="Segoe UI"/>
              </a:rPr>
              <a:t>Fixed Costs and Expenses² (R$ million)</a:t>
            </a:r>
            <a:endParaRPr lang="en-US" sz="900" b="0" i="0" u="none" strike="noStrike" cap="none" baseline="0" dirty="0">
              <a:solidFill>
                <a:srgbClr val="011F57"/>
              </a:solidFill>
              <a:effectLst/>
              <a:uFillTx/>
              <a:latin typeface="Segoe UI"/>
            </a:endParaRPr>
          </a:p>
        </p:txBody>
      </p:sp>
      <p:sp>
        <p:nvSpPr>
          <p:cNvPr id="933" name="Text Placeholder 2">
            <a:extLst>
              <a:ext uri="{FF2B5EF4-FFF2-40B4-BE49-F238E27FC236}">
                <a16:creationId xmlns:a16="http://schemas.microsoft.com/office/drawing/2014/main" id="{095C83B0-C0B9-E0A0-07F2-63495D657079}"/>
              </a:ext>
            </a:extLst>
          </p:cNvPr>
          <p:cNvSpPr>
            <a:spLocks noGrp="1"/>
          </p:cNvSpPr>
          <p:nvPr>
            <p:custDataLst>
              <p:tags r:id="rId32"/>
            </p:custDataLst>
          </p:nvPr>
        </p:nvSpPr>
        <p:spPr bwMode="auto">
          <a:xfrm>
            <a:off x="4627100" y="3454430"/>
            <a:ext cx="1296988" cy="1238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594" indent="-228594" algn="l" defTabSz="914377" rtl="0" eaLnBrk="1" latinLnBrk="0" hangingPunct="1">
              <a:lnSpc>
                <a:spcPct val="90000"/>
              </a:lnSpc>
              <a:spcBef>
                <a:spcPts val="1000"/>
              </a:spcBef>
              <a:buClr>
                <a:schemeClr val="accent5"/>
              </a:buClr>
              <a:buFont typeface="Arial" panose="020B0604020202020204" pitchFamily="34" charset="0"/>
              <a:buChar char="•"/>
              <a:defRPr sz="1467"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5"/>
              </a:buClr>
              <a:buFont typeface="Arial" panose="020B0604020202020204" pitchFamily="34" charset="0"/>
              <a:buChar char="•"/>
              <a:defRPr sz="1467"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Clr>
                <a:srgbClr val="5B9BD5"/>
              </a:buClr>
              <a:buNone/>
              <a:defRPr/>
            </a:pPr>
            <a:r>
              <a:rPr lang="en-US" sz="900">
                <a:solidFill>
                  <a:srgbClr val="011F57"/>
                </a:solidFill>
                <a:latin typeface="Segoe UI"/>
              </a:rPr>
              <a:t>Fixed Costs and Expenses / Net Operating Revenue (ex-RBSE)</a:t>
            </a:r>
            <a:endParaRPr lang="en-US" sz="900" b="0" i="0" u="none" strike="noStrike" cap="none" baseline="0" dirty="0">
              <a:solidFill>
                <a:srgbClr val="011F57"/>
              </a:solidFill>
              <a:effectLst/>
              <a:uFillTx/>
              <a:latin typeface="Segoe UI"/>
            </a:endParaRPr>
          </a:p>
        </p:txBody>
      </p:sp>
      <p:sp>
        <p:nvSpPr>
          <p:cNvPr id="2" name="CaixaDeTexto 1">
            <a:extLst>
              <a:ext uri="{FF2B5EF4-FFF2-40B4-BE49-F238E27FC236}">
                <a16:creationId xmlns:a16="http://schemas.microsoft.com/office/drawing/2014/main" id="{9D8AE5DC-E321-E8E5-D10D-7BB8FE39D6AA}"/>
              </a:ext>
            </a:extLst>
          </p:cNvPr>
          <p:cNvSpPr txBox="1"/>
          <p:nvPr>
            <p:custDataLst>
              <p:tags r:id="rId33"/>
            </p:custDataLst>
          </p:nvPr>
        </p:nvSpPr>
        <p:spPr>
          <a:xfrm>
            <a:off x="3502926" y="1768663"/>
            <a:ext cx="882299" cy="195267"/>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defRPr/>
            </a:pPr>
            <a:r>
              <a:rPr lang="en-US" sz="800" b="1" i="0" u="none" strike="noStrike" cap="none" baseline="0" dirty="0">
                <a:solidFill>
                  <a:srgbClr val="ED7D31"/>
                </a:solidFill>
                <a:effectLst/>
                <a:uFillTx/>
                <a:latin typeface="Segoe UI"/>
              </a:rPr>
              <a:t>CAGR³:</a:t>
            </a:r>
          </a:p>
        </p:txBody>
      </p:sp>
      <p:sp>
        <p:nvSpPr>
          <p:cNvPr id="11" name="CaixaDeTexto 10">
            <a:extLst>
              <a:ext uri="{FF2B5EF4-FFF2-40B4-BE49-F238E27FC236}">
                <a16:creationId xmlns:a16="http://schemas.microsoft.com/office/drawing/2014/main" id="{568B2B0A-BD2D-B587-54FE-E46F0E1DE176}"/>
              </a:ext>
            </a:extLst>
          </p:cNvPr>
          <p:cNvSpPr txBox="1"/>
          <p:nvPr>
            <p:custDataLst>
              <p:tags r:id="rId34"/>
            </p:custDataLst>
          </p:nvPr>
        </p:nvSpPr>
        <p:spPr>
          <a:xfrm>
            <a:off x="728741" y="4813399"/>
            <a:ext cx="4558876" cy="184666"/>
          </a:xfrm>
          <a:prstGeom prst="rect">
            <a:avLst/>
          </a:prstGeom>
          <a:noFill/>
        </p:spPr>
        <p:txBody>
          <a:bodyPr wrap="square">
            <a:spAutoFit/>
          </a:bodyPr>
          <a:lstStyle/>
          <a:p>
            <a:r>
              <a:rPr lang="en-US" sz="600" dirty="0">
                <a:solidFill>
                  <a:schemeClr val="bg1">
                    <a:lumMod val="50000"/>
                  </a:schemeClr>
                </a:solidFill>
                <a:latin typeface="Segoe UI" panose="020B0502040204020203" pitchFamily="34" charset="0"/>
                <a:cs typeface="Segoe UI" panose="020B0502040204020203" pitchFamily="34" charset="0"/>
              </a:rPr>
              <a:t>¹ CAGR: Compound Annual Growth Rate | ² Costs and expenses with personnel, material, services and others (PMSO)</a:t>
            </a:r>
            <a:endParaRPr lang="pt-BR" sz="1400" dirty="0">
              <a:solidFill>
                <a:schemeClr val="bg1">
                  <a:lumMod val="50000"/>
                </a:schemeClr>
              </a:solidFill>
              <a:latin typeface="Segoe UI" panose="020B0502040204020203" pitchFamily="34" charset="0"/>
              <a:cs typeface="Segoe UI" panose="020B0502040204020203" pitchFamily="34" charset="0"/>
            </a:endParaRPr>
          </a:p>
        </p:txBody>
      </p:sp>
      <p:sp>
        <p:nvSpPr>
          <p:cNvPr id="3" name="CaixaDeTexto 2">
            <a:extLst>
              <a:ext uri="{FF2B5EF4-FFF2-40B4-BE49-F238E27FC236}">
                <a16:creationId xmlns:a16="http://schemas.microsoft.com/office/drawing/2014/main" id="{912A2C9D-7680-C37D-C621-E460495CA281}"/>
              </a:ext>
            </a:extLst>
          </p:cNvPr>
          <p:cNvSpPr txBox="1"/>
          <p:nvPr/>
        </p:nvSpPr>
        <p:spPr>
          <a:xfrm>
            <a:off x="470072" y="143278"/>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0" name="Forma Livre: Forma 9">
            <a:extLst>
              <a:ext uri="{FF2B5EF4-FFF2-40B4-BE49-F238E27FC236}">
                <a16:creationId xmlns:a16="http://schemas.microsoft.com/office/drawing/2014/main" id="{99F2AEF6-9565-A0FF-AF5C-840A1A6B58DB}"/>
              </a:ext>
            </a:extLst>
          </p:cNvPr>
          <p:cNvSpPr/>
          <p:nvPr/>
        </p:nvSpPr>
        <p:spPr>
          <a:xfrm>
            <a:off x="225728" y="108650"/>
            <a:ext cx="302808" cy="334423"/>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a:p>
        </p:txBody>
      </p:sp>
      <p:sp>
        <p:nvSpPr>
          <p:cNvPr id="12" name="CaixaDeTexto 11">
            <a:extLst>
              <a:ext uri="{FF2B5EF4-FFF2-40B4-BE49-F238E27FC236}">
                <a16:creationId xmlns:a16="http://schemas.microsoft.com/office/drawing/2014/main" id="{4C64BDB2-7E5C-FD46-8A56-842EA49E5946}"/>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6</a:t>
            </a:r>
          </a:p>
        </p:txBody>
      </p:sp>
      <p:grpSp>
        <p:nvGrpSpPr>
          <p:cNvPr id="13" name="Agrupar 12">
            <a:extLst>
              <a:ext uri="{FF2B5EF4-FFF2-40B4-BE49-F238E27FC236}">
                <a16:creationId xmlns:a16="http://schemas.microsoft.com/office/drawing/2014/main" id="{667062D8-D856-0811-20B8-4ABDFDE4F3DD}"/>
              </a:ext>
            </a:extLst>
          </p:cNvPr>
          <p:cNvGrpSpPr/>
          <p:nvPr/>
        </p:nvGrpSpPr>
        <p:grpSpPr>
          <a:xfrm>
            <a:off x="1117283" y="4039588"/>
            <a:ext cx="7369704" cy="744114"/>
            <a:chOff x="1117283" y="3894808"/>
            <a:chExt cx="7369704" cy="744114"/>
          </a:xfrm>
        </p:grpSpPr>
        <p:sp>
          <p:nvSpPr>
            <p:cNvPr id="15" name="Elipse 14">
              <a:extLst>
                <a:ext uri="{FF2B5EF4-FFF2-40B4-BE49-F238E27FC236}">
                  <a16:creationId xmlns:a16="http://schemas.microsoft.com/office/drawing/2014/main" id="{F7FE183D-47CE-739C-792B-57D973205765}"/>
                </a:ext>
              </a:extLst>
            </p:cNvPr>
            <p:cNvSpPr/>
            <p:nvPr/>
          </p:nvSpPr>
          <p:spPr>
            <a:xfrm>
              <a:off x="1117283" y="3997134"/>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16" name="CaixaDeTexto 15">
              <a:extLst>
                <a:ext uri="{FF2B5EF4-FFF2-40B4-BE49-F238E27FC236}">
                  <a16:creationId xmlns:a16="http://schemas.microsoft.com/office/drawing/2014/main" id="{27F41874-6399-3C99-E223-DA45F85F4A4C}"/>
                </a:ext>
              </a:extLst>
            </p:cNvPr>
            <p:cNvSpPr txBox="1"/>
            <p:nvPr/>
          </p:nvSpPr>
          <p:spPr>
            <a:xfrm>
              <a:off x="1685353" y="3990443"/>
              <a:ext cx="1780334" cy="605615"/>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pt-BR" sz="1200" b="1" spc="0">
                  <a:latin typeface="Segoe UI" panose="020B0502040204020203" pitchFamily="34" charset="0"/>
                  <a:cs typeface="Segoe UI" panose="020B0502040204020203" pitchFamily="34" charset="0"/>
                </a:rPr>
                <a:t>EBITDA MARGIN</a:t>
              </a:r>
            </a:p>
            <a:p>
              <a:pPr lvl="0" algn="l">
                <a:lnSpc>
                  <a:spcPct val="75000"/>
                </a:lnSpc>
                <a:spcBef>
                  <a:spcPts val="100"/>
                </a:spcBef>
                <a:spcAft>
                  <a:spcPts val="100"/>
                </a:spcAft>
                <a:defRPr/>
              </a:pPr>
              <a:r>
                <a:rPr lang="pt-BR" sz="1200" spc="0" err="1">
                  <a:latin typeface="Segoe UI" panose="020B0502040204020203" pitchFamily="34" charset="0"/>
                  <a:cs typeface="Segoe UI" panose="020B0502040204020203" pitchFamily="34" charset="0"/>
                </a:rPr>
                <a:t>jan</a:t>
              </a:r>
              <a:r>
                <a:rPr lang="pt-BR" sz="1200" spc="0">
                  <a:latin typeface="Segoe UI" panose="020B0502040204020203" pitchFamily="34" charset="0"/>
                  <a:cs typeface="Segoe UI" panose="020B0502040204020203" pitchFamily="34" charset="0"/>
                </a:rPr>
                <a:t>/23 - </a:t>
              </a:r>
              <a:r>
                <a:rPr lang="pt-BR" sz="1200" spc="0" err="1">
                  <a:latin typeface="Segoe UI" panose="020B0502040204020203" pitchFamily="34" charset="0"/>
                  <a:cs typeface="Segoe UI" panose="020B0502040204020203" pitchFamily="34" charset="0"/>
                </a:rPr>
                <a:t>jun</a:t>
              </a:r>
              <a:r>
                <a:rPr lang="pt-BR" sz="1200" spc="0">
                  <a:latin typeface="Segoe UI" panose="020B0502040204020203" pitchFamily="34" charset="0"/>
                  <a:cs typeface="Segoe UI" panose="020B0502040204020203" pitchFamily="34" charset="0"/>
                </a:rPr>
                <a:t>/23</a:t>
              </a:r>
            </a:p>
            <a:p>
              <a:pPr lvl="0" algn="l">
                <a:lnSpc>
                  <a:spcPct val="75000"/>
                </a:lnSpc>
                <a:spcBef>
                  <a:spcPts val="100"/>
                </a:spcBef>
                <a:spcAft>
                  <a:spcPts val="100"/>
                </a:spcAft>
                <a:defRPr/>
              </a:pPr>
              <a:r>
                <a:rPr lang="pt-BR" sz="1600" b="1" spc="0">
                  <a:solidFill>
                    <a:srgbClr val="F8681E"/>
                  </a:solidFill>
                  <a:latin typeface="Segoe UI" panose="020B0502040204020203" pitchFamily="34" charset="0"/>
                  <a:cs typeface="Segoe UI" panose="020B0502040204020203" pitchFamily="34" charset="0"/>
                </a:rPr>
                <a:t>80%</a:t>
              </a:r>
            </a:p>
          </p:txBody>
        </p:sp>
        <p:grpSp>
          <p:nvGrpSpPr>
            <p:cNvPr id="17" name="Agrupar 16">
              <a:extLst>
                <a:ext uri="{FF2B5EF4-FFF2-40B4-BE49-F238E27FC236}">
                  <a16:creationId xmlns:a16="http://schemas.microsoft.com/office/drawing/2014/main" id="{385CABCC-D237-D5FD-09E6-EEAF8756EE05}"/>
                </a:ext>
              </a:extLst>
            </p:cNvPr>
            <p:cNvGrpSpPr/>
            <p:nvPr/>
          </p:nvGrpSpPr>
          <p:grpSpPr>
            <a:xfrm>
              <a:off x="6179894" y="3894808"/>
              <a:ext cx="2307093" cy="744114"/>
              <a:chOff x="6045583" y="2325749"/>
              <a:chExt cx="2307093" cy="744114"/>
            </a:xfrm>
          </p:grpSpPr>
          <p:sp>
            <p:nvSpPr>
              <p:cNvPr id="21" name="Elipse 20">
                <a:extLst>
                  <a:ext uri="{FF2B5EF4-FFF2-40B4-BE49-F238E27FC236}">
                    <a16:creationId xmlns:a16="http://schemas.microsoft.com/office/drawing/2014/main" id="{59EC613C-3263-69C6-B8C0-97F3E8763E45}"/>
                  </a:ext>
                </a:extLst>
              </p:cNvPr>
              <p:cNvSpPr/>
              <p:nvPr/>
            </p:nvSpPr>
            <p:spPr>
              <a:xfrm>
                <a:off x="6045583" y="2414231"/>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24" name="CaixaDeTexto 23">
                <a:extLst>
                  <a:ext uri="{FF2B5EF4-FFF2-40B4-BE49-F238E27FC236}">
                    <a16:creationId xmlns:a16="http://schemas.microsoft.com/office/drawing/2014/main" id="{03926CC1-895D-CB21-1631-F9A5DA1A7BE3}"/>
                  </a:ext>
                </a:extLst>
              </p:cNvPr>
              <p:cNvSpPr txBox="1"/>
              <p:nvPr/>
            </p:nvSpPr>
            <p:spPr>
              <a:xfrm>
                <a:off x="6624818" y="2325749"/>
                <a:ext cx="1727858" cy="744114"/>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pt-BR" sz="1200" b="1" spc="0">
                    <a:latin typeface="Segoe UI" panose="020B0502040204020203" pitchFamily="34" charset="0"/>
                    <a:cs typeface="Segoe UI" panose="020B0502040204020203" pitchFamily="34" charset="0"/>
                  </a:rPr>
                  <a:t>Operating Cash Generation</a:t>
                </a:r>
              </a:p>
              <a:p>
                <a:pPr lvl="0" algn="l">
                  <a:lnSpc>
                    <a:spcPct val="75000"/>
                  </a:lnSpc>
                  <a:spcBef>
                    <a:spcPts val="100"/>
                  </a:spcBef>
                  <a:spcAft>
                    <a:spcPts val="100"/>
                  </a:spcAft>
                  <a:defRPr/>
                </a:pPr>
                <a:r>
                  <a:rPr lang="pt-BR" sz="1200" spc="0">
                    <a:latin typeface="Segoe UI" panose="020B0502040204020203" pitchFamily="34" charset="0"/>
                    <a:cs typeface="Segoe UI" panose="020B0502040204020203" pitchFamily="34" charset="0"/>
                  </a:rPr>
                  <a:t>jan-jun/23</a:t>
                </a:r>
              </a:p>
              <a:p>
                <a:pPr lvl="0" algn="l">
                  <a:lnSpc>
                    <a:spcPct val="75000"/>
                  </a:lnSpc>
                  <a:spcBef>
                    <a:spcPts val="100"/>
                  </a:spcBef>
                  <a:spcAft>
                    <a:spcPts val="100"/>
                  </a:spcAft>
                  <a:defRPr/>
                </a:pPr>
                <a:r>
                  <a:rPr lang="pt-BR" sz="1400" b="1" spc="0">
                    <a:solidFill>
                      <a:srgbClr val="F8681E"/>
                    </a:solidFill>
                    <a:latin typeface="Segoe UI" panose="020B0502040204020203" pitchFamily="34" charset="0"/>
                    <a:cs typeface="Segoe UI" panose="020B0502040204020203" pitchFamily="34" charset="0"/>
                  </a:rPr>
                  <a:t>R</a:t>
                </a:r>
                <a:r>
                  <a:rPr lang="pt-BR" sz="1600" b="1" spc="0">
                    <a:solidFill>
                      <a:srgbClr val="F8681E"/>
                    </a:solidFill>
                    <a:latin typeface="Segoe UI" panose="020B0502040204020203" pitchFamily="34" charset="0"/>
                    <a:cs typeface="Segoe UI" panose="020B0502040204020203" pitchFamily="34" charset="0"/>
                  </a:rPr>
                  <a:t>$ 1,5 billion</a:t>
                </a:r>
                <a:endParaRPr lang="pt-BR" sz="1800" b="1" spc="0">
                  <a:solidFill>
                    <a:srgbClr val="F8681E"/>
                  </a:solidFill>
                  <a:latin typeface="Segoe UI" panose="020B0502040204020203" pitchFamily="34" charset="0"/>
                  <a:cs typeface="Segoe UI" panose="020B0502040204020203" pitchFamily="34" charset="0"/>
                </a:endParaRPr>
              </a:p>
            </p:txBody>
          </p:sp>
        </p:grpSp>
        <p:sp>
          <p:nvSpPr>
            <p:cNvPr id="18" name="CaixaDeTexto 17">
              <a:extLst>
                <a:ext uri="{FF2B5EF4-FFF2-40B4-BE49-F238E27FC236}">
                  <a16:creationId xmlns:a16="http://schemas.microsoft.com/office/drawing/2014/main" id="{206E36DF-F375-824C-32C3-8BDFBEC2474C}"/>
                </a:ext>
              </a:extLst>
            </p:cNvPr>
            <p:cNvSpPr txBox="1"/>
            <p:nvPr/>
          </p:nvSpPr>
          <p:spPr>
            <a:xfrm>
              <a:off x="4451321" y="3977067"/>
              <a:ext cx="1557506" cy="605615"/>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l">
                <a:lnSpc>
                  <a:spcPct val="75000"/>
                </a:lnSpc>
                <a:spcBef>
                  <a:spcPts val="100"/>
                </a:spcBef>
                <a:spcAft>
                  <a:spcPts val="100"/>
                </a:spcAft>
                <a:defRPr/>
              </a:pPr>
              <a:r>
                <a:rPr lang="pt-BR" sz="1200" b="1" spc="0">
                  <a:latin typeface="Segoe UI" panose="020B0502040204020203" pitchFamily="34" charset="0"/>
                  <a:cs typeface="Segoe UI" panose="020B0502040204020203" pitchFamily="34" charset="0"/>
                </a:rPr>
                <a:t>NET MARGEIN</a:t>
              </a:r>
            </a:p>
            <a:p>
              <a:pPr lvl="0" algn="l">
                <a:lnSpc>
                  <a:spcPct val="75000"/>
                </a:lnSpc>
                <a:spcBef>
                  <a:spcPts val="100"/>
                </a:spcBef>
                <a:spcAft>
                  <a:spcPts val="100"/>
                </a:spcAft>
                <a:defRPr/>
              </a:pPr>
              <a:r>
                <a:rPr lang="pt-BR" sz="1200" spc="0" err="1">
                  <a:latin typeface="Segoe UI" panose="020B0502040204020203" pitchFamily="34" charset="0"/>
                  <a:cs typeface="Segoe UI" panose="020B0502040204020203" pitchFamily="34" charset="0"/>
                </a:rPr>
                <a:t>jan-jun</a:t>
              </a:r>
              <a:r>
                <a:rPr lang="pt-BR" sz="1200" spc="0">
                  <a:latin typeface="Segoe UI" panose="020B0502040204020203" pitchFamily="34" charset="0"/>
                  <a:cs typeface="Segoe UI" panose="020B0502040204020203" pitchFamily="34" charset="0"/>
                </a:rPr>
                <a:t>/23</a:t>
              </a:r>
            </a:p>
            <a:p>
              <a:pPr lvl="0" algn="l">
                <a:lnSpc>
                  <a:spcPct val="75000"/>
                </a:lnSpc>
                <a:spcBef>
                  <a:spcPts val="100"/>
                </a:spcBef>
                <a:spcAft>
                  <a:spcPts val="100"/>
                </a:spcAft>
                <a:defRPr/>
              </a:pPr>
              <a:r>
                <a:rPr lang="pt-BR" sz="1600" b="1" spc="0">
                  <a:solidFill>
                    <a:srgbClr val="F8681E"/>
                  </a:solidFill>
                  <a:latin typeface="Segoe UI" panose="020B0502040204020203" pitchFamily="34" charset="0"/>
                  <a:cs typeface="Segoe UI" panose="020B0502040204020203" pitchFamily="34" charset="0"/>
                </a:rPr>
                <a:t>32%</a:t>
              </a:r>
              <a:endParaRPr lang="pt-BR" sz="1800" b="1" spc="0">
                <a:solidFill>
                  <a:srgbClr val="F8681E"/>
                </a:solidFill>
                <a:latin typeface="Segoe UI" panose="020B0502040204020203" pitchFamily="34" charset="0"/>
                <a:cs typeface="Segoe UI" panose="020B0502040204020203" pitchFamily="34" charset="0"/>
              </a:endParaRPr>
            </a:p>
          </p:txBody>
        </p:sp>
        <p:sp>
          <p:nvSpPr>
            <p:cNvPr id="19" name="Elipse 18">
              <a:extLst>
                <a:ext uri="{FF2B5EF4-FFF2-40B4-BE49-F238E27FC236}">
                  <a16:creationId xmlns:a16="http://schemas.microsoft.com/office/drawing/2014/main" id="{9E2BB204-94D6-7F96-762C-1D344C359904}"/>
                </a:ext>
              </a:extLst>
            </p:cNvPr>
            <p:cNvSpPr/>
            <p:nvPr/>
          </p:nvSpPr>
          <p:spPr>
            <a:xfrm>
              <a:off x="3875276" y="4011954"/>
              <a:ext cx="568070" cy="5680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20" name="Forma Livre: Forma 19">
              <a:extLst>
                <a:ext uri="{FF2B5EF4-FFF2-40B4-BE49-F238E27FC236}">
                  <a16:creationId xmlns:a16="http://schemas.microsoft.com/office/drawing/2014/main" id="{45AC201F-BBA8-B137-8D05-3D8FB4AA875B}"/>
                </a:ext>
              </a:extLst>
            </p:cNvPr>
            <p:cNvSpPr/>
            <p:nvPr/>
          </p:nvSpPr>
          <p:spPr>
            <a:xfrm>
              <a:off x="4041377" y="4140552"/>
              <a:ext cx="259825" cy="302137"/>
            </a:xfrm>
            <a:custGeom>
              <a:avLst/>
              <a:gdLst>
                <a:gd name="connsiteX0" fmla="*/ 217504 w 315251"/>
                <a:gd name="connsiteY0" fmla="*/ 110417 h 394064"/>
                <a:gd name="connsiteX1" fmla="*/ 295548 w 315251"/>
                <a:gd name="connsiteY1" fmla="*/ 98516 h 394064"/>
                <a:gd name="connsiteX2" fmla="*/ 295548 w 315251"/>
                <a:gd name="connsiteY2" fmla="*/ 59110 h 394064"/>
                <a:gd name="connsiteX3" fmla="*/ 222567 w 315251"/>
                <a:gd name="connsiteY3" fmla="*/ 68587 h 394064"/>
                <a:gd name="connsiteX4" fmla="*/ 227198 w 315251"/>
                <a:gd name="connsiteY4" fmla="*/ 62774 h 394064"/>
                <a:gd name="connsiteX5" fmla="*/ 235552 w 315251"/>
                <a:gd name="connsiteY5" fmla="*/ 20787 h 394064"/>
                <a:gd name="connsiteX6" fmla="*/ 236439 w 315251"/>
                <a:gd name="connsiteY6" fmla="*/ 19703 h 394064"/>
                <a:gd name="connsiteX7" fmla="*/ 235040 w 315251"/>
                <a:gd name="connsiteY7" fmla="*/ 19703 h 394064"/>
                <a:gd name="connsiteX8" fmla="*/ 197032 w 315251"/>
                <a:gd name="connsiteY8" fmla="*/ 0 h 394064"/>
                <a:gd name="connsiteX9" fmla="*/ 118219 w 315251"/>
                <a:gd name="connsiteY9" fmla="*/ 0 h 394064"/>
                <a:gd name="connsiteX10" fmla="*/ 80212 w 315251"/>
                <a:gd name="connsiteY10" fmla="*/ 19703 h 394064"/>
                <a:gd name="connsiteX11" fmla="*/ 78813 w 315251"/>
                <a:gd name="connsiteY11" fmla="*/ 19703 h 394064"/>
                <a:gd name="connsiteX12" fmla="*/ 79680 w 315251"/>
                <a:gd name="connsiteY12" fmla="*/ 20807 h 394064"/>
                <a:gd name="connsiteX13" fmla="*/ 88054 w 315251"/>
                <a:gd name="connsiteY13" fmla="*/ 62794 h 394064"/>
                <a:gd name="connsiteX14" fmla="*/ 91640 w 315251"/>
                <a:gd name="connsiteY14" fmla="*/ 67286 h 394064"/>
                <a:gd name="connsiteX15" fmla="*/ 19703 w 315251"/>
                <a:gd name="connsiteY15" fmla="*/ 59110 h 394064"/>
                <a:gd name="connsiteX16" fmla="*/ 19703 w 315251"/>
                <a:gd name="connsiteY16" fmla="*/ 98516 h 394064"/>
                <a:gd name="connsiteX17" fmla="*/ 99659 w 315251"/>
                <a:gd name="connsiteY17" fmla="*/ 109707 h 394064"/>
                <a:gd name="connsiteX18" fmla="*/ 0 w 315251"/>
                <a:gd name="connsiteY18" fmla="*/ 256142 h 394064"/>
                <a:gd name="connsiteX19" fmla="*/ 0 w 315251"/>
                <a:gd name="connsiteY19" fmla="*/ 315251 h 394064"/>
                <a:gd name="connsiteX20" fmla="*/ 78813 w 315251"/>
                <a:gd name="connsiteY20" fmla="*/ 394064 h 394064"/>
                <a:gd name="connsiteX21" fmla="*/ 236439 w 315251"/>
                <a:gd name="connsiteY21" fmla="*/ 394064 h 394064"/>
                <a:gd name="connsiteX22" fmla="*/ 315251 w 315251"/>
                <a:gd name="connsiteY22" fmla="*/ 315251 h 394064"/>
                <a:gd name="connsiteX23" fmla="*/ 315251 w 315251"/>
                <a:gd name="connsiteY23" fmla="*/ 256142 h 394064"/>
                <a:gd name="connsiteX24" fmla="*/ 217504 w 315251"/>
                <a:gd name="connsiteY24" fmla="*/ 110417 h 394064"/>
                <a:gd name="connsiteX25" fmla="*/ 157626 w 315251"/>
                <a:gd name="connsiteY25" fmla="*/ 334954 h 394064"/>
                <a:gd name="connsiteX26" fmla="*/ 118219 w 315251"/>
                <a:gd name="connsiteY26" fmla="*/ 334954 h 394064"/>
                <a:gd name="connsiteX27" fmla="*/ 118219 w 315251"/>
                <a:gd name="connsiteY27" fmla="*/ 295548 h 394064"/>
                <a:gd name="connsiteX28" fmla="*/ 157626 w 315251"/>
                <a:gd name="connsiteY28" fmla="*/ 295548 h 394064"/>
                <a:gd name="connsiteX29" fmla="*/ 167477 w 315251"/>
                <a:gd name="connsiteY29" fmla="*/ 285696 h 394064"/>
                <a:gd name="connsiteX30" fmla="*/ 157626 w 315251"/>
                <a:gd name="connsiteY30" fmla="*/ 275845 h 394064"/>
                <a:gd name="connsiteX31" fmla="*/ 108368 w 315251"/>
                <a:gd name="connsiteY31" fmla="*/ 226587 h 394064"/>
                <a:gd name="connsiteX32" fmla="*/ 137922 w 315251"/>
                <a:gd name="connsiteY32" fmla="*/ 181506 h 394064"/>
                <a:gd name="connsiteX33" fmla="*/ 137922 w 315251"/>
                <a:gd name="connsiteY33" fmla="*/ 157626 h 394064"/>
                <a:gd name="connsiteX34" fmla="*/ 177329 w 315251"/>
                <a:gd name="connsiteY34" fmla="*/ 157626 h 394064"/>
                <a:gd name="connsiteX35" fmla="*/ 177329 w 315251"/>
                <a:gd name="connsiteY35" fmla="*/ 177329 h 394064"/>
                <a:gd name="connsiteX36" fmla="*/ 197032 w 315251"/>
                <a:gd name="connsiteY36" fmla="*/ 177329 h 394064"/>
                <a:gd name="connsiteX37" fmla="*/ 197032 w 315251"/>
                <a:gd name="connsiteY37" fmla="*/ 216735 h 394064"/>
                <a:gd name="connsiteX38" fmla="*/ 157626 w 315251"/>
                <a:gd name="connsiteY38" fmla="*/ 216735 h 394064"/>
                <a:gd name="connsiteX39" fmla="*/ 147774 w 315251"/>
                <a:gd name="connsiteY39" fmla="*/ 226587 h 394064"/>
                <a:gd name="connsiteX40" fmla="*/ 157626 w 315251"/>
                <a:gd name="connsiteY40" fmla="*/ 236438 h 394064"/>
                <a:gd name="connsiteX41" fmla="*/ 206884 w 315251"/>
                <a:gd name="connsiteY41" fmla="*/ 285696 h 394064"/>
                <a:gd name="connsiteX42" fmla="*/ 157626 w 315251"/>
                <a:gd name="connsiteY42" fmla="*/ 334954 h 39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5251" h="394064">
                  <a:moveTo>
                    <a:pt x="217504" y="110417"/>
                  </a:moveTo>
                  <a:cubicBezTo>
                    <a:pt x="239709" y="103974"/>
                    <a:pt x="267668" y="98516"/>
                    <a:pt x="295548" y="98516"/>
                  </a:cubicBezTo>
                  <a:lnTo>
                    <a:pt x="295548" y="59110"/>
                  </a:lnTo>
                  <a:cubicBezTo>
                    <a:pt x="277047" y="59110"/>
                    <a:pt x="249482" y="62439"/>
                    <a:pt x="222567" y="68587"/>
                  </a:cubicBezTo>
                  <a:lnTo>
                    <a:pt x="227198" y="62774"/>
                  </a:lnTo>
                  <a:cubicBezTo>
                    <a:pt x="238409" y="48785"/>
                    <a:pt x="241384" y="33515"/>
                    <a:pt x="235552" y="20787"/>
                  </a:cubicBezTo>
                  <a:lnTo>
                    <a:pt x="236439" y="19703"/>
                  </a:lnTo>
                  <a:lnTo>
                    <a:pt x="235040" y="19703"/>
                  </a:lnTo>
                  <a:cubicBezTo>
                    <a:pt x="228715" y="7211"/>
                    <a:pt x="214962" y="0"/>
                    <a:pt x="197032" y="0"/>
                  </a:cubicBezTo>
                  <a:lnTo>
                    <a:pt x="118219" y="0"/>
                  </a:lnTo>
                  <a:cubicBezTo>
                    <a:pt x="100289" y="0"/>
                    <a:pt x="86536" y="7211"/>
                    <a:pt x="80212" y="19703"/>
                  </a:cubicBezTo>
                  <a:lnTo>
                    <a:pt x="78813" y="19703"/>
                  </a:lnTo>
                  <a:lnTo>
                    <a:pt x="79680" y="20807"/>
                  </a:lnTo>
                  <a:cubicBezTo>
                    <a:pt x="73867" y="33515"/>
                    <a:pt x="76843" y="48805"/>
                    <a:pt x="88054" y="62794"/>
                  </a:cubicBezTo>
                  <a:lnTo>
                    <a:pt x="91640" y="67286"/>
                  </a:lnTo>
                  <a:cubicBezTo>
                    <a:pt x="67326" y="62026"/>
                    <a:pt x="41574" y="59110"/>
                    <a:pt x="19703" y="59110"/>
                  </a:cubicBezTo>
                  <a:lnTo>
                    <a:pt x="19703" y="98516"/>
                  </a:lnTo>
                  <a:cubicBezTo>
                    <a:pt x="51012" y="98516"/>
                    <a:pt x="78576" y="103659"/>
                    <a:pt x="99659" y="109707"/>
                  </a:cubicBezTo>
                  <a:cubicBezTo>
                    <a:pt x="41377" y="132859"/>
                    <a:pt x="0" y="189722"/>
                    <a:pt x="0" y="256142"/>
                  </a:cubicBezTo>
                  <a:lnTo>
                    <a:pt x="0" y="315251"/>
                  </a:lnTo>
                  <a:cubicBezTo>
                    <a:pt x="0" y="358716"/>
                    <a:pt x="35348" y="394064"/>
                    <a:pt x="78813" y="394064"/>
                  </a:cubicBezTo>
                  <a:lnTo>
                    <a:pt x="236439" y="394064"/>
                  </a:lnTo>
                  <a:cubicBezTo>
                    <a:pt x="279904" y="394064"/>
                    <a:pt x="315251" y="358716"/>
                    <a:pt x="315251" y="315251"/>
                  </a:cubicBezTo>
                  <a:lnTo>
                    <a:pt x="315251" y="256142"/>
                  </a:lnTo>
                  <a:cubicBezTo>
                    <a:pt x="315251" y="190412"/>
                    <a:pt x="274781" y="134021"/>
                    <a:pt x="217504" y="110417"/>
                  </a:cubicBezTo>
                  <a:close/>
                  <a:moveTo>
                    <a:pt x="157626" y="334954"/>
                  </a:moveTo>
                  <a:lnTo>
                    <a:pt x="118219" y="334954"/>
                  </a:lnTo>
                  <a:lnTo>
                    <a:pt x="118219" y="295548"/>
                  </a:lnTo>
                  <a:lnTo>
                    <a:pt x="157626" y="295548"/>
                  </a:lnTo>
                  <a:cubicBezTo>
                    <a:pt x="163064" y="295548"/>
                    <a:pt x="167477" y="291115"/>
                    <a:pt x="167477" y="285696"/>
                  </a:cubicBezTo>
                  <a:cubicBezTo>
                    <a:pt x="167477" y="280278"/>
                    <a:pt x="163064" y="275845"/>
                    <a:pt x="157626" y="275845"/>
                  </a:cubicBezTo>
                  <a:cubicBezTo>
                    <a:pt x="130475" y="275845"/>
                    <a:pt x="108368" y="253758"/>
                    <a:pt x="108368" y="226587"/>
                  </a:cubicBezTo>
                  <a:cubicBezTo>
                    <a:pt x="108368" y="206450"/>
                    <a:pt x="120564" y="189131"/>
                    <a:pt x="137922" y="181506"/>
                  </a:cubicBezTo>
                  <a:lnTo>
                    <a:pt x="137922" y="157626"/>
                  </a:lnTo>
                  <a:lnTo>
                    <a:pt x="177329" y="157626"/>
                  </a:lnTo>
                  <a:lnTo>
                    <a:pt x="177329" y="177329"/>
                  </a:lnTo>
                  <a:lnTo>
                    <a:pt x="197032" y="177329"/>
                  </a:lnTo>
                  <a:lnTo>
                    <a:pt x="197032" y="216735"/>
                  </a:lnTo>
                  <a:lnTo>
                    <a:pt x="157626" y="216735"/>
                  </a:lnTo>
                  <a:cubicBezTo>
                    <a:pt x="152188" y="216735"/>
                    <a:pt x="147774" y="221168"/>
                    <a:pt x="147774" y="226587"/>
                  </a:cubicBezTo>
                  <a:cubicBezTo>
                    <a:pt x="147774" y="232005"/>
                    <a:pt x="152188" y="236438"/>
                    <a:pt x="157626" y="236438"/>
                  </a:cubicBezTo>
                  <a:cubicBezTo>
                    <a:pt x="184777" y="236438"/>
                    <a:pt x="206884" y="258526"/>
                    <a:pt x="206884" y="285696"/>
                  </a:cubicBezTo>
                  <a:cubicBezTo>
                    <a:pt x="206884" y="312867"/>
                    <a:pt x="184777" y="334954"/>
                    <a:pt x="157626" y="334954"/>
                  </a:cubicBezTo>
                  <a:close/>
                </a:path>
              </a:pathLst>
            </a:custGeom>
            <a:solidFill>
              <a:schemeClr val="bg1"/>
            </a:solidFill>
            <a:ln w="19447"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Forma Livre: Forma 25">
            <a:extLst>
              <a:ext uri="{FF2B5EF4-FFF2-40B4-BE49-F238E27FC236}">
                <a16:creationId xmlns:a16="http://schemas.microsoft.com/office/drawing/2014/main" id="{E53813B6-E83C-C054-DFCA-DEC96245C17F}"/>
              </a:ext>
            </a:extLst>
          </p:cNvPr>
          <p:cNvSpPr/>
          <p:nvPr/>
        </p:nvSpPr>
        <p:spPr>
          <a:xfrm>
            <a:off x="6332238" y="4260331"/>
            <a:ext cx="294562" cy="271173"/>
          </a:xfrm>
          <a:custGeom>
            <a:avLst/>
            <a:gdLst>
              <a:gd name="connsiteX0" fmla="*/ 607027 w 4050030"/>
              <a:gd name="connsiteY0" fmla="*/ 1262585 h 4050030"/>
              <a:gd name="connsiteX1" fmla="*/ 1132375 w 4050030"/>
              <a:gd name="connsiteY1" fmla="*/ 1787933 h 4050030"/>
              <a:gd name="connsiteX2" fmla="*/ 607027 w 4050030"/>
              <a:gd name="connsiteY2" fmla="*/ 2313280 h 4050030"/>
              <a:gd name="connsiteX3" fmla="*/ 81679 w 4050030"/>
              <a:gd name="connsiteY3" fmla="*/ 1787933 h 4050030"/>
              <a:gd name="connsiteX4" fmla="*/ 607027 w 4050030"/>
              <a:gd name="connsiteY4" fmla="*/ 1262585 h 4050030"/>
              <a:gd name="connsiteX5" fmla="*/ 655292 w 4050030"/>
              <a:gd name="connsiteY5" fmla="*/ 1367336 h 4050030"/>
              <a:gd name="connsiteX6" fmla="*/ 655292 w 4050030"/>
              <a:gd name="connsiteY6" fmla="*/ 1458297 h 4050030"/>
              <a:gd name="connsiteX7" fmla="*/ 757392 w 4050030"/>
              <a:gd name="connsiteY7" fmla="*/ 1517170 h 4050030"/>
              <a:gd name="connsiteX8" fmla="*/ 802740 w 4050030"/>
              <a:gd name="connsiteY8" fmla="*/ 1643137 h 4050030"/>
              <a:gd name="connsiteX9" fmla="*/ 802740 w 4050030"/>
              <a:gd name="connsiteY9" fmla="*/ 1656397 h 4050030"/>
              <a:gd name="connsiteX10" fmla="*/ 706740 w 4050030"/>
              <a:gd name="connsiteY10" fmla="*/ 1651888 h 4050030"/>
              <a:gd name="connsiteX11" fmla="*/ 706740 w 4050030"/>
              <a:gd name="connsiteY11" fmla="*/ 1644198 h 4050030"/>
              <a:gd name="connsiteX12" fmla="*/ 684198 w 4050030"/>
              <a:gd name="connsiteY12" fmla="*/ 1579756 h 4050030"/>
              <a:gd name="connsiteX13" fmla="*/ 616309 w 4050030"/>
              <a:gd name="connsiteY13" fmla="*/ 1550054 h 4050030"/>
              <a:gd name="connsiteX14" fmla="*/ 607027 w 4050030"/>
              <a:gd name="connsiteY14" fmla="*/ 1550054 h 4050030"/>
              <a:gd name="connsiteX15" fmla="*/ 538607 w 4050030"/>
              <a:gd name="connsiteY15" fmla="*/ 1575513 h 4050030"/>
              <a:gd name="connsiteX16" fmla="*/ 513944 w 4050030"/>
              <a:gd name="connsiteY16" fmla="*/ 1617148 h 4050030"/>
              <a:gd name="connsiteX17" fmla="*/ 513149 w 4050030"/>
              <a:gd name="connsiteY17" fmla="*/ 1661701 h 4050030"/>
              <a:gd name="connsiteX18" fmla="*/ 537547 w 4050030"/>
              <a:gd name="connsiteY18" fmla="*/ 1695911 h 4050030"/>
              <a:gd name="connsiteX19" fmla="*/ 537547 w 4050030"/>
              <a:gd name="connsiteY19" fmla="*/ 1695911 h 4050030"/>
              <a:gd name="connsiteX20" fmla="*/ 628243 w 4050030"/>
              <a:gd name="connsiteY20" fmla="*/ 1745767 h 4050030"/>
              <a:gd name="connsiteX21" fmla="*/ 628243 w 4050030"/>
              <a:gd name="connsiteY21" fmla="*/ 1745767 h 4050030"/>
              <a:gd name="connsiteX22" fmla="*/ 721856 w 4050030"/>
              <a:gd name="connsiteY22" fmla="*/ 1795358 h 4050030"/>
              <a:gd name="connsiteX23" fmla="*/ 723712 w 4050030"/>
              <a:gd name="connsiteY23" fmla="*/ 1796684 h 4050030"/>
              <a:gd name="connsiteX24" fmla="*/ 793723 w 4050030"/>
              <a:gd name="connsiteY24" fmla="*/ 1888971 h 4050030"/>
              <a:gd name="connsiteX25" fmla="*/ 792662 w 4050030"/>
              <a:gd name="connsiteY25" fmla="*/ 1984706 h 4050030"/>
              <a:gd name="connsiteX26" fmla="*/ 741745 w 4050030"/>
              <a:gd name="connsiteY26" fmla="*/ 2070098 h 4050030"/>
              <a:gd name="connsiteX27" fmla="*/ 655292 w 4050030"/>
              <a:gd name="connsiteY27" fmla="*/ 2116507 h 4050030"/>
              <a:gd name="connsiteX28" fmla="*/ 655292 w 4050030"/>
              <a:gd name="connsiteY28" fmla="*/ 2208529 h 4050030"/>
              <a:gd name="connsiteX29" fmla="*/ 558762 w 4050030"/>
              <a:gd name="connsiteY29" fmla="*/ 2208529 h 4050030"/>
              <a:gd name="connsiteX30" fmla="*/ 558762 w 4050030"/>
              <a:gd name="connsiteY30" fmla="*/ 2117568 h 4050030"/>
              <a:gd name="connsiteX31" fmla="*/ 456663 w 4050030"/>
              <a:gd name="connsiteY31" fmla="*/ 2058695 h 4050030"/>
              <a:gd name="connsiteX32" fmla="*/ 411049 w 4050030"/>
              <a:gd name="connsiteY32" fmla="*/ 1932728 h 4050030"/>
              <a:gd name="connsiteX33" fmla="*/ 411315 w 4050030"/>
              <a:gd name="connsiteY33" fmla="*/ 1919734 h 4050030"/>
              <a:gd name="connsiteX34" fmla="*/ 507315 w 4050030"/>
              <a:gd name="connsiteY34" fmla="*/ 1924242 h 4050030"/>
              <a:gd name="connsiteX35" fmla="*/ 507049 w 4050030"/>
              <a:gd name="connsiteY35" fmla="*/ 1931667 h 4050030"/>
              <a:gd name="connsiteX36" fmla="*/ 529591 w 4050030"/>
              <a:gd name="connsiteY36" fmla="*/ 1996109 h 4050030"/>
              <a:gd name="connsiteX37" fmla="*/ 597480 w 4050030"/>
              <a:gd name="connsiteY37" fmla="*/ 2025811 h 4050030"/>
              <a:gd name="connsiteX38" fmla="*/ 607027 w 4050030"/>
              <a:gd name="connsiteY38" fmla="*/ 2026076 h 4050030"/>
              <a:gd name="connsiteX39" fmla="*/ 675447 w 4050030"/>
              <a:gd name="connsiteY39" fmla="*/ 2000352 h 4050030"/>
              <a:gd name="connsiteX40" fmla="*/ 700110 w 4050030"/>
              <a:gd name="connsiteY40" fmla="*/ 1958717 h 4050030"/>
              <a:gd name="connsiteX41" fmla="*/ 700906 w 4050030"/>
              <a:gd name="connsiteY41" fmla="*/ 1914165 h 4050030"/>
              <a:gd name="connsiteX42" fmla="*/ 676773 w 4050030"/>
              <a:gd name="connsiteY42" fmla="*/ 1880485 h 4050030"/>
              <a:gd name="connsiteX43" fmla="*/ 582629 w 4050030"/>
              <a:gd name="connsiteY43" fmla="*/ 1830363 h 4050030"/>
              <a:gd name="connsiteX44" fmla="*/ 581834 w 4050030"/>
              <a:gd name="connsiteY44" fmla="*/ 1830098 h 4050030"/>
              <a:gd name="connsiteX45" fmla="*/ 491138 w 4050030"/>
              <a:gd name="connsiteY45" fmla="*/ 1780242 h 4050030"/>
              <a:gd name="connsiteX46" fmla="*/ 490077 w 4050030"/>
              <a:gd name="connsiteY46" fmla="*/ 1779446 h 4050030"/>
              <a:gd name="connsiteX47" fmla="*/ 420066 w 4050030"/>
              <a:gd name="connsiteY47" fmla="*/ 1686894 h 4050030"/>
              <a:gd name="connsiteX48" fmla="*/ 421127 w 4050030"/>
              <a:gd name="connsiteY48" fmla="*/ 1591159 h 4050030"/>
              <a:gd name="connsiteX49" fmla="*/ 472309 w 4050030"/>
              <a:gd name="connsiteY49" fmla="*/ 1506032 h 4050030"/>
              <a:gd name="connsiteX50" fmla="*/ 558762 w 4050030"/>
              <a:gd name="connsiteY50" fmla="*/ 1459623 h 4050030"/>
              <a:gd name="connsiteX51" fmla="*/ 558762 w 4050030"/>
              <a:gd name="connsiteY51" fmla="*/ 1367336 h 4050030"/>
              <a:gd name="connsiteX52" fmla="*/ 655292 w 4050030"/>
              <a:gd name="connsiteY52" fmla="*/ 1367336 h 4050030"/>
              <a:gd name="connsiteX53" fmla="*/ 83005 w 4050030"/>
              <a:gd name="connsiteY53" fmla="*/ 3693346 h 4050030"/>
              <a:gd name="connsiteX54" fmla="*/ 1131049 w 4050030"/>
              <a:gd name="connsiteY54" fmla="*/ 3693346 h 4050030"/>
              <a:gd name="connsiteX55" fmla="*/ 1214054 w 4050030"/>
              <a:gd name="connsiteY55" fmla="*/ 3776351 h 4050030"/>
              <a:gd name="connsiteX56" fmla="*/ 1214054 w 4050030"/>
              <a:gd name="connsiteY56" fmla="*/ 3967025 h 4050030"/>
              <a:gd name="connsiteX57" fmla="*/ 1131049 w 4050030"/>
              <a:gd name="connsiteY57" fmla="*/ 4050031 h 4050030"/>
              <a:gd name="connsiteX58" fmla="*/ 83005 w 4050030"/>
              <a:gd name="connsiteY58" fmla="*/ 4050031 h 4050030"/>
              <a:gd name="connsiteX59" fmla="*/ 0 w 4050030"/>
              <a:gd name="connsiteY59" fmla="*/ 3967025 h 4050030"/>
              <a:gd name="connsiteX60" fmla="*/ 0 w 4050030"/>
              <a:gd name="connsiteY60" fmla="*/ 3776351 h 4050030"/>
              <a:gd name="connsiteX61" fmla="*/ 83005 w 4050030"/>
              <a:gd name="connsiteY61" fmla="*/ 3693346 h 4050030"/>
              <a:gd name="connsiteX62" fmla="*/ 83005 w 4050030"/>
              <a:gd name="connsiteY62" fmla="*/ 3238539 h 4050030"/>
              <a:gd name="connsiteX63" fmla="*/ 1131049 w 4050030"/>
              <a:gd name="connsiteY63" fmla="*/ 3238539 h 4050030"/>
              <a:gd name="connsiteX64" fmla="*/ 1214054 w 4050030"/>
              <a:gd name="connsiteY64" fmla="*/ 3321545 h 4050030"/>
              <a:gd name="connsiteX65" fmla="*/ 1214054 w 4050030"/>
              <a:gd name="connsiteY65" fmla="*/ 3512219 h 4050030"/>
              <a:gd name="connsiteX66" fmla="*/ 1131049 w 4050030"/>
              <a:gd name="connsiteY66" fmla="*/ 3595224 h 4050030"/>
              <a:gd name="connsiteX67" fmla="*/ 83005 w 4050030"/>
              <a:gd name="connsiteY67" fmla="*/ 3595224 h 4050030"/>
              <a:gd name="connsiteX68" fmla="*/ 0 w 4050030"/>
              <a:gd name="connsiteY68" fmla="*/ 3512219 h 4050030"/>
              <a:gd name="connsiteX69" fmla="*/ 0 w 4050030"/>
              <a:gd name="connsiteY69" fmla="*/ 3321545 h 4050030"/>
              <a:gd name="connsiteX70" fmla="*/ 83005 w 4050030"/>
              <a:gd name="connsiteY70" fmla="*/ 3238539 h 4050030"/>
              <a:gd name="connsiteX71" fmla="*/ 83005 w 4050030"/>
              <a:gd name="connsiteY71" fmla="*/ 2783733 h 4050030"/>
              <a:gd name="connsiteX72" fmla="*/ 1131049 w 4050030"/>
              <a:gd name="connsiteY72" fmla="*/ 2783733 h 4050030"/>
              <a:gd name="connsiteX73" fmla="*/ 1214054 w 4050030"/>
              <a:gd name="connsiteY73" fmla="*/ 2866739 h 4050030"/>
              <a:gd name="connsiteX74" fmla="*/ 1214054 w 4050030"/>
              <a:gd name="connsiteY74" fmla="*/ 3057412 h 4050030"/>
              <a:gd name="connsiteX75" fmla="*/ 1131049 w 4050030"/>
              <a:gd name="connsiteY75" fmla="*/ 3140418 h 4050030"/>
              <a:gd name="connsiteX76" fmla="*/ 83005 w 4050030"/>
              <a:gd name="connsiteY76" fmla="*/ 3140418 h 4050030"/>
              <a:gd name="connsiteX77" fmla="*/ 0 w 4050030"/>
              <a:gd name="connsiteY77" fmla="*/ 3057412 h 4050030"/>
              <a:gd name="connsiteX78" fmla="*/ 0 w 4050030"/>
              <a:gd name="connsiteY78" fmla="*/ 2866739 h 4050030"/>
              <a:gd name="connsiteX79" fmla="*/ 83005 w 4050030"/>
              <a:gd name="connsiteY79" fmla="*/ 2783733 h 4050030"/>
              <a:gd name="connsiteX80" fmla="*/ 1500993 w 4050030"/>
              <a:gd name="connsiteY80" fmla="*/ 2328927 h 4050030"/>
              <a:gd name="connsiteX81" fmla="*/ 2549037 w 4050030"/>
              <a:gd name="connsiteY81" fmla="*/ 2328927 h 4050030"/>
              <a:gd name="connsiteX82" fmla="*/ 2632042 w 4050030"/>
              <a:gd name="connsiteY82" fmla="*/ 2411932 h 4050030"/>
              <a:gd name="connsiteX83" fmla="*/ 2632042 w 4050030"/>
              <a:gd name="connsiteY83" fmla="*/ 2602606 h 4050030"/>
              <a:gd name="connsiteX84" fmla="*/ 2549037 w 4050030"/>
              <a:gd name="connsiteY84" fmla="*/ 2685346 h 4050030"/>
              <a:gd name="connsiteX85" fmla="*/ 1500993 w 4050030"/>
              <a:gd name="connsiteY85" fmla="*/ 2685346 h 4050030"/>
              <a:gd name="connsiteX86" fmla="*/ 1417988 w 4050030"/>
              <a:gd name="connsiteY86" fmla="*/ 2602606 h 4050030"/>
              <a:gd name="connsiteX87" fmla="*/ 1417988 w 4050030"/>
              <a:gd name="connsiteY87" fmla="*/ 2411932 h 4050030"/>
              <a:gd name="connsiteX88" fmla="*/ 1500993 w 4050030"/>
              <a:gd name="connsiteY88" fmla="*/ 2328927 h 4050030"/>
              <a:gd name="connsiteX89" fmla="*/ 1500993 w 4050030"/>
              <a:gd name="connsiteY89" fmla="*/ 3693346 h 4050030"/>
              <a:gd name="connsiteX90" fmla="*/ 2549037 w 4050030"/>
              <a:gd name="connsiteY90" fmla="*/ 3693346 h 4050030"/>
              <a:gd name="connsiteX91" fmla="*/ 2632042 w 4050030"/>
              <a:gd name="connsiteY91" fmla="*/ 3776351 h 4050030"/>
              <a:gd name="connsiteX92" fmla="*/ 2632042 w 4050030"/>
              <a:gd name="connsiteY92" fmla="*/ 3967025 h 4050030"/>
              <a:gd name="connsiteX93" fmla="*/ 2549037 w 4050030"/>
              <a:gd name="connsiteY93" fmla="*/ 4050031 h 4050030"/>
              <a:gd name="connsiteX94" fmla="*/ 1500993 w 4050030"/>
              <a:gd name="connsiteY94" fmla="*/ 4050031 h 4050030"/>
              <a:gd name="connsiteX95" fmla="*/ 1417988 w 4050030"/>
              <a:gd name="connsiteY95" fmla="*/ 3967025 h 4050030"/>
              <a:gd name="connsiteX96" fmla="*/ 1417988 w 4050030"/>
              <a:gd name="connsiteY96" fmla="*/ 3776351 h 4050030"/>
              <a:gd name="connsiteX97" fmla="*/ 1500993 w 4050030"/>
              <a:gd name="connsiteY97" fmla="*/ 3693346 h 4050030"/>
              <a:gd name="connsiteX98" fmla="*/ 1500993 w 4050030"/>
              <a:gd name="connsiteY98" fmla="*/ 3238539 h 4050030"/>
              <a:gd name="connsiteX99" fmla="*/ 2549037 w 4050030"/>
              <a:gd name="connsiteY99" fmla="*/ 3238539 h 4050030"/>
              <a:gd name="connsiteX100" fmla="*/ 2632042 w 4050030"/>
              <a:gd name="connsiteY100" fmla="*/ 3321545 h 4050030"/>
              <a:gd name="connsiteX101" fmla="*/ 2632042 w 4050030"/>
              <a:gd name="connsiteY101" fmla="*/ 3512219 h 4050030"/>
              <a:gd name="connsiteX102" fmla="*/ 2549037 w 4050030"/>
              <a:gd name="connsiteY102" fmla="*/ 3595224 h 4050030"/>
              <a:gd name="connsiteX103" fmla="*/ 1500993 w 4050030"/>
              <a:gd name="connsiteY103" fmla="*/ 3595224 h 4050030"/>
              <a:gd name="connsiteX104" fmla="*/ 1417988 w 4050030"/>
              <a:gd name="connsiteY104" fmla="*/ 3512219 h 4050030"/>
              <a:gd name="connsiteX105" fmla="*/ 1417988 w 4050030"/>
              <a:gd name="connsiteY105" fmla="*/ 3321545 h 4050030"/>
              <a:gd name="connsiteX106" fmla="*/ 1500993 w 4050030"/>
              <a:gd name="connsiteY106" fmla="*/ 3238539 h 4050030"/>
              <a:gd name="connsiteX107" fmla="*/ 1500993 w 4050030"/>
              <a:gd name="connsiteY107" fmla="*/ 2783733 h 4050030"/>
              <a:gd name="connsiteX108" fmla="*/ 2549037 w 4050030"/>
              <a:gd name="connsiteY108" fmla="*/ 2783733 h 4050030"/>
              <a:gd name="connsiteX109" fmla="*/ 2632042 w 4050030"/>
              <a:gd name="connsiteY109" fmla="*/ 2866739 h 4050030"/>
              <a:gd name="connsiteX110" fmla="*/ 2632042 w 4050030"/>
              <a:gd name="connsiteY110" fmla="*/ 3057412 h 4050030"/>
              <a:gd name="connsiteX111" fmla="*/ 2549037 w 4050030"/>
              <a:gd name="connsiteY111" fmla="*/ 3140418 h 4050030"/>
              <a:gd name="connsiteX112" fmla="*/ 1500993 w 4050030"/>
              <a:gd name="connsiteY112" fmla="*/ 3140418 h 4050030"/>
              <a:gd name="connsiteX113" fmla="*/ 1417988 w 4050030"/>
              <a:gd name="connsiteY113" fmla="*/ 3057412 h 4050030"/>
              <a:gd name="connsiteX114" fmla="*/ 1417988 w 4050030"/>
              <a:gd name="connsiteY114" fmla="*/ 2866739 h 4050030"/>
              <a:gd name="connsiteX115" fmla="*/ 1500993 w 4050030"/>
              <a:gd name="connsiteY115" fmla="*/ 2783733 h 4050030"/>
              <a:gd name="connsiteX116" fmla="*/ 2918981 w 4050030"/>
              <a:gd name="connsiteY116" fmla="*/ 2328927 h 4050030"/>
              <a:gd name="connsiteX117" fmla="*/ 3967025 w 4050030"/>
              <a:gd name="connsiteY117" fmla="*/ 2328927 h 4050030"/>
              <a:gd name="connsiteX118" fmla="*/ 4050030 w 4050030"/>
              <a:gd name="connsiteY118" fmla="*/ 2411932 h 4050030"/>
              <a:gd name="connsiteX119" fmla="*/ 4050030 w 4050030"/>
              <a:gd name="connsiteY119" fmla="*/ 2602606 h 4050030"/>
              <a:gd name="connsiteX120" fmla="*/ 3967025 w 4050030"/>
              <a:gd name="connsiteY120" fmla="*/ 2685346 h 4050030"/>
              <a:gd name="connsiteX121" fmla="*/ 2918981 w 4050030"/>
              <a:gd name="connsiteY121" fmla="*/ 2685346 h 4050030"/>
              <a:gd name="connsiteX122" fmla="*/ 2835976 w 4050030"/>
              <a:gd name="connsiteY122" fmla="*/ 2602606 h 4050030"/>
              <a:gd name="connsiteX123" fmla="*/ 2835976 w 4050030"/>
              <a:gd name="connsiteY123" fmla="*/ 2411932 h 4050030"/>
              <a:gd name="connsiteX124" fmla="*/ 2918981 w 4050030"/>
              <a:gd name="connsiteY124" fmla="*/ 2328927 h 4050030"/>
              <a:gd name="connsiteX125" fmla="*/ 2918981 w 4050030"/>
              <a:gd name="connsiteY125" fmla="*/ 1874120 h 4050030"/>
              <a:gd name="connsiteX126" fmla="*/ 3967025 w 4050030"/>
              <a:gd name="connsiteY126" fmla="*/ 1874120 h 4050030"/>
              <a:gd name="connsiteX127" fmla="*/ 4050030 w 4050030"/>
              <a:gd name="connsiteY127" fmla="*/ 1957126 h 4050030"/>
              <a:gd name="connsiteX128" fmla="*/ 4050030 w 4050030"/>
              <a:gd name="connsiteY128" fmla="*/ 2147800 h 4050030"/>
              <a:gd name="connsiteX129" fmla="*/ 3967025 w 4050030"/>
              <a:gd name="connsiteY129" fmla="*/ 2230540 h 4050030"/>
              <a:gd name="connsiteX130" fmla="*/ 2918981 w 4050030"/>
              <a:gd name="connsiteY130" fmla="*/ 2230540 h 4050030"/>
              <a:gd name="connsiteX131" fmla="*/ 2835976 w 4050030"/>
              <a:gd name="connsiteY131" fmla="*/ 2147800 h 4050030"/>
              <a:gd name="connsiteX132" fmla="*/ 2835976 w 4050030"/>
              <a:gd name="connsiteY132" fmla="*/ 1957126 h 4050030"/>
              <a:gd name="connsiteX133" fmla="*/ 2918981 w 4050030"/>
              <a:gd name="connsiteY133" fmla="*/ 1874120 h 4050030"/>
              <a:gd name="connsiteX134" fmla="*/ 2918981 w 4050030"/>
              <a:gd name="connsiteY134" fmla="*/ 1419314 h 4050030"/>
              <a:gd name="connsiteX135" fmla="*/ 3967025 w 4050030"/>
              <a:gd name="connsiteY135" fmla="*/ 1419314 h 4050030"/>
              <a:gd name="connsiteX136" fmla="*/ 4050030 w 4050030"/>
              <a:gd name="connsiteY136" fmla="*/ 1502319 h 4050030"/>
              <a:gd name="connsiteX137" fmla="*/ 4050030 w 4050030"/>
              <a:gd name="connsiteY137" fmla="*/ 1692993 h 4050030"/>
              <a:gd name="connsiteX138" fmla="*/ 3967025 w 4050030"/>
              <a:gd name="connsiteY138" fmla="*/ 1775734 h 4050030"/>
              <a:gd name="connsiteX139" fmla="*/ 2918981 w 4050030"/>
              <a:gd name="connsiteY139" fmla="*/ 1775734 h 4050030"/>
              <a:gd name="connsiteX140" fmla="*/ 2835976 w 4050030"/>
              <a:gd name="connsiteY140" fmla="*/ 1692993 h 4050030"/>
              <a:gd name="connsiteX141" fmla="*/ 2835976 w 4050030"/>
              <a:gd name="connsiteY141" fmla="*/ 1502319 h 4050030"/>
              <a:gd name="connsiteX142" fmla="*/ 2918981 w 4050030"/>
              <a:gd name="connsiteY142" fmla="*/ 1419314 h 4050030"/>
              <a:gd name="connsiteX143" fmla="*/ 2918981 w 4050030"/>
              <a:gd name="connsiteY143" fmla="*/ 3693346 h 4050030"/>
              <a:gd name="connsiteX144" fmla="*/ 3967025 w 4050030"/>
              <a:gd name="connsiteY144" fmla="*/ 3693346 h 4050030"/>
              <a:gd name="connsiteX145" fmla="*/ 4050030 w 4050030"/>
              <a:gd name="connsiteY145" fmla="*/ 3776351 h 4050030"/>
              <a:gd name="connsiteX146" fmla="*/ 4050030 w 4050030"/>
              <a:gd name="connsiteY146" fmla="*/ 3967025 h 4050030"/>
              <a:gd name="connsiteX147" fmla="*/ 3967025 w 4050030"/>
              <a:gd name="connsiteY147" fmla="*/ 4050031 h 4050030"/>
              <a:gd name="connsiteX148" fmla="*/ 2918981 w 4050030"/>
              <a:gd name="connsiteY148" fmla="*/ 4050031 h 4050030"/>
              <a:gd name="connsiteX149" fmla="*/ 2835976 w 4050030"/>
              <a:gd name="connsiteY149" fmla="*/ 3967025 h 4050030"/>
              <a:gd name="connsiteX150" fmla="*/ 2835976 w 4050030"/>
              <a:gd name="connsiteY150" fmla="*/ 3776351 h 4050030"/>
              <a:gd name="connsiteX151" fmla="*/ 2918981 w 4050030"/>
              <a:gd name="connsiteY151" fmla="*/ 3693346 h 4050030"/>
              <a:gd name="connsiteX152" fmla="*/ 2918981 w 4050030"/>
              <a:gd name="connsiteY152" fmla="*/ 3238539 h 4050030"/>
              <a:gd name="connsiteX153" fmla="*/ 3967025 w 4050030"/>
              <a:gd name="connsiteY153" fmla="*/ 3238539 h 4050030"/>
              <a:gd name="connsiteX154" fmla="*/ 4050030 w 4050030"/>
              <a:gd name="connsiteY154" fmla="*/ 3321545 h 4050030"/>
              <a:gd name="connsiteX155" fmla="*/ 4050030 w 4050030"/>
              <a:gd name="connsiteY155" fmla="*/ 3512219 h 4050030"/>
              <a:gd name="connsiteX156" fmla="*/ 3967025 w 4050030"/>
              <a:gd name="connsiteY156" fmla="*/ 3595224 h 4050030"/>
              <a:gd name="connsiteX157" fmla="*/ 2918981 w 4050030"/>
              <a:gd name="connsiteY157" fmla="*/ 3595224 h 4050030"/>
              <a:gd name="connsiteX158" fmla="*/ 2835976 w 4050030"/>
              <a:gd name="connsiteY158" fmla="*/ 3512219 h 4050030"/>
              <a:gd name="connsiteX159" fmla="*/ 2835976 w 4050030"/>
              <a:gd name="connsiteY159" fmla="*/ 3321545 h 4050030"/>
              <a:gd name="connsiteX160" fmla="*/ 2918981 w 4050030"/>
              <a:gd name="connsiteY160" fmla="*/ 3238539 h 4050030"/>
              <a:gd name="connsiteX161" fmla="*/ 2918981 w 4050030"/>
              <a:gd name="connsiteY161" fmla="*/ 2783733 h 4050030"/>
              <a:gd name="connsiteX162" fmla="*/ 3967025 w 4050030"/>
              <a:gd name="connsiteY162" fmla="*/ 2783733 h 4050030"/>
              <a:gd name="connsiteX163" fmla="*/ 4050030 w 4050030"/>
              <a:gd name="connsiteY163" fmla="*/ 2866739 h 4050030"/>
              <a:gd name="connsiteX164" fmla="*/ 4050030 w 4050030"/>
              <a:gd name="connsiteY164" fmla="*/ 3057412 h 4050030"/>
              <a:gd name="connsiteX165" fmla="*/ 3967025 w 4050030"/>
              <a:gd name="connsiteY165" fmla="*/ 3140418 h 4050030"/>
              <a:gd name="connsiteX166" fmla="*/ 2918981 w 4050030"/>
              <a:gd name="connsiteY166" fmla="*/ 3140418 h 4050030"/>
              <a:gd name="connsiteX167" fmla="*/ 2835976 w 4050030"/>
              <a:gd name="connsiteY167" fmla="*/ 3057412 h 4050030"/>
              <a:gd name="connsiteX168" fmla="*/ 2835976 w 4050030"/>
              <a:gd name="connsiteY168" fmla="*/ 2866739 h 4050030"/>
              <a:gd name="connsiteX169" fmla="*/ 2918981 w 4050030"/>
              <a:gd name="connsiteY169" fmla="*/ 2783733 h 4050030"/>
              <a:gd name="connsiteX170" fmla="*/ 2025015 w 4050030"/>
              <a:gd name="connsiteY170" fmla="*/ 592176 h 4050030"/>
              <a:gd name="connsiteX171" fmla="*/ 2550363 w 4050030"/>
              <a:gd name="connsiteY171" fmla="*/ 1117524 h 4050030"/>
              <a:gd name="connsiteX172" fmla="*/ 2025015 w 4050030"/>
              <a:gd name="connsiteY172" fmla="*/ 1642607 h 4050030"/>
              <a:gd name="connsiteX173" fmla="*/ 1499667 w 4050030"/>
              <a:gd name="connsiteY173" fmla="*/ 1117524 h 4050030"/>
              <a:gd name="connsiteX174" fmla="*/ 2025015 w 4050030"/>
              <a:gd name="connsiteY174" fmla="*/ 592176 h 4050030"/>
              <a:gd name="connsiteX175" fmla="*/ 2073015 w 4050030"/>
              <a:gd name="connsiteY175" fmla="*/ 696928 h 4050030"/>
              <a:gd name="connsiteX176" fmla="*/ 2073015 w 4050030"/>
              <a:gd name="connsiteY176" fmla="*/ 787889 h 4050030"/>
              <a:gd name="connsiteX177" fmla="*/ 2175380 w 4050030"/>
              <a:gd name="connsiteY177" fmla="*/ 846762 h 4050030"/>
              <a:gd name="connsiteX178" fmla="*/ 2220728 w 4050030"/>
              <a:gd name="connsiteY178" fmla="*/ 972729 h 4050030"/>
              <a:gd name="connsiteX179" fmla="*/ 2220728 w 4050030"/>
              <a:gd name="connsiteY179" fmla="*/ 985723 h 4050030"/>
              <a:gd name="connsiteX180" fmla="*/ 2124728 w 4050030"/>
              <a:gd name="connsiteY180" fmla="*/ 981215 h 4050030"/>
              <a:gd name="connsiteX181" fmla="*/ 2124728 w 4050030"/>
              <a:gd name="connsiteY181" fmla="*/ 973789 h 4050030"/>
              <a:gd name="connsiteX182" fmla="*/ 2102186 w 4050030"/>
              <a:gd name="connsiteY182" fmla="*/ 909082 h 4050030"/>
              <a:gd name="connsiteX183" fmla="*/ 2034297 w 4050030"/>
              <a:gd name="connsiteY183" fmla="*/ 879646 h 4050030"/>
              <a:gd name="connsiteX184" fmla="*/ 2025015 w 4050030"/>
              <a:gd name="connsiteY184" fmla="*/ 879381 h 4050030"/>
              <a:gd name="connsiteX185" fmla="*/ 1956595 w 4050030"/>
              <a:gd name="connsiteY185" fmla="*/ 905104 h 4050030"/>
              <a:gd name="connsiteX186" fmla="*/ 1931932 w 4050030"/>
              <a:gd name="connsiteY186" fmla="*/ 946475 h 4050030"/>
              <a:gd name="connsiteX187" fmla="*/ 1931137 w 4050030"/>
              <a:gd name="connsiteY187" fmla="*/ 991292 h 4050030"/>
              <a:gd name="connsiteX188" fmla="*/ 1955534 w 4050030"/>
              <a:gd name="connsiteY188" fmla="*/ 1025237 h 4050030"/>
              <a:gd name="connsiteX189" fmla="*/ 1955534 w 4050030"/>
              <a:gd name="connsiteY189" fmla="*/ 1025237 h 4050030"/>
              <a:gd name="connsiteX190" fmla="*/ 2046231 w 4050030"/>
              <a:gd name="connsiteY190" fmla="*/ 1075093 h 4050030"/>
              <a:gd name="connsiteX191" fmla="*/ 2046231 w 4050030"/>
              <a:gd name="connsiteY191" fmla="*/ 1075093 h 4050030"/>
              <a:gd name="connsiteX192" fmla="*/ 2139844 w 4050030"/>
              <a:gd name="connsiteY192" fmla="*/ 1124950 h 4050030"/>
              <a:gd name="connsiteX193" fmla="*/ 2141700 w 4050030"/>
              <a:gd name="connsiteY193" fmla="*/ 1126010 h 4050030"/>
              <a:gd name="connsiteX194" fmla="*/ 2211711 w 4050030"/>
              <a:gd name="connsiteY194" fmla="*/ 1218298 h 4050030"/>
              <a:gd name="connsiteX195" fmla="*/ 2210650 w 4050030"/>
              <a:gd name="connsiteY195" fmla="*/ 1314298 h 4050030"/>
              <a:gd name="connsiteX196" fmla="*/ 2159733 w 4050030"/>
              <a:gd name="connsiteY196" fmla="*/ 1399425 h 4050030"/>
              <a:gd name="connsiteX197" fmla="*/ 2073015 w 4050030"/>
              <a:gd name="connsiteY197" fmla="*/ 1445833 h 4050030"/>
              <a:gd name="connsiteX198" fmla="*/ 2073015 w 4050030"/>
              <a:gd name="connsiteY198" fmla="*/ 1537855 h 4050030"/>
              <a:gd name="connsiteX199" fmla="*/ 1976750 w 4050030"/>
              <a:gd name="connsiteY199" fmla="*/ 1537855 h 4050030"/>
              <a:gd name="connsiteX200" fmla="*/ 1976750 w 4050030"/>
              <a:gd name="connsiteY200" fmla="*/ 1446894 h 4050030"/>
              <a:gd name="connsiteX201" fmla="*/ 1874651 w 4050030"/>
              <a:gd name="connsiteY201" fmla="*/ 1388021 h 4050030"/>
              <a:gd name="connsiteX202" fmla="*/ 1829037 w 4050030"/>
              <a:gd name="connsiteY202" fmla="*/ 1262054 h 4050030"/>
              <a:gd name="connsiteX203" fmla="*/ 1829303 w 4050030"/>
              <a:gd name="connsiteY203" fmla="*/ 1249060 h 4050030"/>
              <a:gd name="connsiteX204" fmla="*/ 1925302 w 4050030"/>
              <a:gd name="connsiteY204" fmla="*/ 1253568 h 4050030"/>
              <a:gd name="connsiteX205" fmla="*/ 1925037 w 4050030"/>
              <a:gd name="connsiteY205" fmla="*/ 1260994 h 4050030"/>
              <a:gd name="connsiteX206" fmla="*/ 1947579 w 4050030"/>
              <a:gd name="connsiteY206" fmla="*/ 1325701 h 4050030"/>
              <a:gd name="connsiteX207" fmla="*/ 2015468 w 4050030"/>
              <a:gd name="connsiteY207" fmla="*/ 1355137 h 4050030"/>
              <a:gd name="connsiteX208" fmla="*/ 2025015 w 4050030"/>
              <a:gd name="connsiteY208" fmla="*/ 1355402 h 4050030"/>
              <a:gd name="connsiteX209" fmla="*/ 2093435 w 4050030"/>
              <a:gd name="connsiteY209" fmla="*/ 1329679 h 4050030"/>
              <a:gd name="connsiteX210" fmla="*/ 2118098 w 4050030"/>
              <a:gd name="connsiteY210" fmla="*/ 1288309 h 4050030"/>
              <a:gd name="connsiteX211" fmla="*/ 2118894 w 4050030"/>
              <a:gd name="connsiteY211" fmla="*/ 1243491 h 4050030"/>
              <a:gd name="connsiteX212" fmla="*/ 2094761 w 4050030"/>
              <a:gd name="connsiteY212" fmla="*/ 1209811 h 4050030"/>
              <a:gd name="connsiteX213" fmla="*/ 2000617 w 4050030"/>
              <a:gd name="connsiteY213" fmla="*/ 1159955 h 4050030"/>
              <a:gd name="connsiteX214" fmla="*/ 1999822 w 4050030"/>
              <a:gd name="connsiteY214" fmla="*/ 1159425 h 4050030"/>
              <a:gd name="connsiteX215" fmla="*/ 1909126 w 4050030"/>
              <a:gd name="connsiteY215" fmla="*/ 1109568 h 4050030"/>
              <a:gd name="connsiteX216" fmla="*/ 1908065 w 4050030"/>
              <a:gd name="connsiteY216" fmla="*/ 1108773 h 4050030"/>
              <a:gd name="connsiteX217" fmla="*/ 1838054 w 4050030"/>
              <a:gd name="connsiteY217" fmla="*/ 1016486 h 4050030"/>
              <a:gd name="connsiteX218" fmla="*/ 1839115 w 4050030"/>
              <a:gd name="connsiteY218" fmla="*/ 920486 h 4050030"/>
              <a:gd name="connsiteX219" fmla="*/ 1890297 w 4050030"/>
              <a:gd name="connsiteY219" fmla="*/ 835359 h 4050030"/>
              <a:gd name="connsiteX220" fmla="*/ 1976750 w 4050030"/>
              <a:gd name="connsiteY220" fmla="*/ 788950 h 4050030"/>
              <a:gd name="connsiteX221" fmla="*/ 1976750 w 4050030"/>
              <a:gd name="connsiteY221" fmla="*/ 696928 h 4050030"/>
              <a:gd name="connsiteX222" fmla="*/ 2073015 w 4050030"/>
              <a:gd name="connsiteY222" fmla="*/ 696928 h 4050030"/>
              <a:gd name="connsiteX223" fmla="*/ 3443003 w 4050030"/>
              <a:gd name="connsiteY223" fmla="*/ 0 h 4050030"/>
              <a:gd name="connsiteX224" fmla="*/ 3968351 w 4050030"/>
              <a:gd name="connsiteY224" fmla="*/ 525348 h 4050030"/>
              <a:gd name="connsiteX225" fmla="*/ 3443003 w 4050030"/>
              <a:gd name="connsiteY225" fmla="*/ 1050695 h 4050030"/>
              <a:gd name="connsiteX226" fmla="*/ 2917655 w 4050030"/>
              <a:gd name="connsiteY226" fmla="*/ 525348 h 4050030"/>
              <a:gd name="connsiteX227" fmla="*/ 3443003 w 4050030"/>
              <a:gd name="connsiteY227" fmla="*/ 0 h 4050030"/>
              <a:gd name="connsiteX228" fmla="*/ 3491003 w 4050030"/>
              <a:gd name="connsiteY228" fmla="*/ 104751 h 4050030"/>
              <a:gd name="connsiteX229" fmla="*/ 3491003 w 4050030"/>
              <a:gd name="connsiteY229" fmla="*/ 195713 h 4050030"/>
              <a:gd name="connsiteX230" fmla="*/ 3593367 w 4050030"/>
              <a:gd name="connsiteY230" fmla="*/ 254585 h 4050030"/>
              <a:gd name="connsiteX231" fmla="*/ 3638716 w 4050030"/>
              <a:gd name="connsiteY231" fmla="*/ 380552 h 4050030"/>
              <a:gd name="connsiteX232" fmla="*/ 3638716 w 4050030"/>
              <a:gd name="connsiteY232" fmla="*/ 393547 h 4050030"/>
              <a:gd name="connsiteX233" fmla="*/ 3542716 w 4050030"/>
              <a:gd name="connsiteY233" fmla="*/ 389038 h 4050030"/>
              <a:gd name="connsiteX234" fmla="*/ 3542716 w 4050030"/>
              <a:gd name="connsiteY234" fmla="*/ 381613 h 4050030"/>
              <a:gd name="connsiteX235" fmla="*/ 3520174 w 4050030"/>
              <a:gd name="connsiteY235" fmla="*/ 317171 h 4050030"/>
              <a:gd name="connsiteX236" fmla="*/ 3452285 w 4050030"/>
              <a:gd name="connsiteY236" fmla="*/ 287469 h 4050030"/>
              <a:gd name="connsiteX237" fmla="*/ 3443003 w 4050030"/>
              <a:gd name="connsiteY237" fmla="*/ 287204 h 4050030"/>
              <a:gd name="connsiteX238" fmla="*/ 3374583 w 4050030"/>
              <a:gd name="connsiteY238" fmla="*/ 312928 h 4050030"/>
              <a:gd name="connsiteX239" fmla="*/ 3349920 w 4050030"/>
              <a:gd name="connsiteY239" fmla="*/ 354563 h 4050030"/>
              <a:gd name="connsiteX240" fmla="*/ 3349125 w 4050030"/>
              <a:gd name="connsiteY240" fmla="*/ 399116 h 4050030"/>
              <a:gd name="connsiteX241" fmla="*/ 3373522 w 4050030"/>
              <a:gd name="connsiteY241" fmla="*/ 433060 h 4050030"/>
              <a:gd name="connsiteX242" fmla="*/ 3373522 w 4050030"/>
              <a:gd name="connsiteY242" fmla="*/ 433060 h 4050030"/>
              <a:gd name="connsiteX243" fmla="*/ 3464218 w 4050030"/>
              <a:gd name="connsiteY243" fmla="*/ 483182 h 4050030"/>
              <a:gd name="connsiteX244" fmla="*/ 3464218 w 4050030"/>
              <a:gd name="connsiteY244" fmla="*/ 483182 h 4050030"/>
              <a:gd name="connsiteX245" fmla="*/ 3557832 w 4050030"/>
              <a:gd name="connsiteY245" fmla="*/ 532773 h 4050030"/>
              <a:gd name="connsiteX246" fmla="*/ 3559688 w 4050030"/>
              <a:gd name="connsiteY246" fmla="*/ 533834 h 4050030"/>
              <a:gd name="connsiteX247" fmla="*/ 3629699 w 4050030"/>
              <a:gd name="connsiteY247" fmla="*/ 626121 h 4050030"/>
              <a:gd name="connsiteX248" fmla="*/ 3628638 w 4050030"/>
              <a:gd name="connsiteY248" fmla="*/ 722121 h 4050030"/>
              <a:gd name="connsiteX249" fmla="*/ 3577721 w 4050030"/>
              <a:gd name="connsiteY249" fmla="*/ 807248 h 4050030"/>
              <a:gd name="connsiteX250" fmla="*/ 3491003 w 4050030"/>
              <a:gd name="connsiteY250" fmla="*/ 853657 h 4050030"/>
              <a:gd name="connsiteX251" fmla="*/ 3491003 w 4050030"/>
              <a:gd name="connsiteY251" fmla="*/ 945944 h 4050030"/>
              <a:gd name="connsiteX252" fmla="*/ 3394738 w 4050030"/>
              <a:gd name="connsiteY252" fmla="*/ 945944 h 4050030"/>
              <a:gd name="connsiteX253" fmla="*/ 3394738 w 4050030"/>
              <a:gd name="connsiteY253" fmla="*/ 854983 h 4050030"/>
              <a:gd name="connsiteX254" fmla="*/ 3292638 w 4050030"/>
              <a:gd name="connsiteY254" fmla="*/ 796110 h 4050030"/>
              <a:gd name="connsiteX255" fmla="*/ 3247025 w 4050030"/>
              <a:gd name="connsiteY255" fmla="*/ 670143 h 4050030"/>
              <a:gd name="connsiteX256" fmla="*/ 3247290 w 4050030"/>
              <a:gd name="connsiteY256" fmla="*/ 656884 h 4050030"/>
              <a:gd name="connsiteX257" fmla="*/ 3343290 w 4050030"/>
              <a:gd name="connsiteY257" fmla="*/ 661392 h 4050030"/>
              <a:gd name="connsiteX258" fmla="*/ 3343025 w 4050030"/>
              <a:gd name="connsiteY258" fmla="*/ 668817 h 4050030"/>
              <a:gd name="connsiteX259" fmla="*/ 3365567 w 4050030"/>
              <a:gd name="connsiteY259" fmla="*/ 733524 h 4050030"/>
              <a:gd name="connsiteX260" fmla="*/ 3433456 w 4050030"/>
              <a:gd name="connsiteY260" fmla="*/ 763226 h 4050030"/>
              <a:gd name="connsiteX261" fmla="*/ 3443003 w 4050030"/>
              <a:gd name="connsiteY261" fmla="*/ 763226 h 4050030"/>
              <a:gd name="connsiteX262" fmla="*/ 3511423 w 4050030"/>
              <a:gd name="connsiteY262" fmla="*/ 737767 h 4050030"/>
              <a:gd name="connsiteX263" fmla="*/ 3536086 w 4050030"/>
              <a:gd name="connsiteY263" fmla="*/ 696132 h 4050030"/>
              <a:gd name="connsiteX264" fmla="*/ 3536881 w 4050030"/>
              <a:gd name="connsiteY264" fmla="*/ 651580 h 4050030"/>
              <a:gd name="connsiteX265" fmla="*/ 3512749 w 4050030"/>
              <a:gd name="connsiteY265" fmla="*/ 617635 h 4050030"/>
              <a:gd name="connsiteX266" fmla="*/ 3418605 w 4050030"/>
              <a:gd name="connsiteY266" fmla="*/ 567779 h 4050030"/>
              <a:gd name="connsiteX267" fmla="*/ 3417810 w 4050030"/>
              <a:gd name="connsiteY267" fmla="*/ 567513 h 4050030"/>
              <a:gd name="connsiteX268" fmla="*/ 3327114 w 4050030"/>
              <a:gd name="connsiteY268" fmla="*/ 517392 h 4050030"/>
              <a:gd name="connsiteX269" fmla="*/ 3326053 w 4050030"/>
              <a:gd name="connsiteY269" fmla="*/ 516596 h 4050030"/>
              <a:gd name="connsiteX270" fmla="*/ 3256042 w 4050030"/>
              <a:gd name="connsiteY270" fmla="*/ 424309 h 4050030"/>
              <a:gd name="connsiteX271" fmla="*/ 3257103 w 4050030"/>
              <a:gd name="connsiteY271" fmla="*/ 328574 h 4050030"/>
              <a:gd name="connsiteX272" fmla="*/ 3308285 w 4050030"/>
              <a:gd name="connsiteY272" fmla="*/ 243182 h 4050030"/>
              <a:gd name="connsiteX273" fmla="*/ 3394738 w 4050030"/>
              <a:gd name="connsiteY273" fmla="*/ 196773 h 4050030"/>
              <a:gd name="connsiteX274" fmla="*/ 3394738 w 4050030"/>
              <a:gd name="connsiteY274" fmla="*/ 104751 h 4050030"/>
              <a:gd name="connsiteX275" fmla="*/ 3491003 w 4050030"/>
              <a:gd name="connsiteY275" fmla="*/ 104751 h 405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4050030" h="4050030">
                <a:moveTo>
                  <a:pt x="607027" y="1262585"/>
                </a:moveTo>
                <a:cubicBezTo>
                  <a:pt x="897149" y="1262585"/>
                  <a:pt x="1132375" y="1497811"/>
                  <a:pt x="1132375" y="1787933"/>
                </a:cubicBezTo>
                <a:cubicBezTo>
                  <a:pt x="1132375" y="2078054"/>
                  <a:pt x="897149" y="2313280"/>
                  <a:pt x="607027" y="2313280"/>
                </a:cubicBezTo>
                <a:cubicBezTo>
                  <a:pt x="316906" y="2313280"/>
                  <a:pt x="81679" y="2078054"/>
                  <a:pt x="81679" y="1787933"/>
                </a:cubicBezTo>
                <a:cubicBezTo>
                  <a:pt x="81679" y="1497811"/>
                  <a:pt x="316906" y="1262585"/>
                  <a:pt x="607027" y="1262585"/>
                </a:cubicBezTo>
                <a:close/>
                <a:moveTo>
                  <a:pt x="655292" y="1367336"/>
                </a:moveTo>
                <a:lnTo>
                  <a:pt x="655292" y="1458297"/>
                </a:lnTo>
                <a:cubicBezTo>
                  <a:pt x="698784" y="1467314"/>
                  <a:pt x="732729" y="1488529"/>
                  <a:pt x="757392" y="1517170"/>
                </a:cubicBezTo>
                <a:cubicBezTo>
                  <a:pt x="787359" y="1552176"/>
                  <a:pt x="802209" y="1597524"/>
                  <a:pt x="802740" y="1643137"/>
                </a:cubicBezTo>
                <a:cubicBezTo>
                  <a:pt x="803005" y="1648176"/>
                  <a:pt x="802740" y="1652419"/>
                  <a:pt x="802740" y="1656397"/>
                </a:cubicBezTo>
                <a:lnTo>
                  <a:pt x="706740" y="1651888"/>
                </a:lnTo>
                <a:cubicBezTo>
                  <a:pt x="706740" y="1648706"/>
                  <a:pt x="707005" y="1646319"/>
                  <a:pt x="706740" y="1644198"/>
                </a:cubicBezTo>
                <a:cubicBezTo>
                  <a:pt x="706475" y="1620330"/>
                  <a:pt x="699314" y="1596993"/>
                  <a:pt x="684198" y="1579756"/>
                </a:cubicBezTo>
                <a:cubicBezTo>
                  <a:pt x="670143" y="1563049"/>
                  <a:pt x="647602" y="1551645"/>
                  <a:pt x="616309" y="1550054"/>
                </a:cubicBezTo>
                <a:cubicBezTo>
                  <a:pt x="612861" y="1550054"/>
                  <a:pt x="609679" y="1549789"/>
                  <a:pt x="607027" y="1550054"/>
                </a:cubicBezTo>
                <a:cubicBezTo>
                  <a:pt x="577326" y="1550319"/>
                  <a:pt x="554519" y="1560397"/>
                  <a:pt x="538607" y="1575513"/>
                </a:cubicBezTo>
                <a:cubicBezTo>
                  <a:pt x="526408" y="1587181"/>
                  <a:pt x="518187" y="1601767"/>
                  <a:pt x="513944" y="1617148"/>
                </a:cubicBezTo>
                <a:cubicBezTo>
                  <a:pt x="509701" y="1632264"/>
                  <a:pt x="509436" y="1647645"/>
                  <a:pt x="513149" y="1661701"/>
                </a:cubicBezTo>
                <a:cubicBezTo>
                  <a:pt x="516861" y="1675756"/>
                  <a:pt x="525082" y="1687955"/>
                  <a:pt x="537547" y="1695911"/>
                </a:cubicBezTo>
                <a:lnTo>
                  <a:pt x="537547" y="1695911"/>
                </a:lnTo>
                <a:lnTo>
                  <a:pt x="628243" y="1745767"/>
                </a:lnTo>
                <a:lnTo>
                  <a:pt x="628243" y="1745767"/>
                </a:lnTo>
                <a:lnTo>
                  <a:pt x="721856" y="1795358"/>
                </a:lnTo>
                <a:lnTo>
                  <a:pt x="723712" y="1796684"/>
                </a:lnTo>
                <a:cubicBezTo>
                  <a:pt x="760574" y="1818165"/>
                  <a:pt x="783646" y="1851579"/>
                  <a:pt x="793723" y="1888971"/>
                </a:cubicBezTo>
                <a:cubicBezTo>
                  <a:pt x="802209" y="1919468"/>
                  <a:pt x="801679" y="1953148"/>
                  <a:pt x="792662" y="1984706"/>
                </a:cubicBezTo>
                <a:cubicBezTo>
                  <a:pt x="783911" y="2015999"/>
                  <a:pt x="766673" y="2045966"/>
                  <a:pt x="741745" y="2070098"/>
                </a:cubicBezTo>
                <a:cubicBezTo>
                  <a:pt x="718939" y="2091579"/>
                  <a:pt x="690033" y="2108286"/>
                  <a:pt x="655292" y="2116507"/>
                </a:cubicBezTo>
                <a:lnTo>
                  <a:pt x="655292" y="2208529"/>
                </a:lnTo>
                <a:lnTo>
                  <a:pt x="558762" y="2208529"/>
                </a:lnTo>
                <a:lnTo>
                  <a:pt x="558762" y="2117568"/>
                </a:lnTo>
                <a:cubicBezTo>
                  <a:pt x="515270" y="2108816"/>
                  <a:pt x="481060" y="2087336"/>
                  <a:pt x="456663" y="2058695"/>
                </a:cubicBezTo>
                <a:cubicBezTo>
                  <a:pt x="426431" y="2023689"/>
                  <a:pt x="411580" y="1978341"/>
                  <a:pt x="411049" y="1932728"/>
                </a:cubicBezTo>
                <a:cubicBezTo>
                  <a:pt x="411049" y="1927689"/>
                  <a:pt x="411049" y="1923446"/>
                  <a:pt x="411315" y="1919734"/>
                </a:cubicBezTo>
                <a:lnTo>
                  <a:pt x="507315" y="1924242"/>
                </a:lnTo>
                <a:cubicBezTo>
                  <a:pt x="507049" y="1927159"/>
                  <a:pt x="507049" y="1929811"/>
                  <a:pt x="507049" y="1931667"/>
                </a:cubicBezTo>
                <a:cubicBezTo>
                  <a:pt x="507315" y="1955535"/>
                  <a:pt x="514740" y="1978872"/>
                  <a:pt x="529591" y="1996109"/>
                </a:cubicBezTo>
                <a:cubicBezTo>
                  <a:pt x="543911" y="2012816"/>
                  <a:pt x="566187" y="2024220"/>
                  <a:pt x="597480" y="2025811"/>
                </a:cubicBezTo>
                <a:cubicBezTo>
                  <a:pt x="601193" y="2026076"/>
                  <a:pt x="604375" y="2026076"/>
                  <a:pt x="607027" y="2026076"/>
                </a:cubicBezTo>
                <a:cubicBezTo>
                  <a:pt x="636729" y="2025546"/>
                  <a:pt x="659535" y="2015468"/>
                  <a:pt x="675447" y="2000352"/>
                </a:cubicBezTo>
                <a:cubicBezTo>
                  <a:pt x="687381" y="1988949"/>
                  <a:pt x="695867" y="1974098"/>
                  <a:pt x="700110" y="1958717"/>
                </a:cubicBezTo>
                <a:cubicBezTo>
                  <a:pt x="704353" y="1943866"/>
                  <a:pt x="704618" y="1928220"/>
                  <a:pt x="700906" y="1914165"/>
                </a:cubicBezTo>
                <a:cubicBezTo>
                  <a:pt x="696928" y="1900374"/>
                  <a:pt x="689237" y="1888176"/>
                  <a:pt x="676773" y="1880485"/>
                </a:cubicBezTo>
                <a:lnTo>
                  <a:pt x="582629" y="1830363"/>
                </a:lnTo>
                <a:lnTo>
                  <a:pt x="581834" y="1830098"/>
                </a:lnTo>
                <a:lnTo>
                  <a:pt x="491138" y="1780242"/>
                </a:lnTo>
                <a:lnTo>
                  <a:pt x="490077" y="1779446"/>
                </a:lnTo>
                <a:cubicBezTo>
                  <a:pt x="453480" y="1757701"/>
                  <a:pt x="430409" y="1724551"/>
                  <a:pt x="420066" y="1686894"/>
                </a:cubicBezTo>
                <a:cubicBezTo>
                  <a:pt x="411845" y="1656397"/>
                  <a:pt x="412375" y="1622982"/>
                  <a:pt x="421127" y="1591159"/>
                </a:cubicBezTo>
                <a:cubicBezTo>
                  <a:pt x="429878" y="1559866"/>
                  <a:pt x="447116" y="1529900"/>
                  <a:pt x="472309" y="1506032"/>
                </a:cubicBezTo>
                <a:cubicBezTo>
                  <a:pt x="494850" y="1484286"/>
                  <a:pt x="524022" y="1467579"/>
                  <a:pt x="558762" y="1459623"/>
                </a:cubicBezTo>
                <a:lnTo>
                  <a:pt x="558762" y="1367336"/>
                </a:lnTo>
                <a:lnTo>
                  <a:pt x="655292" y="1367336"/>
                </a:lnTo>
                <a:close/>
                <a:moveTo>
                  <a:pt x="83005" y="3693346"/>
                </a:moveTo>
                <a:lnTo>
                  <a:pt x="1131049" y="3693346"/>
                </a:lnTo>
                <a:cubicBezTo>
                  <a:pt x="1176662" y="3693346"/>
                  <a:pt x="1214054" y="3730738"/>
                  <a:pt x="1214054" y="3776351"/>
                </a:cubicBezTo>
                <a:lnTo>
                  <a:pt x="1214054" y="3967025"/>
                </a:lnTo>
                <a:cubicBezTo>
                  <a:pt x="1214054" y="4012638"/>
                  <a:pt x="1176662" y="4050031"/>
                  <a:pt x="1131049" y="4050031"/>
                </a:cubicBezTo>
                <a:lnTo>
                  <a:pt x="83005" y="4050031"/>
                </a:lnTo>
                <a:cubicBezTo>
                  <a:pt x="37392" y="4050031"/>
                  <a:pt x="0" y="4012638"/>
                  <a:pt x="0" y="3967025"/>
                </a:cubicBezTo>
                <a:lnTo>
                  <a:pt x="0" y="3776351"/>
                </a:lnTo>
                <a:cubicBezTo>
                  <a:pt x="0" y="3730738"/>
                  <a:pt x="37392" y="3693346"/>
                  <a:pt x="83005" y="3693346"/>
                </a:cubicBezTo>
                <a:close/>
                <a:moveTo>
                  <a:pt x="83005" y="3238539"/>
                </a:moveTo>
                <a:lnTo>
                  <a:pt x="1131049" y="3238539"/>
                </a:lnTo>
                <a:cubicBezTo>
                  <a:pt x="1176662" y="3238539"/>
                  <a:pt x="1214054" y="3275932"/>
                  <a:pt x="1214054" y="3321545"/>
                </a:cubicBezTo>
                <a:lnTo>
                  <a:pt x="1214054" y="3512219"/>
                </a:lnTo>
                <a:cubicBezTo>
                  <a:pt x="1214054" y="3557832"/>
                  <a:pt x="1176662" y="3595224"/>
                  <a:pt x="1131049" y="3595224"/>
                </a:cubicBezTo>
                <a:lnTo>
                  <a:pt x="83005" y="3595224"/>
                </a:lnTo>
                <a:cubicBezTo>
                  <a:pt x="37392" y="3595224"/>
                  <a:pt x="0" y="3557832"/>
                  <a:pt x="0" y="3512219"/>
                </a:cubicBezTo>
                <a:lnTo>
                  <a:pt x="0" y="3321545"/>
                </a:lnTo>
                <a:cubicBezTo>
                  <a:pt x="0" y="3275932"/>
                  <a:pt x="37392" y="3238539"/>
                  <a:pt x="83005" y="3238539"/>
                </a:cubicBezTo>
                <a:close/>
                <a:moveTo>
                  <a:pt x="83005" y="2783733"/>
                </a:moveTo>
                <a:lnTo>
                  <a:pt x="1131049" y="2783733"/>
                </a:lnTo>
                <a:cubicBezTo>
                  <a:pt x="1176662" y="2783733"/>
                  <a:pt x="1214054" y="2821125"/>
                  <a:pt x="1214054" y="2866739"/>
                </a:cubicBezTo>
                <a:lnTo>
                  <a:pt x="1214054" y="3057412"/>
                </a:lnTo>
                <a:cubicBezTo>
                  <a:pt x="1214054" y="3103026"/>
                  <a:pt x="1176662" y="3140418"/>
                  <a:pt x="1131049" y="3140418"/>
                </a:cubicBezTo>
                <a:lnTo>
                  <a:pt x="83005" y="3140418"/>
                </a:lnTo>
                <a:cubicBezTo>
                  <a:pt x="37392" y="3140418"/>
                  <a:pt x="0" y="3103026"/>
                  <a:pt x="0" y="3057412"/>
                </a:cubicBezTo>
                <a:lnTo>
                  <a:pt x="0" y="2866739"/>
                </a:lnTo>
                <a:cubicBezTo>
                  <a:pt x="0" y="2821125"/>
                  <a:pt x="37392" y="2783733"/>
                  <a:pt x="83005" y="2783733"/>
                </a:cubicBezTo>
                <a:close/>
                <a:moveTo>
                  <a:pt x="1500993" y="2328927"/>
                </a:moveTo>
                <a:lnTo>
                  <a:pt x="2549037" y="2328927"/>
                </a:lnTo>
                <a:cubicBezTo>
                  <a:pt x="2594650" y="2328927"/>
                  <a:pt x="2632042" y="2366319"/>
                  <a:pt x="2632042" y="2411932"/>
                </a:cubicBezTo>
                <a:lnTo>
                  <a:pt x="2632042" y="2602606"/>
                </a:lnTo>
                <a:cubicBezTo>
                  <a:pt x="2632042" y="2648219"/>
                  <a:pt x="2594650" y="2685346"/>
                  <a:pt x="2549037" y="2685346"/>
                </a:cubicBezTo>
                <a:lnTo>
                  <a:pt x="1500993" y="2685346"/>
                </a:lnTo>
                <a:cubicBezTo>
                  <a:pt x="1455380" y="2685346"/>
                  <a:pt x="1417988" y="2648219"/>
                  <a:pt x="1417988" y="2602606"/>
                </a:cubicBezTo>
                <a:lnTo>
                  <a:pt x="1417988" y="2411932"/>
                </a:lnTo>
                <a:cubicBezTo>
                  <a:pt x="1417988" y="2366319"/>
                  <a:pt x="1455380" y="2328927"/>
                  <a:pt x="1500993" y="2328927"/>
                </a:cubicBezTo>
                <a:close/>
                <a:moveTo>
                  <a:pt x="1500993" y="3693346"/>
                </a:moveTo>
                <a:lnTo>
                  <a:pt x="2549037" y="3693346"/>
                </a:lnTo>
                <a:cubicBezTo>
                  <a:pt x="2594650" y="3693346"/>
                  <a:pt x="2632042" y="3730738"/>
                  <a:pt x="2632042" y="3776351"/>
                </a:cubicBezTo>
                <a:lnTo>
                  <a:pt x="2632042" y="3967025"/>
                </a:lnTo>
                <a:cubicBezTo>
                  <a:pt x="2632042" y="4012638"/>
                  <a:pt x="2594650" y="4050031"/>
                  <a:pt x="2549037" y="4050031"/>
                </a:cubicBezTo>
                <a:lnTo>
                  <a:pt x="1500993" y="4050031"/>
                </a:lnTo>
                <a:cubicBezTo>
                  <a:pt x="1455380" y="4050031"/>
                  <a:pt x="1417988" y="4012638"/>
                  <a:pt x="1417988" y="3967025"/>
                </a:cubicBezTo>
                <a:lnTo>
                  <a:pt x="1417988" y="3776351"/>
                </a:lnTo>
                <a:cubicBezTo>
                  <a:pt x="1417988" y="3730738"/>
                  <a:pt x="1455380" y="3693346"/>
                  <a:pt x="1500993" y="3693346"/>
                </a:cubicBezTo>
                <a:close/>
                <a:moveTo>
                  <a:pt x="1500993" y="3238539"/>
                </a:moveTo>
                <a:lnTo>
                  <a:pt x="2549037" y="3238539"/>
                </a:lnTo>
                <a:cubicBezTo>
                  <a:pt x="2594650" y="3238539"/>
                  <a:pt x="2632042" y="3275932"/>
                  <a:pt x="2632042" y="3321545"/>
                </a:cubicBezTo>
                <a:lnTo>
                  <a:pt x="2632042" y="3512219"/>
                </a:lnTo>
                <a:cubicBezTo>
                  <a:pt x="2632042" y="3557832"/>
                  <a:pt x="2594650" y="3595224"/>
                  <a:pt x="2549037" y="3595224"/>
                </a:cubicBezTo>
                <a:lnTo>
                  <a:pt x="1500993" y="3595224"/>
                </a:lnTo>
                <a:cubicBezTo>
                  <a:pt x="1455380" y="3595224"/>
                  <a:pt x="1417988" y="3557832"/>
                  <a:pt x="1417988" y="3512219"/>
                </a:cubicBezTo>
                <a:lnTo>
                  <a:pt x="1417988" y="3321545"/>
                </a:lnTo>
                <a:cubicBezTo>
                  <a:pt x="1417988" y="3275932"/>
                  <a:pt x="1455380" y="3238539"/>
                  <a:pt x="1500993" y="3238539"/>
                </a:cubicBezTo>
                <a:close/>
                <a:moveTo>
                  <a:pt x="1500993" y="2783733"/>
                </a:moveTo>
                <a:lnTo>
                  <a:pt x="2549037" y="2783733"/>
                </a:lnTo>
                <a:cubicBezTo>
                  <a:pt x="2594650" y="2783733"/>
                  <a:pt x="2632042" y="2821125"/>
                  <a:pt x="2632042" y="2866739"/>
                </a:cubicBezTo>
                <a:lnTo>
                  <a:pt x="2632042" y="3057412"/>
                </a:lnTo>
                <a:cubicBezTo>
                  <a:pt x="2632042" y="3103026"/>
                  <a:pt x="2594650" y="3140418"/>
                  <a:pt x="2549037" y="3140418"/>
                </a:cubicBezTo>
                <a:lnTo>
                  <a:pt x="1500993" y="3140418"/>
                </a:lnTo>
                <a:cubicBezTo>
                  <a:pt x="1455380" y="3140418"/>
                  <a:pt x="1417988" y="3103026"/>
                  <a:pt x="1417988" y="3057412"/>
                </a:cubicBezTo>
                <a:lnTo>
                  <a:pt x="1417988" y="2866739"/>
                </a:lnTo>
                <a:cubicBezTo>
                  <a:pt x="1417988" y="2821125"/>
                  <a:pt x="1455380" y="2783733"/>
                  <a:pt x="1500993" y="2783733"/>
                </a:cubicBezTo>
                <a:close/>
                <a:moveTo>
                  <a:pt x="2918981" y="2328927"/>
                </a:moveTo>
                <a:lnTo>
                  <a:pt x="3967025" y="2328927"/>
                </a:lnTo>
                <a:cubicBezTo>
                  <a:pt x="4012638" y="2328927"/>
                  <a:pt x="4050030" y="2366319"/>
                  <a:pt x="4050030" y="2411932"/>
                </a:cubicBezTo>
                <a:lnTo>
                  <a:pt x="4050030" y="2602606"/>
                </a:lnTo>
                <a:cubicBezTo>
                  <a:pt x="4050030" y="2648219"/>
                  <a:pt x="4012638" y="2685346"/>
                  <a:pt x="3967025" y="2685346"/>
                </a:cubicBezTo>
                <a:lnTo>
                  <a:pt x="2918981" y="2685346"/>
                </a:lnTo>
                <a:cubicBezTo>
                  <a:pt x="2873368" y="2685346"/>
                  <a:pt x="2835976" y="2648219"/>
                  <a:pt x="2835976" y="2602606"/>
                </a:cubicBezTo>
                <a:lnTo>
                  <a:pt x="2835976" y="2411932"/>
                </a:lnTo>
                <a:cubicBezTo>
                  <a:pt x="2835976" y="2366319"/>
                  <a:pt x="2873368" y="2328927"/>
                  <a:pt x="2918981" y="2328927"/>
                </a:cubicBezTo>
                <a:close/>
                <a:moveTo>
                  <a:pt x="2918981" y="1874120"/>
                </a:moveTo>
                <a:lnTo>
                  <a:pt x="3967025" y="1874120"/>
                </a:lnTo>
                <a:cubicBezTo>
                  <a:pt x="4012638" y="1874120"/>
                  <a:pt x="4050030" y="1911513"/>
                  <a:pt x="4050030" y="1957126"/>
                </a:cubicBezTo>
                <a:lnTo>
                  <a:pt x="4050030" y="2147800"/>
                </a:lnTo>
                <a:cubicBezTo>
                  <a:pt x="4050030" y="2193413"/>
                  <a:pt x="4012638" y="2230540"/>
                  <a:pt x="3967025" y="2230540"/>
                </a:cubicBezTo>
                <a:lnTo>
                  <a:pt x="2918981" y="2230540"/>
                </a:lnTo>
                <a:cubicBezTo>
                  <a:pt x="2873368" y="2230540"/>
                  <a:pt x="2835976" y="2193413"/>
                  <a:pt x="2835976" y="2147800"/>
                </a:cubicBezTo>
                <a:lnTo>
                  <a:pt x="2835976" y="1957126"/>
                </a:lnTo>
                <a:cubicBezTo>
                  <a:pt x="2835976" y="1911513"/>
                  <a:pt x="2873368" y="1874120"/>
                  <a:pt x="2918981" y="1874120"/>
                </a:cubicBezTo>
                <a:close/>
                <a:moveTo>
                  <a:pt x="2918981" y="1419314"/>
                </a:moveTo>
                <a:lnTo>
                  <a:pt x="3967025" y="1419314"/>
                </a:lnTo>
                <a:cubicBezTo>
                  <a:pt x="4012638" y="1419314"/>
                  <a:pt x="4050030" y="1456706"/>
                  <a:pt x="4050030" y="1502319"/>
                </a:cubicBezTo>
                <a:lnTo>
                  <a:pt x="4050030" y="1692993"/>
                </a:lnTo>
                <a:cubicBezTo>
                  <a:pt x="4050030" y="1738607"/>
                  <a:pt x="4012638" y="1775734"/>
                  <a:pt x="3967025" y="1775734"/>
                </a:cubicBezTo>
                <a:lnTo>
                  <a:pt x="2918981" y="1775734"/>
                </a:lnTo>
                <a:cubicBezTo>
                  <a:pt x="2873368" y="1775734"/>
                  <a:pt x="2835976" y="1738607"/>
                  <a:pt x="2835976" y="1692993"/>
                </a:cubicBezTo>
                <a:lnTo>
                  <a:pt x="2835976" y="1502319"/>
                </a:lnTo>
                <a:cubicBezTo>
                  <a:pt x="2835976" y="1456706"/>
                  <a:pt x="2873368" y="1419314"/>
                  <a:pt x="2918981" y="1419314"/>
                </a:cubicBezTo>
                <a:close/>
                <a:moveTo>
                  <a:pt x="2918981" y="3693346"/>
                </a:moveTo>
                <a:lnTo>
                  <a:pt x="3967025" y="3693346"/>
                </a:lnTo>
                <a:cubicBezTo>
                  <a:pt x="4012638" y="3693346"/>
                  <a:pt x="4050030" y="3730738"/>
                  <a:pt x="4050030" y="3776351"/>
                </a:cubicBezTo>
                <a:lnTo>
                  <a:pt x="4050030" y="3967025"/>
                </a:lnTo>
                <a:cubicBezTo>
                  <a:pt x="4050030" y="4012638"/>
                  <a:pt x="4012638" y="4050031"/>
                  <a:pt x="3967025" y="4050031"/>
                </a:cubicBezTo>
                <a:lnTo>
                  <a:pt x="2918981" y="4050031"/>
                </a:lnTo>
                <a:cubicBezTo>
                  <a:pt x="2873368" y="4050031"/>
                  <a:pt x="2835976" y="4012638"/>
                  <a:pt x="2835976" y="3967025"/>
                </a:cubicBezTo>
                <a:lnTo>
                  <a:pt x="2835976" y="3776351"/>
                </a:lnTo>
                <a:cubicBezTo>
                  <a:pt x="2835976" y="3730738"/>
                  <a:pt x="2873368" y="3693346"/>
                  <a:pt x="2918981" y="3693346"/>
                </a:cubicBezTo>
                <a:close/>
                <a:moveTo>
                  <a:pt x="2918981" y="3238539"/>
                </a:moveTo>
                <a:lnTo>
                  <a:pt x="3967025" y="3238539"/>
                </a:lnTo>
                <a:cubicBezTo>
                  <a:pt x="4012638" y="3238539"/>
                  <a:pt x="4050030" y="3275932"/>
                  <a:pt x="4050030" y="3321545"/>
                </a:cubicBezTo>
                <a:lnTo>
                  <a:pt x="4050030" y="3512219"/>
                </a:lnTo>
                <a:cubicBezTo>
                  <a:pt x="4050030" y="3557832"/>
                  <a:pt x="4012638" y="3595224"/>
                  <a:pt x="3967025" y="3595224"/>
                </a:cubicBezTo>
                <a:lnTo>
                  <a:pt x="2918981" y="3595224"/>
                </a:lnTo>
                <a:cubicBezTo>
                  <a:pt x="2873368" y="3595224"/>
                  <a:pt x="2835976" y="3557832"/>
                  <a:pt x="2835976" y="3512219"/>
                </a:cubicBezTo>
                <a:lnTo>
                  <a:pt x="2835976" y="3321545"/>
                </a:lnTo>
                <a:cubicBezTo>
                  <a:pt x="2835976" y="3275932"/>
                  <a:pt x="2873368" y="3238539"/>
                  <a:pt x="2918981" y="3238539"/>
                </a:cubicBezTo>
                <a:close/>
                <a:moveTo>
                  <a:pt x="2918981" y="2783733"/>
                </a:moveTo>
                <a:lnTo>
                  <a:pt x="3967025" y="2783733"/>
                </a:lnTo>
                <a:cubicBezTo>
                  <a:pt x="4012638" y="2783733"/>
                  <a:pt x="4050030" y="2821125"/>
                  <a:pt x="4050030" y="2866739"/>
                </a:cubicBezTo>
                <a:lnTo>
                  <a:pt x="4050030" y="3057412"/>
                </a:lnTo>
                <a:cubicBezTo>
                  <a:pt x="4050030" y="3103026"/>
                  <a:pt x="4012638" y="3140418"/>
                  <a:pt x="3967025" y="3140418"/>
                </a:cubicBezTo>
                <a:lnTo>
                  <a:pt x="2918981" y="3140418"/>
                </a:lnTo>
                <a:cubicBezTo>
                  <a:pt x="2873368" y="3140418"/>
                  <a:pt x="2835976" y="3103026"/>
                  <a:pt x="2835976" y="3057412"/>
                </a:cubicBezTo>
                <a:lnTo>
                  <a:pt x="2835976" y="2866739"/>
                </a:lnTo>
                <a:cubicBezTo>
                  <a:pt x="2835976" y="2821125"/>
                  <a:pt x="2873368" y="2783733"/>
                  <a:pt x="2918981" y="2783733"/>
                </a:cubicBezTo>
                <a:close/>
                <a:moveTo>
                  <a:pt x="2025015" y="592176"/>
                </a:moveTo>
                <a:cubicBezTo>
                  <a:pt x="2315136" y="592176"/>
                  <a:pt x="2550363" y="827403"/>
                  <a:pt x="2550363" y="1117524"/>
                </a:cubicBezTo>
                <a:cubicBezTo>
                  <a:pt x="2550363" y="1407380"/>
                  <a:pt x="2315136" y="1642607"/>
                  <a:pt x="2025015" y="1642607"/>
                </a:cubicBezTo>
                <a:cubicBezTo>
                  <a:pt x="1734894" y="1642607"/>
                  <a:pt x="1499667" y="1407380"/>
                  <a:pt x="1499667" y="1117524"/>
                </a:cubicBezTo>
                <a:cubicBezTo>
                  <a:pt x="1499667" y="827403"/>
                  <a:pt x="1734894" y="592176"/>
                  <a:pt x="2025015" y="592176"/>
                </a:cubicBezTo>
                <a:close/>
                <a:moveTo>
                  <a:pt x="2073015" y="696928"/>
                </a:moveTo>
                <a:lnTo>
                  <a:pt x="2073015" y="787889"/>
                </a:lnTo>
                <a:cubicBezTo>
                  <a:pt x="2116772" y="796640"/>
                  <a:pt x="2150717" y="818121"/>
                  <a:pt x="2175380" y="846762"/>
                </a:cubicBezTo>
                <a:cubicBezTo>
                  <a:pt x="2205346" y="881767"/>
                  <a:pt x="2220197" y="926850"/>
                  <a:pt x="2220728" y="972729"/>
                </a:cubicBezTo>
                <a:cubicBezTo>
                  <a:pt x="2220993" y="977502"/>
                  <a:pt x="2220728" y="982010"/>
                  <a:pt x="2220728" y="985723"/>
                </a:cubicBezTo>
                <a:lnTo>
                  <a:pt x="2124728" y="981215"/>
                </a:lnTo>
                <a:cubicBezTo>
                  <a:pt x="2124728" y="978298"/>
                  <a:pt x="2124993" y="975646"/>
                  <a:pt x="2124728" y="973789"/>
                </a:cubicBezTo>
                <a:cubicBezTo>
                  <a:pt x="2124463" y="949657"/>
                  <a:pt x="2117302" y="926585"/>
                  <a:pt x="2102186" y="909082"/>
                </a:cubicBezTo>
                <a:cubicBezTo>
                  <a:pt x="2088131" y="892640"/>
                  <a:pt x="2065590" y="880972"/>
                  <a:pt x="2034297" y="879646"/>
                </a:cubicBezTo>
                <a:cubicBezTo>
                  <a:pt x="2030849" y="879381"/>
                  <a:pt x="2027667" y="879381"/>
                  <a:pt x="2025015" y="879381"/>
                </a:cubicBezTo>
                <a:cubicBezTo>
                  <a:pt x="1995313" y="879646"/>
                  <a:pt x="1972507" y="889988"/>
                  <a:pt x="1956595" y="905104"/>
                </a:cubicBezTo>
                <a:cubicBezTo>
                  <a:pt x="1944396" y="916508"/>
                  <a:pt x="1936175" y="931093"/>
                  <a:pt x="1931932" y="946475"/>
                </a:cubicBezTo>
                <a:cubicBezTo>
                  <a:pt x="1927689" y="961591"/>
                  <a:pt x="1927424" y="977237"/>
                  <a:pt x="1931137" y="991292"/>
                </a:cubicBezTo>
                <a:cubicBezTo>
                  <a:pt x="1934849" y="1005082"/>
                  <a:pt x="1943070" y="1017546"/>
                  <a:pt x="1955534" y="1025237"/>
                </a:cubicBezTo>
                <a:lnTo>
                  <a:pt x="1955534" y="1025237"/>
                </a:lnTo>
                <a:lnTo>
                  <a:pt x="2046231" y="1075093"/>
                </a:lnTo>
                <a:lnTo>
                  <a:pt x="2046231" y="1075093"/>
                </a:lnTo>
                <a:lnTo>
                  <a:pt x="2139844" y="1124950"/>
                </a:lnTo>
                <a:lnTo>
                  <a:pt x="2141700" y="1126010"/>
                </a:lnTo>
                <a:cubicBezTo>
                  <a:pt x="2178562" y="1147491"/>
                  <a:pt x="2201634" y="1180905"/>
                  <a:pt x="2211711" y="1218298"/>
                </a:cubicBezTo>
                <a:cubicBezTo>
                  <a:pt x="2220197" y="1249060"/>
                  <a:pt x="2219667" y="1282474"/>
                  <a:pt x="2210650" y="1314298"/>
                </a:cubicBezTo>
                <a:cubicBezTo>
                  <a:pt x="2201899" y="1345590"/>
                  <a:pt x="2184661" y="1375557"/>
                  <a:pt x="2159733" y="1399425"/>
                </a:cubicBezTo>
                <a:cubicBezTo>
                  <a:pt x="2136927" y="1421170"/>
                  <a:pt x="2108021" y="1437612"/>
                  <a:pt x="2073015" y="1445833"/>
                </a:cubicBezTo>
                <a:lnTo>
                  <a:pt x="2073015" y="1537855"/>
                </a:lnTo>
                <a:lnTo>
                  <a:pt x="1976750" y="1537855"/>
                </a:lnTo>
                <a:lnTo>
                  <a:pt x="1976750" y="1446894"/>
                </a:lnTo>
                <a:cubicBezTo>
                  <a:pt x="1932993" y="1438143"/>
                  <a:pt x="1899048" y="1416662"/>
                  <a:pt x="1874651" y="1388021"/>
                </a:cubicBezTo>
                <a:cubicBezTo>
                  <a:pt x="1844419" y="1353016"/>
                  <a:pt x="1829568" y="1307933"/>
                  <a:pt x="1829037" y="1262054"/>
                </a:cubicBezTo>
                <a:cubicBezTo>
                  <a:pt x="1829037" y="1257281"/>
                  <a:pt x="1829037" y="1252773"/>
                  <a:pt x="1829303" y="1249060"/>
                </a:cubicBezTo>
                <a:lnTo>
                  <a:pt x="1925302" y="1253568"/>
                </a:lnTo>
                <a:cubicBezTo>
                  <a:pt x="1925037" y="1256485"/>
                  <a:pt x="1925037" y="1259137"/>
                  <a:pt x="1925037" y="1260994"/>
                </a:cubicBezTo>
                <a:cubicBezTo>
                  <a:pt x="1925302" y="1285126"/>
                  <a:pt x="1932728" y="1308198"/>
                  <a:pt x="1947579" y="1325701"/>
                </a:cubicBezTo>
                <a:cubicBezTo>
                  <a:pt x="1961899" y="1342143"/>
                  <a:pt x="1984175" y="1353811"/>
                  <a:pt x="2015468" y="1355137"/>
                </a:cubicBezTo>
                <a:cubicBezTo>
                  <a:pt x="2019181" y="1355402"/>
                  <a:pt x="2022363" y="1355402"/>
                  <a:pt x="2025015" y="1355402"/>
                </a:cubicBezTo>
                <a:cubicBezTo>
                  <a:pt x="2054717" y="1355137"/>
                  <a:pt x="2077523" y="1344795"/>
                  <a:pt x="2093435" y="1329679"/>
                </a:cubicBezTo>
                <a:cubicBezTo>
                  <a:pt x="2105369" y="1318275"/>
                  <a:pt x="2113855" y="1303690"/>
                  <a:pt x="2118098" y="1288309"/>
                </a:cubicBezTo>
                <a:cubicBezTo>
                  <a:pt x="2122341" y="1273193"/>
                  <a:pt x="2122606" y="1257546"/>
                  <a:pt x="2118894" y="1243491"/>
                </a:cubicBezTo>
                <a:cubicBezTo>
                  <a:pt x="2114916" y="1229701"/>
                  <a:pt x="2107225" y="1217502"/>
                  <a:pt x="2094761" y="1209811"/>
                </a:cubicBezTo>
                <a:lnTo>
                  <a:pt x="2000617" y="1159955"/>
                </a:lnTo>
                <a:lnTo>
                  <a:pt x="1999822" y="1159425"/>
                </a:lnTo>
                <a:lnTo>
                  <a:pt x="1909126" y="1109568"/>
                </a:lnTo>
                <a:lnTo>
                  <a:pt x="1908065" y="1108773"/>
                </a:lnTo>
                <a:cubicBezTo>
                  <a:pt x="1871468" y="1087292"/>
                  <a:pt x="1848396" y="1053878"/>
                  <a:pt x="1838054" y="1016486"/>
                </a:cubicBezTo>
                <a:cubicBezTo>
                  <a:pt x="1829833" y="985723"/>
                  <a:pt x="1830363" y="952309"/>
                  <a:pt x="1839115" y="920486"/>
                </a:cubicBezTo>
                <a:cubicBezTo>
                  <a:pt x="1847866" y="889193"/>
                  <a:pt x="1865104" y="859226"/>
                  <a:pt x="1890297" y="835359"/>
                </a:cubicBezTo>
                <a:cubicBezTo>
                  <a:pt x="1912838" y="813878"/>
                  <a:pt x="1942010" y="797171"/>
                  <a:pt x="1976750" y="788950"/>
                </a:cubicBezTo>
                <a:lnTo>
                  <a:pt x="1976750" y="696928"/>
                </a:lnTo>
                <a:lnTo>
                  <a:pt x="2073015" y="696928"/>
                </a:lnTo>
                <a:close/>
                <a:moveTo>
                  <a:pt x="3443003" y="0"/>
                </a:moveTo>
                <a:cubicBezTo>
                  <a:pt x="3733124" y="0"/>
                  <a:pt x="3968351" y="235226"/>
                  <a:pt x="3968351" y="525348"/>
                </a:cubicBezTo>
                <a:cubicBezTo>
                  <a:pt x="3968351" y="815469"/>
                  <a:pt x="3733124" y="1050695"/>
                  <a:pt x="3443003" y="1050695"/>
                </a:cubicBezTo>
                <a:cubicBezTo>
                  <a:pt x="3152882" y="1050695"/>
                  <a:pt x="2917655" y="815469"/>
                  <a:pt x="2917655" y="525348"/>
                </a:cubicBezTo>
                <a:cubicBezTo>
                  <a:pt x="2917655" y="235226"/>
                  <a:pt x="3152882" y="0"/>
                  <a:pt x="3443003" y="0"/>
                </a:cubicBezTo>
                <a:close/>
                <a:moveTo>
                  <a:pt x="3491003" y="104751"/>
                </a:moveTo>
                <a:lnTo>
                  <a:pt x="3491003" y="195713"/>
                </a:lnTo>
                <a:cubicBezTo>
                  <a:pt x="3534760" y="204464"/>
                  <a:pt x="3568705" y="225945"/>
                  <a:pt x="3593367" y="254585"/>
                </a:cubicBezTo>
                <a:cubicBezTo>
                  <a:pt x="3623334" y="289591"/>
                  <a:pt x="3638185" y="334939"/>
                  <a:pt x="3638716" y="380552"/>
                </a:cubicBezTo>
                <a:cubicBezTo>
                  <a:pt x="3638981" y="385326"/>
                  <a:pt x="3638716" y="389834"/>
                  <a:pt x="3638716" y="393547"/>
                </a:cubicBezTo>
                <a:lnTo>
                  <a:pt x="3542716" y="389038"/>
                </a:lnTo>
                <a:cubicBezTo>
                  <a:pt x="3542716" y="386121"/>
                  <a:pt x="3542981" y="383469"/>
                  <a:pt x="3542716" y="381613"/>
                </a:cubicBezTo>
                <a:cubicBezTo>
                  <a:pt x="3542450" y="357746"/>
                  <a:pt x="3535290" y="334409"/>
                  <a:pt x="3520174" y="317171"/>
                </a:cubicBezTo>
                <a:cubicBezTo>
                  <a:pt x="3506119" y="300464"/>
                  <a:pt x="3483578" y="289061"/>
                  <a:pt x="3452285" y="287469"/>
                </a:cubicBezTo>
                <a:cubicBezTo>
                  <a:pt x="3448837" y="287204"/>
                  <a:pt x="3445655" y="287204"/>
                  <a:pt x="3443003" y="287204"/>
                </a:cubicBezTo>
                <a:cubicBezTo>
                  <a:pt x="3413301" y="287469"/>
                  <a:pt x="3390495" y="297812"/>
                  <a:pt x="3374583" y="312928"/>
                </a:cubicBezTo>
                <a:cubicBezTo>
                  <a:pt x="3362384" y="324331"/>
                  <a:pt x="3354163" y="338917"/>
                  <a:pt x="3349920" y="354563"/>
                </a:cubicBezTo>
                <a:cubicBezTo>
                  <a:pt x="3345677" y="369414"/>
                  <a:pt x="3345412" y="385061"/>
                  <a:pt x="3349125" y="399116"/>
                </a:cubicBezTo>
                <a:cubicBezTo>
                  <a:pt x="3352837" y="413171"/>
                  <a:pt x="3361058" y="425370"/>
                  <a:pt x="3373522" y="433060"/>
                </a:cubicBezTo>
                <a:lnTo>
                  <a:pt x="3373522" y="433060"/>
                </a:lnTo>
                <a:lnTo>
                  <a:pt x="3464218" y="483182"/>
                </a:lnTo>
                <a:lnTo>
                  <a:pt x="3464218" y="483182"/>
                </a:lnTo>
                <a:lnTo>
                  <a:pt x="3557832" y="532773"/>
                </a:lnTo>
                <a:lnTo>
                  <a:pt x="3559688" y="533834"/>
                </a:lnTo>
                <a:cubicBezTo>
                  <a:pt x="3596550" y="555580"/>
                  <a:pt x="3619622" y="588729"/>
                  <a:pt x="3629699" y="626121"/>
                </a:cubicBezTo>
                <a:cubicBezTo>
                  <a:pt x="3638185" y="656884"/>
                  <a:pt x="3637655" y="690298"/>
                  <a:pt x="3628638" y="722121"/>
                </a:cubicBezTo>
                <a:cubicBezTo>
                  <a:pt x="3619887" y="753414"/>
                  <a:pt x="3602649" y="783381"/>
                  <a:pt x="3577721" y="807248"/>
                </a:cubicBezTo>
                <a:cubicBezTo>
                  <a:pt x="3554914" y="828994"/>
                  <a:pt x="3526008" y="845436"/>
                  <a:pt x="3491003" y="853657"/>
                </a:cubicBezTo>
                <a:lnTo>
                  <a:pt x="3491003" y="945944"/>
                </a:lnTo>
                <a:lnTo>
                  <a:pt x="3394738" y="945944"/>
                </a:lnTo>
                <a:lnTo>
                  <a:pt x="3394738" y="854983"/>
                </a:lnTo>
                <a:cubicBezTo>
                  <a:pt x="3350981" y="845966"/>
                  <a:pt x="3317036" y="824486"/>
                  <a:pt x="3292638" y="796110"/>
                </a:cubicBezTo>
                <a:cubicBezTo>
                  <a:pt x="3262406" y="761104"/>
                  <a:pt x="3247556" y="715756"/>
                  <a:pt x="3247025" y="670143"/>
                </a:cubicBezTo>
                <a:cubicBezTo>
                  <a:pt x="3247025" y="665105"/>
                  <a:pt x="3247025" y="660861"/>
                  <a:pt x="3247290" y="656884"/>
                </a:cubicBezTo>
                <a:lnTo>
                  <a:pt x="3343290" y="661392"/>
                </a:lnTo>
                <a:cubicBezTo>
                  <a:pt x="3343025" y="664574"/>
                  <a:pt x="3343025" y="666961"/>
                  <a:pt x="3343025" y="668817"/>
                </a:cubicBezTo>
                <a:cubicBezTo>
                  <a:pt x="3343290" y="692950"/>
                  <a:pt x="3350716" y="716287"/>
                  <a:pt x="3365567" y="733524"/>
                </a:cubicBezTo>
                <a:cubicBezTo>
                  <a:pt x="3379887" y="750232"/>
                  <a:pt x="3402163" y="761635"/>
                  <a:pt x="3433456" y="763226"/>
                </a:cubicBezTo>
                <a:cubicBezTo>
                  <a:pt x="3437169" y="763226"/>
                  <a:pt x="3440351" y="763491"/>
                  <a:pt x="3443003" y="763226"/>
                </a:cubicBezTo>
                <a:cubicBezTo>
                  <a:pt x="3472705" y="762961"/>
                  <a:pt x="3495511" y="752883"/>
                  <a:pt x="3511423" y="737767"/>
                </a:cubicBezTo>
                <a:cubicBezTo>
                  <a:pt x="3523357" y="726099"/>
                  <a:pt x="3531843" y="711513"/>
                  <a:pt x="3536086" y="696132"/>
                </a:cubicBezTo>
                <a:cubicBezTo>
                  <a:pt x="3540329" y="681016"/>
                  <a:pt x="3540594" y="665370"/>
                  <a:pt x="3536881" y="651580"/>
                </a:cubicBezTo>
                <a:cubicBezTo>
                  <a:pt x="3532903" y="637524"/>
                  <a:pt x="3525213" y="625591"/>
                  <a:pt x="3512749" y="617635"/>
                </a:cubicBezTo>
                <a:lnTo>
                  <a:pt x="3418605" y="567779"/>
                </a:lnTo>
                <a:lnTo>
                  <a:pt x="3417810" y="567513"/>
                </a:lnTo>
                <a:lnTo>
                  <a:pt x="3327114" y="517392"/>
                </a:lnTo>
                <a:lnTo>
                  <a:pt x="3326053" y="516596"/>
                </a:lnTo>
                <a:cubicBezTo>
                  <a:pt x="3289456" y="495116"/>
                  <a:pt x="3266384" y="461701"/>
                  <a:pt x="3256042" y="424309"/>
                </a:cubicBezTo>
                <a:cubicBezTo>
                  <a:pt x="3247821" y="393812"/>
                  <a:pt x="3248351" y="360132"/>
                  <a:pt x="3257103" y="328574"/>
                </a:cubicBezTo>
                <a:cubicBezTo>
                  <a:pt x="3265854" y="297016"/>
                  <a:pt x="3283091" y="267315"/>
                  <a:pt x="3308285" y="243182"/>
                </a:cubicBezTo>
                <a:cubicBezTo>
                  <a:pt x="3330826" y="221702"/>
                  <a:pt x="3359998" y="204994"/>
                  <a:pt x="3394738" y="196773"/>
                </a:cubicBezTo>
                <a:lnTo>
                  <a:pt x="3394738" y="104751"/>
                </a:lnTo>
                <a:lnTo>
                  <a:pt x="3491003" y="104751"/>
                </a:lnTo>
                <a:close/>
              </a:path>
            </a:pathLst>
          </a:custGeom>
          <a:solidFill>
            <a:schemeClr val="bg1"/>
          </a:solidFill>
          <a:ln w="26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7" name="Gráfico 114">
            <a:extLst>
              <a:ext uri="{FF2B5EF4-FFF2-40B4-BE49-F238E27FC236}">
                <a16:creationId xmlns:a16="http://schemas.microsoft.com/office/drawing/2014/main" id="{25C61343-C5A0-7501-DA33-C15B59BD9028}"/>
              </a:ext>
            </a:extLst>
          </p:cNvPr>
          <p:cNvGrpSpPr/>
          <p:nvPr/>
        </p:nvGrpSpPr>
        <p:grpSpPr>
          <a:xfrm>
            <a:off x="1257802" y="4292388"/>
            <a:ext cx="290432" cy="267122"/>
            <a:chOff x="-1397241" y="1685481"/>
            <a:chExt cx="594619" cy="594619"/>
          </a:xfrm>
          <a:solidFill>
            <a:schemeClr val="bg1"/>
          </a:solidFill>
        </p:grpSpPr>
        <p:sp>
          <p:nvSpPr>
            <p:cNvPr id="28" name="Forma Livre: Forma 27">
              <a:extLst>
                <a:ext uri="{FF2B5EF4-FFF2-40B4-BE49-F238E27FC236}">
                  <a16:creationId xmlns:a16="http://schemas.microsoft.com/office/drawing/2014/main" id="{46EAC381-4C99-BE57-2B52-8A7DEDECD6A6}"/>
                </a:ext>
              </a:extLst>
            </p:cNvPr>
            <p:cNvSpPr/>
            <p:nvPr/>
          </p:nvSpPr>
          <p:spPr>
            <a:xfrm>
              <a:off x="-1386478" y="1712386"/>
              <a:ext cx="556951" cy="556951"/>
            </a:xfrm>
            <a:custGeom>
              <a:avLst/>
              <a:gdLst>
                <a:gd name="connsiteX0" fmla="*/ 492377 w 556951"/>
                <a:gd name="connsiteY0" fmla="*/ 139911 h 556951"/>
                <a:gd name="connsiteX1" fmla="*/ 521974 w 556951"/>
                <a:gd name="connsiteY1" fmla="*/ 169507 h 556951"/>
                <a:gd name="connsiteX2" fmla="*/ 556952 w 556951"/>
                <a:gd name="connsiteY2" fmla="*/ 0 h 556951"/>
                <a:gd name="connsiteX3" fmla="*/ 387445 w 556951"/>
                <a:gd name="connsiteY3" fmla="*/ 34978 h 556951"/>
                <a:gd name="connsiteX4" fmla="*/ 417041 w 556951"/>
                <a:gd name="connsiteY4" fmla="*/ 61883 h 556951"/>
                <a:gd name="connsiteX5" fmla="*/ 64574 w 556951"/>
                <a:gd name="connsiteY5" fmla="*/ 414350 h 556951"/>
                <a:gd name="connsiteX6" fmla="*/ 34978 w 556951"/>
                <a:gd name="connsiteY6" fmla="*/ 384754 h 556951"/>
                <a:gd name="connsiteX7" fmla="*/ 0 w 556951"/>
                <a:gd name="connsiteY7" fmla="*/ 556951 h 556951"/>
                <a:gd name="connsiteX8" fmla="*/ 172198 w 556951"/>
                <a:gd name="connsiteY8" fmla="*/ 521974 h 556951"/>
                <a:gd name="connsiteX9" fmla="*/ 142601 w 556951"/>
                <a:gd name="connsiteY9" fmla="*/ 492377 h 556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6951" h="556951">
                  <a:moveTo>
                    <a:pt x="492377" y="139911"/>
                  </a:moveTo>
                  <a:lnTo>
                    <a:pt x="521974" y="169507"/>
                  </a:lnTo>
                  <a:lnTo>
                    <a:pt x="556952" y="0"/>
                  </a:lnTo>
                  <a:lnTo>
                    <a:pt x="387445" y="34978"/>
                  </a:lnTo>
                  <a:lnTo>
                    <a:pt x="417041" y="61883"/>
                  </a:lnTo>
                  <a:lnTo>
                    <a:pt x="64574" y="414350"/>
                  </a:lnTo>
                  <a:lnTo>
                    <a:pt x="34978" y="384754"/>
                  </a:lnTo>
                  <a:lnTo>
                    <a:pt x="0" y="556951"/>
                  </a:lnTo>
                  <a:lnTo>
                    <a:pt x="172198" y="521974"/>
                  </a:lnTo>
                  <a:lnTo>
                    <a:pt x="142601" y="492377"/>
                  </a:lnTo>
                  <a:close/>
                </a:path>
              </a:pathLst>
            </a:custGeom>
            <a:grpFill/>
            <a:ln w="26504" cap="flat">
              <a:noFill/>
              <a:prstDash val="solid"/>
              <a:miter/>
            </a:ln>
          </p:spPr>
          <p:txBody>
            <a:bodyPr rtlCol="0" anchor="ctr"/>
            <a:lstStyle/>
            <a:p>
              <a:endParaRPr lang="pt-BR"/>
            </a:p>
          </p:txBody>
        </p:sp>
        <p:sp>
          <p:nvSpPr>
            <p:cNvPr id="30" name="Forma Livre: Forma 29">
              <a:extLst>
                <a:ext uri="{FF2B5EF4-FFF2-40B4-BE49-F238E27FC236}">
                  <a16:creationId xmlns:a16="http://schemas.microsoft.com/office/drawing/2014/main" id="{8AA7EA14-36A5-AD07-3719-5C018B3E285A}"/>
                </a:ext>
              </a:extLst>
            </p:cNvPr>
            <p:cNvSpPr/>
            <p:nvPr/>
          </p:nvSpPr>
          <p:spPr>
            <a:xfrm>
              <a:off x="-1397241" y="1685481"/>
              <a:ext cx="271749" cy="271749"/>
            </a:xfrm>
            <a:custGeom>
              <a:avLst/>
              <a:gdLst>
                <a:gd name="connsiteX0" fmla="*/ 134529 w 271749"/>
                <a:gd name="connsiteY0" fmla="*/ 271749 h 271749"/>
                <a:gd name="connsiteX1" fmla="*/ 271749 w 271749"/>
                <a:gd name="connsiteY1" fmla="*/ 134529 h 271749"/>
                <a:gd name="connsiteX2" fmla="*/ 134529 w 271749"/>
                <a:gd name="connsiteY2" fmla="*/ 0 h 271749"/>
                <a:gd name="connsiteX3" fmla="*/ 0 w 271749"/>
                <a:gd name="connsiteY3" fmla="*/ 134529 h 271749"/>
                <a:gd name="connsiteX4" fmla="*/ 134529 w 271749"/>
                <a:gd name="connsiteY4" fmla="*/ 271749 h 271749"/>
                <a:gd name="connsiteX5" fmla="*/ 134529 w 271749"/>
                <a:gd name="connsiteY5" fmla="*/ 174888 h 271749"/>
                <a:gd name="connsiteX6" fmla="*/ 96861 w 271749"/>
                <a:gd name="connsiteY6" fmla="*/ 137220 h 271749"/>
                <a:gd name="connsiteX7" fmla="*/ 134529 w 271749"/>
                <a:gd name="connsiteY7" fmla="*/ 99552 h 271749"/>
                <a:gd name="connsiteX8" fmla="*/ 172198 w 271749"/>
                <a:gd name="connsiteY8" fmla="*/ 137220 h 271749"/>
                <a:gd name="connsiteX9" fmla="*/ 134529 w 271749"/>
                <a:gd name="connsiteY9" fmla="*/ 174888 h 27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749" h="271749">
                  <a:moveTo>
                    <a:pt x="134529" y="271749"/>
                  </a:moveTo>
                  <a:cubicBezTo>
                    <a:pt x="209866" y="271749"/>
                    <a:pt x="271749" y="209866"/>
                    <a:pt x="271749" y="134529"/>
                  </a:cubicBezTo>
                  <a:cubicBezTo>
                    <a:pt x="271749" y="59193"/>
                    <a:pt x="209866" y="0"/>
                    <a:pt x="134529" y="0"/>
                  </a:cubicBezTo>
                  <a:cubicBezTo>
                    <a:pt x="59193" y="0"/>
                    <a:pt x="0" y="61883"/>
                    <a:pt x="0" y="134529"/>
                  </a:cubicBezTo>
                  <a:cubicBezTo>
                    <a:pt x="0" y="212556"/>
                    <a:pt x="61884" y="271749"/>
                    <a:pt x="134529" y="271749"/>
                  </a:cubicBezTo>
                  <a:close/>
                  <a:moveTo>
                    <a:pt x="134529" y="174888"/>
                  </a:moveTo>
                  <a:cubicBezTo>
                    <a:pt x="113005" y="174888"/>
                    <a:pt x="96861" y="158745"/>
                    <a:pt x="96861" y="137220"/>
                  </a:cubicBezTo>
                  <a:cubicBezTo>
                    <a:pt x="96861" y="115695"/>
                    <a:pt x="113005" y="99552"/>
                    <a:pt x="134529" y="99552"/>
                  </a:cubicBezTo>
                  <a:cubicBezTo>
                    <a:pt x="156054" y="99552"/>
                    <a:pt x="172198" y="115695"/>
                    <a:pt x="172198" y="137220"/>
                  </a:cubicBezTo>
                  <a:cubicBezTo>
                    <a:pt x="172198" y="158745"/>
                    <a:pt x="156054" y="174888"/>
                    <a:pt x="134529" y="174888"/>
                  </a:cubicBezTo>
                  <a:close/>
                </a:path>
              </a:pathLst>
            </a:custGeom>
            <a:grpFill/>
            <a:ln w="26504" cap="flat">
              <a:noFill/>
              <a:prstDash val="solid"/>
              <a:miter/>
            </a:ln>
          </p:spPr>
          <p:txBody>
            <a:bodyPr rtlCol="0" anchor="ctr"/>
            <a:lstStyle/>
            <a:p>
              <a:endParaRPr lang="pt-BR"/>
            </a:p>
          </p:txBody>
        </p:sp>
        <p:sp>
          <p:nvSpPr>
            <p:cNvPr id="31" name="Forma Livre: Forma 30">
              <a:extLst>
                <a:ext uri="{FF2B5EF4-FFF2-40B4-BE49-F238E27FC236}">
                  <a16:creationId xmlns:a16="http://schemas.microsoft.com/office/drawing/2014/main" id="{36178838-1696-88C6-A469-B69C79274704}"/>
                </a:ext>
              </a:extLst>
            </p:cNvPr>
            <p:cNvSpPr/>
            <p:nvPr/>
          </p:nvSpPr>
          <p:spPr>
            <a:xfrm>
              <a:off x="-1074370" y="2008351"/>
              <a:ext cx="271749" cy="271749"/>
            </a:xfrm>
            <a:custGeom>
              <a:avLst/>
              <a:gdLst>
                <a:gd name="connsiteX0" fmla="*/ 134529 w 271749"/>
                <a:gd name="connsiteY0" fmla="*/ 0 h 271749"/>
                <a:gd name="connsiteX1" fmla="*/ 0 w 271749"/>
                <a:gd name="connsiteY1" fmla="*/ 137220 h 271749"/>
                <a:gd name="connsiteX2" fmla="*/ 134529 w 271749"/>
                <a:gd name="connsiteY2" fmla="*/ 271749 h 271749"/>
                <a:gd name="connsiteX3" fmla="*/ 271749 w 271749"/>
                <a:gd name="connsiteY3" fmla="*/ 137220 h 271749"/>
                <a:gd name="connsiteX4" fmla="*/ 134529 w 271749"/>
                <a:gd name="connsiteY4" fmla="*/ 0 h 271749"/>
                <a:gd name="connsiteX5" fmla="*/ 134529 w 271749"/>
                <a:gd name="connsiteY5" fmla="*/ 99552 h 271749"/>
                <a:gd name="connsiteX6" fmla="*/ 172198 w 271749"/>
                <a:gd name="connsiteY6" fmla="*/ 137220 h 271749"/>
                <a:gd name="connsiteX7" fmla="*/ 134529 w 271749"/>
                <a:gd name="connsiteY7" fmla="*/ 174888 h 271749"/>
                <a:gd name="connsiteX8" fmla="*/ 96861 w 271749"/>
                <a:gd name="connsiteY8" fmla="*/ 137220 h 271749"/>
                <a:gd name="connsiteX9" fmla="*/ 134529 w 271749"/>
                <a:gd name="connsiteY9" fmla="*/ 99552 h 27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749" h="271749">
                  <a:moveTo>
                    <a:pt x="134529" y="0"/>
                  </a:moveTo>
                  <a:cubicBezTo>
                    <a:pt x="59193" y="0"/>
                    <a:pt x="0" y="61884"/>
                    <a:pt x="0" y="137220"/>
                  </a:cubicBezTo>
                  <a:cubicBezTo>
                    <a:pt x="0" y="212556"/>
                    <a:pt x="61884" y="271749"/>
                    <a:pt x="134529" y="271749"/>
                  </a:cubicBezTo>
                  <a:cubicBezTo>
                    <a:pt x="209866" y="271749"/>
                    <a:pt x="271749" y="209866"/>
                    <a:pt x="271749" y="137220"/>
                  </a:cubicBezTo>
                  <a:cubicBezTo>
                    <a:pt x="271749" y="61884"/>
                    <a:pt x="209866" y="0"/>
                    <a:pt x="134529" y="0"/>
                  </a:cubicBezTo>
                  <a:close/>
                  <a:moveTo>
                    <a:pt x="134529" y="99552"/>
                  </a:moveTo>
                  <a:cubicBezTo>
                    <a:pt x="156054" y="99552"/>
                    <a:pt x="172198" y="115695"/>
                    <a:pt x="172198" y="137220"/>
                  </a:cubicBezTo>
                  <a:cubicBezTo>
                    <a:pt x="172198" y="158745"/>
                    <a:pt x="156054" y="174888"/>
                    <a:pt x="134529" y="174888"/>
                  </a:cubicBezTo>
                  <a:cubicBezTo>
                    <a:pt x="113005" y="174888"/>
                    <a:pt x="96861" y="158745"/>
                    <a:pt x="96861" y="137220"/>
                  </a:cubicBezTo>
                  <a:cubicBezTo>
                    <a:pt x="96861" y="115695"/>
                    <a:pt x="113005" y="99552"/>
                    <a:pt x="134529" y="99552"/>
                  </a:cubicBezTo>
                  <a:close/>
                </a:path>
              </a:pathLst>
            </a:custGeom>
            <a:grpFill/>
            <a:ln w="26504" cap="flat">
              <a:noFill/>
              <a:prstDash val="solid"/>
              <a:miter/>
            </a:ln>
          </p:spPr>
          <p:txBody>
            <a:bodyPr rtlCol="0" anchor="ctr"/>
            <a:lstStyle/>
            <a:p>
              <a:endParaRPr lang="pt-BR"/>
            </a:p>
          </p:txBody>
        </p:sp>
      </p:grpSp>
      <p:sp>
        <p:nvSpPr>
          <p:cNvPr id="33" name="CaixaDeTexto 32">
            <a:extLst>
              <a:ext uri="{FF2B5EF4-FFF2-40B4-BE49-F238E27FC236}">
                <a16:creationId xmlns:a16="http://schemas.microsoft.com/office/drawing/2014/main" id="{E60DE7C8-E9E4-0168-158A-A06233433A4B}"/>
              </a:ext>
            </a:extLst>
          </p:cNvPr>
          <p:cNvSpPr txBox="1"/>
          <p:nvPr>
            <p:custDataLst>
              <p:tags r:id="rId35"/>
            </p:custDataLst>
          </p:nvPr>
        </p:nvSpPr>
        <p:spPr>
          <a:xfrm>
            <a:off x="6389353" y="3670834"/>
            <a:ext cx="2112138" cy="229678"/>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tabLst/>
              <a:defRPr/>
            </a:pPr>
            <a:r>
              <a:rPr kumimoji="0" lang="en-US" sz="1050" b="0" i="0" u="none" strike="noStrike" kern="1200" cap="none" spc="0" normalizeH="0" baseline="0" noProof="0">
                <a:ln>
                  <a:noFill/>
                </a:ln>
                <a:solidFill>
                  <a:srgbClr val="005FD7"/>
                </a:solidFill>
                <a:effectLst/>
                <a:uLnTx/>
                <a:uFillTx/>
                <a:latin typeface="Segoe UI" panose="020B0502040204020203" pitchFamily="34" charset="0"/>
                <a:ea typeface="+mn-ea"/>
                <a:cs typeface="Segoe UI" panose="020B0502040204020203" pitchFamily="34" charset="0"/>
              </a:rPr>
              <a:t>Period CAGR¹ IPCA </a:t>
            </a:r>
            <a:r>
              <a:rPr kumimoji="0" lang="en-US" sz="1050" b="1" i="0" u="none" strike="noStrike" kern="1200" cap="none" spc="0" normalizeH="0" baseline="0" noProof="0">
                <a:ln>
                  <a:noFill/>
                </a:ln>
                <a:solidFill>
                  <a:srgbClr val="005FD7"/>
                </a:solidFill>
                <a:effectLst/>
                <a:uLnTx/>
                <a:uFillTx/>
                <a:latin typeface="Segoe UI" panose="020B0502040204020203" pitchFamily="34" charset="0"/>
                <a:ea typeface="+mn-ea"/>
                <a:cs typeface="Segoe UI" panose="020B0502040204020203" pitchFamily="34" charset="0"/>
              </a:rPr>
              <a:t>6.1%</a:t>
            </a:r>
          </a:p>
        </p:txBody>
      </p:sp>
      <p:cxnSp>
        <p:nvCxnSpPr>
          <p:cNvPr id="34" name="Conector reto 33">
            <a:extLst>
              <a:ext uri="{FF2B5EF4-FFF2-40B4-BE49-F238E27FC236}">
                <a16:creationId xmlns:a16="http://schemas.microsoft.com/office/drawing/2014/main" id="{6681C178-56B4-9394-4720-D17865166318}"/>
              </a:ext>
            </a:extLst>
          </p:cNvPr>
          <p:cNvCxnSpPr>
            <a:cxnSpLocks/>
          </p:cNvCxnSpPr>
          <p:nvPr/>
        </p:nvCxnSpPr>
        <p:spPr>
          <a:xfrm>
            <a:off x="4286300" y="3513344"/>
            <a:ext cx="235565" cy="0"/>
          </a:xfrm>
          <a:prstGeom prst="line">
            <a:avLst/>
          </a:prstGeom>
          <a:ln>
            <a:solidFill>
              <a:srgbClr val="00FFFF"/>
            </a:solidFill>
            <a:prstDash val="dash"/>
          </a:ln>
        </p:spPr>
        <p:style>
          <a:lnRef idx="3">
            <a:schemeClr val="accent1"/>
          </a:lnRef>
          <a:fillRef idx="0">
            <a:schemeClr val="accent1"/>
          </a:fillRef>
          <a:effectRef idx="2">
            <a:schemeClr val="accent1"/>
          </a:effectRef>
          <a:fontRef idx="minor">
            <a:schemeClr val="tx1"/>
          </a:fontRef>
        </p:style>
      </p:cxnSp>
      <p:pic>
        <p:nvPicPr>
          <p:cNvPr id="4" name="Imagem 3" descr="Uma imagem contendo Interface gráfica do usuário&#10;&#10;Descrição gerada automaticamente">
            <a:extLst>
              <a:ext uri="{FF2B5EF4-FFF2-40B4-BE49-F238E27FC236}">
                <a16:creationId xmlns:a16="http://schemas.microsoft.com/office/drawing/2014/main" id="{373F3983-F6C3-61AE-502C-E1E26B4A5E8F}"/>
              </a:ext>
            </a:extLst>
          </p:cNvPr>
          <p:cNvPicPr>
            <a:picLocks noChangeAspect="1"/>
          </p:cNvPicPr>
          <p:nvPr/>
        </p:nvPicPr>
        <p:blipFill>
          <a:blip r:embed="rId54"/>
          <a:stretch>
            <a:fillRect/>
          </a:stretch>
        </p:blipFill>
        <p:spPr>
          <a:xfrm>
            <a:off x="8039840" y="60434"/>
            <a:ext cx="920231" cy="509571"/>
          </a:xfrm>
          <a:prstGeom prst="rect">
            <a:avLst/>
          </a:prstGeom>
        </p:spPr>
      </p:pic>
    </p:spTree>
    <p:extLst>
      <p:ext uri="{BB962C8B-B14F-4D97-AF65-F5344CB8AC3E}">
        <p14:creationId xmlns:p14="http://schemas.microsoft.com/office/powerpoint/2010/main" val="3938980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par>
                                <p:cTn id="8" presetID="35" presetClass="path" presetSubtype="0" accel="17000" decel="83000" fill="hold" grpId="1" nodeType="withEffect">
                                  <p:stCondLst>
                                    <p:cond delay="0"/>
                                  </p:stCondLst>
                                  <p:childTnLst>
                                    <p:animMotion origin="layout" path="M 0.02311 -2.54625E-6 L 1.80102E-6 -2.54625E-6 " pathEditMode="relative" rAng="0" ptsTypes="AA">
                                      <p:cBhvr>
                                        <p:cTn id="9" dur="1100" fill="hold"/>
                                        <p:tgtEl>
                                          <p:spTgt spid="32"/>
                                        </p:tgtEl>
                                        <p:attrNameLst>
                                          <p:attrName>ppt_x</p:attrName>
                                          <p:attrName>ppt_y</p:attrName>
                                        </p:attrNameLst>
                                      </p:cBhvr>
                                      <p:rCtr x="-1164" y="0"/>
                                    </p:animMotion>
                                  </p:childTnLst>
                                </p:cTn>
                              </p:par>
                              <p:par>
                                <p:cTn id="10" presetID="10"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500"/>
                                        <p:tgtEl>
                                          <p:spTgt spid="35"/>
                                        </p:tgtEl>
                                      </p:cBhvr>
                                    </p:animEffect>
                                  </p:childTnLst>
                                </p:cTn>
                              </p:par>
                              <p:par>
                                <p:cTn id="13" presetID="35" presetClass="path" presetSubtype="0" accel="17000" decel="83000" fill="hold" grpId="1" nodeType="withEffect">
                                  <p:stCondLst>
                                    <p:cond delay="0"/>
                                  </p:stCondLst>
                                  <p:childTnLst>
                                    <p:animMotion origin="layout" path="M -0.0321 -2.9884E-6 L -4.59693E-6 -2.9884E-6 " pathEditMode="relative" rAng="0" ptsTypes="AA">
                                      <p:cBhvr>
                                        <p:cTn id="14" dur="1100" fill="hold"/>
                                        <p:tgtEl>
                                          <p:spTgt spid="35"/>
                                        </p:tgtEl>
                                        <p:attrNameLst>
                                          <p:attrName>ppt_x</p:attrName>
                                          <p:attrName>ppt_y</p:attrName>
                                        </p:attrNameLst>
                                      </p:cBhvr>
                                      <p:rCtr x="1605" y="0"/>
                                    </p:animMotion>
                                  </p:childTnLst>
                                </p:cTn>
                              </p:par>
                              <p:par>
                                <p:cTn id="15" presetID="53" presetClass="entr" presetSubtype="0" fill="hold" nodeType="withEffect">
                                  <p:stCondLst>
                                    <p:cond delay="250"/>
                                  </p:stCondLst>
                                  <p:childTnLst>
                                    <p:set>
                                      <p:cBhvr>
                                        <p:cTn id="16" dur="1" fill="hold">
                                          <p:stCondLst>
                                            <p:cond delay="0"/>
                                          </p:stCondLst>
                                        </p:cTn>
                                        <p:tgtEl>
                                          <p:spTgt spid="55"/>
                                        </p:tgtEl>
                                        <p:attrNameLst>
                                          <p:attrName>style.visibility</p:attrName>
                                        </p:attrNameLst>
                                      </p:cBhvr>
                                      <p:to>
                                        <p:strVal val="visible"/>
                                      </p:to>
                                    </p:set>
                                    <p:anim calcmode="lin" valueType="num">
                                      <p:cBhvr>
                                        <p:cTn id="17" dur="500" fill="hold"/>
                                        <p:tgtEl>
                                          <p:spTgt spid="55"/>
                                        </p:tgtEl>
                                        <p:attrNameLst>
                                          <p:attrName>ppt_w</p:attrName>
                                        </p:attrNameLst>
                                      </p:cBhvr>
                                      <p:tavLst>
                                        <p:tav tm="0">
                                          <p:val>
                                            <p:fltVal val="0"/>
                                          </p:val>
                                        </p:tav>
                                        <p:tav tm="100000">
                                          <p:val>
                                            <p:strVal val="#ppt_w"/>
                                          </p:val>
                                        </p:tav>
                                      </p:tavLst>
                                    </p:anim>
                                    <p:anim calcmode="lin" valueType="num">
                                      <p:cBhvr>
                                        <p:cTn id="18" dur="500" fill="hold"/>
                                        <p:tgtEl>
                                          <p:spTgt spid="55"/>
                                        </p:tgtEl>
                                        <p:attrNameLst>
                                          <p:attrName>ppt_h</p:attrName>
                                        </p:attrNameLst>
                                      </p:cBhvr>
                                      <p:tavLst>
                                        <p:tav tm="0">
                                          <p:val>
                                            <p:fltVal val="0"/>
                                          </p:val>
                                        </p:tav>
                                        <p:tav tm="100000">
                                          <p:val>
                                            <p:strVal val="#ppt_h"/>
                                          </p:val>
                                        </p:tav>
                                      </p:tavLst>
                                    </p:anim>
                                    <p:animEffect transition="in" filter="fade">
                                      <p:cBhvr>
                                        <p:cTn id="19" dur="500"/>
                                        <p:tgtEl>
                                          <p:spTgt spid="55"/>
                                        </p:tgtEl>
                                      </p:cBhvr>
                                    </p:animEffect>
                                  </p:childTnLst>
                                </p:cTn>
                              </p:par>
                              <p:par>
                                <p:cTn id="20" presetID="10" presetClass="entr" presetSubtype="0" fill="hold" nodeType="withEffect">
                                  <p:stCondLst>
                                    <p:cond delay="50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23" presetClass="entr" presetSubtype="288" fill="hold" nodeType="withEffect">
                                  <p:stCondLst>
                                    <p:cond delay="500"/>
                                  </p:stCondLst>
                                  <p:childTnLst>
                                    <p:set>
                                      <p:cBhvr>
                                        <p:cTn id="24" dur="1" fill="hold">
                                          <p:stCondLst>
                                            <p:cond delay="0"/>
                                          </p:stCondLst>
                                        </p:cTn>
                                        <p:tgtEl>
                                          <p:spTgt spid="36"/>
                                        </p:tgtEl>
                                        <p:attrNameLst>
                                          <p:attrName>style.visibility</p:attrName>
                                        </p:attrNameLst>
                                      </p:cBhvr>
                                      <p:to>
                                        <p:strVal val="visible"/>
                                      </p:to>
                                    </p:set>
                                    <p:anim calcmode="lin" valueType="num">
                                      <p:cBhvr>
                                        <p:cTn id="25" dur="500" fill="hold"/>
                                        <p:tgtEl>
                                          <p:spTgt spid="36"/>
                                        </p:tgtEl>
                                        <p:attrNameLst>
                                          <p:attrName>ppt_w</p:attrName>
                                        </p:attrNameLst>
                                      </p:cBhvr>
                                      <p:tavLst>
                                        <p:tav tm="0">
                                          <p:val>
                                            <p:strVal val="4/3*#ppt_w"/>
                                          </p:val>
                                        </p:tav>
                                        <p:tav tm="100000">
                                          <p:val>
                                            <p:strVal val="#ppt_w"/>
                                          </p:val>
                                        </p:tav>
                                      </p:tavLst>
                                    </p:anim>
                                    <p:anim calcmode="lin" valueType="num">
                                      <p:cBhvr>
                                        <p:cTn id="26" dur="500" fill="hold"/>
                                        <p:tgtEl>
                                          <p:spTgt spid="36"/>
                                        </p:tgtEl>
                                        <p:attrNameLst>
                                          <p:attrName>ppt_h</p:attrName>
                                        </p:attrNameLst>
                                      </p:cBhvr>
                                      <p:tavLst>
                                        <p:tav tm="0">
                                          <p:val>
                                            <p:strVal val="4/3*#ppt_h"/>
                                          </p:val>
                                        </p:tav>
                                        <p:tav tm="100000">
                                          <p:val>
                                            <p:strVal val="#ppt_h"/>
                                          </p:val>
                                        </p:tav>
                                      </p:tavLst>
                                    </p:anim>
                                  </p:childTnLst>
                                </p:cTn>
                              </p:par>
                              <p:par>
                                <p:cTn id="27" presetID="10" presetClass="entr" presetSubtype="0" fill="hold" grpId="0" nodeType="withEffect">
                                  <p:stCondLst>
                                    <p:cond delay="750"/>
                                  </p:stCondLst>
                                  <p:childTnLst>
                                    <p:set>
                                      <p:cBhvr>
                                        <p:cTn id="28" dur="1" fill="hold">
                                          <p:stCondLst>
                                            <p:cond delay="0"/>
                                          </p:stCondLst>
                                        </p:cTn>
                                        <p:tgtEl>
                                          <p:spTgt spid="56"/>
                                        </p:tgtEl>
                                        <p:attrNameLst>
                                          <p:attrName>style.visibility</p:attrName>
                                        </p:attrNameLst>
                                      </p:cBhvr>
                                      <p:to>
                                        <p:strVal val="visible"/>
                                      </p:to>
                                    </p:set>
                                    <p:animEffect transition="in" filter="fade">
                                      <p:cBhvr>
                                        <p:cTn id="29" dur="500"/>
                                        <p:tgtEl>
                                          <p:spTgt spid="56"/>
                                        </p:tgtEl>
                                      </p:cBhvr>
                                    </p:animEffect>
                                  </p:childTnLst>
                                </p:cTn>
                              </p:par>
                              <p:par>
                                <p:cTn id="30" presetID="10" presetClass="entr" presetSubtype="0" fill="hold" grpId="0" nodeType="withEffect">
                                  <p:stCondLst>
                                    <p:cond delay="750"/>
                                  </p:stCondLst>
                                  <p:childTnLst>
                                    <p:set>
                                      <p:cBhvr>
                                        <p:cTn id="31" dur="1" fill="hold">
                                          <p:stCondLst>
                                            <p:cond delay="0"/>
                                          </p:stCondLst>
                                        </p:cTn>
                                        <p:tgtEl>
                                          <p:spTgt spid="899"/>
                                        </p:tgtEl>
                                        <p:attrNameLst>
                                          <p:attrName>style.visibility</p:attrName>
                                        </p:attrNameLst>
                                      </p:cBhvr>
                                      <p:to>
                                        <p:strVal val="visible"/>
                                      </p:to>
                                    </p:set>
                                    <p:animEffect transition="in" filter="fade">
                                      <p:cBhvr>
                                        <p:cTn id="32" dur="500"/>
                                        <p:tgtEl>
                                          <p:spTgt spid="899"/>
                                        </p:tgtEl>
                                      </p:cBhvr>
                                    </p:animEffect>
                                  </p:childTnLst>
                                </p:cTn>
                              </p:par>
                              <p:par>
                                <p:cTn id="33" presetID="10" presetClass="entr" presetSubtype="0" fill="hold" grpId="0" nodeType="withEffect">
                                  <p:stCondLst>
                                    <p:cond delay="750"/>
                                  </p:stCondLst>
                                  <p:childTnLst>
                                    <p:set>
                                      <p:cBhvr>
                                        <p:cTn id="34" dur="1" fill="hold">
                                          <p:stCondLst>
                                            <p:cond delay="0"/>
                                          </p:stCondLst>
                                        </p:cTn>
                                        <p:tgtEl>
                                          <p:spTgt spid="901"/>
                                        </p:tgtEl>
                                        <p:attrNameLst>
                                          <p:attrName>style.visibility</p:attrName>
                                        </p:attrNameLst>
                                      </p:cBhvr>
                                      <p:to>
                                        <p:strVal val="visible"/>
                                      </p:to>
                                    </p:set>
                                    <p:animEffect transition="in" filter="fade">
                                      <p:cBhvr>
                                        <p:cTn id="35" dur="500"/>
                                        <p:tgtEl>
                                          <p:spTgt spid="901"/>
                                        </p:tgtEl>
                                      </p:cBhvr>
                                    </p:animEffect>
                                  </p:childTnLst>
                                </p:cTn>
                              </p:par>
                              <p:par>
                                <p:cTn id="36" presetID="10" presetClass="entr" presetSubtype="0" fill="hold" grpId="0" nodeType="withEffect">
                                  <p:stCondLst>
                                    <p:cond delay="750"/>
                                  </p:stCondLst>
                                  <p:childTnLst>
                                    <p:set>
                                      <p:cBhvr>
                                        <p:cTn id="37" dur="1" fill="hold">
                                          <p:stCondLst>
                                            <p:cond delay="0"/>
                                          </p:stCondLst>
                                        </p:cTn>
                                        <p:tgtEl>
                                          <p:spTgt spid="903"/>
                                        </p:tgtEl>
                                        <p:attrNameLst>
                                          <p:attrName>style.visibility</p:attrName>
                                        </p:attrNameLst>
                                      </p:cBhvr>
                                      <p:to>
                                        <p:strVal val="visible"/>
                                      </p:to>
                                    </p:set>
                                    <p:animEffect transition="in" filter="fade">
                                      <p:cBhvr>
                                        <p:cTn id="38" dur="500"/>
                                        <p:tgtEl>
                                          <p:spTgt spid="903"/>
                                        </p:tgtEl>
                                      </p:cBhvr>
                                    </p:animEffect>
                                  </p:childTnLst>
                                </p:cTn>
                              </p:par>
                              <p:par>
                                <p:cTn id="39" presetID="10" presetClass="entr" presetSubtype="0" fill="hold" grpId="0" nodeType="withEffect">
                                  <p:stCondLst>
                                    <p:cond delay="750"/>
                                  </p:stCondLst>
                                  <p:childTnLst>
                                    <p:set>
                                      <p:cBhvr>
                                        <p:cTn id="40" dur="1" fill="hold">
                                          <p:stCondLst>
                                            <p:cond delay="0"/>
                                          </p:stCondLst>
                                        </p:cTn>
                                        <p:tgtEl>
                                          <p:spTgt spid="905"/>
                                        </p:tgtEl>
                                        <p:attrNameLst>
                                          <p:attrName>style.visibility</p:attrName>
                                        </p:attrNameLst>
                                      </p:cBhvr>
                                      <p:to>
                                        <p:strVal val="visible"/>
                                      </p:to>
                                    </p:set>
                                    <p:animEffect transition="in" filter="fade">
                                      <p:cBhvr>
                                        <p:cTn id="41" dur="500"/>
                                        <p:tgtEl>
                                          <p:spTgt spid="905"/>
                                        </p:tgtEl>
                                      </p:cBhvr>
                                    </p:animEffect>
                                  </p:childTnLst>
                                </p:cTn>
                              </p:par>
                              <p:par>
                                <p:cTn id="42" presetID="10" presetClass="entr" presetSubtype="0" fill="hold" grpId="0" nodeType="withEffect">
                                  <p:stCondLst>
                                    <p:cond delay="750"/>
                                  </p:stCondLst>
                                  <p:childTnLst>
                                    <p:set>
                                      <p:cBhvr>
                                        <p:cTn id="43" dur="1" fill="hold">
                                          <p:stCondLst>
                                            <p:cond delay="0"/>
                                          </p:stCondLst>
                                        </p:cTn>
                                        <p:tgtEl>
                                          <p:spTgt spid="906"/>
                                        </p:tgtEl>
                                        <p:attrNameLst>
                                          <p:attrName>style.visibility</p:attrName>
                                        </p:attrNameLst>
                                      </p:cBhvr>
                                      <p:to>
                                        <p:strVal val="visible"/>
                                      </p:to>
                                    </p:set>
                                    <p:animEffect transition="in" filter="fade">
                                      <p:cBhvr>
                                        <p:cTn id="44" dur="500"/>
                                        <p:tgtEl>
                                          <p:spTgt spid="906"/>
                                        </p:tgtEl>
                                      </p:cBhvr>
                                    </p:animEffect>
                                  </p:childTnLst>
                                </p:cTn>
                              </p:par>
                              <p:par>
                                <p:cTn id="45" presetID="10" presetClass="entr" presetSubtype="0" fill="hold" grpId="0" nodeType="withEffect">
                                  <p:stCondLst>
                                    <p:cond delay="750"/>
                                  </p:stCondLst>
                                  <p:childTnLst>
                                    <p:set>
                                      <p:cBhvr>
                                        <p:cTn id="46" dur="1" fill="hold">
                                          <p:stCondLst>
                                            <p:cond delay="0"/>
                                          </p:stCondLst>
                                        </p:cTn>
                                        <p:tgtEl>
                                          <p:spTgt spid="907"/>
                                        </p:tgtEl>
                                        <p:attrNameLst>
                                          <p:attrName>style.visibility</p:attrName>
                                        </p:attrNameLst>
                                      </p:cBhvr>
                                      <p:to>
                                        <p:strVal val="visible"/>
                                      </p:to>
                                    </p:set>
                                    <p:animEffect transition="in" filter="fade">
                                      <p:cBhvr>
                                        <p:cTn id="47" dur="500"/>
                                        <p:tgtEl>
                                          <p:spTgt spid="907"/>
                                        </p:tgtEl>
                                      </p:cBhvr>
                                    </p:animEffect>
                                  </p:childTnLst>
                                </p:cTn>
                              </p:par>
                              <p:par>
                                <p:cTn id="48" presetID="10" presetClass="entr" presetSubtype="0" fill="hold" grpId="0" nodeType="withEffect">
                                  <p:stCondLst>
                                    <p:cond delay="750"/>
                                  </p:stCondLst>
                                  <p:childTnLst>
                                    <p:set>
                                      <p:cBhvr>
                                        <p:cTn id="49" dur="1" fill="hold">
                                          <p:stCondLst>
                                            <p:cond delay="0"/>
                                          </p:stCondLst>
                                        </p:cTn>
                                        <p:tgtEl>
                                          <p:spTgt spid="908"/>
                                        </p:tgtEl>
                                        <p:attrNameLst>
                                          <p:attrName>style.visibility</p:attrName>
                                        </p:attrNameLst>
                                      </p:cBhvr>
                                      <p:to>
                                        <p:strVal val="visible"/>
                                      </p:to>
                                    </p:set>
                                    <p:animEffect transition="in" filter="fade">
                                      <p:cBhvr>
                                        <p:cTn id="50" dur="500"/>
                                        <p:tgtEl>
                                          <p:spTgt spid="908"/>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911"/>
                                        </p:tgtEl>
                                        <p:attrNameLst>
                                          <p:attrName>style.visibility</p:attrName>
                                        </p:attrNameLst>
                                      </p:cBhvr>
                                      <p:to>
                                        <p:strVal val="visible"/>
                                      </p:to>
                                    </p:set>
                                    <p:animEffect transition="in" filter="fade">
                                      <p:cBhvr>
                                        <p:cTn id="53" dur="500"/>
                                        <p:tgtEl>
                                          <p:spTgt spid="911"/>
                                        </p:tgtEl>
                                      </p:cBhvr>
                                    </p:animEffect>
                                  </p:childTnLst>
                                </p:cTn>
                              </p:par>
                              <p:par>
                                <p:cTn id="54" presetID="10" presetClass="entr" presetSubtype="0" fill="hold" grpId="0" nodeType="withEffect">
                                  <p:stCondLst>
                                    <p:cond delay="750"/>
                                  </p:stCondLst>
                                  <p:childTnLst>
                                    <p:set>
                                      <p:cBhvr>
                                        <p:cTn id="55" dur="1" fill="hold">
                                          <p:stCondLst>
                                            <p:cond delay="0"/>
                                          </p:stCondLst>
                                        </p:cTn>
                                        <p:tgtEl>
                                          <p:spTgt spid="913"/>
                                        </p:tgtEl>
                                        <p:attrNameLst>
                                          <p:attrName>style.visibility</p:attrName>
                                        </p:attrNameLst>
                                      </p:cBhvr>
                                      <p:to>
                                        <p:strVal val="visible"/>
                                      </p:to>
                                    </p:set>
                                    <p:animEffect transition="in" filter="fade">
                                      <p:cBhvr>
                                        <p:cTn id="56" dur="500"/>
                                        <p:tgtEl>
                                          <p:spTgt spid="913"/>
                                        </p:tgtEl>
                                      </p:cBhvr>
                                    </p:animEffect>
                                  </p:childTnLst>
                                </p:cTn>
                              </p:par>
                              <p:par>
                                <p:cTn id="57" presetID="10" presetClass="entr" presetSubtype="0" fill="hold" grpId="0" nodeType="withEffect">
                                  <p:stCondLst>
                                    <p:cond delay="750"/>
                                  </p:stCondLst>
                                  <p:childTnLst>
                                    <p:set>
                                      <p:cBhvr>
                                        <p:cTn id="58" dur="1" fill="hold">
                                          <p:stCondLst>
                                            <p:cond delay="0"/>
                                          </p:stCondLst>
                                        </p:cTn>
                                        <p:tgtEl>
                                          <p:spTgt spid="914"/>
                                        </p:tgtEl>
                                        <p:attrNameLst>
                                          <p:attrName>style.visibility</p:attrName>
                                        </p:attrNameLst>
                                      </p:cBhvr>
                                      <p:to>
                                        <p:strVal val="visible"/>
                                      </p:to>
                                    </p:set>
                                    <p:animEffect transition="in" filter="fade">
                                      <p:cBhvr>
                                        <p:cTn id="59" dur="500"/>
                                        <p:tgtEl>
                                          <p:spTgt spid="914"/>
                                        </p:tgtEl>
                                      </p:cBhvr>
                                    </p:animEffect>
                                  </p:childTnLst>
                                </p:cTn>
                              </p:par>
                              <p:par>
                                <p:cTn id="60" presetID="10" presetClass="entr" presetSubtype="0" fill="hold" grpId="0" nodeType="withEffect">
                                  <p:stCondLst>
                                    <p:cond delay="750"/>
                                  </p:stCondLst>
                                  <p:childTnLst>
                                    <p:set>
                                      <p:cBhvr>
                                        <p:cTn id="61" dur="1" fill="hold">
                                          <p:stCondLst>
                                            <p:cond delay="0"/>
                                          </p:stCondLst>
                                        </p:cTn>
                                        <p:tgtEl>
                                          <p:spTgt spid="915"/>
                                        </p:tgtEl>
                                        <p:attrNameLst>
                                          <p:attrName>style.visibility</p:attrName>
                                        </p:attrNameLst>
                                      </p:cBhvr>
                                      <p:to>
                                        <p:strVal val="visible"/>
                                      </p:to>
                                    </p:set>
                                    <p:animEffect transition="in" filter="fade">
                                      <p:cBhvr>
                                        <p:cTn id="62" dur="500"/>
                                        <p:tgtEl>
                                          <p:spTgt spid="915"/>
                                        </p:tgtEl>
                                      </p:cBhvr>
                                    </p:animEffect>
                                  </p:childTnLst>
                                </p:cTn>
                              </p:par>
                              <p:par>
                                <p:cTn id="63" presetID="10" presetClass="entr" presetSubtype="0" fill="hold" grpId="0" nodeType="withEffect">
                                  <p:stCondLst>
                                    <p:cond delay="750"/>
                                  </p:stCondLst>
                                  <p:childTnLst>
                                    <p:set>
                                      <p:cBhvr>
                                        <p:cTn id="64" dur="1" fill="hold">
                                          <p:stCondLst>
                                            <p:cond delay="0"/>
                                          </p:stCondLst>
                                        </p:cTn>
                                        <p:tgtEl>
                                          <p:spTgt spid="916"/>
                                        </p:tgtEl>
                                        <p:attrNameLst>
                                          <p:attrName>style.visibility</p:attrName>
                                        </p:attrNameLst>
                                      </p:cBhvr>
                                      <p:to>
                                        <p:strVal val="visible"/>
                                      </p:to>
                                    </p:set>
                                    <p:animEffect transition="in" filter="fade">
                                      <p:cBhvr>
                                        <p:cTn id="65" dur="500"/>
                                        <p:tgtEl>
                                          <p:spTgt spid="916"/>
                                        </p:tgtEl>
                                      </p:cBhvr>
                                    </p:animEffect>
                                  </p:childTnLst>
                                </p:cTn>
                              </p:par>
                              <p:par>
                                <p:cTn id="66" presetID="10" presetClass="entr" presetSubtype="0" fill="hold" grpId="0" nodeType="withEffect">
                                  <p:stCondLst>
                                    <p:cond delay="750"/>
                                  </p:stCondLst>
                                  <p:childTnLst>
                                    <p:set>
                                      <p:cBhvr>
                                        <p:cTn id="67" dur="1" fill="hold">
                                          <p:stCondLst>
                                            <p:cond delay="0"/>
                                          </p:stCondLst>
                                        </p:cTn>
                                        <p:tgtEl>
                                          <p:spTgt spid="917"/>
                                        </p:tgtEl>
                                        <p:attrNameLst>
                                          <p:attrName>style.visibility</p:attrName>
                                        </p:attrNameLst>
                                      </p:cBhvr>
                                      <p:to>
                                        <p:strVal val="visible"/>
                                      </p:to>
                                    </p:set>
                                    <p:animEffect transition="in" filter="fade">
                                      <p:cBhvr>
                                        <p:cTn id="68" dur="500"/>
                                        <p:tgtEl>
                                          <p:spTgt spid="917"/>
                                        </p:tgtEl>
                                      </p:cBhvr>
                                    </p:animEffect>
                                  </p:childTnLst>
                                </p:cTn>
                              </p:par>
                              <p:par>
                                <p:cTn id="69" presetID="10" presetClass="entr" presetSubtype="0" fill="hold" grpId="0" nodeType="withEffect">
                                  <p:stCondLst>
                                    <p:cond delay="750"/>
                                  </p:stCondLst>
                                  <p:childTnLst>
                                    <p:set>
                                      <p:cBhvr>
                                        <p:cTn id="70" dur="1" fill="hold">
                                          <p:stCondLst>
                                            <p:cond delay="0"/>
                                          </p:stCondLst>
                                        </p:cTn>
                                        <p:tgtEl>
                                          <p:spTgt spid="918"/>
                                        </p:tgtEl>
                                        <p:attrNameLst>
                                          <p:attrName>style.visibility</p:attrName>
                                        </p:attrNameLst>
                                      </p:cBhvr>
                                      <p:to>
                                        <p:strVal val="visible"/>
                                      </p:to>
                                    </p:set>
                                    <p:animEffect transition="in" filter="fade">
                                      <p:cBhvr>
                                        <p:cTn id="71" dur="500"/>
                                        <p:tgtEl>
                                          <p:spTgt spid="918"/>
                                        </p:tgtEl>
                                      </p:cBhvr>
                                    </p:animEffect>
                                  </p:childTnLst>
                                </p:cTn>
                              </p:par>
                              <p:par>
                                <p:cTn id="72" presetID="10" presetClass="entr" presetSubtype="0" fill="hold" grpId="0" nodeType="withEffect">
                                  <p:stCondLst>
                                    <p:cond delay="750"/>
                                  </p:stCondLst>
                                  <p:childTnLst>
                                    <p:set>
                                      <p:cBhvr>
                                        <p:cTn id="73" dur="1" fill="hold">
                                          <p:stCondLst>
                                            <p:cond delay="0"/>
                                          </p:stCondLst>
                                        </p:cTn>
                                        <p:tgtEl>
                                          <p:spTgt spid="919"/>
                                        </p:tgtEl>
                                        <p:attrNameLst>
                                          <p:attrName>style.visibility</p:attrName>
                                        </p:attrNameLst>
                                      </p:cBhvr>
                                      <p:to>
                                        <p:strVal val="visible"/>
                                      </p:to>
                                    </p:set>
                                    <p:animEffect transition="in" filter="fade">
                                      <p:cBhvr>
                                        <p:cTn id="74" dur="500"/>
                                        <p:tgtEl>
                                          <p:spTgt spid="919"/>
                                        </p:tgtEl>
                                      </p:cBhvr>
                                    </p:animEffect>
                                  </p:childTnLst>
                                </p:cTn>
                              </p:par>
                              <p:par>
                                <p:cTn id="75" presetID="10" presetClass="entr" presetSubtype="0" fill="hold" grpId="0" nodeType="withEffect">
                                  <p:stCondLst>
                                    <p:cond delay="750"/>
                                  </p:stCondLst>
                                  <p:childTnLst>
                                    <p:set>
                                      <p:cBhvr>
                                        <p:cTn id="76" dur="1" fill="hold">
                                          <p:stCondLst>
                                            <p:cond delay="0"/>
                                          </p:stCondLst>
                                        </p:cTn>
                                        <p:tgtEl>
                                          <p:spTgt spid="920"/>
                                        </p:tgtEl>
                                        <p:attrNameLst>
                                          <p:attrName>style.visibility</p:attrName>
                                        </p:attrNameLst>
                                      </p:cBhvr>
                                      <p:to>
                                        <p:strVal val="visible"/>
                                      </p:to>
                                    </p:set>
                                    <p:animEffect transition="in" filter="fade">
                                      <p:cBhvr>
                                        <p:cTn id="77" dur="500"/>
                                        <p:tgtEl>
                                          <p:spTgt spid="920"/>
                                        </p:tgtEl>
                                      </p:cBhvr>
                                    </p:animEffect>
                                  </p:childTnLst>
                                </p:cTn>
                              </p:par>
                              <p:par>
                                <p:cTn id="78" presetID="10" presetClass="entr" presetSubtype="0" fill="hold" grpId="0" nodeType="withEffect">
                                  <p:stCondLst>
                                    <p:cond delay="750"/>
                                  </p:stCondLst>
                                  <p:childTnLst>
                                    <p:set>
                                      <p:cBhvr>
                                        <p:cTn id="79" dur="1" fill="hold">
                                          <p:stCondLst>
                                            <p:cond delay="0"/>
                                          </p:stCondLst>
                                        </p:cTn>
                                        <p:tgtEl>
                                          <p:spTgt spid="921"/>
                                        </p:tgtEl>
                                        <p:attrNameLst>
                                          <p:attrName>style.visibility</p:attrName>
                                        </p:attrNameLst>
                                      </p:cBhvr>
                                      <p:to>
                                        <p:strVal val="visible"/>
                                      </p:to>
                                    </p:set>
                                    <p:animEffect transition="in" filter="fade">
                                      <p:cBhvr>
                                        <p:cTn id="80" dur="500"/>
                                        <p:tgtEl>
                                          <p:spTgt spid="921"/>
                                        </p:tgtEl>
                                      </p:cBhvr>
                                    </p:animEffect>
                                  </p:childTnLst>
                                </p:cTn>
                              </p:par>
                              <p:par>
                                <p:cTn id="81" presetID="10" presetClass="entr" presetSubtype="0" fill="hold" grpId="0" nodeType="withEffect">
                                  <p:stCondLst>
                                    <p:cond delay="750"/>
                                  </p:stCondLst>
                                  <p:childTnLst>
                                    <p:set>
                                      <p:cBhvr>
                                        <p:cTn id="82" dur="1" fill="hold">
                                          <p:stCondLst>
                                            <p:cond delay="0"/>
                                          </p:stCondLst>
                                        </p:cTn>
                                        <p:tgtEl>
                                          <p:spTgt spid="922"/>
                                        </p:tgtEl>
                                        <p:attrNameLst>
                                          <p:attrName>style.visibility</p:attrName>
                                        </p:attrNameLst>
                                      </p:cBhvr>
                                      <p:to>
                                        <p:strVal val="visible"/>
                                      </p:to>
                                    </p:set>
                                    <p:animEffect transition="in" filter="fade">
                                      <p:cBhvr>
                                        <p:cTn id="83" dur="500"/>
                                        <p:tgtEl>
                                          <p:spTgt spid="922"/>
                                        </p:tgtEl>
                                      </p:cBhvr>
                                    </p:animEffect>
                                  </p:childTnLst>
                                </p:cTn>
                              </p:par>
                              <p:par>
                                <p:cTn id="84" presetID="10" presetClass="entr" presetSubtype="0" fill="hold" grpId="0" nodeType="withEffect">
                                  <p:stCondLst>
                                    <p:cond delay="750"/>
                                  </p:stCondLst>
                                  <p:childTnLst>
                                    <p:set>
                                      <p:cBhvr>
                                        <p:cTn id="85" dur="1" fill="hold">
                                          <p:stCondLst>
                                            <p:cond delay="0"/>
                                          </p:stCondLst>
                                        </p:cTn>
                                        <p:tgtEl>
                                          <p:spTgt spid="923"/>
                                        </p:tgtEl>
                                        <p:attrNameLst>
                                          <p:attrName>style.visibility</p:attrName>
                                        </p:attrNameLst>
                                      </p:cBhvr>
                                      <p:to>
                                        <p:strVal val="visible"/>
                                      </p:to>
                                    </p:set>
                                    <p:animEffect transition="in" filter="fade">
                                      <p:cBhvr>
                                        <p:cTn id="86" dur="500"/>
                                        <p:tgtEl>
                                          <p:spTgt spid="923"/>
                                        </p:tgtEl>
                                      </p:cBhvr>
                                    </p:animEffect>
                                  </p:childTnLst>
                                </p:cTn>
                              </p:par>
                              <p:par>
                                <p:cTn id="87" presetID="10" presetClass="entr" presetSubtype="0" fill="hold" grpId="0" nodeType="withEffect">
                                  <p:stCondLst>
                                    <p:cond delay="750"/>
                                  </p:stCondLst>
                                  <p:childTnLst>
                                    <p:set>
                                      <p:cBhvr>
                                        <p:cTn id="88" dur="1" fill="hold">
                                          <p:stCondLst>
                                            <p:cond delay="0"/>
                                          </p:stCondLst>
                                        </p:cTn>
                                        <p:tgtEl>
                                          <p:spTgt spid="924"/>
                                        </p:tgtEl>
                                        <p:attrNameLst>
                                          <p:attrName>style.visibility</p:attrName>
                                        </p:attrNameLst>
                                      </p:cBhvr>
                                      <p:to>
                                        <p:strVal val="visible"/>
                                      </p:to>
                                    </p:set>
                                    <p:animEffect transition="in" filter="fade">
                                      <p:cBhvr>
                                        <p:cTn id="89" dur="500"/>
                                        <p:tgtEl>
                                          <p:spTgt spid="924"/>
                                        </p:tgtEl>
                                      </p:cBhvr>
                                    </p:animEffect>
                                  </p:childTnLst>
                                </p:cTn>
                              </p:par>
                              <p:par>
                                <p:cTn id="90" presetID="10" presetClass="entr" presetSubtype="0" fill="hold" grpId="0" nodeType="withEffect">
                                  <p:stCondLst>
                                    <p:cond delay="750"/>
                                  </p:stCondLst>
                                  <p:childTnLst>
                                    <p:set>
                                      <p:cBhvr>
                                        <p:cTn id="91" dur="1" fill="hold">
                                          <p:stCondLst>
                                            <p:cond delay="0"/>
                                          </p:stCondLst>
                                        </p:cTn>
                                        <p:tgtEl>
                                          <p:spTgt spid="930"/>
                                        </p:tgtEl>
                                        <p:attrNameLst>
                                          <p:attrName>style.visibility</p:attrName>
                                        </p:attrNameLst>
                                      </p:cBhvr>
                                      <p:to>
                                        <p:strVal val="visible"/>
                                      </p:to>
                                    </p:set>
                                    <p:animEffect transition="in" filter="fade">
                                      <p:cBhvr>
                                        <p:cTn id="92" dur="500"/>
                                        <p:tgtEl>
                                          <p:spTgt spid="930"/>
                                        </p:tgtEl>
                                      </p:cBhvr>
                                    </p:animEffect>
                                  </p:childTnLst>
                                </p:cTn>
                              </p:par>
                              <p:par>
                                <p:cTn id="93" presetID="10" presetClass="entr" presetSubtype="0" fill="hold" grpId="0" nodeType="withEffect">
                                  <p:stCondLst>
                                    <p:cond delay="750"/>
                                  </p:stCondLst>
                                  <p:childTnLst>
                                    <p:set>
                                      <p:cBhvr>
                                        <p:cTn id="94" dur="1" fill="hold">
                                          <p:stCondLst>
                                            <p:cond delay="0"/>
                                          </p:stCondLst>
                                        </p:cTn>
                                        <p:tgtEl>
                                          <p:spTgt spid="932"/>
                                        </p:tgtEl>
                                        <p:attrNameLst>
                                          <p:attrName>style.visibility</p:attrName>
                                        </p:attrNameLst>
                                      </p:cBhvr>
                                      <p:to>
                                        <p:strVal val="visible"/>
                                      </p:to>
                                    </p:set>
                                    <p:animEffect transition="in" filter="fade">
                                      <p:cBhvr>
                                        <p:cTn id="95" dur="500"/>
                                        <p:tgtEl>
                                          <p:spTgt spid="932"/>
                                        </p:tgtEl>
                                      </p:cBhvr>
                                    </p:animEffect>
                                  </p:childTnLst>
                                </p:cTn>
                              </p:par>
                              <p:par>
                                <p:cTn id="96" presetID="10" presetClass="entr" presetSubtype="0" fill="hold" grpId="0" nodeType="withEffect">
                                  <p:stCondLst>
                                    <p:cond delay="750"/>
                                  </p:stCondLst>
                                  <p:childTnLst>
                                    <p:set>
                                      <p:cBhvr>
                                        <p:cTn id="97" dur="1" fill="hold">
                                          <p:stCondLst>
                                            <p:cond delay="0"/>
                                          </p:stCondLst>
                                        </p:cTn>
                                        <p:tgtEl>
                                          <p:spTgt spid="933"/>
                                        </p:tgtEl>
                                        <p:attrNameLst>
                                          <p:attrName>style.visibility</p:attrName>
                                        </p:attrNameLst>
                                      </p:cBhvr>
                                      <p:to>
                                        <p:strVal val="visible"/>
                                      </p:to>
                                    </p:set>
                                    <p:animEffect transition="in" filter="fade">
                                      <p:cBhvr>
                                        <p:cTn id="98" dur="500"/>
                                        <p:tgtEl>
                                          <p:spTgt spid="933"/>
                                        </p:tgtEl>
                                      </p:cBhvr>
                                    </p:animEffect>
                                  </p:childTnLst>
                                </p:cTn>
                              </p:par>
                              <p:par>
                                <p:cTn id="99" presetID="22" presetClass="entr" presetSubtype="8" fill="hold" nodeType="withEffect">
                                  <p:stCondLst>
                                    <p:cond delay="1000"/>
                                  </p:stCondLst>
                                  <p:childTnLst>
                                    <p:set>
                                      <p:cBhvr>
                                        <p:cTn id="100" dur="1" fill="hold">
                                          <p:stCondLst>
                                            <p:cond delay="0"/>
                                          </p:stCondLst>
                                        </p:cTn>
                                        <p:tgtEl>
                                          <p:spTgt spid="925"/>
                                        </p:tgtEl>
                                        <p:attrNameLst>
                                          <p:attrName>style.visibility</p:attrName>
                                        </p:attrNameLst>
                                      </p:cBhvr>
                                      <p:to>
                                        <p:strVal val="visible"/>
                                      </p:to>
                                    </p:set>
                                    <p:animEffect transition="in" filter="wipe(left)">
                                      <p:cBhvr>
                                        <p:cTn id="101" dur="750"/>
                                        <p:tgtEl>
                                          <p:spTgt spid="925"/>
                                        </p:tgtEl>
                                      </p:cBhvr>
                                    </p:animEffect>
                                  </p:childTnLst>
                                </p:cTn>
                              </p:par>
                              <p:par>
                                <p:cTn id="102" presetID="10" presetClass="entr" presetSubtype="0" fill="hold" grpId="0" nodeType="withEffect">
                                  <p:stCondLst>
                                    <p:cond delay="1000"/>
                                  </p:stCondLst>
                                  <p:childTnLst>
                                    <p:set>
                                      <p:cBhvr>
                                        <p:cTn id="103" dur="1" fill="hold">
                                          <p:stCondLst>
                                            <p:cond delay="0"/>
                                          </p:stCondLst>
                                        </p:cTn>
                                        <p:tgtEl>
                                          <p:spTgt spid="2"/>
                                        </p:tgtEl>
                                        <p:attrNameLst>
                                          <p:attrName>style.visibility</p:attrName>
                                        </p:attrNameLst>
                                      </p:cBhvr>
                                      <p:to>
                                        <p:strVal val="visible"/>
                                      </p:to>
                                    </p:set>
                                    <p:animEffect transition="in" filter="fade">
                                      <p:cBhvr>
                                        <p:cTn id="104" dur="500"/>
                                        <p:tgtEl>
                                          <p:spTgt spid="2"/>
                                        </p:tgtEl>
                                      </p:cBhvr>
                                    </p:animEffect>
                                  </p:childTnLst>
                                </p:cTn>
                              </p:par>
                            </p:childTnLst>
                          </p:cTn>
                        </p:par>
                        <p:par>
                          <p:cTn id="105" fill="hold" nodeType="afterGroup">
                            <p:stCondLst>
                              <p:cond delay="1750"/>
                            </p:stCondLst>
                            <p:childTnLst>
                              <p:par>
                                <p:cTn id="106" presetID="10" presetClass="entr" presetSubtype="0" fill="hold" grpId="0" nodeType="afterEffect">
                                  <p:stCondLst>
                                    <p:cond delay="0"/>
                                  </p:stCondLst>
                                  <p:childTnLst>
                                    <p:set>
                                      <p:cBhvr>
                                        <p:cTn id="107" dur="1" fill="hold">
                                          <p:stCondLst>
                                            <p:cond delay="0"/>
                                          </p:stCondLst>
                                        </p:cTn>
                                        <p:tgtEl>
                                          <p:spTgt spid="11"/>
                                        </p:tgtEl>
                                        <p:attrNameLst>
                                          <p:attrName>style.visibility</p:attrName>
                                        </p:attrNameLst>
                                      </p:cBhvr>
                                      <p:to>
                                        <p:strVal val="visible"/>
                                      </p:to>
                                    </p:set>
                                    <p:animEffect transition="in" filter="fade">
                                      <p:cBhvr>
                                        <p:cTn id="108" dur="500"/>
                                        <p:tgtEl>
                                          <p:spTgt spid="11"/>
                                        </p:tgtEl>
                                      </p:cBhvr>
                                    </p:animEffect>
                                  </p:childTnLst>
                                </p:cTn>
                              </p:par>
                              <p:par>
                                <p:cTn id="109" presetID="10" presetClass="entr" presetSubtype="0" fill="hold" grpId="0" nodeType="withEffect">
                                  <p:stCondLst>
                                    <p:cond delay="2500"/>
                                  </p:stCondLst>
                                  <p:childTnLst>
                                    <p:set>
                                      <p:cBhvr>
                                        <p:cTn id="110" dur="1" fill="hold">
                                          <p:stCondLst>
                                            <p:cond delay="0"/>
                                          </p:stCondLst>
                                        </p:cTn>
                                        <p:tgtEl>
                                          <p:spTgt spid="3"/>
                                        </p:tgtEl>
                                        <p:attrNameLst>
                                          <p:attrName>style.visibility</p:attrName>
                                        </p:attrNameLst>
                                      </p:cBhvr>
                                      <p:to>
                                        <p:strVal val="visible"/>
                                      </p:to>
                                    </p:set>
                                    <p:animEffect transition="in" filter="fade">
                                      <p:cBhvr>
                                        <p:cTn id="111" dur="500"/>
                                        <p:tgtEl>
                                          <p:spTgt spid="3"/>
                                        </p:tgtEl>
                                      </p:cBhvr>
                                    </p:animEffect>
                                  </p:childTnLst>
                                </p:cTn>
                              </p:par>
                              <p:par>
                                <p:cTn id="112" presetID="35" presetClass="path" presetSubtype="0" accel="17000" decel="83000" fill="hold" grpId="1" nodeType="withEffect">
                                  <p:stCondLst>
                                    <p:cond delay="2500"/>
                                  </p:stCondLst>
                                  <p:childTnLst>
                                    <p:animMotion origin="layout" path="M -0.02275 1.48009E-6 L -6.79132E-7 1.48009E-6 " pathEditMode="relative" rAng="0" ptsTypes="AA">
                                      <p:cBhvr>
                                        <p:cTn id="113" dur="1100" fill="hold"/>
                                        <p:tgtEl>
                                          <p:spTgt spid="3"/>
                                        </p:tgtEl>
                                        <p:attrNameLst>
                                          <p:attrName>ppt_x</p:attrName>
                                          <p:attrName>ppt_y</p:attrName>
                                        </p:attrNameLst>
                                      </p:cBhvr>
                                      <p:rCtr x="1129" y="0"/>
                                    </p:animMotion>
                                  </p:childTnLst>
                                </p:cTn>
                              </p:par>
                              <p:par>
                                <p:cTn id="114" presetID="10" presetClass="entr" presetSubtype="0" fill="hold" nodeType="withEffect">
                                  <p:stCondLst>
                                    <p:cond delay="0"/>
                                  </p:stCondLst>
                                  <p:childTnLst>
                                    <p:set>
                                      <p:cBhvr>
                                        <p:cTn id="115" dur="1" fill="hold">
                                          <p:stCondLst>
                                            <p:cond delay="0"/>
                                          </p:stCondLst>
                                        </p:cTn>
                                        <p:tgtEl>
                                          <p:spTgt spid="13"/>
                                        </p:tgtEl>
                                        <p:attrNameLst>
                                          <p:attrName>style.visibility</p:attrName>
                                        </p:attrNameLst>
                                      </p:cBhvr>
                                      <p:to>
                                        <p:strVal val="visible"/>
                                      </p:to>
                                    </p:set>
                                    <p:animEffect transition="in" filter="fade">
                                      <p:cBhvr>
                                        <p:cTn id="116" dur="500"/>
                                        <p:tgtEl>
                                          <p:spTgt spid="13"/>
                                        </p:tgtEl>
                                      </p:cBhvr>
                                    </p:animEffect>
                                  </p:childTnLst>
                                </p:cTn>
                              </p:par>
                              <p:par>
                                <p:cTn id="117" presetID="10" presetClass="entr" presetSubtype="0" fill="hold" nodeType="withEffect">
                                  <p:stCondLst>
                                    <p:cond delay="0"/>
                                  </p:stCondLst>
                                  <p:childTnLst>
                                    <p:set>
                                      <p:cBhvr>
                                        <p:cTn id="118" dur="1" fill="hold">
                                          <p:stCondLst>
                                            <p:cond delay="0"/>
                                          </p:stCondLst>
                                        </p:cTn>
                                        <p:tgtEl>
                                          <p:spTgt spid="27"/>
                                        </p:tgtEl>
                                        <p:attrNameLst>
                                          <p:attrName>style.visibility</p:attrName>
                                        </p:attrNameLst>
                                      </p:cBhvr>
                                      <p:to>
                                        <p:strVal val="visible"/>
                                      </p:to>
                                    </p:set>
                                    <p:animEffect transition="in" filter="fade">
                                      <p:cBhvr>
                                        <p:cTn id="119" dur="500"/>
                                        <p:tgtEl>
                                          <p:spTgt spid="27"/>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26"/>
                                        </p:tgtEl>
                                        <p:attrNameLst>
                                          <p:attrName>style.visibility</p:attrName>
                                        </p:attrNameLst>
                                      </p:cBhvr>
                                      <p:to>
                                        <p:strVal val="visible"/>
                                      </p:to>
                                    </p:set>
                                    <p:animEffect transition="in" filter="fade">
                                      <p:cBhvr>
                                        <p:cTn id="122" dur="500"/>
                                        <p:tgtEl>
                                          <p:spTgt spid="26"/>
                                        </p:tgtEl>
                                      </p:cBhvr>
                                    </p:animEffect>
                                  </p:childTnLst>
                                </p:cTn>
                              </p:par>
                              <p:par>
                                <p:cTn id="123" presetID="10" presetClass="entr" presetSubtype="0" fill="hold" grpId="0" nodeType="withEffect">
                                  <p:stCondLst>
                                    <p:cond delay="1000"/>
                                  </p:stCondLst>
                                  <p:childTnLst>
                                    <p:set>
                                      <p:cBhvr>
                                        <p:cTn id="124" dur="1" fill="hold">
                                          <p:stCondLst>
                                            <p:cond delay="0"/>
                                          </p:stCondLst>
                                        </p:cTn>
                                        <p:tgtEl>
                                          <p:spTgt spid="33"/>
                                        </p:tgtEl>
                                        <p:attrNameLst>
                                          <p:attrName>style.visibility</p:attrName>
                                        </p:attrNameLst>
                                      </p:cBhvr>
                                      <p:to>
                                        <p:strVal val="visible"/>
                                      </p:to>
                                    </p:set>
                                    <p:animEffect transition="in" filter="fade">
                                      <p:cBhvr>
                                        <p:cTn id="125" dur="500"/>
                                        <p:tgtEl>
                                          <p:spTgt spid="33"/>
                                        </p:tgtEl>
                                      </p:cBhvr>
                                    </p:animEffect>
                                  </p:childTnLst>
                                </p:cTn>
                              </p:par>
                              <p:par>
                                <p:cTn id="126" presetID="10" presetClass="entr" presetSubtype="0" fill="hold" nodeType="withEffect">
                                  <p:stCondLst>
                                    <p:cond delay="1000"/>
                                  </p:stCondLst>
                                  <p:childTnLst>
                                    <p:set>
                                      <p:cBhvr>
                                        <p:cTn id="127" dur="1" fill="hold">
                                          <p:stCondLst>
                                            <p:cond delay="0"/>
                                          </p:stCondLst>
                                        </p:cTn>
                                        <p:tgtEl>
                                          <p:spTgt spid="34"/>
                                        </p:tgtEl>
                                        <p:attrNameLst>
                                          <p:attrName>style.visibility</p:attrName>
                                        </p:attrNameLst>
                                      </p:cBhvr>
                                      <p:to>
                                        <p:strVal val="visible"/>
                                      </p:to>
                                    </p:set>
                                    <p:animEffect transition="in" filter="fade">
                                      <p:cBhvr>
                                        <p:cTn id="128" dur="500"/>
                                        <p:tgtEl>
                                          <p:spTgt spid="34"/>
                                        </p:tgtEl>
                                      </p:cBhvr>
                                    </p:animEffect>
                                  </p:childTnLst>
                                </p:cTn>
                              </p:par>
                              <p:par>
                                <p:cTn id="129" presetID="10" presetClass="entr" presetSubtype="0" fill="hold" nodeType="withEffect">
                                  <p:stCondLst>
                                    <p:cond delay="500"/>
                                  </p:stCondLst>
                                  <p:childTnLst>
                                    <p:set>
                                      <p:cBhvr>
                                        <p:cTn id="130" dur="1" fill="hold">
                                          <p:stCondLst>
                                            <p:cond delay="0"/>
                                          </p:stCondLst>
                                        </p:cTn>
                                        <p:tgtEl>
                                          <p:spTgt spid="5"/>
                                        </p:tgtEl>
                                        <p:attrNameLst>
                                          <p:attrName>style.visibility</p:attrName>
                                        </p:attrNameLst>
                                      </p:cBhvr>
                                      <p:to>
                                        <p:strVal val="visible"/>
                                      </p:to>
                                    </p:set>
                                    <p:animEffect transition="in" filter="fade">
                                      <p:cBhvr>
                                        <p:cTn id="131" dur="750"/>
                                        <p:tgtEl>
                                          <p:spTgt spid="5"/>
                                        </p:tgtEl>
                                      </p:cBhvr>
                                    </p:animEffect>
                                  </p:childTnLst>
                                </p:cTn>
                              </p:par>
                              <p:par>
                                <p:cTn id="132" presetID="22" presetClass="entr" presetSubtype="1" fill="hold" grpId="0" nodeType="withEffect">
                                  <p:stCondLst>
                                    <p:cond delay="0"/>
                                  </p:stCondLst>
                                  <p:childTnLst>
                                    <p:set>
                                      <p:cBhvr>
                                        <p:cTn id="133" dur="1" fill="hold">
                                          <p:stCondLst>
                                            <p:cond delay="0"/>
                                          </p:stCondLst>
                                        </p:cTn>
                                        <p:tgtEl>
                                          <p:spTgt spid="6"/>
                                        </p:tgtEl>
                                        <p:attrNameLst>
                                          <p:attrName>style.visibility</p:attrName>
                                        </p:attrNameLst>
                                      </p:cBhvr>
                                      <p:to>
                                        <p:strVal val="visible"/>
                                      </p:to>
                                    </p:set>
                                    <p:animEffect transition="in" filter="wipe(up)">
                                      <p:cBhvr>
                                        <p:cTn id="134" dur="75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2" grpId="0"/>
      <p:bldP spid="32" grpId="1"/>
      <p:bldP spid="35" grpId="0"/>
      <p:bldP spid="35" grpId="1"/>
      <p:bldGraphic spid="56" grpId="0">
        <p:bldAsOne/>
      </p:bldGraphic>
      <p:bldP spid="899" grpId="0"/>
      <p:bldP spid="901" grpId="0"/>
      <p:bldP spid="903" grpId="0"/>
      <p:bldP spid="905" grpId="0"/>
      <p:bldP spid="906" grpId="0"/>
      <p:bldP spid="907" grpId="0"/>
      <p:bldP spid="908" grpId="0"/>
      <p:bldP spid="911" grpId="0"/>
      <p:bldP spid="913" grpId="0"/>
      <p:bldP spid="914" grpId="0"/>
      <p:bldP spid="915" grpId="0"/>
      <p:bldP spid="916" grpId="0"/>
      <p:bldP spid="917" grpId="0"/>
      <p:bldP spid="918" grpId="0"/>
      <p:bldP spid="919" grpId="0"/>
      <p:bldP spid="920" grpId="0"/>
      <p:bldP spid="921" grpId="0"/>
      <p:bldP spid="922" grpId="0"/>
      <p:bldP spid="923" grpId="0"/>
      <p:bldP spid="924" grpId="0"/>
      <p:bldP spid="930" grpId="0" animBg="1"/>
      <p:bldP spid="932" grpId="0"/>
      <p:bldP spid="933" grpId="0"/>
      <p:bldP spid="2" grpId="0"/>
      <p:bldP spid="11" grpId="0"/>
      <p:bldP spid="3" grpId="0"/>
      <p:bldP spid="3" grpId="1"/>
      <p:bldP spid="26" grpId="0" animBg="1"/>
      <p:bldP spid="3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to 9" hidden="1">
            <a:extLst>
              <a:ext uri="{FF2B5EF4-FFF2-40B4-BE49-F238E27FC236}">
                <a16:creationId xmlns:a16="http://schemas.microsoft.com/office/drawing/2014/main" id="{DA4A1763-984A-7F35-F62C-9C93DDD31870}"/>
              </a:ext>
            </a:extLst>
          </p:cNvPr>
          <p:cNvGraphicFramePr>
            <a:graphicFrameLocks noChangeAspect="1"/>
          </p:cNvGraphicFramePr>
          <p:nvPr>
            <p:custDataLst>
              <p:tags r:id="rId1"/>
            </p:custDataLst>
            <p:extLst>
              <p:ext uri="{D42A27DB-BD31-4B8C-83A1-F6EECF244321}">
                <p14:modId xmlns:p14="http://schemas.microsoft.com/office/powerpoint/2010/main" val="3913470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19" imgW="0" imgH="0" progId="TCLayout.ActiveDocument.1">
                  <p:embed/>
                </p:oleObj>
              </mc:Choice>
              <mc:Fallback>
                <p:oleObj name="Slide do think-cell" r:id="rId19" imgW="0" imgH="0" progId="TCLayout.ActiveDocument.1">
                  <p:embed/>
                  <p:pic>
                    <p:nvPicPr>
                      <p:cNvPr id="0" name=""/>
                      <p:cNvPicPr/>
                      <p:nvPr/>
                    </p:nvPicPr>
                    <p:blipFill>
                      <a:blip r:embed="rId20"/>
                      <a:stretch>
                        <a:fillRect/>
                      </a:stretch>
                    </p:blipFill>
                    <p:spPr>
                      <a:xfrm>
                        <a:off x="1588" y="1588"/>
                        <a:ext cx="1588" cy="1588"/>
                      </a:xfrm>
                      <a:prstGeom prst="rect">
                        <a:avLst/>
                      </a:prstGeom>
                    </p:spPr>
                  </p:pic>
                </p:oleObj>
              </mc:Fallback>
            </mc:AlternateContent>
          </a:graphicData>
        </a:graphic>
      </p:graphicFrame>
      <p:pic>
        <p:nvPicPr>
          <p:cNvPr id="2" name="Imagem 1" descr="Imagem em branco e azul&#10;&#10;Descrição gerada automaticamente com confiança média">
            <a:extLst>
              <a:ext uri="{FF2B5EF4-FFF2-40B4-BE49-F238E27FC236}">
                <a16:creationId xmlns:a16="http://schemas.microsoft.com/office/drawing/2014/main" id="{AF43B0AC-EC2C-4650-BB9B-7764A844D652}"/>
              </a:ext>
            </a:extLst>
          </p:cNvPr>
          <p:cNvPicPr>
            <a:picLocks noChangeAspect="1"/>
          </p:cNvPicPr>
          <p:nvPr>
            <p:custDataLst>
              <p:tags r:id="rId2"/>
            </p:custDataLst>
          </p:nvPr>
        </p:nvPicPr>
        <p:blipFill>
          <a:blip r:embed="rId21">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38" name="Imagem 37" descr="Imagem em branco e azul&#10;&#10;Descrição gerada automaticamente com confiança média">
            <a:extLst>
              <a:ext uri="{FF2B5EF4-FFF2-40B4-BE49-F238E27FC236}">
                <a16:creationId xmlns:a16="http://schemas.microsoft.com/office/drawing/2014/main" id="{49E9ED38-ED4A-4352-9A7E-C39607166271}"/>
              </a:ext>
            </a:extLst>
          </p:cNvPr>
          <p:cNvPicPr>
            <a:picLocks noChangeAspect="1"/>
          </p:cNvPicPr>
          <p:nvPr>
            <p:custDataLst>
              <p:tags r:id="rId3"/>
            </p:custDataLst>
          </p:nvPr>
        </p:nvPicPr>
        <p:blipFill>
          <a:blip r:embed="rId22">
            <a:extLst>
              <a:ext uri="{28A0092B-C50C-407E-A947-70E740481C1C}">
                <a14:useLocalDpi xmlns:a14="http://schemas.microsoft.com/office/drawing/2010/main"/>
              </a:ext>
            </a:extLst>
          </a:blip>
          <a:srcRect l="5383" t="5380" r="5383" b="5380"/>
          <a:stretch>
            <a:fillRect/>
          </a:stretch>
        </p:blipFill>
        <p:spPr>
          <a:xfrm flipH="1">
            <a:off x="0" y="-1"/>
            <a:ext cx="8999538" cy="5062539"/>
          </a:xfrm>
          <a:prstGeom prst="rect">
            <a:avLst/>
          </a:prstGeom>
        </p:spPr>
      </p:pic>
      <p:sp>
        <p:nvSpPr>
          <p:cNvPr id="55" name="Retângulo: Cantos Arredondados 54">
            <a:extLst>
              <a:ext uri="{FF2B5EF4-FFF2-40B4-BE49-F238E27FC236}">
                <a16:creationId xmlns:a16="http://schemas.microsoft.com/office/drawing/2014/main" id="{70C9EA62-1EB1-F3F8-EE67-D3696106F550}"/>
              </a:ext>
            </a:extLst>
          </p:cNvPr>
          <p:cNvSpPr/>
          <p:nvPr/>
        </p:nvSpPr>
        <p:spPr>
          <a:xfrm flipH="1">
            <a:off x="5285008" y="1251175"/>
            <a:ext cx="3214945" cy="349551"/>
          </a:xfrm>
          <a:prstGeom prst="roundRect">
            <a:avLst>
              <a:gd name="adj" fmla="val 50000"/>
            </a:avLst>
          </a:prstGeom>
          <a:gradFill>
            <a:gsLst>
              <a:gs pos="0">
                <a:srgbClr val="F8681E">
                  <a:alpha val="0"/>
                </a:srgbClr>
              </a:gs>
              <a:gs pos="35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49" name="Retângulo: Cantos Arredondados 48">
            <a:extLst>
              <a:ext uri="{FF2B5EF4-FFF2-40B4-BE49-F238E27FC236}">
                <a16:creationId xmlns:a16="http://schemas.microsoft.com/office/drawing/2014/main" id="{C99A980A-0248-21BC-5ED0-2CB376AEDFDA}"/>
              </a:ext>
            </a:extLst>
          </p:cNvPr>
          <p:cNvSpPr/>
          <p:nvPr/>
        </p:nvSpPr>
        <p:spPr>
          <a:xfrm flipH="1">
            <a:off x="339058" y="1251176"/>
            <a:ext cx="4512366" cy="349551"/>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Calibri" panose="020F0502020204030204"/>
            </a:endParaRPr>
          </a:p>
        </p:txBody>
      </p:sp>
      <p:sp>
        <p:nvSpPr>
          <p:cNvPr id="4" name="CaixaDeTexto 3">
            <a:extLst>
              <a:ext uri="{FF2B5EF4-FFF2-40B4-BE49-F238E27FC236}">
                <a16:creationId xmlns:a16="http://schemas.microsoft.com/office/drawing/2014/main" id="{9436395B-90D5-D43B-219D-0CFEE792DC42}"/>
              </a:ext>
            </a:extLst>
          </p:cNvPr>
          <p:cNvSpPr txBox="1"/>
          <p:nvPr>
            <p:custDataLst>
              <p:tags r:id="rId4"/>
            </p:custDataLst>
          </p:nvPr>
        </p:nvSpPr>
        <p:spPr>
          <a:xfrm>
            <a:off x="1916426" y="278672"/>
            <a:ext cx="5166686" cy="402738"/>
          </a:xfrm>
          <a:prstGeom prst="rect">
            <a:avLst/>
          </a:prstGeom>
          <a:noFill/>
        </p:spPr>
        <p:txBody>
          <a:bodyPr wrap="square" rtlCol="0">
            <a:spAutoFit/>
          </a:bodyPr>
          <a:lstStyle/>
          <a:p>
            <a:pPr lvl="0" algn="ctr" defTabSz="675010">
              <a:lnSpc>
                <a:spcPct val="85000"/>
              </a:lnSpc>
              <a:spcBef>
                <a:spcPts val="148"/>
              </a:spcBef>
              <a:spcAft>
                <a:spcPts val="148"/>
              </a:spcAft>
              <a:defRPr/>
            </a:pPr>
            <a:r>
              <a:rPr lang="en-US" sz="2400" b="1" i="0" u="none" strike="noStrike" cap="none" baseline="0" dirty="0">
                <a:solidFill>
                  <a:srgbClr val="002581"/>
                </a:solidFill>
                <a:effectLst/>
                <a:uFillTx/>
                <a:latin typeface="Segoe UI Black"/>
              </a:rPr>
              <a:t>STOCK PERFORMANCE</a:t>
            </a:r>
          </a:p>
        </p:txBody>
      </p:sp>
      <p:sp>
        <p:nvSpPr>
          <p:cNvPr id="5" name="CaixaDeTexto 4">
            <a:extLst>
              <a:ext uri="{FF2B5EF4-FFF2-40B4-BE49-F238E27FC236}">
                <a16:creationId xmlns:a16="http://schemas.microsoft.com/office/drawing/2014/main" id="{C645865E-9C87-0871-14E1-AA96D502C43A}"/>
              </a:ext>
            </a:extLst>
          </p:cNvPr>
          <p:cNvSpPr txBox="1"/>
          <p:nvPr>
            <p:custDataLst>
              <p:tags r:id="rId5"/>
            </p:custDataLst>
          </p:nvPr>
        </p:nvSpPr>
        <p:spPr>
          <a:xfrm>
            <a:off x="618663" y="1288734"/>
            <a:ext cx="3953155" cy="28679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effectLst/>
                <a:uFillTx/>
                <a:latin typeface="Segoe UI"/>
              </a:rPr>
              <a:t>Stock appreciation</a:t>
            </a:r>
          </a:p>
        </p:txBody>
      </p:sp>
      <p:sp>
        <p:nvSpPr>
          <p:cNvPr id="50" name="Rectángulo redondeado 1">
            <a:extLst>
              <a:ext uri="{FF2B5EF4-FFF2-40B4-BE49-F238E27FC236}">
                <a16:creationId xmlns:a16="http://schemas.microsoft.com/office/drawing/2014/main" id="{B62B31D9-EC9D-6530-3AA3-4B7EB71A0E91}"/>
              </a:ext>
            </a:extLst>
          </p:cNvPr>
          <p:cNvSpPr/>
          <p:nvPr>
            <p:custDataLst>
              <p:tags r:id="rId6"/>
            </p:custDataLst>
          </p:nvPr>
        </p:nvSpPr>
        <p:spPr>
          <a:xfrm>
            <a:off x="274834" y="1688731"/>
            <a:ext cx="4679588" cy="2122486"/>
          </a:xfrm>
          <a:prstGeom prst="roundRect">
            <a:avLst>
              <a:gd name="adj" fmla="val 3392"/>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s-CO"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graphicFrame>
        <p:nvGraphicFramePr>
          <p:cNvPr id="7" name="Gráfico 6">
            <a:extLst>
              <a:ext uri="{FF2B5EF4-FFF2-40B4-BE49-F238E27FC236}">
                <a16:creationId xmlns:a16="http://schemas.microsoft.com/office/drawing/2014/main" id="{7813D119-2C21-6EB6-BDE8-0DC3AA67ECEE}"/>
              </a:ext>
            </a:extLst>
          </p:cNvPr>
          <p:cNvGraphicFramePr/>
          <p:nvPr>
            <p:custDataLst>
              <p:tags r:id="rId7"/>
            </p:custDataLst>
            <p:extLst>
              <p:ext uri="{D42A27DB-BD31-4B8C-83A1-F6EECF244321}">
                <p14:modId xmlns:p14="http://schemas.microsoft.com/office/powerpoint/2010/main" val="1117283952"/>
              </p:ext>
            </p:extLst>
          </p:nvPr>
        </p:nvGraphicFramePr>
        <p:xfrm>
          <a:off x="217305" y="1701060"/>
          <a:ext cx="4591152" cy="2056140"/>
        </p:xfrm>
        <a:graphic>
          <a:graphicData uri="http://schemas.openxmlformats.org/drawingml/2006/chart">
            <c:chart xmlns:c="http://schemas.openxmlformats.org/drawingml/2006/chart" xmlns:r="http://schemas.openxmlformats.org/officeDocument/2006/relationships" r:id="rId23"/>
          </a:graphicData>
        </a:graphic>
      </p:graphicFrame>
      <p:sp>
        <p:nvSpPr>
          <p:cNvPr id="8" name="CaixaDeTexto 7">
            <a:extLst>
              <a:ext uri="{FF2B5EF4-FFF2-40B4-BE49-F238E27FC236}">
                <a16:creationId xmlns:a16="http://schemas.microsoft.com/office/drawing/2014/main" id="{A2AD10EF-C941-59A4-2F64-82D1A942A3C6}"/>
              </a:ext>
            </a:extLst>
          </p:cNvPr>
          <p:cNvSpPr txBox="1"/>
          <p:nvPr>
            <p:custDataLst>
              <p:tags r:id="rId8"/>
            </p:custDataLst>
          </p:nvPr>
        </p:nvSpPr>
        <p:spPr>
          <a:xfrm>
            <a:off x="4808457" y="1288932"/>
            <a:ext cx="4412124" cy="28679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600" b="1" i="0" u="none" strike="noStrike" cap="none" spc="0" baseline="0" dirty="0">
                <a:effectLst/>
                <a:uFillTx/>
                <a:latin typeface="Segoe UI"/>
              </a:rPr>
              <a:t>Shareholder remuneration</a:t>
            </a:r>
          </a:p>
        </p:txBody>
      </p:sp>
      <p:sp>
        <p:nvSpPr>
          <p:cNvPr id="9" name="Rectángulo redondeado 1">
            <a:extLst>
              <a:ext uri="{FF2B5EF4-FFF2-40B4-BE49-F238E27FC236}">
                <a16:creationId xmlns:a16="http://schemas.microsoft.com/office/drawing/2014/main" id="{74D660D9-3D56-EA13-F16D-B3D8914BEFBB}"/>
              </a:ext>
            </a:extLst>
          </p:cNvPr>
          <p:cNvSpPr/>
          <p:nvPr>
            <p:custDataLst>
              <p:tags r:id="rId9"/>
            </p:custDataLst>
          </p:nvPr>
        </p:nvSpPr>
        <p:spPr>
          <a:xfrm>
            <a:off x="5089161" y="1689872"/>
            <a:ext cx="3566820" cy="2153926"/>
          </a:xfrm>
          <a:prstGeom prst="roundRect">
            <a:avLst>
              <a:gd name="adj" fmla="val 4355"/>
            </a:avLst>
          </a:prstGeom>
          <a:solidFill>
            <a:schemeClr val="bg1">
              <a:alpha val="60000"/>
            </a:schemeClr>
          </a:solidFill>
          <a:ln w="19050">
            <a:gradFill flip="none" rotWithShape="1">
              <a:gsLst>
                <a:gs pos="0">
                  <a:srgbClr val="F8681E"/>
                </a:gs>
                <a:gs pos="100000">
                  <a:srgbClr val="F8681E">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s-CO" sz="1329" b="0" i="0" u="none" strike="noStrike" kern="1200" cap="none" normalizeH="0" baseline="0" noProof="0" dirty="0">
              <a:ln>
                <a:noFill/>
              </a:ln>
              <a:solidFill>
                <a:prstClr val="white"/>
              </a:solidFill>
              <a:effectLst/>
              <a:uLnTx/>
              <a:uFillTx/>
              <a:latin typeface="Segoe UI" panose="020B0502040204020203" pitchFamily="34" charset="0"/>
              <a:cs typeface="Segoe UI" panose="020B0502040204020203" pitchFamily="34" charset="0"/>
            </a:endParaRPr>
          </a:p>
        </p:txBody>
      </p:sp>
      <p:grpSp>
        <p:nvGrpSpPr>
          <p:cNvPr id="52" name="Agrupar 51">
            <a:extLst>
              <a:ext uri="{FF2B5EF4-FFF2-40B4-BE49-F238E27FC236}">
                <a16:creationId xmlns:a16="http://schemas.microsoft.com/office/drawing/2014/main" id="{F3665078-FBC8-A9DA-B9DF-DA504309E93C}"/>
              </a:ext>
            </a:extLst>
          </p:cNvPr>
          <p:cNvGrpSpPr/>
          <p:nvPr>
            <p:custDataLst>
              <p:tags r:id="rId10"/>
            </p:custDataLst>
          </p:nvPr>
        </p:nvGrpSpPr>
        <p:grpSpPr>
          <a:xfrm>
            <a:off x="5974235" y="2188835"/>
            <a:ext cx="2750469" cy="1104602"/>
            <a:chOff x="5435812" y="2332850"/>
            <a:chExt cx="2496674" cy="1104602"/>
          </a:xfrm>
        </p:grpSpPr>
        <p:sp>
          <p:nvSpPr>
            <p:cNvPr id="53" name="CaixaDeTexto 52">
              <a:extLst>
                <a:ext uri="{FF2B5EF4-FFF2-40B4-BE49-F238E27FC236}">
                  <a16:creationId xmlns:a16="http://schemas.microsoft.com/office/drawing/2014/main" id="{922F59CD-02B5-30AC-B296-0C53BC85DFB5}"/>
                </a:ext>
              </a:extLst>
            </p:cNvPr>
            <p:cNvSpPr txBox="1"/>
            <p:nvPr>
              <p:custDataLst>
                <p:tags r:id="rId15"/>
              </p:custDataLst>
            </p:nvPr>
          </p:nvSpPr>
          <p:spPr>
            <a:xfrm>
              <a:off x="5436278" y="2717255"/>
              <a:ext cx="2404554" cy="720197"/>
            </a:xfrm>
            <a:prstGeom prst="rect">
              <a:avLst/>
            </a:prstGeom>
            <a:noFill/>
          </p:spPr>
          <p:txBody>
            <a:bodyPr wrap="square" rtlCol="0">
              <a:spAutoFit/>
            </a:bodyPr>
            <a:lstStyle>
              <a:defPPr>
                <a:defRPr lang="en-US"/>
              </a:defPPr>
              <a:lvl1pPr>
                <a:defRPr sz="5400">
                  <a:gradFill flip="none" rotWithShape="1">
                    <a:gsLst>
                      <a:gs pos="0">
                        <a:srgbClr val="F45E1D"/>
                      </a:gs>
                      <a:gs pos="22000">
                        <a:srgbClr val="001C6A"/>
                      </a:gs>
                      <a:gs pos="41000">
                        <a:srgbClr val="007CE3"/>
                      </a:gs>
                      <a:gs pos="100000">
                        <a:srgbClr val="4BB0F2"/>
                      </a:gs>
                    </a:gsLst>
                    <a:path path="circle">
                      <a:fillToRect l="100000" t="100000"/>
                    </a:path>
                    <a:tileRect r="-100000" b="-100000"/>
                  </a:gradFill>
                  <a:latin typeface="Segoe UI Black" panose="020B0A02040204020203" pitchFamily="34" charset="0"/>
                  <a:ea typeface="Segoe UI Black" panose="020B0A02040204020203" pitchFamily="34" charset="0"/>
                  <a:cs typeface="Segoe UI Light" panose="020B0502040204020203" pitchFamily="34" charset="0"/>
                </a:defRPr>
              </a:lvl1pPr>
            </a:lstStyle>
            <a:p>
              <a:pPr marL="0" marR="0" lvl="0" indent="0" defTabSz="457200" rtl="0" eaLnBrk="1" fontAlgn="auto" latinLnBrk="0" hangingPunct="1">
                <a:lnSpc>
                  <a:spcPct val="85000"/>
                </a:lnSpc>
                <a:spcBef>
                  <a:spcPct val="0"/>
                </a:spcBef>
                <a:spcAft>
                  <a:spcPct val="0"/>
                </a:spcAft>
                <a:buClrTx/>
                <a:buSzTx/>
                <a:buFontTx/>
                <a:buNone/>
                <a:defRPr/>
              </a:pPr>
              <a:r>
                <a:rPr lang="en-US" sz="1600" b="1" i="0" u="none" strike="noStrike" cap="none" baseline="0" dirty="0">
                  <a:solidFill>
                    <a:srgbClr val="F8681E"/>
                  </a:solidFill>
                  <a:effectLst/>
                  <a:uFillTx/>
                  <a:latin typeface="Arial"/>
                </a:rPr>
                <a:t>earnings per </a:t>
              </a:r>
              <a:r>
                <a:rPr lang="en-US" sz="1600" b="1" i="0" u="none" strike="noStrike" cap="none" baseline="0">
                  <a:solidFill>
                    <a:srgbClr val="F8681E"/>
                  </a:solidFill>
                  <a:effectLst/>
                  <a:uFillTx/>
                  <a:latin typeface="Arial"/>
                </a:rPr>
                <a:t>share distributed¹</a:t>
              </a:r>
            </a:p>
            <a:p>
              <a:pPr marL="0" marR="0" lvl="0" indent="0" defTabSz="457200" rtl="0" eaLnBrk="1" fontAlgn="auto" latinLnBrk="0" hangingPunct="1">
                <a:lnSpc>
                  <a:spcPct val="85000"/>
                </a:lnSpc>
                <a:spcBef>
                  <a:spcPct val="0"/>
                </a:spcBef>
                <a:spcAft>
                  <a:spcPct val="0"/>
                </a:spcAft>
                <a:buClrTx/>
                <a:buSzTx/>
                <a:buFontTx/>
                <a:buNone/>
                <a:defRPr/>
              </a:pPr>
              <a:r>
                <a:rPr lang="en-US" sz="1400">
                  <a:solidFill>
                    <a:srgbClr val="F8681E"/>
                  </a:solidFill>
                  <a:latin typeface="Arial"/>
                </a:rPr>
                <a:t>(from 2013 to 2023)</a:t>
              </a:r>
              <a:r>
                <a:rPr lang="en-US" sz="1600" b="1">
                  <a:solidFill>
                    <a:srgbClr val="F8681E"/>
                  </a:solidFill>
                  <a:latin typeface="Arial"/>
                </a:rPr>
                <a:t> </a:t>
              </a:r>
              <a:endParaRPr lang="en-US" sz="1600" b="1" i="0" u="none" strike="noStrike" cap="none" baseline="0" dirty="0">
                <a:solidFill>
                  <a:srgbClr val="F8681E"/>
                </a:solidFill>
                <a:effectLst/>
                <a:uFillTx/>
                <a:latin typeface="Arial"/>
              </a:endParaRPr>
            </a:p>
          </p:txBody>
        </p:sp>
        <p:sp>
          <p:nvSpPr>
            <p:cNvPr id="54" name="CaixaDeTexto 53">
              <a:extLst>
                <a:ext uri="{FF2B5EF4-FFF2-40B4-BE49-F238E27FC236}">
                  <a16:creationId xmlns:a16="http://schemas.microsoft.com/office/drawing/2014/main" id="{B37BBB24-9DFC-1CF2-42E9-D1704FEF219C}"/>
                </a:ext>
              </a:extLst>
            </p:cNvPr>
            <p:cNvSpPr txBox="1"/>
            <p:nvPr>
              <p:custDataLst>
                <p:tags r:id="rId16"/>
              </p:custDataLst>
            </p:nvPr>
          </p:nvSpPr>
          <p:spPr>
            <a:xfrm>
              <a:off x="5435812" y="2332850"/>
              <a:ext cx="2496674" cy="458587"/>
            </a:xfrm>
            <a:prstGeom prst="rect">
              <a:avLst/>
            </a:prstGeom>
            <a:noFill/>
          </p:spPr>
          <p:txBody>
            <a:bodyPr wrap="square">
              <a:spAutoFit/>
            </a:bodyPr>
            <a:lstStyle/>
            <a:p>
              <a:pPr marL="0" marR="0" lvl="0" indent="0" defTabSz="457200" rtl="0" eaLnBrk="1" fontAlgn="auto" latinLnBrk="0" hangingPunct="1">
                <a:lnSpc>
                  <a:spcPct val="85000"/>
                </a:lnSpc>
                <a:spcBef>
                  <a:spcPts val="443"/>
                </a:spcBef>
                <a:spcAft>
                  <a:spcPts val="443"/>
                </a:spcAft>
                <a:buClrTx/>
                <a:buSzTx/>
                <a:buFontTx/>
                <a:buNone/>
                <a:defRPr/>
              </a:pPr>
              <a:r>
                <a:rPr lang="en-US" sz="2000" i="0" u="none" strike="noStrike" cap="none" baseline="0">
                  <a:solidFill>
                    <a:srgbClr val="F8681E"/>
                  </a:solidFill>
                  <a:effectLst/>
                  <a:uFillTx/>
                  <a:latin typeface="Arial"/>
                </a:rPr>
                <a:t>+ than </a:t>
              </a:r>
              <a:r>
                <a:rPr lang="en-US" sz="2800" b="1" i="0" u="none" strike="noStrike" cap="none" baseline="0">
                  <a:solidFill>
                    <a:srgbClr val="F8681E"/>
                  </a:solidFill>
                  <a:effectLst/>
                  <a:uFillTx/>
                  <a:latin typeface="Arial"/>
                </a:rPr>
                <a:t>R$15 </a:t>
              </a:r>
              <a:r>
                <a:rPr lang="en-US" sz="2800" i="0" u="none" strike="noStrike" cap="none" baseline="0">
                  <a:solidFill>
                    <a:srgbClr val="F8681E"/>
                  </a:solidFill>
                  <a:effectLst/>
                  <a:uFillTx/>
                  <a:latin typeface="Arial"/>
                </a:rPr>
                <a:t>reais</a:t>
              </a:r>
              <a:endParaRPr lang="en-US" sz="2800" i="0" u="none" strike="noStrike" cap="none" baseline="0" dirty="0">
                <a:solidFill>
                  <a:srgbClr val="F8681E"/>
                </a:solidFill>
                <a:effectLst/>
                <a:uFillTx/>
                <a:latin typeface="Arial"/>
              </a:endParaRPr>
            </a:p>
          </p:txBody>
        </p:sp>
      </p:grpSp>
      <p:grpSp>
        <p:nvGrpSpPr>
          <p:cNvPr id="73" name="Agrupar 72">
            <a:extLst>
              <a:ext uri="{FF2B5EF4-FFF2-40B4-BE49-F238E27FC236}">
                <a16:creationId xmlns:a16="http://schemas.microsoft.com/office/drawing/2014/main" id="{AD1F8618-569B-430F-5ED3-B78FE551045E}"/>
              </a:ext>
            </a:extLst>
          </p:cNvPr>
          <p:cNvGrpSpPr/>
          <p:nvPr>
            <p:custDataLst>
              <p:tags r:id="rId11"/>
            </p:custDataLst>
          </p:nvPr>
        </p:nvGrpSpPr>
        <p:grpSpPr>
          <a:xfrm>
            <a:off x="5258560" y="2204182"/>
            <a:ext cx="647570" cy="647570"/>
            <a:chOff x="4760296" y="2942242"/>
            <a:chExt cx="647570" cy="647570"/>
          </a:xfrm>
        </p:grpSpPr>
        <p:sp>
          <p:nvSpPr>
            <p:cNvPr id="56" name="Elipse 55">
              <a:extLst>
                <a:ext uri="{FF2B5EF4-FFF2-40B4-BE49-F238E27FC236}">
                  <a16:creationId xmlns:a16="http://schemas.microsoft.com/office/drawing/2014/main" id="{DE9127BD-C72D-849C-283A-C41FE005899F}"/>
                </a:ext>
              </a:extLst>
            </p:cNvPr>
            <p:cNvSpPr/>
            <p:nvPr>
              <p:custDataLst>
                <p:tags r:id="rId13"/>
              </p:custDataLst>
            </p:nvPr>
          </p:nvSpPr>
          <p:spPr>
            <a:xfrm>
              <a:off x="4760296" y="2942242"/>
              <a:ext cx="647570" cy="647570"/>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dirty="0">
                <a:solidFill>
                  <a:prstClr val="white"/>
                </a:solidFill>
                <a:latin typeface="Segoe UI" panose="020B0502040204020203" pitchFamily="34" charset="0"/>
                <a:cs typeface="Segoe UI" panose="020B0502040204020203" pitchFamily="34" charset="0"/>
              </a:endParaRPr>
            </a:p>
          </p:txBody>
        </p:sp>
        <p:sp>
          <p:nvSpPr>
            <p:cNvPr id="70" name="Forma Livre: Forma 69">
              <a:extLst>
                <a:ext uri="{FF2B5EF4-FFF2-40B4-BE49-F238E27FC236}">
                  <a16:creationId xmlns:a16="http://schemas.microsoft.com/office/drawing/2014/main" id="{31742BEE-92F6-FBE9-860F-59878657414E}"/>
                </a:ext>
              </a:extLst>
            </p:cNvPr>
            <p:cNvSpPr/>
            <p:nvPr>
              <p:custDataLst>
                <p:tags r:id="rId14"/>
              </p:custDataLst>
            </p:nvPr>
          </p:nvSpPr>
          <p:spPr>
            <a:xfrm>
              <a:off x="4894417" y="3089443"/>
              <a:ext cx="378710" cy="375193"/>
            </a:xfrm>
            <a:custGeom>
              <a:avLst/>
              <a:gdLst>
                <a:gd name="connsiteX0" fmla="*/ 528874 w 842753"/>
                <a:gd name="connsiteY0" fmla="*/ 38 h 834928"/>
                <a:gd name="connsiteX1" fmla="*/ 520432 w 842753"/>
                <a:gd name="connsiteY1" fmla="*/ 1376 h 834928"/>
                <a:gd name="connsiteX2" fmla="*/ 504114 w 842753"/>
                <a:gd name="connsiteY2" fmla="*/ 5649 h 834928"/>
                <a:gd name="connsiteX3" fmla="*/ 468235 w 842753"/>
                <a:gd name="connsiteY3" fmla="*/ 18775 h 834928"/>
                <a:gd name="connsiteX4" fmla="*/ 434312 w 842753"/>
                <a:gd name="connsiteY4" fmla="*/ 31798 h 834928"/>
                <a:gd name="connsiteX5" fmla="*/ 421393 w 842753"/>
                <a:gd name="connsiteY5" fmla="*/ 35401 h 834928"/>
                <a:gd name="connsiteX6" fmla="*/ 421341 w 842753"/>
                <a:gd name="connsiteY6" fmla="*/ 35401 h 834928"/>
                <a:gd name="connsiteX7" fmla="*/ 421289 w 842753"/>
                <a:gd name="connsiteY7" fmla="*/ 35401 h 834928"/>
                <a:gd name="connsiteX8" fmla="*/ 408420 w 842753"/>
                <a:gd name="connsiteY8" fmla="*/ 31849 h 834928"/>
                <a:gd name="connsiteX9" fmla="*/ 374498 w 842753"/>
                <a:gd name="connsiteY9" fmla="*/ 18774 h 834928"/>
                <a:gd name="connsiteX10" fmla="*/ 338362 w 842753"/>
                <a:gd name="connsiteY10" fmla="*/ 5648 h 834928"/>
                <a:gd name="connsiteX11" fmla="*/ 322198 w 842753"/>
                <a:gd name="connsiteY11" fmla="*/ 1530 h 834928"/>
                <a:gd name="connsiteX12" fmla="*/ 301609 w 842753"/>
                <a:gd name="connsiteY12" fmla="*/ 1739 h 834928"/>
                <a:gd name="connsiteX13" fmla="*/ 283952 w 842753"/>
                <a:gd name="connsiteY13" fmla="*/ 12704 h 834928"/>
                <a:gd name="connsiteX14" fmla="*/ 272627 w 842753"/>
                <a:gd name="connsiteY14" fmla="*/ 25006 h 834928"/>
                <a:gd name="connsiteX15" fmla="*/ 249258 w 842753"/>
                <a:gd name="connsiteY15" fmla="*/ 55480 h 834928"/>
                <a:gd name="connsiteX16" fmla="*/ 227843 w 842753"/>
                <a:gd name="connsiteY16" fmla="*/ 84924 h 834928"/>
                <a:gd name="connsiteX17" fmla="*/ 218990 w 842753"/>
                <a:gd name="connsiteY17" fmla="*/ 94910 h 834928"/>
                <a:gd name="connsiteX18" fmla="*/ 206069 w 842753"/>
                <a:gd name="connsiteY18" fmla="*/ 98874 h 834928"/>
                <a:gd name="connsiteX19" fmla="*/ 170500 w 842753"/>
                <a:gd name="connsiteY19" fmla="*/ 106183 h 834928"/>
                <a:gd name="connsiteX20" fmla="*/ 133179 w 842753"/>
                <a:gd name="connsiteY20" fmla="*/ 114678 h 834928"/>
                <a:gd name="connsiteX21" fmla="*/ 117120 w 842753"/>
                <a:gd name="connsiteY21" fmla="*/ 120030 h 834928"/>
                <a:gd name="connsiteX22" fmla="*/ 100080 w 842753"/>
                <a:gd name="connsiteY22" fmla="*/ 131459 h 834928"/>
                <a:gd name="connsiteX23" fmla="*/ 91175 w 842753"/>
                <a:gd name="connsiteY23" fmla="*/ 149989 h 834928"/>
                <a:gd name="connsiteX24" fmla="*/ 88190 w 842753"/>
                <a:gd name="connsiteY24" fmla="*/ 166616 h 834928"/>
                <a:gd name="connsiteX25" fmla="*/ 85101 w 842753"/>
                <a:gd name="connsiteY25" fmla="*/ 204760 h 834928"/>
                <a:gd name="connsiteX26" fmla="*/ 82939 w 842753"/>
                <a:gd name="connsiteY26" fmla="*/ 240999 h 834928"/>
                <a:gd name="connsiteX27" fmla="*/ 80880 w 842753"/>
                <a:gd name="connsiteY27" fmla="*/ 254331 h 834928"/>
                <a:gd name="connsiteX28" fmla="*/ 80829 w 842753"/>
                <a:gd name="connsiteY28" fmla="*/ 254382 h 834928"/>
                <a:gd name="connsiteX29" fmla="*/ 72232 w 842753"/>
                <a:gd name="connsiteY29" fmla="*/ 264575 h 834928"/>
                <a:gd name="connsiteX30" fmla="*/ 46185 w 842753"/>
                <a:gd name="connsiteY30" fmla="*/ 289952 h 834928"/>
                <a:gd name="connsiteX31" fmla="*/ 19315 w 842753"/>
                <a:gd name="connsiteY31" fmla="*/ 317441 h 834928"/>
                <a:gd name="connsiteX32" fmla="*/ 8762 w 842753"/>
                <a:gd name="connsiteY32" fmla="*/ 330412 h 834928"/>
                <a:gd name="connsiteX33" fmla="*/ 475 w 842753"/>
                <a:gd name="connsiteY33" fmla="*/ 349407 h 834928"/>
                <a:gd name="connsiteX34" fmla="*/ 3203 w 842753"/>
                <a:gd name="connsiteY34" fmla="*/ 369842 h 834928"/>
                <a:gd name="connsiteX35" fmla="*/ 9586 w 842753"/>
                <a:gd name="connsiteY35" fmla="*/ 385234 h 834928"/>
                <a:gd name="connsiteX36" fmla="*/ 27706 w 842753"/>
                <a:gd name="connsiteY36" fmla="*/ 419156 h 834928"/>
                <a:gd name="connsiteX37" fmla="*/ 45465 w 842753"/>
                <a:gd name="connsiteY37" fmla="*/ 450866 h 834928"/>
                <a:gd name="connsiteX38" fmla="*/ 50870 w 842753"/>
                <a:gd name="connsiteY38" fmla="*/ 463117 h 834928"/>
                <a:gd name="connsiteX39" fmla="*/ 49171 w 842753"/>
                <a:gd name="connsiteY39" fmla="*/ 476501 h 834928"/>
                <a:gd name="connsiteX40" fmla="*/ 41089 w 842753"/>
                <a:gd name="connsiteY40" fmla="*/ 511916 h 834928"/>
                <a:gd name="connsiteX41" fmla="*/ 33214 w 842753"/>
                <a:gd name="connsiteY41" fmla="*/ 549287 h 834928"/>
                <a:gd name="connsiteX42" fmla="*/ 31309 w 842753"/>
                <a:gd name="connsiteY42" fmla="*/ 566017 h 834928"/>
                <a:gd name="connsiteX43" fmla="*/ 34603 w 842753"/>
                <a:gd name="connsiteY43" fmla="*/ 586401 h 834928"/>
                <a:gd name="connsiteX44" fmla="*/ 47936 w 842753"/>
                <a:gd name="connsiteY44" fmla="*/ 602255 h 834928"/>
                <a:gd name="connsiteX45" fmla="*/ 61783 w 842753"/>
                <a:gd name="connsiteY45" fmla="*/ 611830 h 834928"/>
                <a:gd name="connsiteX46" fmla="*/ 95190 w 842753"/>
                <a:gd name="connsiteY46" fmla="*/ 630414 h 834928"/>
                <a:gd name="connsiteX47" fmla="*/ 127414 w 842753"/>
                <a:gd name="connsiteY47" fmla="*/ 647607 h 834928"/>
                <a:gd name="connsiteX48" fmla="*/ 138533 w 842753"/>
                <a:gd name="connsiteY48" fmla="*/ 654916 h 834928"/>
                <a:gd name="connsiteX49" fmla="*/ 144299 w 842753"/>
                <a:gd name="connsiteY49" fmla="*/ 667012 h 834928"/>
                <a:gd name="connsiteX50" fmla="*/ 156653 w 842753"/>
                <a:gd name="connsiteY50" fmla="*/ 701295 h 834928"/>
                <a:gd name="connsiteX51" fmla="*/ 170293 w 842753"/>
                <a:gd name="connsiteY51" fmla="*/ 736968 h 834928"/>
                <a:gd name="connsiteX52" fmla="*/ 177809 w 842753"/>
                <a:gd name="connsiteY52" fmla="*/ 752153 h 834928"/>
                <a:gd name="connsiteX53" fmla="*/ 191656 w 842753"/>
                <a:gd name="connsiteY53" fmla="*/ 767545 h 834928"/>
                <a:gd name="connsiteX54" fmla="*/ 211217 w 842753"/>
                <a:gd name="connsiteY54" fmla="*/ 773619 h 834928"/>
                <a:gd name="connsiteX55" fmla="*/ 228049 w 842753"/>
                <a:gd name="connsiteY55" fmla="*/ 774236 h 834928"/>
                <a:gd name="connsiteX56" fmla="*/ 266348 w 842753"/>
                <a:gd name="connsiteY56" fmla="*/ 771868 h 834928"/>
                <a:gd name="connsiteX57" fmla="*/ 302638 w 842753"/>
                <a:gd name="connsiteY57" fmla="*/ 768730 h 834928"/>
                <a:gd name="connsiteX58" fmla="*/ 315971 w 842753"/>
                <a:gd name="connsiteY58" fmla="*/ 768989 h 834928"/>
                <a:gd name="connsiteX59" fmla="*/ 316021 w 842753"/>
                <a:gd name="connsiteY59" fmla="*/ 769039 h 834928"/>
                <a:gd name="connsiteX60" fmla="*/ 327398 w 842753"/>
                <a:gd name="connsiteY60" fmla="*/ 776040 h 834928"/>
                <a:gd name="connsiteX61" fmla="*/ 356327 w 842753"/>
                <a:gd name="connsiteY61" fmla="*/ 798227 h 834928"/>
                <a:gd name="connsiteX62" fmla="*/ 387161 w 842753"/>
                <a:gd name="connsiteY62" fmla="*/ 820824 h 834928"/>
                <a:gd name="connsiteX63" fmla="*/ 401626 w 842753"/>
                <a:gd name="connsiteY63" fmla="*/ 829421 h 834928"/>
                <a:gd name="connsiteX64" fmla="*/ 421547 w 842753"/>
                <a:gd name="connsiteY64" fmla="*/ 834928 h 834928"/>
                <a:gd name="connsiteX65" fmla="*/ 441365 w 842753"/>
                <a:gd name="connsiteY65" fmla="*/ 829524 h 834928"/>
                <a:gd name="connsiteX66" fmla="*/ 455727 w 842753"/>
                <a:gd name="connsiteY66" fmla="*/ 820824 h 834928"/>
                <a:gd name="connsiteX67" fmla="*/ 486715 w 842753"/>
                <a:gd name="connsiteY67" fmla="*/ 798175 h 834928"/>
                <a:gd name="connsiteX68" fmla="*/ 515594 w 842753"/>
                <a:gd name="connsiteY68" fmla="*/ 776040 h 834928"/>
                <a:gd name="connsiteX69" fmla="*/ 526918 w 842753"/>
                <a:gd name="connsiteY69" fmla="*/ 768937 h 834928"/>
                <a:gd name="connsiteX70" fmla="*/ 540405 w 842753"/>
                <a:gd name="connsiteY70" fmla="*/ 768787 h 834928"/>
                <a:gd name="connsiteX71" fmla="*/ 576541 w 842753"/>
                <a:gd name="connsiteY71" fmla="*/ 771670 h 834928"/>
                <a:gd name="connsiteX72" fmla="*/ 614839 w 842753"/>
                <a:gd name="connsiteY72" fmla="*/ 774038 h 834928"/>
                <a:gd name="connsiteX73" fmla="*/ 631568 w 842753"/>
                <a:gd name="connsiteY73" fmla="*/ 773570 h 834928"/>
                <a:gd name="connsiteX74" fmla="*/ 651386 w 842753"/>
                <a:gd name="connsiteY74" fmla="*/ 767393 h 834928"/>
                <a:gd name="connsiteX75" fmla="*/ 665079 w 842753"/>
                <a:gd name="connsiteY75" fmla="*/ 752002 h 834928"/>
                <a:gd name="connsiteX76" fmla="*/ 672543 w 842753"/>
                <a:gd name="connsiteY76" fmla="*/ 736868 h 834928"/>
                <a:gd name="connsiteX77" fmla="*/ 686235 w 842753"/>
                <a:gd name="connsiteY77" fmla="*/ 701247 h 834928"/>
                <a:gd name="connsiteX78" fmla="*/ 698538 w 842753"/>
                <a:gd name="connsiteY78" fmla="*/ 667015 h 834928"/>
                <a:gd name="connsiteX79" fmla="*/ 704304 w 842753"/>
                <a:gd name="connsiteY79" fmla="*/ 654866 h 834928"/>
                <a:gd name="connsiteX80" fmla="*/ 715525 w 842753"/>
                <a:gd name="connsiteY80" fmla="*/ 647351 h 834928"/>
                <a:gd name="connsiteX81" fmla="*/ 747698 w 842753"/>
                <a:gd name="connsiteY81" fmla="*/ 630261 h 834928"/>
                <a:gd name="connsiteX82" fmla="*/ 781003 w 842753"/>
                <a:gd name="connsiteY82" fmla="*/ 611679 h 834928"/>
                <a:gd name="connsiteX83" fmla="*/ 794901 w 842753"/>
                <a:gd name="connsiteY83" fmla="*/ 602104 h 834928"/>
                <a:gd name="connsiteX84" fmla="*/ 808182 w 842753"/>
                <a:gd name="connsiteY84" fmla="*/ 586352 h 834928"/>
                <a:gd name="connsiteX85" fmla="*/ 811476 w 842753"/>
                <a:gd name="connsiteY85" fmla="*/ 565916 h 834928"/>
                <a:gd name="connsiteX86" fmla="*/ 809520 w 842753"/>
                <a:gd name="connsiteY86" fmla="*/ 549238 h 834928"/>
                <a:gd name="connsiteX87" fmla="*/ 801747 w 842753"/>
                <a:gd name="connsiteY87" fmla="*/ 511712 h 834928"/>
                <a:gd name="connsiteX88" fmla="*/ 793716 w 842753"/>
                <a:gd name="connsiteY88" fmla="*/ 476343 h 834928"/>
                <a:gd name="connsiteX89" fmla="*/ 791967 w 842753"/>
                <a:gd name="connsiteY89" fmla="*/ 463011 h 834928"/>
                <a:gd name="connsiteX90" fmla="*/ 791967 w 842753"/>
                <a:gd name="connsiteY90" fmla="*/ 462959 h 834928"/>
                <a:gd name="connsiteX91" fmla="*/ 797372 w 842753"/>
                <a:gd name="connsiteY91" fmla="*/ 450760 h 834928"/>
                <a:gd name="connsiteX92" fmla="*/ 815131 w 842753"/>
                <a:gd name="connsiteY92" fmla="*/ 418999 h 834928"/>
                <a:gd name="connsiteX93" fmla="*/ 833148 w 842753"/>
                <a:gd name="connsiteY93" fmla="*/ 385077 h 834928"/>
                <a:gd name="connsiteX94" fmla="*/ 839684 w 842753"/>
                <a:gd name="connsiteY94" fmla="*/ 369634 h 834928"/>
                <a:gd name="connsiteX95" fmla="*/ 842258 w 842753"/>
                <a:gd name="connsiteY95" fmla="*/ 349198 h 834928"/>
                <a:gd name="connsiteX96" fmla="*/ 833971 w 842753"/>
                <a:gd name="connsiteY96" fmla="*/ 330306 h 834928"/>
                <a:gd name="connsiteX97" fmla="*/ 823367 w 842753"/>
                <a:gd name="connsiteY97" fmla="*/ 317180 h 834928"/>
                <a:gd name="connsiteX98" fmla="*/ 796599 w 842753"/>
                <a:gd name="connsiteY98" fmla="*/ 289950 h 834928"/>
                <a:gd name="connsiteX99" fmla="*/ 770501 w 842753"/>
                <a:gd name="connsiteY99" fmla="*/ 264469 h 834928"/>
                <a:gd name="connsiteX100" fmla="*/ 761854 w 842753"/>
                <a:gd name="connsiteY100" fmla="*/ 254071 h 834928"/>
                <a:gd name="connsiteX101" fmla="*/ 759691 w 842753"/>
                <a:gd name="connsiteY101" fmla="*/ 240996 h 834928"/>
                <a:gd name="connsiteX102" fmla="*/ 757632 w 842753"/>
                <a:gd name="connsiteY102" fmla="*/ 204654 h 834928"/>
                <a:gd name="connsiteX103" fmla="*/ 754544 w 842753"/>
                <a:gd name="connsiteY103" fmla="*/ 166407 h 834928"/>
                <a:gd name="connsiteX104" fmla="*/ 751558 w 842753"/>
                <a:gd name="connsiteY104" fmla="*/ 149832 h 834928"/>
                <a:gd name="connsiteX105" fmla="*/ 742756 w 842753"/>
                <a:gd name="connsiteY105" fmla="*/ 131301 h 834928"/>
                <a:gd name="connsiteX106" fmla="*/ 725511 w 842753"/>
                <a:gd name="connsiteY106" fmla="*/ 119770 h 834928"/>
                <a:gd name="connsiteX107" fmla="*/ 709451 w 842753"/>
                <a:gd name="connsiteY107" fmla="*/ 114571 h 834928"/>
                <a:gd name="connsiteX108" fmla="*/ 672182 w 842753"/>
                <a:gd name="connsiteY108" fmla="*/ 106129 h 834928"/>
                <a:gd name="connsiteX109" fmla="*/ 636458 w 842753"/>
                <a:gd name="connsiteY109" fmla="*/ 98820 h 834928"/>
                <a:gd name="connsiteX110" fmla="*/ 623692 w 842753"/>
                <a:gd name="connsiteY110" fmla="*/ 94805 h 834928"/>
                <a:gd name="connsiteX111" fmla="*/ 614839 w 842753"/>
                <a:gd name="connsiteY111" fmla="*/ 84869 h 834928"/>
                <a:gd name="connsiteX112" fmla="*/ 593219 w 842753"/>
                <a:gd name="connsiteY112" fmla="*/ 55425 h 834928"/>
                <a:gd name="connsiteX113" fmla="*/ 570054 w 842753"/>
                <a:gd name="connsiteY113" fmla="*/ 25003 h 834928"/>
                <a:gd name="connsiteX114" fmla="*/ 558627 w 842753"/>
                <a:gd name="connsiteY114" fmla="*/ 12649 h 834928"/>
                <a:gd name="connsiteX115" fmla="*/ 541022 w 842753"/>
                <a:gd name="connsiteY115" fmla="*/ 1736 h 834928"/>
                <a:gd name="connsiteX116" fmla="*/ 528874 w 842753"/>
                <a:gd name="connsiteY116" fmla="*/ 38 h 834928"/>
                <a:gd name="connsiteX117" fmla="*/ 394934 w 842753"/>
                <a:gd name="connsiteY117" fmla="*/ 227921 h 834928"/>
                <a:gd name="connsiteX118" fmla="*/ 447697 w 842753"/>
                <a:gd name="connsiteY118" fmla="*/ 227921 h 834928"/>
                <a:gd name="connsiteX119" fmla="*/ 447697 w 842753"/>
                <a:gd name="connsiteY119" fmla="*/ 254379 h 834928"/>
                <a:gd name="connsiteX120" fmla="*/ 447697 w 842753"/>
                <a:gd name="connsiteY120" fmla="*/ 261895 h 834928"/>
                <a:gd name="connsiteX121" fmla="*/ 479303 w 842753"/>
                <a:gd name="connsiteY121" fmla="*/ 269977 h 834928"/>
                <a:gd name="connsiteX122" fmla="*/ 520638 w 842753"/>
                <a:gd name="connsiteY122" fmla="*/ 298855 h 834928"/>
                <a:gd name="connsiteX123" fmla="*/ 539324 w 842753"/>
                <a:gd name="connsiteY123" fmla="*/ 353007 h 834928"/>
                <a:gd name="connsiteX124" fmla="*/ 540714 w 842753"/>
                <a:gd name="connsiteY124" fmla="*/ 361140 h 834928"/>
                <a:gd name="connsiteX125" fmla="*/ 477913 w 842753"/>
                <a:gd name="connsiteY125" fmla="*/ 361140 h 834928"/>
                <a:gd name="connsiteX126" fmla="*/ 477039 w 842753"/>
                <a:gd name="connsiteY126" fmla="*/ 355272 h 834928"/>
                <a:gd name="connsiteX127" fmla="*/ 460514 w 842753"/>
                <a:gd name="connsiteY127" fmla="*/ 324850 h 834928"/>
                <a:gd name="connsiteX128" fmla="*/ 420827 w 842753"/>
                <a:gd name="connsiteY128" fmla="*/ 313783 h 834928"/>
                <a:gd name="connsiteX129" fmla="*/ 377021 w 842753"/>
                <a:gd name="connsiteY129" fmla="*/ 323460 h 834928"/>
                <a:gd name="connsiteX130" fmla="*/ 365284 w 842753"/>
                <a:gd name="connsiteY130" fmla="*/ 344256 h 834928"/>
                <a:gd name="connsiteX131" fmla="*/ 369815 w 842753"/>
                <a:gd name="connsiteY131" fmla="*/ 356920 h 834928"/>
                <a:gd name="connsiteX132" fmla="*/ 369815 w 842753"/>
                <a:gd name="connsiteY132" fmla="*/ 357079 h 834928"/>
                <a:gd name="connsiteX133" fmla="*/ 385412 w 842753"/>
                <a:gd name="connsiteY133" fmla="*/ 367735 h 834928"/>
                <a:gd name="connsiteX134" fmla="*/ 428033 w 842753"/>
                <a:gd name="connsiteY134" fmla="*/ 380140 h 834928"/>
                <a:gd name="connsiteX135" fmla="*/ 501387 w 842753"/>
                <a:gd name="connsiteY135" fmla="*/ 403408 h 834928"/>
                <a:gd name="connsiteX136" fmla="*/ 501387 w 842753"/>
                <a:gd name="connsiteY136" fmla="*/ 403148 h 834928"/>
                <a:gd name="connsiteX137" fmla="*/ 536647 w 842753"/>
                <a:gd name="connsiteY137" fmla="*/ 431408 h 834928"/>
                <a:gd name="connsiteX138" fmla="*/ 549722 w 842753"/>
                <a:gd name="connsiteY138" fmla="*/ 477222 h 834928"/>
                <a:gd name="connsiteX139" fmla="*/ 534125 w 842753"/>
                <a:gd name="connsiteY139" fmla="*/ 527308 h 834928"/>
                <a:gd name="connsiteX140" fmla="*/ 490113 w 842753"/>
                <a:gd name="connsiteY140" fmla="*/ 563238 h 834928"/>
                <a:gd name="connsiteX141" fmla="*/ 489907 w 842753"/>
                <a:gd name="connsiteY141" fmla="*/ 563238 h 834928"/>
                <a:gd name="connsiteX142" fmla="*/ 447697 w 842753"/>
                <a:gd name="connsiteY142" fmla="*/ 574099 h 834928"/>
                <a:gd name="connsiteX143" fmla="*/ 447697 w 842753"/>
                <a:gd name="connsiteY143" fmla="*/ 580637 h 834928"/>
                <a:gd name="connsiteX144" fmla="*/ 447697 w 842753"/>
                <a:gd name="connsiteY144" fmla="*/ 607096 h 834928"/>
                <a:gd name="connsiteX145" fmla="*/ 394934 w 842753"/>
                <a:gd name="connsiteY145" fmla="*/ 607096 h 834928"/>
                <a:gd name="connsiteX146" fmla="*/ 394934 w 842753"/>
                <a:gd name="connsiteY146" fmla="*/ 580637 h 834928"/>
                <a:gd name="connsiteX147" fmla="*/ 394934 w 842753"/>
                <a:gd name="connsiteY147" fmla="*/ 573173 h 834928"/>
                <a:gd name="connsiteX148" fmla="*/ 335943 w 842753"/>
                <a:gd name="connsiteY148" fmla="*/ 550571 h 834928"/>
                <a:gd name="connsiteX149" fmla="*/ 294608 w 842753"/>
                <a:gd name="connsiteY149" fmla="*/ 469549 h 834928"/>
                <a:gd name="connsiteX150" fmla="*/ 293063 w 842753"/>
                <a:gd name="connsiteY150" fmla="*/ 461209 h 834928"/>
                <a:gd name="connsiteX151" fmla="*/ 326214 w 842753"/>
                <a:gd name="connsiteY151" fmla="*/ 461209 h 834928"/>
                <a:gd name="connsiteX152" fmla="*/ 357151 w 842753"/>
                <a:gd name="connsiteY152" fmla="*/ 461209 h 834928"/>
                <a:gd name="connsiteX153" fmla="*/ 358026 w 842753"/>
                <a:gd name="connsiteY153" fmla="*/ 467284 h 834928"/>
                <a:gd name="connsiteX154" fmla="*/ 378152 w 842753"/>
                <a:gd name="connsiteY154" fmla="*/ 507486 h 834928"/>
                <a:gd name="connsiteX155" fmla="*/ 426025 w 842753"/>
                <a:gd name="connsiteY155" fmla="*/ 521230 h 834928"/>
                <a:gd name="connsiteX156" fmla="*/ 471581 w 842753"/>
                <a:gd name="connsiteY156" fmla="*/ 509288 h 834928"/>
                <a:gd name="connsiteX157" fmla="*/ 485376 w 842753"/>
                <a:gd name="connsiteY157" fmla="*/ 482418 h 834928"/>
                <a:gd name="connsiteX158" fmla="*/ 474103 w 842753"/>
                <a:gd name="connsiteY158" fmla="*/ 462084 h 834928"/>
                <a:gd name="connsiteX159" fmla="*/ 426231 w 842753"/>
                <a:gd name="connsiteY159" fmla="*/ 446281 h 834928"/>
                <a:gd name="connsiteX160" fmla="*/ 350150 w 842753"/>
                <a:gd name="connsiteY160" fmla="*/ 422551 h 834928"/>
                <a:gd name="connsiteX161" fmla="*/ 315610 w 842753"/>
                <a:gd name="connsiteY161" fmla="*/ 392335 h 834928"/>
                <a:gd name="connsiteX162" fmla="*/ 303874 w 842753"/>
                <a:gd name="connsiteY162" fmla="*/ 349867 h 834928"/>
                <a:gd name="connsiteX163" fmla="*/ 313602 w 842753"/>
                <a:gd name="connsiteY163" fmla="*/ 310848 h 834928"/>
                <a:gd name="connsiteX164" fmla="*/ 339752 w 842753"/>
                <a:gd name="connsiteY164" fmla="*/ 281044 h 834928"/>
                <a:gd name="connsiteX165" fmla="*/ 372953 w 842753"/>
                <a:gd name="connsiteY165" fmla="*/ 265910 h 834928"/>
                <a:gd name="connsiteX166" fmla="*/ 394934 w 842753"/>
                <a:gd name="connsiteY166" fmla="*/ 261123 h 834928"/>
                <a:gd name="connsiteX167" fmla="*/ 394934 w 842753"/>
                <a:gd name="connsiteY167" fmla="*/ 254379 h 83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842752" h="834928">
                  <a:moveTo>
                    <a:pt x="528874" y="38"/>
                  </a:moveTo>
                  <a:cubicBezTo>
                    <a:pt x="525681" y="207"/>
                    <a:pt x="523140" y="874"/>
                    <a:pt x="520432" y="1376"/>
                  </a:cubicBezTo>
                  <a:cubicBezTo>
                    <a:pt x="515016" y="2378"/>
                    <a:pt x="509726" y="3888"/>
                    <a:pt x="504114" y="5649"/>
                  </a:cubicBezTo>
                  <a:cubicBezTo>
                    <a:pt x="492890" y="9170"/>
                    <a:pt x="480552" y="13983"/>
                    <a:pt x="468235" y="18775"/>
                  </a:cubicBezTo>
                  <a:cubicBezTo>
                    <a:pt x="455919" y="23566"/>
                    <a:pt x="443806" y="28335"/>
                    <a:pt x="434312" y="31798"/>
                  </a:cubicBezTo>
                  <a:cubicBezTo>
                    <a:pt x="429567" y="33531"/>
                    <a:pt x="424406" y="34690"/>
                    <a:pt x="421393" y="35401"/>
                  </a:cubicBezTo>
                  <a:lnTo>
                    <a:pt x="421341" y="35401"/>
                  </a:lnTo>
                  <a:lnTo>
                    <a:pt x="421289" y="35401"/>
                  </a:lnTo>
                  <a:cubicBezTo>
                    <a:pt x="418295" y="34694"/>
                    <a:pt x="413168" y="33580"/>
                    <a:pt x="408420" y="31849"/>
                  </a:cubicBezTo>
                  <a:cubicBezTo>
                    <a:pt x="398927" y="28390"/>
                    <a:pt x="386816" y="23562"/>
                    <a:pt x="374498" y="18774"/>
                  </a:cubicBezTo>
                  <a:cubicBezTo>
                    <a:pt x="362179" y="13987"/>
                    <a:pt x="349588" y="9165"/>
                    <a:pt x="338362" y="5648"/>
                  </a:cubicBezTo>
                  <a:cubicBezTo>
                    <a:pt x="332750" y="3889"/>
                    <a:pt x="327615" y="2529"/>
                    <a:pt x="322198" y="1530"/>
                  </a:cubicBezTo>
                  <a:cubicBezTo>
                    <a:pt x="316781" y="531"/>
                    <a:pt x="311913" y="-1291"/>
                    <a:pt x="301609" y="1739"/>
                  </a:cubicBezTo>
                  <a:cubicBezTo>
                    <a:pt x="291303" y="4768"/>
                    <a:pt x="287968" y="8933"/>
                    <a:pt x="283952" y="12704"/>
                  </a:cubicBezTo>
                  <a:cubicBezTo>
                    <a:pt x="279937" y="16474"/>
                    <a:pt x="276397" y="20491"/>
                    <a:pt x="272627" y="25006"/>
                  </a:cubicBezTo>
                  <a:cubicBezTo>
                    <a:pt x="265090" y="34037"/>
                    <a:pt x="257028" y="44790"/>
                    <a:pt x="249258" y="55480"/>
                  </a:cubicBezTo>
                  <a:cubicBezTo>
                    <a:pt x="241487" y="66170"/>
                    <a:pt x="233957" y="76879"/>
                    <a:pt x="227843" y="84924"/>
                  </a:cubicBezTo>
                  <a:cubicBezTo>
                    <a:pt x="224787" y="88947"/>
                    <a:pt x="221114" y="92697"/>
                    <a:pt x="218990" y="94910"/>
                  </a:cubicBezTo>
                  <a:cubicBezTo>
                    <a:pt x="216079" y="95925"/>
                    <a:pt x="211087" y="97741"/>
                    <a:pt x="206069" y="98874"/>
                  </a:cubicBezTo>
                  <a:cubicBezTo>
                    <a:pt x="196211" y="101098"/>
                    <a:pt x="183450" y="103550"/>
                    <a:pt x="170500" y="106183"/>
                  </a:cubicBezTo>
                  <a:cubicBezTo>
                    <a:pt x="157548" y="108816"/>
                    <a:pt x="144525" y="111568"/>
                    <a:pt x="133179" y="114678"/>
                  </a:cubicBezTo>
                  <a:cubicBezTo>
                    <a:pt x="127508" y="116233"/>
                    <a:pt x="122216" y="117941"/>
                    <a:pt x="117120" y="120030"/>
                  </a:cubicBezTo>
                  <a:cubicBezTo>
                    <a:pt x="112023" y="122120"/>
                    <a:pt x="107113" y="123338"/>
                    <a:pt x="100080" y="131459"/>
                  </a:cubicBezTo>
                  <a:cubicBezTo>
                    <a:pt x="93048" y="139578"/>
                    <a:pt x="92515" y="144647"/>
                    <a:pt x="91175" y="149989"/>
                  </a:cubicBezTo>
                  <a:cubicBezTo>
                    <a:pt x="89836" y="155331"/>
                    <a:pt x="88920" y="160780"/>
                    <a:pt x="88190" y="166616"/>
                  </a:cubicBezTo>
                  <a:cubicBezTo>
                    <a:pt x="86730" y="178289"/>
                    <a:pt x="85859" y="191565"/>
                    <a:pt x="85101" y="204760"/>
                  </a:cubicBezTo>
                  <a:cubicBezTo>
                    <a:pt x="84344" y="217953"/>
                    <a:pt x="83732" y="230925"/>
                    <a:pt x="82939" y="240999"/>
                  </a:cubicBezTo>
                  <a:cubicBezTo>
                    <a:pt x="82541" y="246036"/>
                    <a:pt x="81477" y="251281"/>
                    <a:pt x="80880" y="254331"/>
                  </a:cubicBezTo>
                  <a:lnTo>
                    <a:pt x="80829" y="254382"/>
                  </a:lnTo>
                  <a:cubicBezTo>
                    <a:pt x="78941" y="256801"/>
                    <a:pt x="75778" y="260975"/>
                    <a:pt x="72232" y="264575"/>
                  </a:cubicBezTo>
                  <a:cubicBezTo>
                    <a:pt x="65142" y="271774"/>
                    <a:pt x="55657" y="280736"/>
                    <a:pt x="46185" y="289952"/>
                  </a:cubicBezTo>
                  <a:cubicBezTo>
                    <a:pt x="36713" y="299169"/>
                    <a:pt x="27178" y="308691"/>
                    <a:pt x="19315" y="317441"/>
                  </a:cubicBezTo>
                  <a:cubicBezTo>
                    <a:pt x="15383" y="321816"/>
                    <a:pt x="11921" y="325900"/>
                    <a:pt x="8762" y="330412"/>
                  </a:cubicBezTo>
                  <a:cubicBezTo>
                    <a:pt x="5604" y="334924"/>
                    <a:pt x="2001" y="338774"/>
                    <a:pt x="475" y="349407"/>
                  </a:cubicBezTo>
                  <a:cubicBezTo>
                    <a:pt x="-1052" y="360039"/>
                    <a:pt x="1439" y="364624"/>
                    <a:pt x="3203" y="369842"/>
                  </a:cubicBezTo>
                  <a:cubicBezTo>
                    <a:pt x="4964" y="375061"/>
                    <a:pt x="7045" y="379930"/>
                    <a:pt x="9586" y="385234"/>
                  </a:cubicBezTo>
                  <a:cubicBezTo>
                    <a:pt x="14669" y="395842"/>
                    <a:pt x="21210" y="407647"/>
                    <a:pt x="27706" y="419156"/>
                  </a:cubicBezTo>
                  <a:cubicBezTo>
                    <a:pt x="34201" y="430666"/>
                    <a:pt x="40686" y="441962"/>
                    <a:pt x="45465" y="450866"/>
                  </a:cubicBezTo>
                  <a:cubicBezTo>
                    <a:pt x="47854" y="455317"/>
                    <a:pt x="49746" y="460253"/>
                    <a:pt x="50870" y="463117"/>
                  </a:cubicBezTo>
                  <a:cubicBezTo>
                    <a:pt x="50594" y="466175"/>
                    <a:pt x="50226" y="471462"/>
                    <a:pt x="49171" y="476501"/>
                  </a:cubicBezTo>
                  <a:cubicBezTo>
                    <a:pt x="47098" y="486391"/>
                    <a:pt x="44075" y="499042"/>
                    <a:pt x="41089" y="511916"/>
                  </a:cubicBezTo>
                  <a:cubicBezTo>
                    <a:pt x="38104" y="524790"/>
                    <a:pt x="35098" y="537676"/>
                    <a:pt x="33214" y="549287"/>
                  </a:cubicBezTo>
                  <a:cubicBezTo>
                    <a:pt x="32267" y="555092"/>
                    <a:pt x="31527" y="560513"/>
                    <a:pt x="31309" y="566017"/>
                  </a:cubicBezTo>
                  <a:cubicBezTo>
                    <a:pt x="31090" y="571520"/>
                    <a:pt x="30140" y="576631"/>
                    <a:pt x="34603" y="586401"/>
                  </a:cubicBezTo>
                  <a:cubicBezTo>
                    <a:pt x="39067" y="596171"/>
                    <a:pt x="43632" y="598818"/>
                    <a:pt x="47936" y="602255"/>
                  </a:cubicBezTo>
                  <a:cubicBezTo>
                    <a:pt x="52239" y="605693"/>
                    <a:pt x="56776" y="608742"/>
                    <a:pt x="61783" y="611830"/>
                  </a:cubicBezTo>
                  <a:cubicBezTo>
                    <a:pt x="71794" y="618006"/>
                    <a:pt x="83503" y="624243"/>
                    <a:pt x="95190" y="630414"/>
                  </a:cubicBezTo>
                  <a:cubicBezTo>
                    <a:pt x="106877" y="636583"/>
                    <a:pt x="118580" y="642700"/>
                    <a:pt x="127414" y="647607"/>
                  </a:cubicBezTo>
                  <a:cubicBezTo>
                    <a:pt x="131831" y="650060"/>
                    <a:pt x="136067" y="653149"/>
                    <a:pt x="138533" y="654916"/>
                  </a:cubicBezTo>
                  <a:cubicBezTo>
                    <a:pt x="139985" y="657649"/>
                    <a:pt x="142497" y="662291"/>
                    <a:pt x="144299" y="667012"/>
                  </a:cubicBezTo>
                  <a:cubicBezTo>
                    <a:pt x="147902" y="676453"/>
                    <a:pt x="152204" y="688851"/>
                    <a:pt x="156653" y="701295"/>
                  </a:cubicBezTo>
                  <a:cubicBezTo>
                    <a:pt x="161101" y="713740"/>
                    <a:pt x="165601" y="726181"/>
                    <a:pt x="170293" y="736968"/>
                  </a:cubicBezTo>
                  <a:cubicBezTo>
                    <a:pt x="172640" y="742361"/>
                    <a:pt x="175017" y="747406"/>
                    <a:pt x="177809" y="752153"/>
                  </a:cubicBezTo>
                  <a:cubicBezTo>
                    <a:pt x="180601" y="756901"/>
                    <a:pt x="182619" y="761739"/>
                    <a:pt x="191656" y="767545"/>
                  </a:cubicBezTo>
                  <a:cubicBezTo>
                    <a:pt x="200693" y="773351"/>
                    <a:pt x="205738" y="773053"/>
                    <a:pt x="211217" y="773619"/>
                  </a:cubicBezTo>
                  <a:cubicBezTo>
                    <a:pt x="216695" y="774187"/>
                    <a:pt x="222168" y="774346"/>
                    <a:pt x="228049" y="774236"/>
                  </a:cubicBezTo>
                  <a:cubicBezTo>
                    <a:pt x="239810" y="774018"/>
                    <a:pt x="253179" y="772997"/>
                    <a:pt x="266348" y="771868"/>
                  </a:cubicBezTo>
                  <a:cubicBezTo>
                    <a:pt x="279516" y="770741"/>
                    <a:pt x="292554" y="769377"/>
                    <a:pt x="302638" y="768730"/>
                  </a:cubicBezTo>
                  <a:cubicBezTo>
                    <a:pt x="307661" y="768410"/>
                    <a:pt x="312902" y="768790"/>
                    <a:pt x="315971" y="768989"/>
                  </a:cubicBezTo>
                  <a:lnTo>
                    <a:pt x="316021" y="769039"/>
                  </a:lnTo>
                  <a:cubicBezTo>
                    <a:pt x="318708" y="770547"/>
                    <a:pt x="323330" y="773044"/>
                    <a:pt x="327398" y="776040"/>
                  </a:cubicBezTo>
                  <a:cubicBezTo>
                    <a:pt x="335533" y="782035"/>
                    <a:pt x="345856" y="790163"/>
                    <a:pt x="356327" y="798227"/>
                  </a:cubicBezTo>
                  <a:cubicBezTo>
                    <a:pt x="366798" y="806290"/>
                    <a:pt x="377381" y="814287"/>
                    <a:pt x="387161" y="820824"/>
                  </a:cubicBezTo>
                  <a:cubicBezTo>
                    <a:pt x="392051" y="824093"/>
                    <a:pt x="396710" y="826937"/>
                    <a:pt x="401626" y="829421"/>
                  </a:cubicBezTo>
                  <a:cubicBezTo>
                    <a:pt x="406542" y="831905"/>
                    <a:pt x="410806" y="834930"/>
                    <a:pt x="421547" y="834928"/>
                  </a:cubicBezTo>
                  <a:cubicBezTo>
                    <a:pt x="432288" y="834926"/>
                    <a:pt x="436450" y="832010"/>
                    <a:pt x="441365" y="829524"/>
                  </a:cubicBezTo>
                  <a:cubicBezTo>
                    <a:pt x="446281" y="827037"/>
                    <a:pt x="450838" y="824095"/>
                    <a:pt x="455727" y="820824"/>
                  </a:cubicBezTo>
                  <a:cubicBezTo>
                    <a:pt x="465504" y="814283"/>
                    <a:pt x="476248" y="806242"/>
                    <a:pt x="486715" y="798175"/>
                  </a:cubicBezTo>
                  <a:cubicBezTo>
                    <a:pt x="497183" y="790107"/>
                    <a:pt x="507460" y="782038"/>
                    <a:pt x="515594" y="776040"/>
                  </a:cubicBezTo>
                  <a:cubicBezTo>
                    <a:pt x="519660" y="773042"/>
                    <a:pt x="524246" y="770479"/>
                    <a:pt x="526918" y="768937"/>
                  </a:cubicBezTo>
                  <a:cubicBezTo>
                    <a:pt x="529980" y="768797"/>
                    <a:pt x="535266" y="768449"/>
                    <a:pt x="540405" y="768787"/>
                  </a:cubicBezTo>
                  <a:cubicBezTo>
                    <a:pt x="550488" y="769435"/>
                    <a:pt x="563372" y="770547"/>
                    <a:pt x="576541" y="771670"/>
                  </a:cubicBezTo>
                  <a:cubicBezTo>
                    <a:pt x="589709" y="772793"/>
                    <a:pt x="603078" y="773826"/>
                    <a:pt x="614839" y="774038"/>
                  </a:cubicBezTo>
                  <a:cubicBezTo>
                    <a:pt x="620720" y="774147"/>
                    <a:pt x="626090" y="774137"/>
                    <a:pt x="631568" y="773570"/>
                  </a:cubicBezTo>
                  <a:cubicBezTo>
                    <a:pt x="637047" y="773002"/>
                    <a:pt x="642351" y="773201"/>
                    <a:pt x="651386" y="767393"/>
                  </a:cubicBezTo>
                  <a:cubicBezTo>
                    <a:pt x="660421" y="761584"/>
                    <a:pt x="662289" y="756750"/>
                    <a:pt x="665079" y="752002"/>
                  </a:cubicBezTo>
                  <a:cubicBezTo>
                    <a:pt x="667869" y="747253"/>
                    <a:pt x="670198" y="742262"/>
                    <a:pt x="672543" y="736868"/>
                  </a:cubicBezTo>
                  <a:cubicBezTo>
                    <a:pt x="677231" y="726079"/>
                    <a:pt x="681792" y="713693"/>
                    <a:pt x="686235" y="701247"/>
                  </a:cubicBezTo>
                  <a:cubicBezTo>
                    <a:pt x="690680" y="688800"/>
                    <a:pt x="694938" y="676457"/>
                    <a:pt x="698538" y="667015"/>
                  </a:cubicBezTo>
                  <a:cubicBezTo>
                    <a:pt x="700338" y="662294"/>
                    <a:pt x="702853" y="657600"/>
                    <a:pt x="704304" y="654866"/>
                  </a:cubicBezTo>
                  <a:cubicBezTo>
                    <a:pt x="706779" y="653060"/>
                    <a:pt x="711016" y="649859"/>
                    <a:pt x="715525" y="647351"/>
                  </a:cubicBezTo>
                  <a:cubicBezTo>
                    <a:pt x="724357" y="642442"/>
                    <a:pt x="736013" y="636436"/>
                    <a:pt x="747698" y="630261"/>
                  </a:cubicBezTo>
                  <a:cubicBezTo>
                    <a:pt x="759382" y="624086"/>
                    <a:pt x="770993" y="617859"/>
                    <a:pt x="781003" y="611679"/>
                  </a:cubicBezTo>
                  <a:cubicBezTo>
                    <a:pt x="786008" y="608589"/>
                    <a:pt x="790600" y="605544"/>
                    <a:pt x="794901" y="602104"/>
                  </a:cubicBezTo>
                  <a:cubicBezTo>
                    <a:pt x="799203" y="598664"/>
                    <a:pt x="803722" y="596123"/>
                    <a:pt x="808182" y="586352"/>
                  </a:cubicBezTo>
                  <a:cubicBezTo>
                    <a:pt x="812642" y="576582"/>
                    <a:pt x="811695" y="571420"/>
                    <a:pt x="811476" y="565916"/>
                  </a:cubicBezTo>
                  <a:cubicBezTo>
                    <a:pt x="811257" y="560413"/>
                    <a:pt x="810466" y="555043"/>
                    <a:pt x="809520" y="549238"/>
                  </a:cubicBezTo>
                  <a:cubicBezTo>
                    <a:pt x="807631" y="537627"/>
                    <a:pt x="804737" y="524585"/>
                    <a:pt x="801747" y="511712"/>
                  </a:cubicBezTo>
                  <a:cubicBezTo>
                    <a:pt x="798757" y="498834"/>
                    <a:pt x="795792" y="486233"/>
                    <a:pt x="793716" y="476343"/>
                  </a:cubicBezTo>
                  <a:cubicBezTo>
                    <a:pt x="792679" y="471398"/>
                    <a:pt x="792269" y="466089"/>
                    <a:pt x="791967" y="463011"/>
                  </a:cubicBezTo>
                  <a:lnTo>
                    <a:pt x="791967" y="462959"/>
                  </a:lnTo>
                  <a:cubicBezTo>
                    <a:pt x="793112" y="460095"/>
                    <a:pt x="794984" y="455213"/>
                    <a:pt x="797372" y="450760"/>
                  </a:cubicBezTo>
                  <a:cubicBezTo>
                    <a:pt x="802148" y="441855"/>
                    <a:pt x="808639" y="430511"/>
                    <a:pt x="815131" y="418999"/>
                  </a:cubicBezTo>
                  <a:cubicBezTo>
                    <a:pt x="821623" y="407488"/>
                    <a:pt x="828069" y="395687"/>
                    <a:pt x="833148" y="385077"/>
                  </a:cubicBezTo>
                  <a:cubicBezTo>
                    <a:pt x="835687" y="379772"/>
                    <a:pt x="837924" y="374854"/>
                    <a:pt x="839684" y="369634"/>
                  </a:cubicBezTo>
                  <a:cubicBezTo>
                    <a:pt x="841443" y="364414"/>
                    <a:pt x="843789" y="359829"/>
                    <a:pt x="842258" y="349198"/>
                  </a:cubicBezTo>
                  <a:cubicBezTo>
                    <a:pt x="840727" y="338566"/>
                    <a:pt x="837131" y="334818"/>
                    <a:pt x="833971" y="330306"/>
                  </a:cubicBezTo>
                  <a:cubicBezTo>
                    <a:pt x="830810" y="325795"/>
                    <a:pt x="827300" y="321554"/>
                    <a:pt x="823367" y="317180"/>
                  </a:cubicBezTo>
                  <a:cubicBezTo>
                    <a:pt x="815501" y="308433"/>
                    <a:pt x="806074" y="299163"/>
                    <a:pt x="796599" y="289950"/>
                  </a:cubicBezTo>
                  <a:cubicBezTo>
                    <a:pt x="787124" y="280737"/>
                    <a:pt x="777595" y="271666"/>
                    <a:pt x="770501" y="264469"/>
                  </a:cubicBezTo>
                  <a:cubicBezTo>
                    <a:pt x="766833" y="260748"/>
                    <a:pt x="763701" y="256470"/>
                    <a:pt x="761854" y="254071"/>
                  </a:cubicBezTo>
                  <a:cubicBezTo>
                    <a:pt x="761220" y="251057"/>
                    <a:pt x="760089" y="245994"/>
                    <a:pt x="759691" y="240996"/>
                  </a:cubicBezTo>
                  <a:cubicBezTo>
                    <a:pt x="758894" y="230923"/>
                    <a:pt x="758395" y="217848"/>
                    <a:pt x="757632" y="204654"/>
                  </a:cubicBezTo>
                  <a:cubicBezTo>
                    <a:pt x="756865" y="191461"/>
                    <a:pt x="756007" y="178080"/>
                    <a:pt x="754544" y="166407"/>
                  </a:cubicBezTo>
                  <a:cubicBezTo>
                    <a:pt x="753817" y="160571"/>
                    <a:pt x="752900" y="155174"/>
                    <a:pt x="751558" y="149832"/>
                  </a:cubicBezTo>
                  <a:cubicBezTo>
                    <a:pt x="750216" y="144490"/>
                    <a:pt x="749792" y="139418"/>
                    <a:pt x="742756" y="131301"/>
                  </a:cubicBezTo>
                  <a:cubicBezTo>
                    <a:pt x="735721" y="123185"/>
                    <a:pt x="730608" y="121857"/>
                    <a:pt x="725511" y="119770"/>
                  </a:cubicBezTo>
                  <a:cubicBezTo>
                    <a:pt x="720414" y="117684"/>
                    <a:pt x="715124" y="116124"/>
                    <a:pt x="709451" y="114571"/>
                  </a:cubicBezTo>
                  <a:cubicBezTo>
                    <a:pt x="698105" y="111465"/>
                    <a:pt x="685135" y="108757"/>
                    <a:pt x="672182" y="106129"/>
                  </a:cubicBezTo>
                  <a:cubicBezTo>
                    <a:pt x="659231" y="103502"/>
                    <a:pt x="646317" y="101039"/>
                    <a:pt x="636458" y="98820"/>
                  </a:cubicBezTo>
                  <a:cubicBezTo>
                    <a:pt x="631547" y="97714"/>
                    <a:pt x="626608" y="95854"/>
                    <a:pt x="623692" y="94805"/>
                  </a:cubicBezTo>
                  <a:cubicBezTo>
                    <a:pt x="621592" y="92615"/>
                    <a:pt x="617897" y="88892"/>
                    <a:pt x="614839" y="84869"/>
                  </a:cubicBezTo>
                  <a:cubicBezTo>
                    <a:pt x="608722" y="76826"/>
                    <a:pt x="600994" y="66112"/>
                    <a:pt x="593219" y="55425"/>
                  </a:cubicBezTo>
                  <a:cubicBezTo>
                    <a:pt x="585444" y="44738"/>
                    <a:pt x="577596" y="34031"/>
                    <a:pt x="570054" y="25003"/>
                  </a:cubicBezTo>
                  <a:cubicBezTo>
                    <a:pt x="566284" y="20489"/>
                    <a:pt x="562644" y="16418"/>
                    <a:pt x="558627" y="12649"/>
                  </a:cubicBezTo>
                  <a:cubicBezTo>
                    <a:pt x="554609" y="8881"/>
                    <a:pt x="551329" y="4760"/>
                    <a:pt x="541022" y="1736"/>
                  </a:cubicBezTo>
                  <a:cubicBezTo>
                    <a:pt x="535868" y="224"/>
                    <a:pt x="532066" y="-129"/>
                    <a:pt x="528874" y="38"/>
                  </a:cubicBezTo>
                  <a:close/>
                  <a:moveTo>
                    <a:pt x="394934" y="227921"/>
                  </a:moveTo>
                  <a:lnTo>
                    <a:pt x="447697" y="227921"/>
                  </a:lnTo>
                  <a:lnTo>
                    <a:pt x="447697" y="254379"/>
                  </a:lnTo>
                  <a:lnTo>
                    <a:pt x="447697" y="261895"/>
                  </a:lnTo>
                  <a:cubicBezTo>
                    <a:pt x="458991" y="263621"/>
                    <a:pt x="469574" y="266251"/>
                    <a:pt x="479303" y="269977"/>
                  </a:cubicBezTo>
                  <a:cubicBezTo>
                    <a:pt x="497429" y="276846"/>
                    <a:pt x="511485" y="286244"/>
                    <a:pt x="520638" y="298855"/>
                  </a:cubicBezTo>
                  <a:cubicBezTo>
                    <a:pt x="530330" y="311992"/>
                    <a:pt x="536131" y="333668"/>
                    <a:pt x="539324" y="353007"/>
                  </a:cubicBezTo>
                  <a:lnTo>
                    <a:pt x="540714" y="361140"/>
                  </a:lnTo>
                  <a:lnTo>
                    <a:pt x="477913" y="361140"/>
                  </a:lnTo>
                  <a:lnTo>
                    <a:pt x="477039" y="355272"/>
                  </a:lnTo>
                  <a:cubicBezTo>
                    <a:pt x="475068" y="341808"/>
                    <a:pt x="469638" y="332086"/>
                    <a:pt x="460514" y="324850"/>
                  </a:cubicBezTo>
                  <a:cubicBezTo>
                    <a:pt x="451804" y="317820"/>
                    <a:pt x="438852" y="313783"/>
                    <a:pt x="420827" y="313783"/>
                  </a:cubicBezTo>
                  <a:cubicBezTo>
                    <a:pt x="399107" y="313783"/>
                    <a:pt x="384553" y="317633"/>
                    <a:pt x="377021" y="323460"/>
                  </a:cubicBezTo>
                  <a:cubicBezTo>
                    <a:pt x="368601" y="329974"/>
                    <a:pt x="365284" y="336519"/>
                    <a:pt x="365284" y="344256"/>
                  </a:cubicBezTo>
                  <a:cubicBezTo>
                    <a:pt x="365284" y="349145"/>
                    <a:pt x="366694" y="352951"/>
                    <a:pt x="369815" y="356920"/>
                  </a:cubicBezTo>
                  <a:lnTo>
                    <a:pt x="369815" y="357079"/>
                  </a:lnTo>
                  <a:cubicBezTo>
                    <a:pt x="372754" y="360955"/>
                    <a:pt x="377890" y="364641"/>
                    <a:pt x="385412" y="367735"/>
                  </a:cubicBezTo>
                  <a:cubicBezTo>
                    <a:pt x="389393" y="369210"/>
                    <a:pt x="404137" y="373623"/>
                    <a:pt x="428033" y="380140"/>
                  </a:cubicBezTo>
                  <a:cubicBezTo>
                    <a:pt x="462813" y="389427"/>
                    <a:pt x="487001" y="397078"/>
                    <a:pt x="501387" y="403408"/>
                  </a:cubicBezTo>
                  <a:lnTo>
                    <a:pt x="501387" y="403148"/>
                  </a:lnTo>
                  <a:cubicBezTo>
                    <a:pt x="516218" y="409393"/>
                    <a:pt x="528074" y="419047"/>
                    <a:pt x="536647" y="431408"/>
                  </a:cubicBezTo>
                  <a:cubicBezTo>
                    <a:pt x="545364" y="443977"/>
                    <a:pt x="549722" y="459452"/>
                    <a:pt x="549722" y="477222"/>
                  </a:cubicBezTo>
                  <a:cubicBezTo>
                    <a:pt x="549722" y="494910"/>
                    <a:pt x="544400" y="511797"/>
                    <a:pt x="534125" y="527308"/>
                  </a:cubicBezTo>
                  <a:cubicBezTo>
                    <a:pt x="523905" y="542834"/>
                    <a:pt x="509067" y="554813"/>
                    <a:pt x="490113" y="563238"/>
                  </a:cubicBezTo>
                  <a:lnTo>
                    <a:pt x="489907" y="563238"/>
                  </a:lnTo>
                  <a:cubicBezTo>
                    <a:pt x="476939" y="568870"/>
                    <a:pt x="462810" y="572368"/>
                    <a:pt x="447697" y="574099"/>
                  </a:cubicBezTo>
                  <a:lnTo>
                    <a:pt x="447697" y="580637"/>
                  </a:lnTo>
                  <a:lnTo>
                    <a:pt x="447697" y="607096"/>
                  </a:lnTo>
                  <a:lnTo>
                    <a:pt x="394934" y="607096"/>
                  </a:lnTo>
                  <a:lnTo>
                    <a:pt x="394934" y="580637"/>
                  </a:lnTo>
                  <a:lnTo>
                    <a:pt x="394934" y="573173"/>
                  </a:lnTo>
                  <a:cubicBezTo>
                    <a:pt x="371036" y="569835"/>
                    <a:pt x="351152" y="562572"/>
                    <a:pt x="335943" y="550571"/>
                  </a:cubicBezTo>
                  <a:cubicBezTo>
                    <a:pt x="314127" y="533199"/>
                    <a:pt x="300264" y="501409"/>
                    <a:pt x="294608" y="469549"/>
                  </a:cubicBezTo>
                  <a:lnTo>
                    <a:pt x="293063" y="461209"/>
                  </a:lnTo>
                  <a:lnTo>
                    <a:pt x="326214" y="461209"/>
                  </a:lnTo>
                  <a:lnTo>
                    <a:pt x="357151" y="461209"/>
                  </a:lnTo>
                  <a:lnTo>
                    <a:pt x="358026" y="467284"/>
                  </a:lnTo>
                  <a:cubicBezTo>
                    <a:pt x="360569" y="485424"/>
                    <a:pt x="367272" y="498365"/>
                    <a:pt x="378152" y="507486"/>
                  </a:cubicBezTo>
                  <a:cubicBezTo>
                    <a:pt x="389100" y="516530"/>
                    <a:pt x="404794" y="521230"/>
                    <a:pt x="426025" y="521230"/>
                  </a:cubicBezTo>
                  <a:cubicBezTo>
                    <a:pt x="447577" y="521230"/>
                    <a:pt x="462512" y="516845"/>
                    <a:pt x="471581" y="509288"/>
                  </a:cubicBezTo>
                  <a:cubicBezTo>
                    <a:pt x="481298" y="501028"/>
                    <a:pt x="485376" y="492700"/>
                    <a:pt x="485376" y="482418"/>
                  </a:cubicBezTo>
                  <a:cubicBezTo>
                    <a:pt x="485376" y="473372"/>
                    <a:pt x="482163" y="467406"/>
                    <a:pt x="474103" y="462084"/>
                  </a:cubicBezTo>
                  <a:cubicBezTo>
                    <a:pt x="469556" y="459134"/>
                    <a:pt x="452678" y="452938"/>
                    <a:pt x="426231" y="446281"/>
                  </a:cubicBezTo>
                  <a:cubicBezTo>
                    <a:pt x="390146" y="437169"/>
                    <a:pt x="365068" y="429526"/>
                    <a:pt x="350150" y="422551"/>
                  </a:cubicBezTo>
                  <a:cubicBezTo>
                    <a:pt x="335379" y="415360"/>
                    <a:pt x="323595" y="405111"/>
                    <a:pt x="315610" y="392335"/>
                  </a:cubicBezTo>
                  <a:cubicBezTo>
                    <a:pt x="307905" y="379493"/>
                    <a:pt x="303874" y="365174"/>
                    <a:pt x="303874" y="349867"/>
                  </a:cubicBezTo>
                  <a:cubicBezTo>
                    <a:pt x="303874" y="335945"/>
                    <a:pt x="307261" y="322736"/>
                    <a:pt x="313602" y="310848"/>
                  </a:cubicBezTo>
                  <a:cubicBezTo>
                    <a:pt x="320068" y="298897"/>
                    <a:pt x="328761" y="288896"/>
                    <a:pt x="339752" y="281044"/>
                  </a:cubicBezTo>
                  <a:cubicBezTo>
                    <a:pt x="348294" y="274739"/>
                    <a:pt x="359361" y="269875"/>
                    <a:pt x="372953" y="265910"/>
                  </a:cubicBezTo>
                  <a:cubicBezTo>
                    <a:pt x="380065" y="263767"/>
                    <a:pt x="387409" y="262181"/>
                    <a:pt x="394934" y="261123"/>
                  </a:cubicBezTo>
                  <a:lnTo>
                    <a:pt x="394934" y="254379"/>
                  </a:lnTo>
                  <a:close/>
                </a:path>
              </a:pathLst>
            </a:custGeom>
            <a:solidFill>
              <a:schemeClr val="bg1"/>
            </a:solidFill>
            <a:ln w="52293" cap="rnd">
              <a:noFill/>
              <a:prstDash val="solid"/>
              <a:round/>
            </a:ln>
          </p:spPr>
          <p:txBody>
            <a:bodyPr rtlCol="0" anchor="ctr"/>
            <a:lstStyle/>
            <a:p>
              <a:endParaRPr lang="pt-BR" dirty="0"/>
            </a:p>
          </p:txBody>
        </p:sp>
      </p:grpSp>
      <p:sp>
        <p:nvSpPr>
          <p:cNvPr id="13" name="CaixaDeTexto 12">
            <a:extLst>
              <a:ext uri="{FF2B5EF4-FFF2-40B4-BE49-F238E27FC236}">
                <a16:creationId xmlns:a16="http://schemas.microsoft.com/office/drawing/2014/main" id="{7010647A-ABC5-CF75-6D42-0A29D57C5A47}"/>
              </a:ext>
            </a:extLst>
          </p:cNvPr>
          <p:cNvSpPr txBox="1"/>
          <p:nvPr>
            <p:custDataLst>
              <p:tags r:id="rId12"/>
            </p:custDataLst>
          </p:nvPr>
        </p:nvSpPr>
        <p:spPr>
          <a:xfrm>
            <a:off x="4808457" y="571683"/>
            <a:ext cx="2274347" cy="366126"/>
          </a:xfrm>
          <a:prstGeom prst="rect">
            <a:avLst/>
          </a:prstGeom>
          <a:noFill/>
        </p:spPr>
        <p:txBody>
          <a:bodyPr wrap="square">
            <a:spAutoFit/>
          </a:bodyPr>
          <a:lstStyle/>
          <a:p>
            <a:r>
              <a:rPr lang="en-US" sz="1800" b="1" i="0" u="none" strike="noStrike" cap="none" baseline="0" dirty="0">
                <a:solidFill>
                  <a:srgbClr val="005FD7"/>
                </a:solidFill>
                <a:effectLst/>
                <a:uFillTx/>
                <a:latin typeface="Segoe UI"/>
              </a:rPr>
              <a:t>in the last decade</a:t>
            </a:r>
          </a:p>
        </p:txBody>
      </p:sp>
      <p:sp>
        <p:nvSpPr>
          <p:cNvPr id="6" name="CaixaDeTexto 5">
            <a:extLst>
              <a:ext uri="{FF2B5EF4-FFF2-40B4-BE49-F238E27FC236}">
                <a16:creationId xmlns:a16="http://schemas.microsoft.com/office/drawing/2014/main" id="{2824F0E4-E54E-97CF-1302-F853B7882ECB}"/>
              </a:ext>
            </a:extLst>
          </p:cNvPr>
          <p:cNvSpPr txBox="1"/>
          <p:nvPr/>
        </p:nvSpPr>
        <p:spPr>
          <a:xfrm>
            <a:off x="470072" y="143278"/>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1" name="Forma Livre: Forma 10">
            <a:extLst>
              <a:ext uri="{FF2B5EF4-FFF2-40B4-BE49-F238E27FC236}">
                <a16:creationId xmlns:a16="http://schemas.microsoft.com/office/drawing/2014/main" id="{701A2565-38C4-B858-AEEA-9AACBB47A1D5}"/>
              </a:ext>
            </a:extLst>
          </p:cNvPr>
          <p:cNvSpPr/>
          <p:nvPr/>
        </p:nvSpPr>
        <p:spPr>
          <a:xfrm>
            <a:off x="225728" y="108650"/>
            <a:ext cx="302808" cy="334423"/>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a:p>
        </p:txBody>
      </p:sp>
      <p:sp>
        <p:nvSpPr>
          <p:cNvPr id="12" name="CaixaDeTexto 11">
            <a:extLst>
              <a:ext uri="{FF2B5EF4-FFF2-40B4-BE49-F238E27FC236}">
                <a16:creationId xmlns:a16="http://schemas.microsoft.com/office/drawing/2014/main" id="{0C8834FE-E920-B89B-D53C-1EBC7B48748F}"/>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6</a:t>
            </a:r>
          </a:p>
        </p:txBody>
      </p:sp>
      <p:grpSp>
        <p:nvGrpSpPr>
          <p:cNvPr id="14" name="Agrupar 13">
            <a:extLst>
              <a:ext uri="{FF2B5EF4-FFF2-40B4-BE49-F238E27FC236}">
                <a16:creationId xmlns:a16="http://schemas.microsoft.com/office/drawing/2014/main" id="{0E031B8A-6661-B49A-DA41-9F6BAB6A1293}"/>
              </a:ext>
            </a:extLst>
          </p:cNvPr>
          <p:cNvGrpSpPr/>
          <p:nvPr/>
        </p:nvGrpSpPr>
        <p:grpSpPr>
          <a:xfrm>
            <a:off x="188900" y="4418309"/>
            <a:ext cx="8624510" cy="356656"/>
            <a:chOff x="51399" y="4501191"/>
            <a:chExt cx="8899511" cy="368027"/>
          </a:xfrm>
        </p:grpSpPr>
        <p:pic>
          <p:nvPicPr>
            <p:cNvPr id="15" name="Imagem 14" descr="Logotipo&#10;&#10;Descrição gerada automaticamente">
              <a:extLst>
                <a:ext uri="{FF2B5EF4-FFF2-40B4-BE49-F238E27FC236}">
                  <a16:creationId xmlns:a16="http://schemas.microsoft.com/office/drawing/2014/main" id="{68B7AFDC-6B15-D027-C4F0-D1EE7BD3B68A}"/>
                </a:ext>
              </a:extLst>
            </p:cNvPr>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51399" y="4506040"/>
              <a:ext cx="1032803" cy="363178"/>
            </a:xfrm>
            <a:prstGeom prst="rect">
              <a:avLst/>
            </a:prstGeom>
          </p:spPr>
        </p:pic>
        <p:pic>
          <p:nvPicPr>
            <p:cNvPr id="16" name="Imagem 15" descr="Logotipo&#10;&#10;Descrição gerada automaticamente">
              <a:extLst>
                <a:ext uri="{FF2B5EF4-FFF2-40B4-BE49-F238E27FC236}">
                  <a16:creationId xmlns:a16="http://schemas.microsoft.com/office/drawing/2014/main" id="{B19FCF30-F6F5-5380-3057-B163CB9C2EF8}"/>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627802" y="4504996"/>
              <a:ext cx="1170922" cy="363178"/>
            </a:xfrm>
            <a:prstGeom prst="rect">
              <a:avLst/>
            </a:prstGeom>
          </p:spPr>
        </p:pic>
        <p:pic>
          <p:nvPicPr>
            <p:cNvPr id="17" name="Imagem 16" descr="Logotipo&#10;&#10;Descrição gerada automaticamente">
              <a:extLst>
                <a:ext uri="{FF2B5EF4-FFF2-40B4-BE49-F238E27FC236}">
                  <a16:creationId xmlns:a16="http://schemas.microsoft.com/office/drawing/2014/main" id="{E3A94250-C9DC-B91B-EBA9-498A5FEA34D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5341707" y="4505424"/>
              <a:ext cx="1032803" cy="363794"/>
            </a:xfrm>
            <a:prstGeom prst="rect">
              <a:avLst/>
            </a:prstGeom>
          </p:spPr>
        </p:pic>
        <p:pic>
          <p:nvPicPr>
            <p:cNvPr id="18" name="Imagem 17" descr="Logotipo&#10;&#10;Descrição gerada automaticamente">
              <a:extLst>
                <a:ext uri="{FF2B5EF4-FFF2-40B4-BE49-F238E27FC236}">
                  <a16:creationId xmlns:a16="http://schemas.microsoft.com/office/drawing/2014/main" id="{C6081B4F-1B96-7C3E-D260-D22AFEDD3845}"/>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910200" y="4504438"/>
              <a:ext cx="1032803" cy="363178"/>
            </a:xfrm>
            <a:prstGeom prst="rect">
              <a:avLst/>
            </a:prstGeom>
          </p:spPr>
        </p:pic>
        <p:pic>
          <p:nvPicPr>
            <p:cNvPr id="19" name="Imagem 18" descr="Ícone&#10;&#10;Descrição gerada automaticamente">
              <a:extLst>
                <a:ext uri="{FF2B5EF4-FFF2-40B4-BE49-F238E27FC236}">
                  <a16:creationId xmlns:a16="http://schemas.microsoft.com/office/drawing/2014/main" id="{79A0C870-4A79-95BA-0C5B-71F03AF91C4D}"/>
                </a:ext>
              </a:extLst>
            </p:cNvPr>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769001" y="4504542"/>
              <a:ext cx="1032803" cy="363178"/>
            </a:xfrm>
            <a:prstGeom prst="rect">
              <a:avLst/>
            </a:prstGeom>
          </p:spPr>
        </p:pic>
        <p:pic>
          <p:nvPicPr>
            <p:cNvPr id="32" name="Imagem 31" descr="Logotipo&#10;&#10;Descrição gerada automaticamente">
              <a:extLst>
                <a:ext uri="{FF2B5EF4-FFF2-40B4-BE49-F238E27FC236}">
                  <a16:creationId xmlns:a16="http://schemas.microsoft.com/office/drawing/2014/main" id="{33E70B90-39D6-6901-EBBD-1B5F9D04CD19}"/>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7059309" y="4504438"/>
              <a:ext cx="1032803" cy="363178"/>
            </a:xfrm>
            <a:prstGeom prst="rect">
              <a:avLst/>
            </a:prstGeom>
          </p:spPr>
        </p:pic>
        <p:pic>
          <p:nvPicPr>
            <p:cNvPr id="33" name="Imagem 32" descr="Logotipo&#10;&#10;Descrição gerada automaticamente">
              <a:extLst>
                <a:ext uri="{FF2B5EF4-FFF2-40B4-BE49-F238E27FC236}">
                  <a16:creationId xmlns:a16="http://schemas.microsoft.com/office/drawing/2014/main" id="{976236AA-D941-F55F-BDCE-357925C66ACD}"/>
                </a:ext>
              </a:extLst>
            </p:cNvPr>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7918107" y="4504926"/>
              <a:ext cx="1032803" cy="363178"/>
            </a:xfrm>
            <a:prstGeom prst="rect">
              <a:avLst/>
            </a:prstGeom>
          </p:spPr>
        </p:pic>
        <p:pic>
          <p:nvPicPr>
            <p:cNvPr id="34" name="Imagem 33" descr="Logotipo&#10;&#10;Descrição gerada automaticamente">
              <a:extLst>
                <a:ext uri="{FF2B5EF4-FFF2-40B4-BE49-F238E27FC236}">
                  <a16:creationId xmlns:a16="http://schemas.microsoft.com/office/drawing/2014/main" id="{F9278649-FFB9-88A1-9DC1-1F34907721FC}"/>
                </a:ext>
              </a:extLst>
            </p:cNvPr>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624722" y="4501430"/>
              <a:ext cx="1032186" cy="363177"/>
            </a:xfrm>
            <a:prstGeom prst="rect">
              <a:avLst/>
            </a:prstGeom>
          </p:spPr>
        </p:pic>
        <p:pic>
          <p:nvPicPr>
            <p:cNvPr id="35" name="Imagem 34" descr="Logotipo&#10;&#10;Descrição gerada automaticamente">
              <a:extLst>
                <a:ext uri="{FF2B5EF4-FFF2-40B4-BE49-F238E27FC236}">
                  <a16:creationId xmlns:a16="http://schemas.microsoft.com/office/drawing/2014/main" id="{5F9A5BE4-529C-2B98-8FA4-8765FD6BBFDE}"/>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a:off x="4482906" y="4504229"/>
              <a:ext cx="1032803" cy="363177"/>
            </a:xfrm>
            <a:prstGeom prst="rect">
              <a:avLst/>
            </a:prstGeom>
          </p:spPr>
        </p:pic>
        <p:pic>
          <p:nvPicPr>
            <p:cNvPr id="36" name="Imagem 35" descr="Ícone&#10;&#10;Descrição gerada automaticamente">
              <a:extLst>
                <a:ext uri="{FF2B5EF4-FFF2-40B4-BE49-F238E27FC236}">
                  <a16:creationId xmlns:a16="http://schemas.microsoft.com/office/drawing/2014/main" id="{C6D7D202-F8EF-7C85-9729-D7C6A23A0EC1}"/>
                </a:ext>
              </a:extLst>
            </p:cNvPr>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6200508" y="4501191"/>
              <a:ext cx="1032803" cy="363794"/>
            </a:xfrm>
            <a:prstGeom prst="rect">
              <a:avLst/>
            </a:prstGeom>
          </p:spPr>
        </p:pic>
      </p:grpSp>
      <p:pic>
        <p:nvPicPr>
          <p:cNvPr id="20" name="Imagem 19" descr="Uma imagem contendo Interface gráfica do usuário&#10;&#10;Descrição gerada automaticamente">
            <a:extLst>
              <a:ext uri="{FF2B5EF4-FFF2-40B4-BE49-F238E27FC236}">
                <a16:creationId xmlns:a16="http://schemas.microsoft.com/office/drawing/2014/main" id="{EF7B5923-1707-10EF-AEC8-6EB6852D9CE3}"/>
              </a:ext>
            </a:extLst>
          </p:cNvPr>
          <p:cNvPicPr>
            <a:picLocks noChangeAspect="1"/>
          </p:cNvPicPr>
          <p:nvPr/>
        </p:nvPicPr>
        <p:blipFill>
          <a:blip r:embed="rId34"/>
          <a:stretch>
            <a:fillRect/>
          </a:stretch>
        </p:blipFill>
        <p:spPr>
          <a:xfrm>
            <a:off x="8039840" y="60434"/>
            <a:ext cx="920231" cy="509571"/>
          </a:xfrm>
          <a:prstGeom prst="rect">
            <a:avLst/>
          </a:prstGeom>
        </p:spPr>
      </p:pic>
      <p:sp>
        <p:nvSpPr>
          <p:cNvPr id="25" name="CaixaDeTexto 24">
            <a:extLst>
              <a:ext uri="{FF2B5EF4-FFF2-40B4-BE49-F238E27FC236}">
                <a16:creationId xmlns:a16="http://schemas.microsoft.com/office/drawing/2014/main" id="{C089C158-C887-5498-D036-646A1C10C3B5}"/>
              </a:ext>
            </a:extLst>
          </p:cNvPr>
          <p:cNvSpPr txBox="1"/>
          <p:nvPr/>
        </p:nvSpPr>
        <p:spPr>
          <a:xfrm>
            <a:off x="444892" y="4829875"/>
            <a:ext cx="1474115" cy="184666"/>
          </a:xfrm>
          <a:prstGeom prst="rect">
            <a:avLst/>
          </a:prstGeom>
          <a:noFill/>
        </p:spPr>
        <p:txBody>
          <a:bodyPr wrap="square">
            <a:spAutoFit/>
          </a:bodyPr>
          <a:lstStyle/>
          <a:p>
            <a:r>
              <a:rPr kumimoji="0" lang="en-US" sz="600" b="0" i="0" u="none" strike="noStrike" kern="1200" cap="none" spc="0" normalizeH="0" baseline="0" noProof="0">
                <a:ln>
                  <a:noFill/>
                </a:ln>
                <a:solidFill>
                  <a:schemeClr val="bg1">
                    <a:lumMod val="50000"/>
                  </a:schemeClr>
                </a:solidFill>
                <a:effectLst/>
                <a:uLnTx/>
                <a:uFillTx/>
                <a:latin typeface="Segoe UI" panose="020B0502040204020203" pitchFamily="34" charset="0"/>
                <a:cs typeface="Segoe UI" panose="020B0502040204020203" pitchFamily="34" charset="0"/>
              </a:rPr>
              <a:t>¹ </a:t>
            </a:r>
            <a:r>
              <a:rPr lang="en-US" sz="600">
                <a:solidFill>
                  <a:schemeClr val="bg1">
                    <a:lumMod val="50000"/>
                  </a:schemeClr>
                </a:solidFill>
                <a:latin typeface="Segoe UI" panose="020B0502040204020203" pitchFamily="34" charset="0"/>
                <a:cs typeface="Segoe UI" panose="020B0502040204020203" pitchFamily="34" charset="0"/>
              </a:rPr>
              <a:t>Real terms, database </a:t>
            </a:r>
            <a:r>
              <a:rPr lang="en-US" sz="600" dirty="0" err="1">
                <a:solidFill>
                  <a:schemeClr val="bg1">
                    <a:lumMod val="50000"/>
                  </a:schemeClr>
                </a:solidFill>
                <a:latin typeface="Segoe UI" panose="020B0502040204020203" pitchFamily="34" charset="0"/>
                <a:cs typeface="Segoe UI" panose="020B0502040204020203" pitchFamily="34" charset="0"/>
              </a:rPr>
              <a:t>jun</a:t>
            </a:r>
            <a:r>
              <a:rPr lang="en-US" sz="600" dirty="0">
                <a:solidFill>
                  <a:schemeClr val="bg1">
                    <a:lumMod val="50000"/>
                  </a:schemeClr>
                </a:solidFill>
                <a:latin typeface="Segoe UI" panose="020B0502040204020203" pitchFamily="34" charset="0"/>
                <a:cs typeface="Segoe UI" panose="020B0502040204020203" pitchFamily="34" charset="0"/>
              </a:rPr>
              <a:t>/23</a:t>
            </a:r>
            <a:endParaRPr lang="pt-BR" sz="1400" dirty="0">
              <a:solidFill>
                <a:schemeClr val="bg1">
                  <a:lumMod val="50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3995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35" presetClass="path" presetSubtype="0" accel="17000" decel="83000" fill="hold" grpId="1" nodeType="withEffect">
                                  <p:stCondLst>
                                    <p:cond delay="0"/>
                                  </p:stCondLst>
                                  <p:childTnLst>
                                    <p:animMotion origin="layout" path="M -0.0321 -4.11101E-06 L -1.80102E-06 -4.11101E-06" pathEditMode="relative" rAng="0" ptsTypes="AA">
                                      <p:cBhvr>
                                        <p:cTn id="12" dur="1100" fill="hold"/>
                                        <p:tgtEl>
                                          <p:spTgt spid="4"/>
                                        </p:tgtEl>
                                        <p:attrNameLst>
                                          <p:attrName>ppt_x</p:attrName>
                                          <p:attrName>ppt_y</p:attrName>
                                        </p:attrNameLst>
                                      </p:cBhvr>
                                      <p:rCtr x="1605" y="0"/>
                                    </p:animMotion>
                                  </p:childTnLst>
                                </p:cTn>
                              </p:par>
                              <p:par>
                                <p:cTn id="13" presetID="10"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par>
                                <p:cTn id="16" presetID="35" presetClass="path" presetSubtype="0" accel="17000" decel="83000" fill="hold" grpId="1" nodeType="withEffect">
                                  <p:stCondLst>
                                    <p:cond delay="0"/>
                                  </p:stCondLst>
                                  <p:childTnLst>
                                    <p:animMotion origin="layout" path="M 0.03687 2.71245E-6 L -6.54436E-7 2.71245E-6 " pathEditMode="relative" rAng="0" ptsTypes="AA">
                                      <p:cBhvr>
                                        <p:cTn id="17" dur="1100" fill="hold"/>
                                        <p:tgtEl>
                                          <p:spTgt spid="5"/>
                                        </p:tgtEl>
                                        <p:attrNameLst>
                                          <p:attrName>ppt_x</p:attrName>
                                          <p:attrName>ppt_y</p:attrName>
                                        </p:attrNameLst>
                                      </p:cBhvr>
                                      <p:rCtr x="-1852" y="0"/>
                                    </p:animMotion>
                                  </p:childTnLst>
                                </p:cTn>
                              </p:par>
                              <p:par>
                                <p:cTn id="18" presetID="22" presetClass="entr" presetSubtype="1" fill="hold" grpId="0" nodeType="withEffect">
                                  <p:stCondLst>
                                    <p:cond delay="500"/>
                                  </p:stCondLst>
                                  <p:childTnLst>
                                    <p:set>
                                      <p:cBhvr>
                                        <p:cTn id="19" dur="1" fill="hold">
                                          <p:stCondLst>
                                            <p:cond delay="0"/>
                                          </p:stCondLst>
                                        </p:cTn>
                                        <p:tgtEl>
                                          <p:spTgt spid="50"/>
                                        </p:tgtEl>
                                        <p:attrNameLst>
                                          <p:attrName>style.visibility</p:attrName>
                                        </p:attrNameLst>
                                      </p:cBhvr>
                                      <p:to>
                                        <p:strVal val="visible"/>
                                      </p:to>
                                    </p:set>
                                    <p:animEffect transition="in" filter="wipe(up)">
                                      <p:cBhvr>
                                        <p:cTn id="20" dur="500"/>
                                        <p:tgtEl>
                                          <p:spTgt spid="50"/>
                                        </p:tgtEl>
                                      </p:cBhvr>
                                    </p:animEffect>
                                  </p:childTnLst>
                                </p:cTn>
                              </p:par>
                              <p:par>
                                <p:cTn id="21" presetID="53" presetClass="entr" presetSubtype="0" fill="hold" nodeType="withEffect">
                                  <p:stCondLst>
                                    <p:cond delay="1500"/>
                                  </p:stCondLst>
                                  <p:childTnLst>
                                    <p:set>
                                      <p:cBhvr>
                                        <p:cTn id="22" dur="1" fill="hold">
                                          <p:stCondLst>
                                            <p:cond delay="0"/>
                                          </p:stCondLst>
                                        </p:cTn>
                                        <p:tgtEl>
                                          <p:spTgt spid="73"/>
                                        </p:tgtEl>
                                        <p:attrNameLst>
                                          <p:attrName>style.visibility</p:attrName>
                                        </p:attrNameLst>
                                      </p:cBhvr>
                                      <p:to>
                                        <p:strVal val="visible"/>
                                      </p:to>
                                    </p:set>
                                    <p:anim calcmode="lin" valueType="num">
                                      <p:cBhvr>
                                        <p:cTn id="23" dur="500" fill="hold"/>
                                        <p:tgtEl>
                                          <p:spTgt spid="73"/>
                                        </p:tgtEl>
                                        <p:attrNameLst>
                                          <p:attrName>ppt_w</p:attrName>
                                        </p:attrNameLst>
                                      </p:cBhvr>
                                      <p:tavLst>
                                        <p:tav tm="0">
                                          <p:val>
                                            <p:fltVal val="0"/>
                                          </p:val>
                                        </p:tav>
                                        <p:tav tm="100000">
                                          <p:val>
                                            <p:strVal val="#ppt_w"/>
                                          </p:val>
                                        </p:tav>
                                      </p:tavLst>
                                    </p:anim>
                                    <p:anim calcmode="lin" valueType="num">
                                      <p:cBhvr>
                                        <p:cTn id="24" dur="500" fill="hold"/>
                                        <p:tgtEl>
                                          <p:spTgt spid="73"/>
                                        </p:tgtEl>
                                        <p:attrNameLst>
                                          <p:attrName>ppt_h</p:attrName>
                                        </p:attrNameLst>
                                      </p:cBhvr>
                                      <p:tavLst>
                                        <p:tav tm="0">
                                          <p:val>
                                            <p:fltVal val="0"/>
                                          </p:val>
                                        </p:tav>
                                        <p:tav tm="100000">
                                          <p:val>
                                            <p:strVal val="#ppt_h"/>
                                          </p:val>
                                        </p:tav>
                                      </p:tavLst>
                                    </p:anim>
                                    <p:animEffect transition="in" filter="fade">
                                      <p:cBhvr>
                                        <p:cTn id="25" dur="500"/>
                                        <p:tgtEl>
                                          <p:spTgt spid="73"/>
                                        </p:tgtEl>
                                      </p:cBhvr>
                                    </p:animEffect>
                                  </p:childTnLst>
                                </p:cTn>
                              </p:par>
                              <p:par>
                                <p:cTn id="26" presetID="10" presetClass="entr" presetSubtype="0" fill="hold" nodeType="withEffect">
                                  <p:stCondLst>
                                    <p:cond delay="150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500"/>
                                        <p:tgtEl>
                                          <p:spTgt spid="52"/>
                                        </p:tgtEl>
                                      </p:cBhvr>
                                    </p:animEffect>
                                  </p:childTnLst>
                                </p:cTn>
                              </p:par>
                              <p:par>
                                <p:cTn id="29" presetID="35" presetClass="path" presetSubtype="0" accel="17000" decel="83000" fill="hold" nodeType="withEffect">
                                  <p:stCondLst>
                                    <p:cond delay="1500"/>
                                  </p:stCondLst>
                                  <p:childTnLst>
                                    <p:animMotion origin="layout" path="M 0.03686 9.25055E-7 L 3.87194E-6 9.25055E-7 " pathEditMode="relative" rAng="0" ptsTypes="AA">
                                      <p:cBhvr>
                                        <p:cTn id="30" dur="1100" fill="hold"/>
                                        <p:tgtEl>
                                          <p:spTgt spid="52"/>
                                        </p:tgtEl>
                                        <p:attrNameLst>
                                          <p:attrName>ppt_x</p:attrName>
                                          <p:attrName>ppt_y</p:attrName>
                                        </p:attrNameLst>
                                      </p:cBhvr>
                                      <p:rCtr x="-1852" y="0"/>
                                    </p:animMotion>
                                  </p:childTnLst>
                                </p:cTn>
                              </p:par>
                              <p:par>
                                <p:cTn id="31" presetID="22" presetClass="entr" presetSubtype="8" fill="hold" grpId="0" nodeType="withEffect">
                                  <p:stCondLst>
                                    <p:cond delay="500"/>
                                  </p:stCondLst>
                                  <p:childTnLst>
                                    <p:set>
                                      <p:cBhvr>
                                        <p:cTn id="32" dur="1" fill="hold">
                                          <p:stCondLst>
                                            <p:cond delay="0"/>
                                          </p:stCondLst>
                                        </p:cTn>
                                        <p:tgtEl>
                                          <p:spTgt spid="7"/>
                                        </p:tgtEl>
                                        <p:attrNameLst>
                                          <p:attrName>style.visibility</p:attrName>
                                        </p:attrNameLst>
                                      </p:cBhvr>
                                      <p:to>
                                        <p:strVal val="visible"/>
                                      </p:to>
                                    </p:set>
                                    <p:animEffect transition="in" filter="wipe(left)">
                                      <p:cBhvr>
                                        <p:cTn id="33" dur="1000"/>
                                        <p:tgtEl>
                                          <p:spTgt spid="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childTnLst>
                                </p:cTn>
                              </p:par>
                              <p:par>
                                <p:cTn id="37" presetID="35" presetClass="path" presetSubtype="0" accel="17000" decel="83000" fill="hold" grpId="1" nodeType="withEffect">
                                  <p:stCondLst>
                                    <p:cond delay="0"/>
                                  </p:stCondLst>
                                  <p:childTnLst>
                                    <p:animMotion origin="layout" path="M 0.03686 2.71245E-6 L 3.84018E-6 2.71245E-6 " pathEditMode="relative" rAng="0" ptsTypes="AA">
                                      <p:cBhvr>
                                        <p:cTn id="38" dur="1100" fill="hold"/>
                                        <p:tgtEl>
                                          <p:spTgt spid="8"/>
                                        </p:tgtEl>
                                        <p:attrNameLst>
                                          <p:attrName>ppt_x</p:attrName>
                                          <p:attrName>ppt_y</p:attrName>
                                        </p:attrNameLst>
                                      </p:cBhvr>
                                      <p:rCtr x="-1852" y="0"/>
                                    </p:animMotion>
                                  </p:childTnLst>
                                </p:cTn>
                              </p:par>
                              <p:par>
                                <p:cTn id="39" presetID="22" presetClass="entr" presetSubtype="1" fill="hold" grpId="0" nodeType="withEffect">
                                  <p:stCondLst>
                                    <p:cond delay="1250"/>
                                  </p:stCondLst>
                                  <p:childTnLst>
                                    <p:set>
                                      <p:cBhvr>
                                        <p:cTn id="40" dur="1" fill="hold">
                                          <p:stCondLst>
                                            <p:cond delay="0"/>
                                          </p:stCondLst>
                                        </p:cTn>
                                        <p:tgtEl>
                                          <p:spTgt spid="9"/>
                                        </p:tgtEl>
                                        <p:attrNameLst>
                                          <p:attrName>style.visibility</p:attrName>
                                        </p:attrNameLst>
                                      </p:cBhvr>
                                      <p:to>
                                        <p:strVal val="visible"/>
                                      </p:to>
                                    </p:set>
                                    <p:animEffect transition="in" filter="wipe(up)">
                                      <p:cBhvr>
                                        <p:cTn id="41" dur="500"/>
                                        <p:tgtEl>
                                          <p:spTgt spid="9"/>
                                        </p:tgtEl>
                                      </p:cBhvr>
                                    </p:animEffect>
                                  </p:childTnLst>
                                </p:cTn>
                              </p:par>
                              <p:par>
                                <p:cTn id="42" presetID="10" presetClass="entr" presetSubtype="0" fill="hold" grpId="0" nodeType="withEffect">
                                  <p:stCondLst>
                                    <p:cond delay="250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par>
                                <p:cTn id="45" presetID="35" presetClass="path" presetSubtype="0" accel="17000" decel="83000" fill="hold" grpId="1" nodeType="withEffect">
                                  <p:stCondLst>
                                    <p:cond delay="2500"/>
                                  </p:stCondLst>
                                  <p:childTnLst>
                                    <p:animMotion origin="layout" path="M -0.02275 1.48009E-6 L -6.79132E-7 1.48009E-6 " pathEditMode="relative" rAng="0" ptsTypes="AA">
                                      <p:cBhvr>
                                        <p:cTn id="46" dur="1100" fill="hold"/>
                                        <p:tgtEl>
                                          <p:spTgt spid="6"/>
                                        </p:tgtEl>
                                        <p:attrNameLst>
                                          <p:attrName>ppt_x</p:attrName>
                                          <p:attrName>ppt_y</p:attrName>
                                        </p:attrNameLst>
                                      </p:cBhvr>
                                      <p:rCtr x="1129" y="0"/>
                                    </p:animMotion>
                                  </p:childTnLst>
                                </p:cTn>
                              </p:par>
                              <p:par>
                                <p:cTn id="47" presetID="10" presetClass="entr" presetSubtype="0" fill="hold" nodeType="withEffect">
                                  <p:stCondLst>
                                    <p:cond delay="200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childTnLst>
                          </p:cTn>
                        </p:par>
                        <p:par>
                          <p:cTn id="50" fill="hold">
                            <p:stCondLst>
                              <p:cond delay="3600"/>
                            </p:stCondLst>
                            <p:childTnLst>
                              <p:par>
                                <p:cTn id="51" presetID="10" presetClass="entr" presetSubtype="0" fill="hold" grpId="0" nodeType="afterEffect">
                                  <p:stCondLst>
                                    <p:cond delay="0"/>
                                  </p:stCondLst>
                                  <p:childTnLst>
                                    <p:set>
                                      <p:cBhvr>
                                        <p:cTn id="52" dur="1" fill="hold">
                                          <p:stCondLst>
                                            <p:cond delay="0"/>
                                          </p:stCondLst>
                                        </p:cTn>
                                        <p:tgtEl>
                                          <p:spTgt spid="25"/>
                                        </p:tgtEl>
                                        <p:attrNameLst>
                                          <p:attrName>style.visibility</p:attrName>
                                        </p:attrNameLst>
                                      </p:cBhvr>
                                      <p:to>
                                        <p:strVal val="visible"/>
                                      </p:to>
                                    </p:set>
                                    <p:animEffect transition="in" filter="fade">
                                      <p:cBhvr>
                                        <p:cTn id="5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P spid="50" grpId="0" animBg="1"/>
      <p:bldGraphic spid="7" grpId="0">
        <p:bldAsOne/>
      </p:bldGraphic>
      <p:bldP spid="8" grpId="0"/>
      <p:bldP spid="8" grpId="1"/>
      <p:bldP spid="9" grpId="0" animBg="1"/>
      <p:bldP spid="6" grpId="0"/>
      <p:bldP spid="6" grpId="1"/>
      <p:bldP spid="25"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 name="Agrupar 50">
            <a:extLst>
              <a:ext uri="{FF2B5EF4-FFF2-40B4-BE49-F238E27FC236}">
                <a16:creationId xmlns:a16="http://schemas.microsoft.com/office/drawing/2014/main" id="{599E1040-59CF-02D5-F99C-92CBAB530D33}"/>
              </a:ext>
            </a:extLst>
          </p:cNvPr>
          <p:cNvGrpSpPr/>
          <p:nvPr/>
        </p:nvGrpSpPr>
        <p:grpSpPr>
          <a:xfrm>
            <a:off x="0" y="0"/>
            <a:ext cx="8999538" cy="5062538"/>
            <a:chOff x="0" y="0"/>
            <a:chExt cx="8999538" cy="5062538"/>
          </a:xfrm>
        </p:grpSpPr>
        <p:pic>
          <p:nvPicPr>
            <p:cNvPr id="52" name="Imagem 51" descr="Imagem em branco e azul&#10;&#10;Descrição gerada automaticamente com confiança média">
              <a:extLst>
                <a:ext uri="{FF2B5EF4-FFF2-40B4-BE49-F238E27FC236}">
                  <a16:creationId xmlns:a16="http://schemas.microsoft.com/office/drawing/2014/main" id="{8906EE49-889F-0110-A0AD-C7BD4B4292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54" name="Imagem 53" descr="Padrão do plano de fundo&#10;&#10;Descrição gerada automaticamente com confiança média">
              <a:extLst>
                <a:ext uri="{FF2B5EF4-FFF2-40B4-BE49-F238E27FC236}">
                  <a16:creationId xmlns:a16="http://schemas.microsoft.com/office/drawing/2014/main" id="{307E496B-199A-4229-36A0-0CDCA9016D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6510987" cy="5062538"/>
            </a:xfrm>
            <a:prstGeom prst="rect">
              <a:avLst/>
            </a:prstGeom>
          </p:spPr>
        </p:pic>
        <p:pic>
          <p:nvPicPr>
            <p:cNvPr id="55" name="Imagem 54" descr="Fundo preto com letras brancas&#10;&#10;Descrição gerada automaticamente com confiança média">
              <a:extLst>
                <a:ext uri="{FF2B5EF4-FFF2-40B4-BE49-F238E27FC236}">
                  <a16:creationId xmlns:a16="http://schemas.microsoft.com/office/drawing/2014/main" id="{1FF08DC8-D78E-8845-E12F-08F6DD4B44A2}"/>
                </a:ext>
              </a:extLst>
            </p:cNvPr>
            <p:cNvPicPr>
              <a:picLocks noChangeAspect="1"/>
            </p:cNvPicPr>
            <p:nvPr/>
          </p:nvPicPr>
          <p:blipFill rotWithShape="1">
            <a:blip r:embed="rId6">
              <a:extLst>
                <a:ext uri="{28A0092B-C50C-407E-A947-70E740481C1C}">
                  <a14:useLocalDpi xmlns:a14="http://schemas.microsoft.com/office/drawing/2010/main" val="0"/>
                </a:ext>
              </a:extLst>
            </a:blip>
            <a:srcRect l="1" t="53816" r="49890"/>
            <a:stretch/>
          </p:blipFill>
          <p:spPr>
            <a:xfrm>
              <a:off x="5146535" y="0"/>
              <a:ext cx="3853003" cy="3568730"/>
            </a:xfrm>
            <a:prstGeom prst="rect">
              <a:avLst/>
            </a:prstGeom>
          </p:spPr>
        </p:pic>
      </p:grpSp>
      <p:sp>
        <p:nvSpPr>
          <p:cNvPr id="32" name="Rectángulo redondeado 1">
            <a:extLst>
              <a:ext uri="{FF2B5EF4-FFF2-40B4-BE49-F238E27FC236}">
                <a16:creationId xmlns:a16="http://schemas.microsoft.com/office/drawing/2014/main" id="{F2A5A4A4-F1A1-3657-2428-EAE9AD338974}"/>
              </a:ext>
            </a:extLst>
          </p:cNvPr>
          <p:cNvSpPr/>
          <p:nvPr/>
        </p:nvSpPr>
        <p:spPr>
          <a:xfrm flipH="1" flipV="1">
            <a:off x="326243" y="1167604"/>
            <a:ext cx="8347052" cy="2019765"/>
          </a:xfrm>
          <a:prstGeom prst="roundRect">
            <a:avLst>
              <a:gd name="adj" fmla="val 7571"/>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3" name="think-cell data - do not delete" hidden="1">
            <a:extLst>
              <a:ext uri="{FF2B5EF4-FFF2-40B4-BE49-F238E27FC236}">
                <a16:creationId xmlns:a16="http://schemas.microsoft.com/office/drawing/2014/main" id="{E7FD7588-B1B7-08C1-97AC-DC0FD0AABCEE}"/>
              </a:ext>
            </a:extLst>
          </p:cNvPr>
          <p:cNvGraphicFramePr>
            <a:graphicFrameLocks noChangeAspect="1"/>
          </p:cNvGraphicFramePr>
          <p:nvPr>
            <p:custDataLst>
              <p:tags r:id="rId1"/>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7" imgW="395" imgH="394" progId="TCLayout.ActiveDocument.1">
                  <p:embed/>
                </p:oleObj>
              </mc:Choice>
              <mc:Fallback>
                <p:oleObj name="Slide do think-cell" r:id="rId7" imgW="395" imgH="394" progId="TCLayout.ActiveDocument.1">
                  <p:embed/>
                  <p:pic>
                    <p:nvPicPr>
                      <p:cNvPr id="63" name="think-cell data - do not delete" hidden="1">
                        <a:extLst>
                          <a:ext uri="{FF2B5EF4-FFF2-40B4-BE49-F238E27FC236}">
                            <a16:creationId xmlns:a16="http://schemas.microsoft.com/office/drawing/2014/main" id="{E7FD7588-B1B7-08C1-97AC-DC0FD0AABCEE}"/>
                          </a:ext>
                        </a:extLst>
                      </p:cNvPr>
                      <p:cNvPicPr/>
                      <p:nvPr/>
                    </p:nvPicPr>
                    <p:blipFill>
                      <a:blip r:embed="rId8"/>
                      <a:stretch>
                        <a:fillRect/>
                      </a:stretch>
                    </p:blipFill>
                    <p:spPr>
                      <a:xfrm>
                        <a:off x="1173" y="1321"/>
                        <a:ext cx="1172" cy="1172"/>
                      </a:xfrm>
                      <a:prstGeom prst="rect">
                        <a:avLst/>
                      </a:prstGeom>
                    </p:spPr>
                  </p:pic>
                </p:oleObj>
              </mc:Fallback>
            </mc:AlternateContent>
          </a:graphicData>
        </a:graphic>
      </p:graphicFrame>
      <p:grpSp>
        <p:nvGrpSpPr>
          <p:cNvPr id="69" name="Agrupar 68">
            <a:extLst>
              <a:ext uri="{FF2B5EF4-FFF2-40B4-BE49-F238E27FC236}">
                <a16:creationId xmlns:a16="http://schemas.microsoft.com/office/drawing/2014/main" id="{0354DA9C-03C1-85E8-BF82-421251ED69A7}"/>
              </a:ext>
            </a:extLst>
          </p:cNvPr>
          <p:cNvGrpSpPr/>
          <p:nvPr/>
        </p:nvGrpSpPr>
        <p:grpSpPr>
          <a:xfrm>
            <a:off x="888615" y="3281850"/>
            <a:ext cx="3278002" cy="278204"/>
            <a:chOff x="5033040" y="1327909"/>
            <a:chExt cx="2643305" cy="278204"/>
          </a:xfrm>
        </p:grpSpPr>
        <p:sp>
          <p:nvSpPr>
            <p:cNvPr id="57" name="Retângulo: Cantos Arredondados 56">
              <a:extLst>
                <a:ext uri="{FF2B5EF4-FFF2-40B4-BE49-F238E27FC236}">
                  <a16:creationId xmlns:a16="http://schemas.microsoft.com/office/drawing/2014/main" id="{BEE4C178-9C03-2F6E-8108-2BF7FDA2F104}"/>
                </a:ext>
              </a:extLst>
            </p:cNvPr>
            <p:cNvSpPr/>
            <p:nvPr/>
          </p:nvSpPr>
          <p:spPr>
            <a:xfrm flipH="1">
              <a:off x="5033040" y="1327909"/>
              <a:ext cx="2643305" cy="257424"/>
            </a:xfrm>
            <a:prstGeom prst="roundRect">
              <a:avLst>
                <a:gd name="adj" fmla="val 50000"/>
              </a:avLst>
            </a:prstGeom>
            <a:gradFill>
              <a:gsLst>
                <a:gs pos="0">
                  <a:srgbClr val="F8681E">
                    <a:alpha val="0"/>
                  </a:srgbClr>
                </a:gs>
                <a:gs pos="35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58" name="CaixaDeTexto 57">
              <a:extLst>
                <a:ext uri="{FF2B5EF4-FFF2-40B4-BE49-F238E27FC236}">
                  <a16:creationId xmlns:a16="http://schemas.microsoft.com/office/drawing/2014/main" id="{25B917F7-8BC1-300D-4AEB-692782CDFF5E}"/>
                </a:ext>
              </a:extLst>
            </p:cNvPr>
            <p:cNvSpPr txBox="1"/>
            <p:nvPr/>
          </p:nvSpPr>
          <p:spPr>
            <a:xfrm>
              <a:off x="5249026" y="1341425"/>
              <a:ext cx="2211332"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lang="pt-BR" sz="1400" b="1" spc="0">
                  <a:latin typeface="Segoe UI" panose="020B0502040204020203" pitchFamily="34" charset="0"/>
                  <a:cs typeface="Segoe UI" panose="020B0502040204020203" pitchFamily="34" charset="0"/>
                </a:rPr>
                <a:t>Average annual profitability¹</a:t>
              </a:r>
              <a:endParaRPr lang="pt-BR" sz="1400" b="1" spc="0" dirty="0">
                <a:latin typeface="Segoe UI" panose="020B0502040204020203" pitchFamily="34" charset="0"/>
                <a:cs typeface="Segoe UI" panose="020B0502040204020203" pitchFamily="34" charset="0"/>
              </a:endParaRPr>
            </a:p>
          </p:txBody>
        </p:sp>
      </p:grpSp>
      <p:pic>
        <p:nvPicPr>
          <p:cNvPr id="70" name="Picture 6" descr="ISA CTEEP">
            <a:extLst>
              <a:ext uri="{FF2B5EF4-FFF2-40B4-BE49-F238E27FC236}">
                <a16:creationId xmlns:a16="http://schemas.microsoft.com/office/drawing/2014/main" id="{D4565301-06D7-8E33-7397-D7F37A5C799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58110" y="3581606"/>
            <a:ext cx="1635513" cy="713494"/>
          </a:xfrm>
          <a:prstGeom prst="rect">
            <a:avLst/>
          </a:prstGeom>
          <a:noFill/>
          <a:extLst>
            <a:ext uri="{909E8E84-426E-40DD-AFC4-6F175D3DCCD1}">
              <a14:hiddenFill xmlns:a14="http://schemas.microsoft.com/office/drawing/2010/main">
                <a:solidFill>
                  <a:srgbClr val="FFFFFF"/>
                </a:solidFill>
              </a14:hiddenFill>
            </a:ext>
          </a:extLst>
        </p:spPr>
      </p:pic>
      <p:sp>
        <p:nvSpPr>
          <p:cNvPr id="72" name="CaixaDeTexto 71">
            <a:extLst>
              <a:ext uri="{FF2B5EF4-FFF2-40B4-BE49-F238E27FC236}">
                <a16:creationId xmlns:a16="http://schemas.microsoft.com/office/drawing/2014/main" id="{7880BE85-7852-6BF9-8E60-5BC8E1B2118C}"/>
              </a:ext>
            </a:extLst>
          </p:cNvPr>
          <p:cNvSpPr txBox="1"/>
          <p:nvPr/>
        </p:nvSpPr>
        <p:spPr>
          <a:xfrm>
            <a:off x="4772924" y="3901170"/>
            <a:ext cx="1295396" cy="458587"/>
          </a:xfrm>
          <a:prstGeom prst="rect">
            <a:avLst/>
          </a:prstGeom>
          <a:noFill/>
        </p:spPr>
        <p:txBody>
          <a:bodyPr wrap="square">
            <a:spAutoFit/>
          </a:bodyPr>
          <a:lstStyle/>
          <a:p>
            <a:pPr marL="0" marR="0" lvl="0" indent="0" algn="ctr" defTabSz="457200" rtl="0" eaLnBrk="1" fontAlgn="auto" latinLnBrk="0" hangingPunct="1">
              <a:lnSpc>
                <a:spcPct val="85000"/>
              </a:lnSpc>
              <a:spcBef>
                <a:spcPts val="443"/>
              </a:spcBef>
              <a:spcAft>
                <a:spcPts val="443"/>
              </a:spcAft>
              <a:buClrTx/>
              <a:buSzTx/>
              <a:buFontTx/>
              <a:buNone/>
              <a:tabLst/>
              <a:defRPr/>
            </a:pPr>
            <a:r>
              <a:rPr kumimoji="0" lang="pt-BR" sz="2800" b="1" i="0" u="none" strike="noStrike" kern="1200" cap="none" spc="0" normalizeH="0" baseline="0" noProof="0">
                <a:ln>
                  <a:noFill/>
                </a:ln>
                <a:solidFill>
                  <a:srgbClr val="005FD7"/>
                </a:solidFill>
                <a:effectLst/>
                <a:uLnTx/>
                <a:uFillTx/>
                <a:latin typeface="Segoe UI" panose="020B0502040204020203" pitchFamily="34" charset="0"/>
                <a:ea typeface="Tahoma" panose="020B0604030504040204" pitchFamily="34" charset="0"/>
                <a:cs typeface="Segoe UI" panose="020B0502040204020203" pitchFamily="34" charset="0"/>
              </a:rPr>
              <a:t>18.5%</a:t>
            </a:r>
            <a:endParaRPr kumimoji="0" lang="pt-BR" sz="2800" b="0" i="0" u="none" strike="noStrike" kern="1200" cap="none" spc="0" normalizeH="0" baseline="0" noProof="0">
              <a:ln>
                <a:noFill/>
              </a:ln>
              <a:solidFill>
                <a:srgbClr val="005FD7"/>
              </a:solidFill>
              <a:effectLst/>
              <a:uLnTx/>
              <a:uFillTx/>
              <a:latin typeface="Segoe UI" panose="020B0502040204020203" pitchFamily="34" charset="0"/>
              <a:ea typeface="Tahoma" panose="020B0604030504040204" pitchFamily="34" charset="0"/>
              <a:cs typeface="Segoe UI" panose="020B0502040204020203" pitchFamily="34" charset="0"/>
            </a:endParaRPr>
          </a:p>
        </p:txBody>
      </p:sp>
      <p:grpSp>
        <p:nvGrpSpPr>
          <p:cNvPr id="96" name="Agrupar 95">
            <a:extLst>
              <a:ext uri="{FF2B5EF4-FFF2-40B4-BE49-F238E27FC236}">
                <a16:creationId xmlns:a16="http://schemas.microsoft.com/office/drawing/2014/main" id="{C6F52193-CA07-2D5B-CA44-247B6C80E275}"/>
              </a:ext>
            </a:extLst>
          </p:cNvPr>
          <p:cNvGrpSpPr/>
          <p:nvPr/>
        </p:nvGrpSpPr>
        <p:grpSpPr>
          <a:xfrm>
            <a:off x="4233521" y="3278990"/>
            <a:ext cx="2307312" cy="562128"/>
            <a:chOff x="6360277" y="2316145"/>
            <a:chExt cx="2307312" cy="562128"/>
          </a:xfrm>
        </p:grpSpPr>
        <p:sp>
          <p:nvSpPr>
            <p:cNvPr id="84" name="Retângulo: Cantos Arredondados 83">
              <a:extLst>
                <a:ext uri="{FF2B5EF4-FFF2-40B4-BE49-F238E27FC236}">
                  <a16:creationId xmlns:a16="http://schemas.microsoft.com/office/drawing/2014/main" id="{18D2478F-BF4F-36FE-3D20-1DB72D653E1B}"/>
                </a:ext>
              </a:extLst>
            </p:cNvPr>
            <p:cNvSpPr/>
            <p:nvPr/>
          </p:nvSpPr>
          <p:spPr>
            <a:xfrm>
              <a:off x="6441307" y="2316145"/>
              <a:ext cx="1098488" cy="257424"/>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200">
                <a:solidFill>
                  <a:schemeClr val="bg1"/>
                </a:solidFill>
                <a:latin typeface="Segoe UI" panose="020B0502040204020203" pitchFamily="34" charset="0"/>
                <a:cs typeface="Segoe UI" panose="020B0502040204020203" pitchFamily="34" charset="0"/>
              </a:endParaRPr>
            </a:p>
          </p:txBody>
        </p:sp>
        <p:sp>
          <p:nvSpPr>
            <p:cNvPr id="85" name="CaixaDeTexto 84">
              <a:extLst>
                <a:ext uri="{FF2B5EF4-FFF2-40B4-BE49-F238E27FC236}">
                  <a16:creationId xmlns:a16="http://schemas.microsoft.com/office/drawing/2014/main" id="{006F3AAD-4893-302F-3AD1-53F40AC699D5}"/>
                </a:ext>
              </a:extLst>
            </p:cNvPr>
            <p:cNvSpPr txBox="1"/>
            <p:nvPr/>
          </p:nvSpPr>
          <p:spPr>
            <a:xfrm>
              <a:off x="6398751" y="2335837"/>
              <a:ext cx="1141044"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lang="pt-BR" sz="1200" spc="0">
                  <a:latin typeface="Segoe UI" panose="020B0502040204020203" pitchFamily="34" charset="0"/>
                  <a:cs typeface="Segoe UI" panose="020B0502040204020203" pitchFamily="34" charset="0"/>
                </a:rPr>
                <a:t>Peers² </a:t>
              </a:r>
              <a:r>
                <a:rPr lang="pt-BR" sz="1200" b="1" spc="0">
                  <a:latin typeface="Segoe UI" panose="020B0502040204020203" pitchFamily="34" charset="0"/>
                  <a:cs typeface="Segoe UI" panose="020B0502040204020203" pitchFamily="34" charset="0"/>
                </a:rPr>
                <a:t>13.4%</a:t>
              </a:r>
            </a:p>
          </p:txBody>
        </p:sp>
        <p:sp>
          <p:nvSpPr>
            <p:cNvPr id="87" name="Retângulo: Cantos Arredondados 86">
              <a:extLst>
                <a:ext uri="{FF2B5EF4-FFF2-40B4-BE49-F238E27FC236}">
                  <a16:creationId xmlns:a16="http://schemas.microsoft.com/office/drawing/2014/main" id="{D380C04B-B738-D22F-1A03-6DE9B8770E78}"/>
                </a:ext>
              </a:extLst>
            </p:cNvPr>
            <p:cNvSpPr/>
            <p:nvPr/>
          </p:nvSpPr>
          <p:spPr>
            <a:xfrm>
              <a:off x="6441307" y="2618515"/>
              <a:ext cx="1098488" cy="257424"/>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200">
                <a:solidFill>
                  <a:schemeClr val="bg1"/>
                </a:solidFill>
                <a:latin typeface="Segoe UI" panose="020B0502040204020203" pitchFamily="34" charset="0"/>
                <a:cs typeface="Segoe UI" panose="020B0502040204020203" pitchFamily="34" charset="0"/>
              </a:endParaRPr>
            </a:p>
          </p:txBody>
        </p:sp>
        <p:sp>
          <p:nvSpPr>
            <p:cNvPr id="88" name="CaixaDeTexto 87">
              <a:extLst>
                <a:ext uri="{FF2B5EF4-FFF2-40B4-BE49-F238E27FC236}">
                  <a16:creationId xmlns:a16="http://schemas.microsoft.com/office/drawing/2014/main" id="{352587A1-6E38-B512-CB1A-A88A419B7A13}"/>
                </a:ext>
              </a:extLst>
            </p:cNvPr>
            <p:cNvSpPr txBox="1"/>
            <p:nvPr/>
          </p:nvSpPr>
          <p:spPr>
            <a:xfrm>
              <a:off x="6360277" y="2638207"/>
              <a:ext cx="1252176"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lang="pt-BR" sz="1200" spc="0">
                  <a:latin typeface="Segoe UI" panose="020B0502040204020203" pitchFamily="34" charset="0"/>
                  <a:cs typeface="Segoe UI" panose="020B0502040204020203" pitchFamily="34" charset="0"/>
                </a:rPr>
                <a:t>Ibovespa </a:t>
              </a:r>
              <a:r>
                <a:rPr lang="pt-BR" sz="1200" b="1" spc="0">
                  <a:latin typeface="Segoe UI" panose="020B0502040204020203" pitchFamily="34" charset="0"/>
                  <a:cs typeface="Segoe UI" panose="020B0502040204020203" pitchFamily="34" charset="0"/>
                </a:rPr>
                <a:t>6.8%</a:t>
              </a:r>
            </a:p>
          </p:txBody>
        </p:sp>
        <p:grpSp>
          <p:nvGrpSpPr>
            <p:cNvPr id="89" name="Agrupar 88">
              <a:extLst>
                <a:ext uri="{FF2B5EF4-FFF2-40B4-BE49-F238E27FC236}">
                  <a16:creationId xmlns:a16="http://schemas.microsoft.com/office/drawing/2014/main" id="{ED68E408-05DC-7234-EB50-53873D1A5744}"/>
                </a:ext>
              </a:extLst>
            </p:cNvPr>
            <p:cNvGrpSpPr/>
            <p:nvPr/>
          </p:nvGrpSpPr>
          <p:grpSpPr>
            <a:xfrm>
              <a:off x="7569101" y="2316145"/>
              <a:ext cx="1098488" cy="259758"/>
              <a:chOff x="3212028" y="191775"/>
              <a:chExt cx="913214" cy="342479"/>
            </a:xfrm>
          </p:grpSpPr>
          <p:sp>
            <p:nvSpPr>
              <p:cNvPr id="90" name="Retângulo: Cantos Arredondados 89">
                <a:extLst>
                  <a:ext uri="{FF2B5EF4-FFF2-40B4-BE49-F238E27FC236}">
                    <a16:creationId xmlns:a16="http://schemas.microsoft.com/office/drawing/2014/main" id="{F95AF076-0C5E-D44D-45BD-E978AF28025D}"/>
                  </a:ext>
                </a:extLst>
              </p:cNvPr>
              <p:cNvSpPr/>
              <p:nvPr/>
            </p:nvSpPr>
            <p:spPr>
              <a:xfrm>
                <a:off x="3212028" y="191775"/>
                <a:ext cx="913214" cy="33940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200">
                  <a:solidFill>
                    <a:schemeClr val="bg1"/>
                  </a:solidFill>
                  <a:latin typeface="Segoe UI" panose="020B0502040204020203" pitchFamily="34" charset="0"/>
                  <a:cs typeface="Segoe UI" panose="020B0502040204020203" pitchFamily="34" charset="0"/>
                </a:endParaRPr>
              </a:p>
            </p:txBody>
          </p:sp>
          <p:sp>
            <p:nvSpPr>
              <p:cNvPr id="91" name="CaixaDeTexto 90">
                <a:extLst>
                  <a:ext uri="{FF2B5EF4-FFF2-40B4-BE49-F238E27FC236}">
                    <a16:creationId xmlns:a16="http://schemas.microsoft.com/office/drawing/2014/main" id="{F76E5A7E-0BB9-4283-73C8-FAD77227B42F}"/>
                  </a:ext>
                </a:extLst>
              </p:cNvPr>
              <p:cNvSpPr txBox="1"/>
              <p:nvPr/>
            </p:nvSpPr>
            <p:spPr>
              <a:xfrm>
                <a:off x="3233859" y="217738"/>
                <a:ext cx="834174" cy="31651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lang="pt-BR" sz="1200" spc="0">
                    <a:latin typeface="Segoe UI" panose="020B0502040204020203" pitchFamily="34" charset="0"/>
                    <a:cs typeface="Segoe UI" panose="020B0502040204020203" pitchFamily="34" charset="0"/>
                  </a:rPr>
                  <a:t>CDI </a:t>
                </a:r>
                <a:r>
                  <a:rPr lang="pt-BR" sz="1200" b="1" spc="0">
                    <a:latin typeface="Segoe UI" panose="020B0502040204020203" pitchFamily="34" charset="0"/>
                    <a:cs typeface="Segoe UI" panose="020B0502040204020203" pitchFamily="34" charset="0"/>
                  </a:rPr>
                  <a:t>9.0%</a:t>
                </a:r>
              </a:p>
            </p:txBody>
          </p:sp>
        </p:grpSp>
        <p:grpSp>
          <p:nvGrpSpPr>
            <p:cNvPr id="92" name="Agrupar 91">
              <a:extLst>
                <a:ext uri="{FF2B5EF4-FFF2-40B4-BE49-F238E27FC236}">
                  <a16:creationId xmlns:a16="http://schemas.microsoft.com/office/drawing/2014/main" id="{C9207D6B-CF7A-CCE9-A5AD-56773314F390}"/>
                </a:ext>
              </a:extLst>
            </p:cNvPr>
            <p:cNvGrpSpPr/>
            <p:nvPr/>
          </p:nvGrpSpPr>
          <p:grpSpPr>
            <a:xfrm>
              <a:off x="7569101" y="2618515"/>
              <a:ext cx="1098488" cy="259758"/>
              <a:chOff x="3212028" y="191775"/>
              <a:chExt cx="913214" cy="342479"/>
            </a:xfrm>
          </p:grpSpPr>
          <p:sp>
            <p:nvSpPr>
              <p:cNvPr id="93" name="Retângulo: Cantos Arredondados 92">
                <a:extLst>
                  <a:ext uri="{FF2B5EF4-FFF2-40B4-BE49-F238E27FC236}">
                    <a16:creationId xmlns:a16="http://schemas.microsoft.com/office/drawing/2014/main" id="{10AB3B06-FC58-2DCE-2964-ED7A68FB44B6}"/>
                  </a:ext>
                </a:extLst>
              </p:cNvPr>
              <p:cNvSpPr/>
              <p:nvPr/>
            </p:nvSpPr>
            <p:spPr>
              <a:xfrm>
                <a:off x="3212028" y="191775"/>
                <a:ext cx="913214" cy="33940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200">
                  <a:solidFill>
                    <a:schemeClr val="bg1"/>
                  </a:solidFill>
                  <a:latin typeface="Segoe UI" panose="020B0502040204020203" pitchFamily="34" charset="0"/>
                  <a:cs typeface="Segoe UI" panose="020B0502040204020203" pitchFamily="34" charset="0"/>
                </a:endParaRPr>
              </a:p>
            </p:txBody>
          </p:sp>
          <p:sp>
            <p:nvSpPr>
              <p:cNvPr id="94" name="CaixaDeTexto 93">
                <a:extLst>
                  <a:ext uri="{FF2B5EF4-FFF2-40B4-BE49-F238E27FC236}">
                    <a16:creationId xmlns:a16="http://schemas.microsoft.com/office/drawing/2014/main" id="{54BDEBAB-C4EC-ED3C-2636-85A1770C7A1B}"/>
                  </a:ext>
                </a:extLst>
              </p:cNvPr>
              <p:cNvSpPr txBox="1"/>
              <p:nvPr/>
            </p:nvSpPr>
            <p:spPr>
              <a:xfrm>
                <a:off x="3233859" y="217738"/>
                <a:ext cx="834174" cy="31651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ts val="0"/>
                  </a:spcBef>
                  <a:spcAft>
                    <a:spcPts val="0"/>
                  </a:spcAft>
                  <a:buClrTx/>
                  <a:buSzTx/>
                  <a:buFontTx/>
                  <a:buNone/>
                  <a:tabLst/>
                  <a:defRPr/>
                </a:pPr>
                <a:r>
                  <a:rPr lang="pt-BR" sz="1200" spc="0">
                    <a:latin typeface="Segoe UI" panose="020B0502040204020203" pitchFamily="34" charset="0"/>
                    <a:cs typeface="Segoe UI" panose="020B0502040204020203" pitchFamily="34" charset="0"/>
                  </a:rPr>
                  <a:t>IPCA </a:t>
                </a:r>
                <a:r>
                  <a:rPr lang="pt-BR" sz="1200" b="1" spc="0">
                    <a:latin typeface="Segoe UI" panose="020B0502040204020203" pitchFamily="34" charset="0"/>
                    <a:cs typeface="Segoe UI" panose="020B0502040204020203" pitchFamily="34" charset="0"/>
                  </a:rPr>
                  <a:t>6.1%</a:t>
                </a:r>
              </a:p>
            </p:txBody>
          </p:sp>
        </p:grpSp>
      </p:grpSp>
      <p:grpSp>
        <p:nvGrpSpPr>
          <p:cNvPr id="9" name="Agrupar 8">
            <a:extLst>
              <a:ext uri="{FF2B5EF4-FFF2-40B4-BE49-F238E27FC236}">
                <a16:creationId xmlns:a16="http://schemas.microsoft.com/office/drawing/2014/main" id="{86AE709B-CEE4-5912-4743-19DFAC8975F9}"/>
              </a:ext>
            </a:extLst>
          </p:cNvPr>
          <p:cNvGrpSpPr/>
          <p:nvPr/>
        </p:nvGrpSpPr>
        <p:grpSpPr>
          <a:xfrm>
            <a:off x="607363" y="1223453"/>
            <a:ext cx="7526486" cy="1920931"/>
            <a:chOff x="1278504" y="919265"/>
            <a:chExt cx="6200588" cy="2194229"/>
          </a:xfrm>
        </p:grpSpPr>
        <p:graphicFrame>
          <p:nvGraphicFramePr>
            <p:cNvPr id="10" name="Gráfico 9">
              <a:extLst>
                <a:ext uri="{FF2B5EF4-FFF2-40B4-BE49-F238E27FC236}">
                  <a16:creationId xmlns:a16="http://schemas.microsoft.com/office/drawing/2014/main" id="{08EDC292-F7A0-3469-2BD7-F8B3A5851634}"/>
                </a:ext>
              </a:extLst>
            </p:cNvPr>
            <p:cNvGraphicFramePr>
              <a:graphicFrameLocks/>
            </p:cNvGraphicFramePr>
            <p:nvPr>
              <p:extLst>
                <p:ext uri="{D42A27DB-BD31-4B8C-83A1-F6EECF244321}">
                  <p14:modId xmlns:p14="http://schemas.microsoft.com/office/powerpoint/2010/main" val="1110253138"/>
                </p:ext>
              </p:extLst>
            </p:nvPr>
          </p:nvGraphicFramePr>
          <p:xfrm>
            <a:off x="1714648" y="919265"/>
            <a:ext cx="5318781" cy="2194229"/>
          </p:xfrm>
          <a:graphic>
            <a:graphicData uri="http://schemas.openxmlformats.org/drawingml/2006/chart">
              <c:chart xmlns:c="http://schemas.openxmlformats.org/drawingml/2006/chart" xmlns:r="http://schemas.openxmlformats.org/officeDocument/2006/relationships" r:id="rId10"/>
            </a:graphicData>
          </a:graphic>
        </p:graphicFrame>
        <p:sp>
          <p:nvSpPr>
            <p:cNvPr id="13" name="CaixaDeTexto 12">
              <a:extLst>
                <a:ext uri="{FF2B5EF4-FFF2-40B4-BE49-F238E27FC236}">
                  <a16:creationId xmlns:a16="http://schemas.microsoft.com/office/drawing/2014/main" id="{A70CE1C4-5BB3-8E93-766F-942EBFFC758D}"/>
                </a:ext>
              </a:extLst>
            </p:cNvPr>
            <p:cNvSpPr txBox="1"/>
            <p:nvPr/>
          </p:nvSpPr>
          <p:spPr>
            <a:xfrm>
              <a:off x="1278504" y="2157580"/>
              <a:ext cx="718018" cy="26015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100" b="1" spc="0">
                  <a:solidFill>
                    <a:srgbClr val="011F57"/>
                  </a:solidFill>
                  <a:latin typeface="Segoe UI" panose="020B0502040204020203" pitchFamily="34" charset="0"/>
                  <a:cs typeface="Segoe UI" panose="020B0502040204020203" pitchFamily="34" charset="0"/>
                </a:rPr>
                <a:t>1000</a:t>
              </a:r>
            </a:p>
          </p:txBody>
        </p:sp>
        <p:sp>
          <p:nvSpPr>
            <p:cNvPr id="14" name="CaixaDeTexto 13">
              <a:extLst>
                <a:ext uri="{FF2B5EF4-FFF2-40B4-BE49-F238E27FC236}">
                  <a16:creationId xmlns:a16="http://schemas.microsoft.com/office/drawing/2014/main" id="{EC1E4400-E9E8-8A70-8FA4-082D296DFC2B}"/>
                </a:ext>
              </a:extLst>
            </p:cNvPr>
            <p:cNvSpPr txBox="1"/>
            <p:nvPr/>
          </p:nvSpPr>
          <p:spPr>
            <a:xfrm>
              <a:off x="6761074" y="1153566"/>
              <a:ext cx="718018" cy="27422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200" b="1" spc="0" dirty="0">
                  <a:solidFill>
                    <a:srgbClr val="1071EE"/>
                  </a:solidFill>
                  <a:latin typeface="Segoe UI" panose="020B0502040204020203" pitchFamily="34" charset="0"/>
                  <a:cs typeface="Segoe UI" panose="020B0502040204020203" pitchFamily="34" charset="0"/>
                </a:rPr>
                <a:t>4.869</a:t>
              </a:r>
            </a:p>
          </p:txBody>
        </p:sp>
        <p:sp>
          <p:nvSpPr>
            <p:cNvPr id="15" name="CaixaDeTexto 14">
              <a:extLst>
                <a:ext uri="{FF2B5EF4-FFF2-40B4-BE49-F238E27FC236}">
                  <a16:creationId xmlns:a16="http://schemas.microsoft.com/office/drawing/2014/main" id="{07707A17-B1A1-8161-4786-2655E866E754}"/>
                </a:ext>
              </a:extLst>
            </p:cNvPr>
            <p:cNvSpPr txBox="1"/>
            <p:nvPr/>
          </p:nvSpPr>
          <p:spPr>
            <a:xfrm>
              <a:off x="6751555" y="1611309"/>
              <a:ext cx="718018" cy="27422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200" b="1" spc="0" dirty="0">
                  <a:solidFill>
                    <a:srgbClr val="F66727"/>
                  </a:solidFill>
                  <a:latin typeface="Segoe UI" panose="020B0502040204020203" pitchFamily="34" charset="0"/>
                  <a:cs typeface="Segoe UI" panose="020B0502040204020203" pitchFamily="34" charset="0"/>
                </a:rPr>
                <a:t>2.461</a:t>
              </a:r>
            </a:p>
          </p:txBody>
        </p:sp>
      </p:grpSp>
      <p:grpSp>
        <p:nvGrpSpPr>
          <p:cNvPr id="62" name="Agrupar 61">
            <a:extLst>
              <a:ext uri="{FF2B5EF4-FFF2-40B4-BE49-F238E27FC236}">
                <a16:creationId xmlns:a16="http://schemas.microsoft.com/office/drawing/2014/main" id="{520500A1-6B8B-D0A3-8416-EC3B931688DE}"/>
              </a:ext>
            </a:extLst>
          </p:cNvPr>
          <p:cNvGrpSpPr/>
          <p:nvPr/>
        </p:nvGrpSpPr>
        <p:grpSpPr>
          <a:xfrm>
            <a:off x="6687304" y="4101616"/>
            <a:ext cx="2207893" cy="338935"/>
            <a:chOff x="6637033" y="3243348"/>
            <a:chExt cx="2207893" cy="338935"/>
          </a:xfrm>
        </p:grpSpPr>
        <p:sp>
          <p:nvSpPr>
            <p:cNvPr id="81" name="CaixaDeTexto 80">
              <a:extLst>
                <a:ext uri="{FF2B5EF4-FFF2-40B4-BE49-F238E27FC236}">
                  <a16:creationId xmlns:a16="http://schemas.microsoft.com/office/drawing/2014/main" id="{6B3AF55E-8609-3AE3-56DC-486B56E36BDB}"/>
                </a:ext>
              </a:extLst>
            </p:cNvPr>
            <p:cNvSpPr txBox="1"/>
            <p:nvPr/>
          </p:nvSpPr>
          <p:spPr>
            <a:xfrm>
              <a:off x="6637033" y="3243348"/>
              <a:ext cx="1719226" cy="183255"/>
            </a:xfrm>
            <a:prstGeom prst="rect">
              <a:avLst/>
            </a:prstGeom>
            <a:noFill/>
          </p:spPr>
          <p:txBody>
            <a:bodyPr wrap="square" anchor="b">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pt-BR" sz="591" b="0" i="0" u="none" strike="noStrike" kern="1200" cap="none" spc="0" normalizeH="0" baseline="0" noProof="0">
                  <a:ln>
                    <a:noFill/>
                  </a:ln>
                  <a:solidFill>
                    <a:srgbClr val="011F57"/>
                  </a:solidFill>
                  <a:effectLst/>
                  <a:uLnTx/>
                  <a:uFillTx/>
                  <a:latin typeface="Segoe UI" panose="020B0502040204020203" pitchFamily="34" charset="0"/>
                  <a:cs typeface="Segoe UI" panose="020B0502040204020203" pitchFamily="34" charset="0"/>
                </a:rPr>
                <a:t>¹  consider reinvestment of dividends</a:t>
              </a:r>
              <a:endParaRPr kumimoji="0" lang="pt-BR" sz="591" b="0" i="0" u="none" strike="noStrike" kern="1200" cap="none" spc="0" normalizeH="0" baseline="0" noProof="0" dirty="0">
                <a:ln>
                  <a:noFill/>
                </a:ln>
                <a:solidFill>
                  <a:srgbClr val="011F57"/>
                </a:solidFill>
                <a:effectLst/>
                <a:uLnTx/>
                <a:uFillTx/>
                <a:latin typeface="Segoe UI" panose="020B0502040204020203" pitchFamily="34" charset="0"/>
                <a:cs typeface="Segoe UI" panose="020B0502040204020203" pitchFamily="34" charset="0"/>
              </a:endParaRPr>
            </a:p>
          </p:txBody>
        </p:sp>
        <p:sp>
          <p:nvSpPr>
            <p:cNvPr id="30" name="CaixaDeTexto 29">
              <a:extLst>
                <a:ext uri="{FF2B5EF4-FFF2-40B4-BE49-F238E27FC236}">
                  <a16:creationId xmlns:a16="http://schemas.microsoft.com/office/drawing/2014/main" id="{0C3D23D6-289A-5BC1-5900-0D00CCC7B6E2}"/>
                </a:ext>
              </a:extLst>
            </p:cNvPr>
            <p:cNvSpPr txBox="1"/>
            <p:nvPr/>
          </p:nvSpPr>
          <p:spPr>
            <a:xfrm>
              <a:off x="6637033" y="3399028"/>
              <a:ext cx="2207893" cy="183255"/>
            </a:xfrm>
            <a:prstGeom prst="rect">
              <a:avLst/>
            </a:prstGeom>
            <a:noFill/>
          </p:spPr>
          <p:txBody>
            <a:bodyPr wrap="square">
              <a:spAutoFit/>
            </a:bodyPr>
            <a:lstStyle/>
            <a:p>
              <a:r>
                <a:rPr lang="pt-BR" sz="591" dirty="0">
                  <a:solidFill>
                    <a:srgbClr val="011F57"/>
                  </a:solidFill>
                  <a:latin typeface="Segoe UI" panose="020B0502040204020203" pitchFamily="34" charset="0"/>
                  <a:cs typeface="Segoe UI" panose="020B0502040204020203" pitchFamily="34" charset="0"/>
                </a:rPr>
                <a:t>² Exclusive </a:t>
              </a:r>
              <a:r>
                <a:rPr lang="pt-BR" sz="591" dirty="0" err="1">
                  <a:solidFill>
                    <a:srgbClr val="011F57"/>
                  </a:solidFill>
                  <a:latin typeface="Segoe UI" panose="020B0502040204020203" pitchFamily="34" charset="0"/>
                  <a:cs typeface="Segoe UI" panose="020B0502040204020203" pitchFamily="34" charset="0"/>
                </a:rPr>
                <a:t>energy</a:t>
              </a:r>
              <a:r>
                <a:rPr lang="pt-BR" sz="591" dirty="0">
                  <a:solidFill>
                    <a:srgbClr val="011F57"/>
                  </a:solidFill>
                  <a:latin typeface="Segoe UI" panose="020B0502040204020203" pitchFamily="34" charset="0"/>
                  <a:cs typeface="Segoe UI" panose="020B0502040204020203" pitchFamily="34" charset="0"/>
                </a:rPr>
                <a:t> </a:t>
              </a:r>
              <a:r>
                <a:rPr lang="pt-BR" sz="591" dirty="0" err="1">
                  <a:solidFill>
                    <a:srgbClr val="011F57"/>
                  </a:solidFill>
                  <a:latin typeface="Segoe UI" panose="020B0502040204020203" pitchFamily="34" charset="0"/>
                  <a:cs typeface="Segoe UI" panose="020B0502040204020203" pitchFamily="34" charset="0"/>
                </a:rPr>
                <a:t>transmission</a:t>
              </a:r>
              <a:r>
                <a:rPr lang="pt-BR" sz="591" dirty="0">
                  <a:solidFill>
                    <a:srgbClr val="011F57"/>
                  </a:solidFill>
                  <a:latin typeface="Segoe UI" panose="020B0502040204020203" pitchFamily="34" charset="0"/>
                  <a:cs typeface="Segoe UI" panose="020B0502040204020203" pitchFamily="34" charset="0"/>
                </a:rPr>
                <a:t> </a:t>
              </a:r>
              <a:r>
                <a:rPr lang="pt-BR" sz="591" dirty="0" err="1">
                  <a:solidFill>
                    <a:srgbClr val="011F57"/>
                  </a:solidFill>
                  <a:latin typeface="Segoe UI" panose="020B0502040204020203" pitchFamily="34" charset="0"/>
                  <a:cs typeface="Segoe UI" panose="020B0502040204020203" pitchFamily="34" charset="0"/>
                </a:rPr>
                <a:t>market</a:t>
              </a:r>
              <a:r>
                <a:rPr lang="pt-BR" sz="591" dirty="0">
                  <a:solidFill>
                    <a:srgbClr val="011F57"/>
                  </a:solidFill>
                  <a:latin typeface="Segoe UI" panose="020B0502040204020203" pitchFamily="34" charset="0"/>
                  <a:cs typeface="Segoe UI" panose="020B0502040204020203" pitchFamily="34" charset="0"/>
                </a:rPr>
                <a:t> </a:t>
              </a:r>
              <a:r>
                <a:rPr lang="pt-BR" sz="591" dirty="0" err="1">
                  <a:solidFill>
                    <a:srgbClr val="011F57"/>
                  </a:solidFill>
                  <a:latin typeface="Segoe UI" panose="020B0502040204020203" pitchFamily="34" charset="0"/>
                  <a:cs typeface="Segoe UI" panose="020B0502040204020203" pitchFamily="34" charset="0"/>
                </a:rPr>
                <a:t>peers</a:t>
              </a:r>
              <a:endParaRPr lang="pt-BR" sz="591" dirty="0">
                <a:solidFill>
                  <a:srgbClr val="011F57"/>
                </a:solidFill>
                <a:latin typeface="Segoe UI" panose="020B0502040204020203" pitchFamily="34" charset="0"/>
                <a:cs typeface="Segoe UI" panose="020B0502040204020203" pitchFamily="34" charset="0"/>
              </a:endParaRPr>
            </a:p>
          </p:txBody>
        </p:sp>
      </p:grpSp>
      <p:grpSp>
        <p:nvGrpSpPr>
          <p:cNvPr id="16" name="Agrupar 15">
            <a:extLst>
              <a:ext uri="{FF2B5EF4-FFF2-40B4-BE49-F238E27FC236}">
                <a16:creationId xmlns:a16="http://schemas.microsoft.com/office/drawing/2014/main" id="{26FAB52F-EDE2-8DBF-D390-78A452F703D4}"/>
              </a:ext>
            </a:extLst>
          </p:cNvPr>
          <p:cNvGrpSpPr/>
          <p:nvPr/>
        </p:nvGrpSpPr>
        <p:grpSpPr>
          <a:xfrm>
            <a:off x="225728" y="108650"/>
            <a:ext cx="302808" cy="354080"/>
            <a:chOff x="225728" y="108650"/>
            <a:chExt cx="302808" cy="354080"/>
          </a:xfrm>
        </p:grpSpPr>
        <p:sp>
          <p:nvSpPr>
            <p:cNvPr id="17" name="Forma Livre: Forma 16">
              <a:extLst>
                <a:ext uri="{FF2B5EF4-FFF2-40B4-BE49-F238E27FC236}">
                  <a16:creationId xmlns:a16="http://schemas.microsoft.com/office/drawing/2014/main" id="{855ED99A-3674-45A3-A364-BB37A9A5C726}"/>
                </a:ext>
              </a:extLst>
            </p:cNvPr>
            <p:cNvSpPr/>
            <p:nvPr/>
          </p:nvSpPr>
          <p:spPr>
            <a:xfrm>
              <a:off x="225728" y="108650"/>
              <a:ext cx="302808" cy="334423"/>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a:p>
          </p:txBody>
        </p:sp>
        <p:sp>
          <p:nvSpPr>
            <p:cNvPr id="31" name="CaixaDeTexto 30">
              <a:extLst>
                <a:ext uri="{FF2B5EF4-FFF2-40B4-BE49-F238E27FC236}">
                  <a16:creationId xmlns:a16="http://schemas.microsoft.com/office/drawing/2014/main" id="{90AA2FA3-E898-29D4-6102-FC4A7B051DF5}"/>
                </a:ext>
              </a:extLst>
            </p:cNvPr>
            <p:cNvSpPr txBox="1"/>
            <p:nvPr/>
          </p:nvSpPr>
          <p:spPr>
            <a:xfrm>
              <a:off x="339059" y="187270"/>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6</a:t>
              </a:r>
            </a:p>
          </p:txBody>
        </p:sp>
      </p:grpSp>
      <p:grpSp>
        <p:nvGrpSpPr>
          <p:cNvPr id="35" name="Agrupar 34">
            <a:extLst>
              <a:ext uri="{FF2B5EF4-FFF2-40B4-BE49-F238E27FC236}">
                <a16:creationId xmlns:a16="http://schemas.microsoft.com/office/drawing/2014/main" id="{01212E24-369A-E7EE-0215-62171CD3B6EA}"/>
              </a:ext>
            </a:extLst>
          </p:cNvPr>
          <p:cNvGrpSpPr/>
          <p:nvPr/>
        </p:nvGrpSpPr>
        <p:grpSpPr>
          <a:xfrm>
            <a:off x="1440068" y="461609"/>
            <a:ext cx="7373342" cy="721526"/>
            <a:chOff x="1861629" y="348863"/>
            <a:chExt cx="5551973" cy="721526"/>
          </a:xfrm>
        </p:grpSpPr>
        <p:sp>
          <p:nvSpPr>
            <p:cNvPr id="33" name="CaixaDeTexto 32">
              <a:extLst>
                <a:ext uri="{FF2B5EF4-FFF2-40B4-BE49-F238E27FC236}">
                  <a16:creationId xmlns:a16="http://schemas.microsoft.com/office/drawing/2014/main" id="{ECD05BB1-358D-CF3C-63DE-004390BD13FC}"/>
                </a:ext>
              </a:extLst>
            </p:cNvPr>
            <p:cNvSpPr txBox="1"/>
            <p:nvPr/>
          </p:nvSpPr>
          <p:spPr>
            <a:xfrm>
              <a:off x="1861629" y="348863"/>
              <a:ext cx="5551973" cy="510909"/>
            </a:xfrm>
            <a:prstGeom prst="rect">
              <a:avLst/>
            </a:prstGeom>
            <a:noFill/>
          </p:spPr>
          <p:txBody>
            <a:bodyPr wrap="square" rtlCol="0">
              <a:spAutoFit/>
            </a:bodyPr>
            <a:lstStyle/>
            <a:p>
              <a:pPr lvl="0" algn="ctr" defTabSz="675010">
                <a:lnSpc>
                  <a:spcPct val="85000"/>
                </a:lnSpc>
                <a:spcBef>
                  <a:spcPts val="148"/>
                </a:spcBef>
                <a:spcAft>
                  <a:spcPts val="148"/>
                </a:spcAft>
                <a:defRPr/>
              </a:pPr>
              <a:r>
                <a:rPr lang="pt-BR" sz="3200" b="1">
                  <a:solidFill>
                    <a:srgbClr val="002581"/>
                  </a:solidFill>
                  <a:latin typeface="Segoe UI Black" panose="020B0A02040204020203" pitchFamily="34" charset="0"/>
                  <a:ea typeface="Segoe UI Black" panose="020B0A02040204020203" pitchFamily="34" charset="0"/>
                  <a:cs typeface="Segoe UI" panose="020B0502040204020203" pitchFamily="34" charset="0"/>
                </a:rPr>
                <a:t>TOTAL RETURN TO SHAREHOLDER</a:t>
              </a:r>
            </a:p>
          </p:txBody>
        </p:sp>
        <p:sp>
          <p:nvSpPr>
            <p:cNvPr id="34" name="CaixaDeTexto 33">
              <a:extLst>
                <a:ext uri="{FF2B5EF4-FFF2-40B4-BE49-F238E27FC236}">
                  <a16:creationId xmlns:a16="http://schemas.microsoft.com/office/drawing/2014/main" id="{7E796499-9177-14AC-F1E8-140F7527E8A0}"/>
                </a:ext>
              </a:extLst>
            </p:cNvPr>
            <p:cNvSpPr txBox="1"/>
            <p:nvPr/>
          </p:nvSpPr>
          <p:spPr>
            <a:xfrm>
              <a:off x="2395347" y="742607"/>
              <a:ext cx="4022436" cy="327782"/>
            </a:xfrm>
            <a:prstGeom prst="rect">
              <a:avLst/>
            </a:prstGeom>
            <a:noFill/>
          </p:spPr>
          <p:txBody>
            <a:bodyPr wrap="square" rtlCol="0">
              <a:spAutoFit/>
            </a:bodyPr>
            <a:lstStyle>
              <a:defPPr>
                <a:defRPr lang="en-US"/>
              </a:defPPr>
              <a:lvl1pPr lvl="0" algn="ctr" defTabSz="675010">
                <a:lnSpc>
                  <a:spcPct val="85000"/>
                </a:lnSpc>
                <a:spcBef>
                  <a:spcPts val="148"/>
                </a:spcBef>
                <a:spcAft>
                  <a:spcPts val="148"/>
                </a:spcAft>
                <a:defRPr sz="2400"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r>
                <a:rPr lang="pt-BR" sz="1800"/>
                <a:t>IN THE LAST DECADE¹</a:t>
              </a:r>
            </a:p>
          </p:txBody>
        </p:sp>
      </p:grpSp>
      <p:grpSp>
        <p:nvGrpSpPr>
          <p:cNvPr id="36" name="Agrupar 35">
            <a:extLst>
              <a:ext uri="{FF2B5EF4-FFF2-40B4-BE49-F238E27FC236}">
                <a16:creationId xmlns:a16="http://schemas.microsoft.com/office/drawing/2014/main" id="{6DEFD8DC-52CC-1188-F1E4-27E40D87CC1A}"/>
              </a:ext>
            </a:extLst>
          </p:cNvPr>
          <p:cNvGrpSpPr/>
          <p:nvPr/>
        </p:nvGrpSpPr>
        <p:grpSpPr>
          <a:xfrm>
            <a:off x="188900" y="4418309"/>
            <a:ext cx="8624510" cy="356656"/>
            <a:chOff x="51399" y="4501191"/>
            <a:chExt cx="8899511" cy="368027"/>
          </a:xfrm>
        </p:grpSpPr>
        <p:pic>
          <p:nvPicPr>
            <p:cNvPr id="37" name="Imagem 36" descr="Logotipo&#10;&#10;Descrição gerada automaticamente">
              <a:extLst>
                <a:ext uri="{FF2B5EF4-FFF2-40B4-BE49-F238E27FC236}">
                  <a16:creationId xmlns:a16="http://schemas.microsoft.com/office/drawing/2014/main" id="{8CAB82B7-72CB-F13B-5ABF-5F5B9BC0F18F}"/>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1399" y="4506040"/>
              <a:ext cx="1032803" cy="363178"/>
            </a:xfrm>
            <a:prstGeom prst="rect">
              <a:avLst/>
            </a:prstGeom>
          </p:spPr>
        </p:pic>
        <p:pic>
          <p:nvPicPr>
            <p:cNvPr id="38" name="Imagem 37" descr="Logotipo&#10;&#10;Descrição gerada automaticamente">
              <a:extLst>
                <a:ext uri="{FF2B5EF4-FFF2-40B4-BE49-F238E27FC236}">
                  <a16:creationId xmlns:a16="http://schemas.microsoft.com/office/drawing/2014/main" id="{E86F3568-8CAA-130B-09CF-E866EF8B563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2627802" y="4504996"/>
              <a:ext cx="1170922" cy="363178"/>
            </a:xfrm>
            <a:prstGeom prst="rect">
              <a:avLst/>
            </a:prstGeom>
          </p:spPr>
        </p:pic>
        <p:pic>
          <p:nvPicPr>
            <p:cNvPr id="39" name="Imagem 38" descr="Logotipo&#10;&#10;Descrição gerada automaticamente">
              <a:extLst>
                <a:ext uri="{FF2B5EF4-FFF2-40B4-BE49-F238E27FC236}">
                  <a16:creationId xmlns:a16="http://schemas.microsoft.com/office/drawing/2014/main" id="{311C7182-354A-E164-E5D6-4339B88325AF}"/>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341707" y="4505424"/>
              <a:ext cx="1032803" cy="363794"/>
            </a:xfrm>
            <a:prstGeom prst="rect">
              <a:avLst/>
            </a:prstGeom>
          </p:spPr>
        </p:pic>
        <p:pic>
          <p:nvPicPr>
            <p:cNvPr id="40" name="Imagem 39" descr="Logotipo&#10;&#10;Descrição gerada automaticamente">
              <a:extLst>
                <a:ext uri="{FF2B5EF4-FFF2-40B4-BE49-F238E27FC236}">
                  <a16:creationId xmlns:a16="http://schemas.microsoft.com/office/drawing/2014/main" id="{7F1E0129-5EC9-733F-88C8-43CD07A9B96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10200" y="4504438"/>
              <a:ext cx="1032803" cy="363178"/>
            </a:xfrm>
            <a:prstGeom prst="rect">
              <a:avLst/>
            </a:prstGeom>
          </p:spPr>
        </p:pic>
        <p:pic>
          <p:nvPicPr>
            <p:cNvPr id="41" name="Imagem 40" descr="Ícone&#10;&#10;Descrição gerada automaticamente">
              <a:extLst>
                <a:ext uri="{FF2B5EF4-FFF2-40B4-BE49-F238E27FC236}">
                  <a16:creationId xmlns:a16="http://schemas.microsoft.com/office/drawing/2014/main" id="{B31DDDB8-82B9-DE3F-1260-166BD74661F5}"/>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769001" y="4504542"/>
              <a:ext cx="1032803" cy="363178"/>
            </a:xfrm>
            <a:prstGeom prst="rect">
              <a:avLst/>
            </a:prstGeom>
          </p:spPr>
        </p:pic>
        <p:pic>
          <p:nvPicPr>
            <p:cNvPr id="42" name="Imagem 41" descr="Logotipo&#10;&#10;Descrição gerada automaticamente">
              <a:extLst>
                <a:ext uri="{FF2B5EF4-FFF2-40B4-BE49-F238E27FC236}">
                  <a16:creationId xmlns:a16="http://schemas.microsoft.com/office/drawing/2014/main" id="{D52A781A-4910-17EF-A8E0-60B744EE3CA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059309" y="4504438"/>
              <a:ext cx="1032803" cy="363178"/>
            </a:xfrm>
            <a:prstGeom prst="rect">
              <a:avLst/>
            </a:prstGeom>
          </p:spPr>
        </p:pic>
        <p:pic>
          <p:nvPicPr>
            <p:cNvPr id="43" name="Imagem 42" descr="Logotipo&#10;&#10;Descrição gerada automaticamente">
              <a:extLst>
                <a:ext uri="{FF2B5EF4-FFF2-40B4-BE49-F238E27FC236}">
                  <a16:creationId xmlns:a16="http://schemas.microsoft.com/office/drawing/2014/main" id="{85EA9AF5-2E84-B8FC-EA5B-FA864448E0BF}"/>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7918107" y="4504926"/>
              <a:ext cx="1032803" cy="363178"/>
            </a:xfrm>
            <a:prstGeom prst="rect">
              <a:avLst/>
            </a:prstGeom>
          </p:spPr>
        </p:pic>
        <p:pic>
          <p:nvPicPr>
            <p:cNvPr id="48" name="Imagem 47" descr="Logotipo&#10;&#10;Descrição gerada automaticamente">
              <a:extLst>
                <a:ext uri="{FF2B5EF4-FFF2-40B4-BE49-F238E27FC236}">
                  <a16:creationId xmlns:a16="http://schemas.microsoft.com/office/drawing/2014/main" id="{07065750-1E3D-6F6F-F993-1C9DE18A8953}"/>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624722" y="4501430"/>
              <a:ext cx="1032186" cy="363177"/>
            </a:xfrm>
            <a:prstGeom prst="rect">
              <a:avLst/>
            </a:prstGeom>
          </p:spPr>
        </p:pic>
        <p:pic>
          <p:nvPicPr>
            <p:cNvPr id="49" name="Imagem 48" descr="Logotipo&#10;&#10;Descrição gerada automaticamente">
              <a:extLst>
                <a:ext uri="{FF2B5EF4-FFF2-40B4-BE49-F238E27FC236}">
                  <a16:creationId xmlns:a16="http://schemas.microsoft.com/office/drawing/2014/main" id="{64ECCEC5-BCB8-6737-65BD-9694E8F2DB2C}"/>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482906" y="4504229"/>
              <a:ext cx="1032803" cy="363177"/>
            </a:xfrm>
            <a:prstGeom prst="rect">
              <a:avLst/>
            </a:prstGeom>
          </p:spPr>
        </p:pic>
        <p:pic>
          <p:nvPicPr>
            <p:cNvPr id="50" name="Imagem 49" descr="Ícone&#10;&#10;Descrição gerada automaticamente">
              <a:extLst>
                <a:ext uri="{FF2B5EF4-FFF2-40B4-BE49-F238E27FC236}">
                  <a16:creationId xmlns:a16="http://schemas.microsoft.com/office/drawing/2014/main" id="{88836304-987E-BAD3-F1C9-35173547F155}"/>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200508" y="4501191"/>
              <a:ext cx="1032803" cy="363794"/>
            </a:xfrm>
            <a:prstGeom prst="rect">
              <a:avLst/>
            </a:prstGeom>
          </p:spPr>
        </p:pic>
      </p:grpSp>
      <p:grpSp>
        <p:nvGrpSpPr>
          <p:cNvPr id="3" name="Agrupar 2">
            <a:extLst>
              <a:ext uri="{FF2B5EF4-FFF2-40B4-BE49-F238E27FC236}">
                <a16:creationId xmlns:a16="http://schemas.microsoft.com/office/drawing/2014/main" id="{01521403-9360-A539-7ED3-66820F7818FE}"/>
              </a:ext>
            </a:extLst>
          </p:cNvPr>
          <p:cNvGrpSpPr/>
          <p:nvPr/>
        </p:nvGrpSpPr>
        <p:grpSpPr>
          <a:xfrm>
            <a:off x="284631" y="3133705"/>
            <a:ext cx="635407" cy="570019"/>
            <a:chOff x="284631" y="3133705"/>
            <a:chExt cx="635407" cy="570019"/>
          </a:xfrm>
        </p:grpSpPr>
        <p:sp>
          <p:nvSpPr>
            <p:cNvPr id="60" name="Elipse 59">
              <a:extLst>
                <a:ext uri="{FF2B5EF4-FFF2-40B4-BE49-F238E27FC236}">
                  <a16:creationId xmlns:a16="http://schemas.microsoft.com/office/drawing/2014/main" id="{535CE66C-E3E5-19AF-DA9B-20E90715E7A5}"/>
                </a:ext>
              </a:extLst>
            </p:cNvPr>
            <p:cNvSpPr/>
            <p:nvPr/>
          </p:nvSpPr>
          <p:spPr>
            <a:xfrm>
              <a:off x="284631" y="3133705"/>
              <a:ext cx="635407" cy="570019"/>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75010"/>
              <a:endParaRPr lang="pt-BR" sz="1329">
                <a:solidFill>
                  <a:prstClr val="white"/>
                </a:solidFill>
                <a:latin typeface="Segoe UI" panose="020B0502040204020203" pitchFamily="34" charset="0"/>
                <a:cs typeface="Segoe UI" panose="020B0502040204020203" pitchFamily="34" charset="0"/>
              </a:endParaRPr>
            </a:p>
          </p:txBody>
        </p:sp>
        <p:sp>
          <p:nvSpPr>
            <p:cNvPr id="2" name="Forma Livre: Forma 1">
              <a:extLst>
                <a:ext uri="{FF2B5EF4-FFF2-40B4-BE49-F238E27FC236}">
                  <a16:creationId xmlns:a16="http://schemas.microsoft.com/office/drawing/2014/main" id="{56C7AC39-40E3-322A-6A32-CC7A48D37F8C}"/>
                </a:ext>
              </a:extLst>
            </p:cNvPr>
            <p:cNvSpPr/>
            <p:nvPr/>
          </p:nvSpPr>
          <p:spPr>
            <a:xfrm>
              <a:off x="387175" y="3278990"/>
              <a:ext cx="467182" cy="257424"/>
            </a:xfrm>
            <a:custGeom>
              <a:avLst/>
              <a:gdLst>
                <a:gd name="connsiteX0" fmla="*/ 230505 w 914400"/>
                <a:gd name="connsiteY0" fmla="*/ 230505 h 461962"/>
                <a:gd name="connsiteX1" fmla="*/ 371475 w 914400"/>
                <a:gd name="connsiteY1" fmla="*/ 371475 h 461962"/>
                <a:gd name="connsiteX2" fmla="*/ 513398 w 914400"/>
                <a:gd name="connsiteY2" fmla="*/ 230505 h 461962"/>
                <a:gd name="connsiteX3" fmla="*/ 372428 w 914400"/>
                <a:gd name="connsiteY3" fmla="*/ 89535 h 461962"/>
                <a:gd name="connsiteX4" fmla="*/ 230505 w 914400"/>
                <a:gd name="connsiteY4" fmla="*/ 230505 h 461962"/>
                <a:gd name="connsiteX5" fmla="*/ 384810 w 914400"/>
                <a:gd name="connsiteY5" fmla="*/ 145733 h 461962"/>
                <a:gd name="connsiteX6" fmla="*/ 393383 w 914400"/>
                <a:gd name="connsiteY6" fmla="*/ 155258 h 461962"/>
                <a:gd name="connsiteX7" fmla="*/ 412433 w 914400"/>
                <a:gd name="connsiteY7" fmla="*/ 160973 h 461962"/>
                <a:gd name="connsiteX8" fmla="*/ 416243 w 914400"/>
                <a:gd name="connsiteY8" fmla="*/ 168593 h 461962"/>
                <a:gd name="connsiteX9" fmla="*/ 411480 w 914400"/>
                <a:gd name="connsiteY9" fmla="*/ 183833 h 461962"/>
                <a:gd name="connsiteX10" fmla="*/ 403860 w 914400"/>
                <a:gd name="connsiteY10" fmla="*/ 187643 h 461962"/>
                <a:gd name="connsiteX11" fmla="*/ 374333 w 914400"/>
                <a:gd name="connsiteY11" fmla="*/ 181928 h 461962"/>
                <a:gd name="connsiteX12" fmla="*/ 366713 w 914400"/>
                <a:gd name="connsiteY12" fmla="*/ 183833 h 461962"/>
                <a:gd name="connsiteX13" fmla="*/ 363855 w 914400"/>
                <a:gd name="connsiteY13" fmla="*/ 203835 h 461962"/>
                <a:gd name="connsiteX14" fmla="*/ 377190 w 914400"/>
                <a:gd name="connsiteY14" fmla="*/ 211455 h 461962"/>
                <a:gd name="connsiteX15" fmla="*/ 401003 w 914400"/>
                <a:gd name="connsiteY15" fmla="*/ 221933 h 461962"/>
                <a:gd name="connsiteX16" fmla="*/ 414338 w 914400"/>
                <a:gd name="connsiteY16" fmla="*/ 286703 h 461962"/>
                <a:gd name="connsiteX17" fmla="*/ 390525 w 914400"/>
                <a:gd name="connsiteY17" fmla="*/ 301943 h 461962"/>
                <a:gd name="connsiteX18" fmla="*/ 384810 w 914400"/>
                <a:gd name="connsiteY18" fmla="*/ 309563 h 461962"/>
                <a:gd name="connsiteX19" fmla="*/ 384810 w 914400"/>
                <a:gd name="connsiteY19" fmla="*/ 321945 h 461962"/>
                <a:gd name="connsiteX20" fmla="*/ 379095 w 914400"/>
                <a:gd name="connsiteY20" fmla="*/ 327660 h 461962"/>
                <a:gd name="connsiteX21" fmla="*/ 365760 w 914400"/>
                <a:gd name="connsiteY21" fmla="*/ 327660 h 461962"/>
                <a:gd name="connsiteX22" fmla="*/ 360045 w 914400"/>
                <a:gd name="connsiteY22" fmla="*/ 321945 h 461962"/>
                <a:gd name="connsiteX23" fmla="*/ 360045 w 914400"/>
                <a:gd name="connsiteY23" fmla="*/ 312420 h 461962"/>
                <a:gd name="connsiteX24" fmla="*/ 353378 w 914400"/>
                <a:gd name="connsiteY24" fmla="*/ 304800 h 461962"/>
                <a:gd name="connsiteX25" fmla="*/ 329565 w 914400"/>
                <a:gd name="connsiteY25" fmla="*/ 298133 h 461962"/>
                <a:gd name="connsiteX26" fmla="*/ 324803 w 914400"/>
                <a:gd name="connsiteY26" fmla="*/ 287655 h 461962"/>
                <a:gd name="connsiteX27" fmla="*/ 328613 w 914400"/>
                <a:gd name="connsiteY27" fmla="*/ 273368 h 461962"/>
                <a:gd name="connsiteX28" fmla="*/ 336233 w 914400"/>
                <a:gd name="connsiteY28" fmla="*/ 269558 h 461962"/>
                <a:gd name="connsiteX29" fmla="*/ 362903 w 914400"/>
                <a:gd name="connsiteY29" fmla="*/ 277178 h 461962"/>
                <a:gd name="connsiteX30" fmla="*/ 380048 w 914400"/>
                <a:gd name="connsiteY30" fmla="*/ 275273 h 461962"/>
                <a:gd name="connsiteX31" fmla="*/ 382905 w 914400"/>
                <a:gd name="connsiteY31" fmla="*/ 251460 h 461962"/>
                <a:gd name="connsiteX32" fmla="*/ 373380 w 914400"/>
                <a:gd name="connsiteY32" fmla="*/ 245745 h 461962"/>
                <a:gd name="connsiteX33" fmla="*/ 345758 w 914400"/>
                <a:gd name="connsiteY33" fmla="*/ 233363 h 461962"/>
                <a:gd name="connsiteX34" fmla="*/ 323850 w 914400"/>
                <a:gd name="connsiteY34" fmla="*/ 196215 h 461962"/>
                <a:gd name="connsiteX35" fmla="*/ 353378 w 914400"/>
                <a:gd name="connsiteY35" fmla="*/ 159068 h 461962"/>
                <a:gd name="connsiteX36" fmla="*/ 360998 w 914400"/>
                <a:gd name="connsiteY36" fmla="*/ 148590 h 461962"/>
                <a:gd name="connsiteX37" fmla="*/ 360998 w 914400"/>
                <a:gd name="connsiteY37" fmla="*/ 140970 h 461962"/>
                <a:gd name="connsiteX38" fmla="*/ 367665 w 914400"/>
                <a:gd name="connsiteY38" fmla="*/ 134303 h 461962"/>
                <a:gd name="connsiteX39" fmla="*/ 373380 w 914400"/>
                <a:gd name="connsiteY39" fmla="*/ 134303 h 461962"/>
                <a:gd name="connsiteX40" fmla="*/ 384810 w 914400"/>
                <a:gd name="connsiteY40" fmla="*/ 145733 h 461962"/>
                <a:gd name="connsiteX41" fmla="*/ 166688 w 914400"/>
                <a:gd name="connsiteY41" fmla="*/ 191453 h 461962"/>
                <a:gd name="connsiteX42" fmla="*/ 205740 w 914400"/>
                <a:gd name="connsiteY42" fmla="*/ 230505 h 461962"/>
                <a:gd name="connsiteX43" fmla="*/ 166688 w 914400"/>
                <a:gd name="connsiteY43" fmla="*/ 269558 h 461962"/>
                <a:gd name="connsiteX44" fmla="*/ 127635 w 914400"/>
                <a:gd name="connsiteY44" fmla="*/ 230505 h 461962"/>
                <a:gd name="connsiteX45" fmla="*/ 166688 w 914400"/>
                <a:gd name="connsiteY45" fmla="*/ 191453 h 461962"/>
                <a:gd name="connsiteX46" fmla="*/ 703898 w 914400"/>
                <a:gd name="connsiteY46" fmla="*/ 85725 h 461962"/>
                <a:gd name="connsiteX47" fmla="*/ 650558 w 914400"/>
                <a:gd name="connsiteY47" fmla="*/ 132398 h 461962"/>
                <a:gd name="connsiteX48" fmla="*/ 606743 w 914400"/>
                <a:gd name="connsiteY48" fmla="*/ 70485 h 461962"/>
                <a:gd name="connsiteX49" fmla="*/ 608648 w 914400"/>
                <a:gd name="connsiteY49" fmla="*/ 54293 h 461962"/>
                <a:gd name="connsiteX50" fmla="*/ 130493 w 914400"/>
                <a:gd name="connsiteY50" fmla="*/ 54293 h 461962"/>
                <a:gd name="connsiteX51" fmla="*/ 131445 w 914400"/>
                <a:gd name="connsiteY51" fmla="*/ 66675 h 461962"/>
                <a:gd name="connsiteX52" fmla="*/ 65723 w 914400"/>
                <a:gd name="connsiteY52" fmla="*/ 132398 h 461962"/>
                <a:gd name="connsiteX53" fmla="*/ 54293 w 914400"/>
                <a:gd name="connsiteY53" fmla="*/ 131445 h 461962"/>
                <a:gd name="connsiteX54" fmla="*/ 54293 w 914400"/>
                <a:gd name="connsiteY54" fmla="*/ 329565 h 461962"/>
                <a:gd name="connsiteX55" fmla="*/ 65723 w 914400"/>
                <a:gd name="connsiteY55" fmla="*/ 328613 h 461962"/>
                <a:gd name="connsiteX56" fmla="*/ 131445 w 914400"/>
                <a:gd name="connsiteY56" fmla="*/ 394335 h 461962"/>
                <a:gd name="connsiteX57" fmla="*/ 130493 w 914400"/>
                <a:gd name="connsiteY57" fmla="*/ 406718 h 461962"/>
                <a:gd name="connsiteX58" fmla="*/ 521970 w 914400"/>
                <a:gd name="connsiteY58" fmla="*/ 406718 h 461962"/>
                <a:gd name="connsiteX59" fmla="*/ 521970 w 914400"/>
                <a:gd name="connsiteY59" fmla="*/ 446722 h 461962"/>
                <a:gd name="connsiteX60" fmla="*/ 523875 w 914400"/>
                <a:gd name="connsiteY60" fmla="*/ 461963 h 461962"/>
                <a:gd name="connsiteX61" fmla="*/ 64770 w 914400"/>
                <a:gd name="connsiteY61" fmla="*/ 461963 h 461962"/>
                <a:gd name="connsiteX62" fmla="*/ 0 w 914400"/>
                <a:gd name="connsiteY62" fmla="*/ 397193 h 461962"/>
                <a:gd name="connsiteX63" fmla="*/ 0 w 914400"/>
                <a:gd name="connsiteY63" fmla="*/ 64770 h 461962"/>
                <a:gd name="connsiteX64" fmla="*/ 64770 w 914400"/>
                <a:gd name="connsiteY64" fmla="*/ 0 h 461962"/>
                <a:gd name="connsiteX65" fmla="*/ 680085 w 914400"/>
                <a:gd name="connsiteY65" fmla="*/ 0 h 461962"/>
                <a:gd name="connsiteX66" fmla="*/ 744855 w 914400"/>
                <a:gd name="connsiteY66" fmla="*/ 64770 h 461962"/>
                <a:gd name="connsiteX67" fmla="*/ 744855 w 914400"/>
                <a:gd name="connsiteY67" fmla="*/ 85725 h 461962"/>
                <a:gd name="connsiteX68" fmla="*/ 703898 w 914400"/>
                <a:gd name="connsiteY68" fmla="*/ 85725 h 461962"/>
                <a:gd name="connsiteX69" fmla="*/ 657225 w 914400"/>
                <a:gd name="connsiteY69" fmla="*/ 247650 h 461962"/>
                <a:gd name="connsiteX70" fmla="*/ 657225 w 914400"/>
                <a:gd name="connsiteY70" fmla="*/ 445770 h 461962"/>
                <a:gd name="connsiteX71" fmla="*/ 641985 w 914400"/>
                <a:gd name="connsiteY71" fmla="*/ 461010 h 461962"/>
                <a:gd name="connsiteX72" fmla="*/ 575310 w 914400"/>
                <a:gd name="connsiteY72" fmla="*/ 461010 h 461962"/>
                <a:gd name="connsiteX73" fmla="*/ 560070 w 914400"/>
                <a:gd name="connsiteY73" fmla="*/ 445770 h 461962"/>
                <a:gd name="connsiteX74" fmla="*/ 560070 w 914400"/>
                <a:gd name="connsiteY74" fmla="*/ 247650 h 461962"/>
                <a:gd name="connsiteX75" fmla="*/ 575310 w 914400"/>
                <a:gd name="connsiteY75" fmla="*/ 232410 h 461962"/>
                <a:gd name="connsiteX76" fmla="*/ 641985 w 914400"/>
                <a:gd name="connsiteY76" fmla="*/ 232410 h 461962"/>
                <a:gd name="connsiteX77" fmla="*/ 657225 w 914400"/>
                <a:gd name="connsiteY77" fmla="*/ 247650 h 461962"/>
                <a:gd name="connsiteX78" fmla="*/ 785813 w 914400"/>
                <a:gd name="connsiteY78" fmla="*/ 139065 h 461962"/>
                <a:gd name="connsiteX79" fmla="*/ 785813 w 914400"/>
                <a:gd name="connsiteY79" fmla="*/ 445770 h 461962"/>
                <a:gd name="connsiteX80" fmla="*/ 770573 w 914400"/>
                <a:gd name="connsiteY80" fmla="*/ 461010 h 461962"/>
                <a:gd name="connsiteX81" fmla="*/ 703898 w 914400"/>
                <a:gd name="connsiteY81" fmla="*/ 461010 h 461962"/>
                <a:gd name="connsiteX82" fmla="*/ 688658 w 914400"/>
                <a:gd name="connsiteY82" fmla="*/ 445770 h 461962"/>
                <a:gd name="connsiteX83" fmla="*/ 688658 w 914400"/>
                <a:gd name="connsiteY83" fmla="*/ 139065 h 461962"/>
                <a:gd name="connsiteX84" fmla="*/ 703898 w 914400"/>
                <a:gd name="connsiteY84" fmla="*/ 123825 h 461962"/>
                <a:gd name="connsiteX85" fmla="*/ 770573 w 914400"/>
                <a:gd name="connsiteY85" fmla="*/ 123825 h 461962"/>
                <a:gd name="connsiteX86" fmla="*/ 785813 w 914400"/>
                <a:gd name="connsiteY86" fmla="*/ 139065 h 461962"/>
                <a:gd name="connsiteX87" fmla="*/ 914400 w 914400"/>
                <a:gd name="connsiteY87" fmla="*/ 316230 h 461962"/>
                <a:gd name="connsiteX88" fmla="*/ 914400 w 914400"/>
                <a:gd name="connsiteY88" fmla="*/ 445770 h 461962"/>
                <a:gd name="connsiteX89" fmla="*/ 899160 w 914400"/>
                <a:gd name="connsiteY89" fmla="*/ 461010 h 461962"/>
                <a:gd name="connsiteX90" fmla="*/ 832485 w 914400"/>
                <a:gd name="connsiteY90" fmla="*/ 461010 h 461962"/>
                <a:gd name="connsiteX91" fmla="*/ 817245 w 914400"/>
                <a:gd name="connsiteY91" fmla="*/ 445770 h 461962"/>
                <a:gd name="connsiteX92" fmla="*/ 817245 w 914400"/>
                <a:gd name="connsiteY92" fmla="*/ 316230 h 461962"/>
                <a:gd name="connsiteX93" fmla="*/ 832485 w 914400"/>
                <a:gd name="connsiteY93" fmla="*/ 300990 h 461962"/>
                <a:gd name="connsiteX94" fmla="*/ 899160 w 914400"/>
                <a:gd name="connsiteY94" fmla="*/ 300990 h 461962"/>
                <a:gd name="connsiteX95" fmla="*/ 914400 w 914400"/>
                <a:gd name="connsiteY95" fmla="*/ 316230 h 46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400" h="461962">
                  <a:moveTo>
                    <a:pt x="230505" y="230505"/>
                  </a:moveTo>
                  <a:cubicBezTo>
                    <a:pt x="230505" y="308610"/>
                    <a:pt x="293370" y="371475"/>
                    <a:pt x="371475" y="371475"/>
                  </a:cubicBezTo>
                  <a:cubicBezTo>
                    <a:pt x="449580" y="371475"/>
                    <a:pt x="513398" y="308610"/>
                    <a:pt x="513398" y="230505"/>
                  </a:cubicBezTo>
                  <a:cubicBezTo>
                    <a:pt x="513398" y="152400"/>
                    <a:pt x="450533" y="89535"/>
                    <a:pt x="372428" y="89535"/>
                  </a:cubicBezTo>
                  <a:cubicBezTo>
                    <a:pt x="294323" y="89535"/>
                    <a:pt x="230505" y="152400"/>
                    <a:pt x="230505" y="230505"/>
                  </a:cubicBezTo>
                  <a:close/>
                  <a:moveTo>
                    <a:pt x="384810" y="145733"/>
                  </a:moveTo>
                  <a:cubicBezTo>
                    <a:pt x="384810" y="154305"/>
                    <a:pt x="384810" y="154305"/>
                    <a:pt x="393383" y="155258"/>
                  </a:cubicBezTo>
                  <a:cubicBezTo>
                    <a:pt x="400050" y="156210"/>
                    <a:pt x="405765" y="158115"/>
                    <a:pt x="412433" y="160973"/>
                  </a:cubicBezTo>
                  <a:cubicBezTo>
                    <a:pt x="416243" y="162878"/>
                    <a:pt x="417195" y="164783"/>
                    <a:pt x="416243" y="168593"/>
                  </a:cubicBezTo>
                  <a:cubicBezTo>
                    <a:pt x="414338" y="173355"/>
                    <a:pt x="413385" y="179070"/>
                    <a:pt x="411480" y="183833"/>
                  </a:cubicBezTo>
                  <a:cubicBezTo>
                    <a:pt x="409575" y="188595"/>
                    <a:pt x="408623" y="189548"/>
                    <a:pt x="403860" y="187643"/>
                  </a:cubicBezTo>
                  <a:cubicBezTo>
                    <a:pt x="394335" y="182880"/>
                    <a:pt x="384810" y="180975"/>
                    <a:pt x="374333" y="181928"/>
                  </a:cubicBezTo>
                  <a:cubicBezTo>
                    <a:pt x="371475" y="181928"/>
                    <a:pt x="368618" y="182880"/>
                    <a:pt x="366713" y="183833"/>
                  </a:cubicBezTo>
                  <a:cubicBezTo>
                    <a:pt x="358140" y="187643"/>
                    <a:pt x="356235" y="198120"/>
                    <a:pt x="363855" y="203835"/>
                  </a:cubicBezTo>
                  <a:cubicBezTo>
                    <a:pt x="367665" y="206693"/>
                    <a:pt x="372428" y="209550"/>
                    <a:pt x="377190" y="211455"/>
                  </a:cubicBezTo>
                  <a:cubicBezTo>
                    <a:pt x="384810" y="214313"/>
                    <a:pt x="393383" y="218123"/>
                    <a:pt x="401003" y="221933"/>
                  </a:cubicBezTo>
                  <a:cubicBezTo>
                    <a:pt x="424815" y="235268"/>
                    <a:pt x="431483" y="265748"/>
                    <a:pt x="414338" y="286703"/>
                  </a:cubicBezTo>
                  <a:cubicBezTo>
                    <a:pt x="408623" y="294323"/>
                    <a:pt x="400050" y="299085"/>
                    <a:pt x="390525" y="301943"/>
                  </a:cubicBezTo>
                  <a:cubicBezTo>
                    <a:pt x="386715" y="302895"/>
                    <a:pt x="384810" y="304800"/>
                    <a:pt x="384810" y="309563"/>
                  </a:cubicBezTo>
                  <a:cubicBezTo>
                    <a:pt x="384810" y="313373"/>
                    <a:pt x="384810" y="318135"/>
                    <a:pt x="384810" y="321945"/>
                  </a:cubicBezTo>
                  <a:cubicBezTo>
                    <a:pt x="384810" y="325755"/>
                    <a:pt x="382905" y="327660"/>
                    <a:pt x="379095" y="327660"/>
                  </a:cubicBezTo>
                  <a:cubicBezTo>
                    <a:pt x="374333" y="327660"/>
                    <a:pt x="370523" y="327660"/>
                    <a:pt x="365760" y="327660"/>
                  </a:cubicBezTo>
                  <a:cubicBezTo>
                    <a:pt x="361950" y="327660"/>
                    <a:pt x="360045" y="325755"/>
                    <a:pt x="360045" y="321945"/>
                  </a:cubicBezTo>
                  <a:cubicBezTo>
                    <a:pt x="360045" y="319088"/>
                    <a:pt x="360045" y="316230"/>
                    <a:pt x="360045" y="312420"/>
                  </a:cubicBezTo>
                  <a:cubicBezTo>
                    <a:pt x="360045" y="305753"/>
                    <a:pt x="360045" y="305753"/>
                    <a:pt x="353378" y="304800"/>
                  </a:cubicBezTo>
                  <a:cubicBezTo>
                    <a:pt x="344805" y="303848"/>
                    <a:pt x="337185" y="301943"/>
                    <a:pt x="329565" y="298133"/>
                  </a:cubicBezTo>
                  <a:cubicBezTo>
                    <a:pt x="323850" y="295275"/>
                    <a:pt x="322898" y="293370"/>
                    <a:pt x="324803" y="287655"/>
                  </a:cubicBezTo>
                  <a:cubicBezTo>
                    <a:pt x="325755" y="282893"/>
                    <a:pt x="327660" y="278130"/>
                    <a:pt x="328613" y="273368"/>
                  </a:cubicBezTo>
                  <a:cubicBezTo>
                    <a:pt x="330518" y="267653"/>
                    <a:pt x="331470" y="267653"/>
                    <a:pt x="336233" y="269558"/>
                  </a:cubicBezTo>
                  <a:cubicBezTo>
                    <a:pt x="344805" y="274320"/>
                    <a:pt x="353378" y="276225"/>
                    <a:pt x="362903" y="277178"/>
                  </a:cubicBezTo>
                  <a:cubicBezTo>
                    <a:pt x="368618" y="278130"/>
                    <a:pt x="374333" y="277178"/>
                    <a:pt x="380048" y="275273"/>
                  </a:cubicBezTo>
                  <a:cubicBezTo>
                    <a:pt x="390525" y="270510"/>
                    <a:pt x="392430" y="259080"/>
                    <a:pt x="382905" y="251460"/>
                  </a:cubicBezTo>
                  <a:cubicBezTo>
                    <a:pt x="380048" y="248603"/>
                    <a:pt x="376238" y="247650"/>
                    <a:pt x="373380" y="245745"/>
                  </a:cubicBezTo>
                  <a:cubicBezTo>
                    <a:pt x="363855" y="241935"/>
                    <a:pt x="354330" y="239078"/>
                    <a:pt x="345758" y="233363"/>
                  </a:cubicBezTo>
                  <a:cubicBezTo>
                    <a:pt x="331470" y="224790"/>
                    <a:pt x="322898" y="213360"/>
                    <a:pt x="323850" y="196215"/>
                  </a:cubicBezTo>
                  <a:cubicBezTo>
                    <a:pt x="324803" y="177165"/>
                    <a:pt x="336233" y="164783"/>
                    <a:pt x="353378" y="159068"/>
                  </a:cubicBezTo>
                  <a:cubicBezTo>
                    <a:pt x="360998" y="156210"/>
                    <a:pt x="360998" y="156210"/>
                    <a:pt x="360998" y="148590"/>
                  </a:cubicBezTo>
                  <a:cubicBezTo>
                    <a:pt x="360998" y="145733"/>
                    <a:pt x="360998" y="143828"/>
                    <a:pt x="360998" y="140970"/>
                  </a:cubicBezTo>
                  <a:cubicBezTo>
                    <a:pt x="360998" y="135255"/>
                    <a:pt x="361950" y="134303"/>
                    <a:pt x="367665" y="134303"/>
                  </a:cubicBezTo>
                  <a:cubicBezTo>
                    <a:pt x="369570" y="134303"/>
                    <a:pt x="371475" y="134303"/>
                    <a:pt x="373380" y="134303"/>
                  </a:cubicBezTo>
                  <a:cubicBezTo>
                    <a:pt x="384810" y="133350"/>
                    <a:pt x="384810" y="133350"/>
                    <a:pt x="384810" y="145733"/>
                  </a:cubicBezTo>
                  <a:close/>
                  <a:moveTo>
                    <a:pt x="166688" y="191453"/>
                  </a:moveTo>
                  <a:cubicBezTo>
                    <a:pt x="188595" y="191453"/>
                    <a:pt x="205740" y="208598"/>
                    <a:pt x="205740" y="230505"/>
                  </a:cubicBezTo>
                  <a:cubicBezTo>
                    <a:pt x="205740" y="252413"/>
                    <a:pt x="188595" y="269558"/>
                    <a:pt x="166688" y="269558"/>
                  </a:cubicBezTo>
                  <a:cubicBezTo>
                    <a:pt x="144780" y="269558"/>
                    <a:pt x="127635" y="252413"/>
                    <a:pt x="127635" y="230505"/>
                  </a:cubicBezTo>
                  <a:cubicBezTo>
                    <a:pt x="127635" y="208598"/>
                    <a:pt x="144780" y="191453"/>
                    <a:pt x="166688" y="191453"/>
                  </a:cubicBezTo>
                  <a:close/>
                  <a:moveTo>
                    <a:pt x="703898" y="85725"/>
                  </a:moveTo>
                  <a:cubicBezTo>
                    <a:pt x="676275" y="85725"/>
                    <a:pt x="654368" y="106680"/>
                    <a:pt x="650558" y="132398"/>
                  </a:cubicBezTo>
                  <a:cubicBezTo>
                    <a:pt x="624840" y="123825"/>
                    <a:pt x="606743" y="99060"/>
                    <a:pt x="606743" y="70485"/>
                  </a:cubicBezTo>
                  <a:cubicBezTo>
                    <a:pt x="606743" y="64770"/>
                    <a:pt x="607695" y="60007"/>
                    <a:pt x="608648" y="54293"/>
                  </a:cubicBezTo>
                  <a:lnTo>
                    <a:pt x="130493" y="54293"/>
                  </a:lnTo>
                  <a:cubicBezTo>
                    <a:pt x="131445" y="58103"/>
                    <a:pt x="131445" y="61913"/>
                    <a:pt x="131445" y="66675"/>
                  </a:cubicBezTo>
                  <a:cubicBezTo>
                    <a:pt x="131445" y="102870"/>
                    <a:pt x="101918" y="132398"/>
                    <a:pt x="65723" y="132398"/>
                  </a:cubicBezTo>
                  <a:cubicBezTo>
                    <a:pt x="61913" y="132398"/>
                    <a:pt x="58103" y="132398"/>
                    <a:pt x="54293" y="131445"/>
                  </a:cubicBezTo>
                  <a:lnTo>
                    <a:pt x="54293" y="329565"/>
                  </a:lnTo>
                  <a:cubicBezTo>
                    <a:pt x="58103" y="328613"/>
                    <a:pt x="61913" y="328613"/>
                    <a:pt x="65723" y="328613"/>
                  </a:cubicBezTo>
                  <a:cubicBezTo>
                    <a:pt x="101918" y="328613"/>
                    <a:pt x="131445" y="358140"/>
                    <a:pt x="131445" y="394335"/>
                  </a:cubicBezTo>
                  <a:cubicBezTo>
                    <a:pt x="131445" y="398145"/>
                    <a:pt x="131445" y="402908"/>
                    <a:pt x="130493" y="406718"/>
                  </a:cubicBezTo>
                  <a:lnTo>
                    <a:pt x="521970" y="406718"/>
                  </a:lnTo>
                  <a:lnTo>
                    <a:pt x="521970" y="446722"/>
                  </a:lnTo>
                  <a:cubicBezTo>
                    <a:pt x="521970" y="451485"/>
                    <a:pt x="522923" y="457200"/>
                    <a:pt x="523875" y="461963"/>
                  </a:cubicBezTo>
                  <a:lnTo>
                    <a:pt x="64770" y="461963"/>
                  </a:lnTo>
                  <a:cubicBezTo>
                    <a:pt x="29528" y="461963"/>
                    <a:pt x="0" y="433388"/>
                    <a:pt x="0" y="397193"/>
                  </a:cubicBezTo>
                  <a:lnTo>
                    <a:pt x="0" y="64770"/>
                  </a:lnTo>
                  <a:cubicBezTo>
                    <a:pt x="0" y="29528"/>
                    <a:pt x="28575" y="0"/>
                    <a:pt x="64770" y="0"/>
                  </a:cubicBezTo>
                  <a:lnTo>
                    <a:pt x="680085" y="0"/>
                  </a:lnTo>
                  <a:cubicBezTo>
                    <a:pt x="715328" y="0"/>
                    <a:pt x="744855" y="28575"/>
                    <a:pt x="744855" y="64770"/>
                  </a:cubicBezTo>
                  <a:lnTo>
                    <a:pt x="744855" y="85725"/>
                  </a:lnTo>
                  <a:lnTo>
                    <a:pt x="703898" y="85725"/>
                  </a:lnTo>
                  <a:close/>
                  <a:moveTo>
                    <a:pt x="657225" y="247650"/>
                  </a:moveTo>
                  <a:lnTo>
                    <a:pt x="657225" y="445770"/>
                  </a:lnTo>
                  <a:cubicBezTo>
                    <a:pt x="657225" y="454343"/>
                    <a:pt x="650558" y="461010"/>
                    <a:pt x="641985" y="461010"/>
                  </a:cubicBezTo>
                  <a:lnTo>
                    <a:pt x="575310" y="461010"/>
                  </a:lnTo>
                  <a:cubicBezTo>
                    <a:pt x="566738" y="461010"/>
                    <a:pt x="560070" y="454343"/>
                    <a:pt x="560070" y="445770"/>
                  </a:cubicBezTo>
                  <a:lnTo>
                    <a:pt x="560070" y="247650"/>
                  </a:lnTo>
                  <a:cubicBezTo>
                    <a:pt x="560070" y="239078"/>
                    <a:pt x="566738" y="232410"/>
                    <a:pt x="575310" y="232410"/>
                  </a:cubicBezTo>
                  <a:lnTo>
                    <a:pt x="641985" y="232410"/>
                  </a:lnTo>
                  <a:cubicBezTo>
                    <a:pt x="650558" y="232410"/>
                    <a:pt x="657225" y="239078"/>
                    <a:pt x="657225" y="247650"/>
                  </a:cubicBezTo>
                  <a:close/>
                  <a:moveTo>
                    <a:pt x="785813" y="139065"/>
                  </a:moveTo>
                  <a:lnTo>
                    <a:pt x="785813" y="445770"/>
                  </a:lnTo>
                  <a:cubicBezTo>
                    <a:pt x="785813" y="454343"/>
                    <a:pt x="779145" y="461010"/>
                    <a:pt x="770573" y="461010"/>
                  </a:cubicBezTo>
                  <a:lnTo>
                    <a:pt x="703898" y="461010"/>
                  </a:lnTo>
                  <a:cubicBezTo>
                    <a:pt x="695325" y="461010"/>
                    <a:pt x="688658" y="454343"/>
                    <a:pt x="688658" y="445770"/>
                  </a:cubicBezTo>
                  <a:lnTo>
                    <a:pt x="688658" y="139065"/>
                  </a:lnTo>
                  <a:cubicBezTo>
                    <a:pt x="688658" y="130493"/>
                    <a:pt x="695325" y="123825"/>
                    <a:pt x="703898" y="123825"/>
                  </a:cubicBezTo>
                  <a:lnTo>
                    <a:pt x="770573" y="123825"/>
                  </a:lnTo>
                  <a:cubicBezTo>
                    <a:pt x="779145" y="123825"/>
                    <a:pt x="785813" y="130493"/>
                    <a:pt x="785813" y="139065"/>
                  </a:cubicBezTo>
                  <a:close/>
                  <a:moveTo>
                    <a:pt x="914400" y="316230"/>
                  </a:moveTo>
                  <a:lnTo>
                    <a:pt x="914400" y="445770"/>
                  </a:lnTo>
                  <a:cubicBezTo>
                    <a:pt x="914400" y="454343"/>
                    <a:pt x="907733" y="461010"/>
                    <a:pt x="899160" y="461010"/>
                  </a:cubicBezTo>
                  <a:lnTo>
                    <a:pt x="832485" y="461010"/>
                  </a:lnTo>
                  <a:cubicBezTo>
                    <a:pt x="823913" y="461010"/>
                    <a:pt x="817245" y="454343"/>
                    <a:pt x="817245" y="445770"/>
                  </a:cubicBezTo>
                  <a:lnTo>
                    <a:pt x="817245" y="316230"/>
                  </a:lnTo>
                  <a:cubicBezTo>
                    <a:pt x="817245" y="307658"/>
                    <a:pt x="823913" y="300990"/>
                    <a:pt x="832485" y="300990"/>
                  </a:cubicBezTo>
                  <a:lnTo>
                    <a:pt x="899160" y="300990"/>
                  </a:lnTo>
                  <a:cubicBezTo>
                    <a:pt x="907733" y="300990"/>
                    <a:pt x="914400" y="307658"/>
                    <a:pt x="914400" y="316230"/>
                  </a:cubicBezTo>
                  <a:close/>
                </a:path>
              </a:pathLst>
            </a:custGeom>
            <a:solidFill>
              <a:schemeClr val="bg1"/>
            </a:solidFill>
            <a:ln w="9525" cap="flat">
              <a:noFill/>
              <a:prstDash val="solid"/>
              <a:miter/>
            </a:ln>
          </p:spPr>
          <p:txBody>
            <a:bodyPr rtlCol="0" anchor="ctr"/>
            <a:lstStyle/>
            <a:p>
              <a:endParaRPr lang="pt-BR"/>
            </a:p>
          </p:txBody>
        </p:sp>
      </p:grpSp>
      <p:sp>
        <p:nvSpPr>
          <p:cNvPr id="5" name="CaixaDeTexto 4">
            <a:extLst>
              <a:ext uri="{FF2B5EF4-FFF2-40B4-BE49-F238E27FC236}">
                <a16:creationId xmlns:a16="http://schemas.microsoft.com/office/drawing/2014/main" id="{00C690A5-6D2D-1E89-CFB9-A647CC56E285}"/>
              </a:ext>
            </a:extLst>
          </p:cNvPr>
          <p:cNvSpPr txBox="1"/>
          <p:nvPr/>
        </p:nvSpPr>
        <p:spPr>
          <a:xfrm>
            <a:off x="470072" y="143278"/>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pic>
        <p:nvPicPr>
          <p:cNvPr id="4" name="Imagem 3" descr="Uma imagem contendo Interface gráfica do usuário&#10;&#10;Descrição gerada automaticamente">
            <a:extLst>
              <a:ext uri="{FF2B5EF4-FFF2-40B4-BE49-F238E27FC236}">
                <a16:creationId xmlns:a16="http://schemas.microsoft.com/office/drawing/2014/main" id="{19A7C5BB-AE48-86D9-0F08-29B7EC5CC83D}"/>
              </a:ext>
            </a:extLst>
          </p:cNvPr>
          <p:cNvPicPr>
            <a:picLocks noChangeAspect="1"/>
          </p:cNvPicPr>
          <p:nvPr/>
        </p:nvPicPr>
        <p:blipFill>
          <a:blip r:embed="rId21"/>
          <a:stretch>
            <a:fillRect/>
          </a:stretch>
        </p:blipFill>
        <p:spPr>
          <a:xfrm>
            <a:off x="8039840" y="60434"/>
            <a:ext cx="920231" cy="509571"/>
          </a:xfrm>
          <a:prstGeom prst="rect">
            <a:avLst/>
          </a:prstGeom>
        </p:spPr>
      </p:pic>
    </p:spTree>
    <p:extLst>
      <p:ext uri="{BB962C8B-B14F-4D97-AF65-F5344CB8AC3E}">
        <p14:creationId xmlns:p14="http://schemas.microsoft.com/office/powerpoint/2010/main" val="2314766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0"/>
                                  </p:stCondLst>
                                  <p:childTnLst>
                                    <p:set>
                                      <p:cBhvr>
                                        <p:cTn id="6" dur="1" fill="hold">
                                          <p:stCondLst>
                                            <p:cond delay="0"/>
                                          </p:stCondLst>
                                        </p:cTn>
                                        <p:tgtEl>
                                          <p:spTgt spid="69"/>
                                        </p:tgtEl>
                                        <p:attrNameLst>
                                          <p:attrName>style.visibility</p:attrName>
                                        </p:attrNameLst>
                                      </p:cBhvr>
                                      <p:to>
                                        <p:strVal val="visible"/>
                                      </p:to>
                                    </p:set>
                                    <p:animEffect transition="in" filter="fade">
                                      <p:cBhvr>
                                        <p:cTn id="7" dur="500"/>
                                        <p:tgtEl>
                                          <p:spTgt spid="69"/>
                                        </p:tgtEl>
                                      </p:cBhvr>
                                    </p:animEffect>
                                  </p:childTnLst>
                                </p:cTn>
                              </p:par>
                              <p:par>
                                <p:cTn id="8" presetID="23" presetClass="entr" presetSubtype="288" fill="hold" nodeType="withEffect">
                                  <p:stCondLst>
                                    <p:cond delay="5000"/>
                                  </p:stCondLst>
                                  <p:childTnLst>
                                    <p:set>
                                      <p:cBhvr>
                                        <p:cTn id="9" dur="1" fill="hold">
                                          <p:stCondLst>
                                            <p:cond delay="0"/>
                                          </p:stCondLst>
                                        </p:cTn>
                                        <p:tgtEl>
                                          <p:spTgt spid="69"/>
                                        </p:tgtEl>
                                        <p:attrNameLst>
                                          <p:attrName>style.visibility</p:attrName>
                                        </p:attrNameLst>
                                      </p:cBhvr>
                                      <p:to>
                                        <p:strVal val="visible"/>
                                      </p:to>
                                    </p:set>
                                    <p:anim calcmode="lin" valueType="num">
                                      <p:cBhvr>
                                        <p:cTn id="10" dur="500" fill="hold"/>
                                        <p:tgtEl>
                                          <p:spTgt spid="69"/>
                                        </p:tgtEl>
                                        <p:attrNameLst>
                                          <p:attrName>ppt_w</p:attrName>
                                        </p:attrNameLst>
                                      </p:cBhvr>
                                      <p:tavLst>
                                        <p:tav tm="0">
                                          <p:val>
                                            <p:strVal val="4/3*#ppt_w"/>
                                          </p:val>
                                        </p:tav>
                                        <p:tav tm="100000">
                                          <p:val>
                                            <p:strVal val="#ppt_w"/>
                                          </p:val>
                                        </p:tav>
                                      </p:tavLst>
                                    </p:anim>
                                    <p:anim calcmode="lin" valueType="num">
                                      <p:cBhvr>
                                        <p:cTn id="11" dur="500" fill="hold"/>
                                        <p:tgtEl>
                                          <p:spTgt spid="69"/>
                                        </p:tgtEl>
                                        <p:attrNameLst>
                                          <p:attrName>ppt_h</p:attrName>
                                        </p:attrNameLst>
                                      </p:cBhvr>
                                      <p:tavLst>
                                        <p:tav tm="0">
                                          <p:val>
                                            <p:strVal val="4/3*#ppt_h"/>
                                          </p:val>
                                        </p:tav>
                                        <p:tav tm="100000">
                                          <p:val>
                                            <p:strVal val="#ppt_h"/>
                                          </p:val>
                                        </p:tav>
                                      </p:tavLst>
                                    </p:anim>
                                  </p:childTnLst>
                                </p:cTn>
                              </p:par>
                              <p:par>
                                <p:cTn id="12" presetID="10" presetClass="entr" presetSubtype="0" fill="hold" nodeType="withEffect">
                                  <p:stCondLst>
                                    <p:cond delay="5250"/>
                                  </p:stCondLst>
                                  <p:childTnLst>
                                    <p:set>
                                      <p:cBhvr>
                                        <p:cTn id="13" dur="1" fill="hold">
                                          <p:stCondLst>
                                            <p:cond delay="0"/>
                                          </p:stCondLst>
                                        </p:cTn>
                                        <p:tgtEl>
                                          <p:spTgt spid="70"/>
                                        </p:tgtEl>
                                        <p:attrNameLst>
                                          <p:attrName>style.visibility</p:attrName>
                                        </p:attrNameLst>
                                      </p:cBhvr>
                                      <p:to>
                                        <p:strVal val="visible"/>
                                      </p:to>
                                    </p:set>
                                    <p:animEffect transition="in" filter="fade">
                                      <p:cBhvr>
                                        <p:cTn id="14" dur="500"/>
                                        <p:tgtEl>
                                          <p:spTgt spid="70"/>
                                        </p:tgtEl>
                                      </p:cBhvr>
                                    </p:animEffect>
                                  </p:childTnLst>
                                </p:cTn>
                              </p:par>
                              <p:par>
                                <p:cTn id="15" presetID="10" presetClass="entr" presetSubtype="0" fill="hold" grpId="0" nodeType="withEffect">
                                  <p:stCondLst>
                                    <p:cond delay="5500"/>
                                  </p:stCondLst>
                                  <p:childTnLst>
                                    <p:set>
                                      <p:cBhvr>
                                        <p:cTn id="16" dur="1" fill="hold">
                                          <p:stCondLst>
                                            <p:cond delay="0"/>
                                          </p:stCondLst>
                                        </p:cTn>
                                        <p:tgtEl>
                                          <p:spTgt spid="72"/>
                                        </p:tgtEl>
                                        <p:attrNameLst>
                                          <p:attrName>style.visibility</p:attrName>
                                        </p:attrNameLst>
                                      </p:cBhvr>
                                      <p:to>
                                        <p:strVal val="visible"/>
                                      </p:to>
                                    </p:set>
                                    <p:animEffect transition="in" filter="fade">
                                      <p:cBhvr>
                                        <p:cTn id="17" dur="500"/>
                                        <p:tgtEl>
                                          <p:spTgt spid="72"/>
                                        </p:tgtEl>
                                      </p:cBhvr>
                                    </p:animEffect>
                                  </p:childTnLst>
                                </p:cTn>
                              </p:par>
                              <p:par>
                                <p:cTn id="18" presetID="23" presetClass="entr" presetSubtype="288" fill="hold" grpId="1" nodeType="withEffect">
                                  <p:stCondLst>
                                    <p:cond delay="5500"/>
                                  </p:stCondLst>
                                  <p:childTnLst>
                                    <p:set>
                                      <p:cBhvr>
                                        <p:cTn id="19" dur="1" fill="hold">
                                          <p:stCondLst>
                                            <p:cond delay="0"/>
                                          </p:stCondLst>
                                        </p:cTn>
                                        <p:tgtEl>
                                          <p:spTgt spid="72"/>
                                        </p:tgtEl>
                                        <p:attrNameLst>
                                          <p:attrName>style.visibility</p:attrName>
                                        </p:attrNameLst>
                                      </p:cBhvr>
                                      <p:to>
                                        <p:strVal val="visible"/>
                                      </p:to>
                                    </p:set>
                                    <p:anim calcmode="lin" valueType="num">
                                      <p:cBhvr>
                                        <p:cTn id="20" dur="500" fill="hold"/>
                                        <p:tgtEl>
                                          <p:spTgt spid="72"/>
                                        </p:tgtEl>
                                        <p:attrNameLst>
                                          <p:attrName>ppt_w</p:attrName>
                                        </p:attrNameLst>
                                      </p:cBhvr>
                                      <p:tavLst>
                                        <p:tav tm="0">
                                          <p:val>
                                            <p:strVal val="4/3*#ppt_w"/>
                                          </p:val>
                                        </p:tav>
                                        <p:tav tm="100000">
                                          <p:val>
                                            <p:strVal val="#ppt_w"/>
                                          </p:val>
                                        </p:tav>
                                      </p:tavLst>
                                    </p:anim>
                                    <p:anim calcmode="lin" valueType="num">
                                      <p:cBhvr>
                                        <p:cTn id="21" dur="500" fill="hold"/>
                                        <p:tgtEl>
                                          <p:spTgt spid="72"/>
                                        </p:tgtEl>
                                        <p:attrNameLst>
                                          <p:attrName>ppt_h</p:attrName>
                                        </p:attrNameLst>
                                      </p:cBhvr>
                                      <p:tavLst>
                                        <p:tav tm="0">
                                          <p:val>
                                            <p:strVal val="4/3*#ppt_h"/>
                                          </p:val>
                                        </p:tav>
                                        <p:tav tm="100000">
                                          <p:val>
                                            <p:strVal val="#ppt_h"/>
                                          </p:val>
                                        </p:tav>
                                      </p:tavLst>
                                    </p:anim>
                                  </p:childTnLst>
                                </p:cTn>
                              </p:par>
                              <p:par>
                                <p:cTn id="22" presetID="10" presetClass="entr" presetSubtype="0" fill="hold" nodeType="withEffect">
                                  <p:stCondLst>
                                    <p:cond delay="5750"/>
                                  </p:stCondLst>
                                  <p:childTnLst>
                                    <p:set>
                                      <p:cBhvr>
                                        <p:cTn id="23" dur="1" fill="hold">
                                          <p:stCondLst>
                                            <p:cond delay="0"/>
                                          </p:stCondLst>
                                        </p:cTn>
                                        <p:tgtEl>
                                          <p:spTgt spid="96"/>
                                        </p:tgtEl>
                                        <p:attrNameLst>
                                          <p:attrName>style.visibility</p:attrName>
                                        </p:attrNameLst>
                                      </p:cBhvr>
                                      <p:to>
                                        <p:strVal val="visible"/>
                                      </p:to>
                                    </p:set>
                                    <p:animEffect transition="in" filter="fade">
                                      <p:cBhvr>
                                        <p:cTn id="24" dur="500"/>
                                        <p:tgtEl>
                                          <p:spTgt spid="96"/>
                                        </p:tgtEl>
                                      </p:cBhvr>
                                    </p:animEffect>
                                  </p:childTnLst>
                                </p:cTn>
                              </p:par>
                              <p:par>
                                <p:cTn id="25" presetID="35" presetClass="path" presetSubtype="0" accel="17000" decel="83000" fill="hold" nodeType="withEffect">
                                  <p:stCondLst>
                                    <p:cond delay="5750"/>
                                  </p:stCondLst>
                                  <p:childTnLst>
                                    <p:animMotion origin="layout" path="M 0.0007 0.03606 L 1.74281E-6 4.71621E-6 " pathEditMode="relative" rAng="0" ptsTypes="AA">
                                      <p:cBhvr>
                                        <p:cTn id="26" dur="1100" fill="hold"/>
                                        <p:tgtEl>
                                          <p:spTgt spid="96"/>
                                        </p:tgtEl>
                                        <p:attrNameLst>
                                          <p:attrName>ppt_x</p:attrName>
                                          <p:attrName>ppt_y</p:attrName>
                                        </p:attrNameLst>
                                      </p:cBhvr>
                                      <p:rCtr x="-35" y="-1819"/>
                                    </p:animMotion>
                                  </p:childTnLst>
                                </p:cTn>
                              </p:par>
                              <p:par>
                                <p:cTn id="27" presetID="10"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par>
                                <p:cTn id="30" presetID="22" presetClass="entr" presetSubtype="8" fill="hold" nodeType="withEffect">
                                  <p:stCondLst>
                                    <p:cond delay="500"/>
                                  </p:stCondLst>
                                  <p:childTnLst>
                                    <p:set>
                                      <p:cBhvr>
                                        <p:cTn id="31" dur="1" fill="hold">
                                          <p:stCondLst>
                                            <p:cond delay="0"/>
                                          </p:stCondLst>
                                        </p:cTn>
                                        <p:tgtEl>
                                          <p:spTgt spid="9"/>
                                        </p:tgtEl>
                                        <p:attrNameLst>
                                          <p:attrName>style.visibility</p:attrName>
                                        </p:attrNameLst>
                                      </p:cBhvr>
                                      <p:to>
                                        <p:strVal val="visible"/>
                                      </p:to>
                                    </p:set>
                                    <p:animEffect transition="in" filter="wipe(left)">
                                      <p:cBhvr>
                                        <p:cTn id="32" dur="4000"/>
                                        <p:tgtEl>
                                          <p:spTgt spid="9"/>
                                        </p:tgtEl>
                                      </p:cBhvr>
                                    </p:animEffect>
                                  </p:childTnLst>
                                </p:cTn>
                              </p:par>
                              <p:par>
                                <p:cTn id="33" presetID="10" presetClass="entr" presetSubtype="0" fill="hold" nodeType="withEffect">
                                  <p:stCondLst>
                                    <p:cond delay="600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par>
                                <p:cTn id="36" presetID="10" presetClass="entr" presetSubtype="0" fill="hold" nodeType="withEffect">
                                  <p:stCondLst>
                                    <p:cond delay="5000"/>
                                  </p:stCondLst>
                                  <p:childTnLst>
                                    <p:set>
                                      <p:cBhvr>
                                        <p:cTn id="37" dur="1" fill="hold">
                                          <p:stCondLst>
                                            <p:cond delay="0"/>
                                          </p:stCondLst>
                                        </p:cTn>
                                        <p:tgtEl>
                                          <p:spTgt spid="3"/>
                                        </p:tgtEl>
                                        <p:attrNameLst>
                                          <p:attrName>style.visibility</p:attrName>
                                        </p:attrNameLst>
                                      </p:cBhvr>
                                      <p:to>
                                        <p:strVal val="visible"/>
                                      </p:to>
                                    </p:set>
                                    <p:animEffect transition="in" filter="fade">
                                      <p:cBhvr>
                                        <p:cTn id="38" dur="500"/>
                                        <p:tgtEl>
                                          <p:spTgt spid="3"/>
                                        </p:tgtEl>
                                      </p:cBhvr>
                                    </p:animEffect>
                                  </p:childTnLst>
                                </p:cTn>
                              </p:par>
                              <p:par>
                                <p:cTn id="39" presetID="23" presetClass="entr" presetSubtype="288" fill="hold" nodeType="withEffect">
                                  <p:stCondLst>
                                    <p:cond delay="5000"/>
                                  </p:stCondLst>
                                  <p:childTnLst>
                                    <p:set>
                                      <p:cBhvr>
                                        <p:cTn id="40" dur="1" fill="hold">
                                          <p:stCondLst>
                                            <p:cond delay="0"/>
                                          </p:stCondLst>
                                        </p:cTn>
                                        <p:tgtEl>
                                          <p:spTgt spid="3"/>
                                        </p:tgtEl>
                                        <p:attrNameLst>
                                          <p:attrName>style.visibility</p:attrName>
                                        </p:attrNameLst>
                                      </p:cBhvr>
                                      <p:to>
                                        <p:strVal val="visible"/>
                                      </p:to>
                                    </p:set>
                                    <p:anim calcmode="lin" valueType="num">
                                      <p:cBhvr>
                                        <p:cTn id="41" dur="500" fill="hold"/>
                                        <p:tgtEl>
                                          <p:spTgt spid="3"/>
                                        </p:tgtEl>
                                        <p:attrNameLst>
                                          <p:attrName>ppt_w</p:attrName>
                                        </p:attrNameLst>
                                      </p:cBhvr>
                                      <p:tavLst>
                                        <p:tav tm="0">
                                          <p:val>
                                            <p:strVal val="4/3*#ppt_w"/>
                                          </p:val>
                                        </p:tav>
                                        <p:tav tm="100000">
                                          <p:val>
                                            <p:strVal val="#ppt_w"/>
                                          </p:val>
                                        </p:tav>
                                      </p:tavLst>
                                    </p:anim>
                                    <p:anim calcmode="lin" valueType="num">
                                      <p:cBhvr>
                                        <p:cTn id="42" dur="500" fill="hold"/>
                                        <p:tgtEl>
                                          <p:spTgt spid="3"/>
                                        </p:tgtEl>
                                        <p:attrNameLst>
                                          <p:attrName>ppt_h</p:attrName>
                                        </p:attrNameLst>
                                      </p:cBhvr>
                                      <p:tavLst>
                                        <p:tav tm="0">
                                          <p:val>
                                            <p:strVal val="4/3*#ppt_h"/>
                                          </p:val>
                                        </p:tav>
                                        <p:tav tm="100000">
                                          <p:val>
                                            <p:strVal val="#ppt_h"/>
                                          </p:val>
                                        </p:tav>
                                      </p:tavLst>
                                    </p:anim>
                                  </p:childTnLst>
                                </p:cTn>
                              </p:par>
                              <p:par>
                                <p:cTn id="43" presetID="10" presetClass="entr" presetSubtype="0" fill="hold" grpId="0" nodeType="withEffect">
                                  <p:stCondLst>
                                    <p:cond delay="2500"/>
                                  </p:stCondLst>
                                  <p:childTnLst>
                                    <p:set>
                                      <p:cBhvr>
                                        <p:cTn id="44" dur="1" fill="hold">
                                          <p:stCondLst>
                                            <p:cond delay="0"/>
                                          </p:stCondLst>
                                        </p:cTn>
                                        <p:tgtEl>
                                          <p:spTgt spid="5"/>
                                        </p:tgtEl>
                                        <p:attrNameLst>
                                          <p:attrName>style.visibility</p:attrName>
                                        </p:attrNameLst>
                                      </p:cBhvr>
                                      <p:to>
                                        <p:strVal val="visible"/>
                                      </p:to>
                                    </p:set>
                                    <p:animEffect transition="in" filter="fade">
                                      <p:cBhvr>
                                        <p:cTn id="45" dur="500"/>
                                        <p:tgtEl>
                                          <p:spTgt spid="5"/>
                                        </p:tgtEl>
                                      </p:cBhvr>
                                    </p:animEffect>
                                  </p:childTnLst>
                                </p:cTn>
                              </p:par>
                              <p:par>
                                <p:cTn id="46" presetID="35" presetClass="path" presetSubtype="0" accel="17000" decel="83000" fill="hold" grpId="1" nodeType="withEffect">
                                  <p:stCondLst>
                                    <p:cond delay="2500"/>
                                  </p:stCondLst>
                                  <p:childTnLst>
                                    <p:animMotion origin="layout" path="M -0.02275 1.48009E-6 L -6.79132E-7 1.48009E-6 " pathEditMode="relative" rAng="0" ptsTypes="AA">
                                      <p:cBhvr>
                                        <p:cTn id="47" dur="1100" fill="hold"/>
                                        <p:tgtEl>
                                          <p:spTgt spid="5"/>
                                        </p:tgtEl>
                                        <p:attrNameLst>
                                          <p:attrName>ppt_x</p:attrName>
                                          <p:attrName>ppt_y</p:attrName>
                                        </p:attrNameLst>
                                      </p:cBhvr>
                                      <p:rCtr x="1129"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72" grpId="0"/>
      <p:bldP spid="72" grpId="1"/>
      <p:bldP spid="5" grpId="0"/>
      <p:bldP spid="5"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0D4BEB-106E-9B37-AF24-4F9E5CEFDF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9" name="think-cell data - do not delete" hidden="1">
                        <a:extLst>
                          <a:ext uri="{FF2B5EF4-FFF2-40B4-BE49-F238E27FC236}">
                            <a16:creationId xmlns:a16="http://schemas.microsoft.com/office/drawing/2014/main" id="{740D4BEB-106E-9B37-AF24-4F9E5CEFDF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Imagem 7" descr="Tela de computador com fundo azul&#10;&#10;Descrição gerada automaticamente com confiança média">
            <a:extLst>
              <a:ext uri="{FF2B5EF4-FFF2-40B4-BE49-F238E27FC236}">
                <a16:creationId xmlns:a16="http://schemas.microsoft.com/office/drawing/2014/main" id="{C88BDC38-7494-70BF-6969-1AD8F43DA2F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5" name="Imagem 44" descr="Imagem em preto e branco&#10;&#10;Descrição gerada automaticamente com confiança média">
            <a:extLst>
              <a:ext uri="{FF2B5EF4-FFF2-40B4-BE49-F238E27FC236}">
                <a16:creationId xmlns:a16="http://schemas.microsoft.com/office/drawing/2014/main" id="{FF957548-FA78-BF53-30A0-2FF816A626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2033" y="-1195440"/>
            <a:ext cx="8999538" cy="3559126"/>
          </a:xfrm>
          <a:prstGeom prst="rect">
            <a:avLst/>
          </a:prstGeom>
        </p:spPr>
      </p:pic>
      <p:pic>
        <p:nvPicPr>
          <p:cNvPr id="46" name="Imagem 45" descr="Uma imagem contendo Interface gráfica do usuário&#10;&#10;Descrição gerada automaticamente">
            <a:extLst>
              <a:ext uri="{FF2B5EF4-FFF2-40B4-BE49-F238E27FC236}">
                <a16:creationId xmlns:a16="http://schemas.microsoft.com/office/drawing/2014/main" id="{29B736DE-D713-4EB7-E945-666EF243747E}"/>
              </a:ext>
            </a:extLst>
          </p:cNvPr>
          <p:cNvPicPr>
            <a:picLocks noChangeAspect="1"/>
          </p:cNvPicPr>
          <p:nvPr/>
        </p:nvPicPr>
        <p:blipFill>
          <a:blip r:embed="rId8"/>
          <a:stretch>
            <a:fillRect/>
          </a:stretch>
        </p:blipFill>
        <p:spPr>
          <a:xfrm>
            <a:off x="8039840" y="60434"/>
            <a:ext cx="920231" cy="509571"/>
          </a:xfrm>
          <a:prstGeom prst="rect">
            <a:avLst/>
          </a:prstGeom>
        </p:spPr>
      </p:pic>
      <p:sp>
        <p:nvSpPr>
          <p:cNvPr id="6" name="CaixaDeTexto 5">
            <a:extLst>
              <a:ext uri="{FF2B5EF4-FFF2-40B4-BE49-F238E27FC236}">
                <a16:creationId xmlns:a16="http://schemas.microsoft.com/office/drawing/2014/main" id="{8C6036BE-7B0A-7364-8500-C94B84CFCD97}"/>
              </a:ext>
            </a:extLst>
          </p:cNvPr>
          <p:cNvSpPr txBox="1"/>
          <p:nvPr/>
        </p:nvSpPr>
        <p:spPr>
          <a:xfrm>
            <a:off x="557160" y="830051"/>
            <a:ext cx="7942795" cy="3526286"/>
          </a:xfrm>
          <a:prstGeom prst="rect">
            <a:avLst/>
          </a:prstGeom>
          <a:noFill/>
        </p:spPr>
        <p:txBody>
          <a:bodyPr wrap="square">
            <a:spAutoFit/>
          </a:bodyPr>
          <a:lstStyle/>
          <a:p>
            <a:pPr marL="0" indent="0" algn="just">
              <a:lnSpc>
                <a:spcPct val="150000"/>
              </a:lnSpc>
              <a:spcAft>
                <a:spcPts val="1200"/>
              </a:spcAft>
              <a:buNone/>
            </a:pPr>
            <a:r>
              <a:rPr lang="en-US" sz="1000">
                <a:solidFill>
                  <a:srgbClr val="5D5D5D"/>
                </a:solidFill>
                <a:latin typeface="Arial" panose="020B0604020202020204" pitchFamily="34" charset="0"/>
                <a:ea typeface="Tahoma" panose="020B0604030504040204" pitchFamily="34" charset="0"/>
                <a:cs typeface="Arial" panose="020B0604020202020204" pitchFamily="34" charset="0"/>
              </a:rPr>
              <a:t>The statements contained in this report regarding the business outlook of ISA CTEEP (“ISA CTEEP”. “CTEEP”. “Company”). the projections and their growth potential are based on mere forecasts and were based on management's expectations in regarding the Company's future. These expectations are highly dependent on changes in the market. in the general economic performance of the country. the sector and international markets. and are subject to change.</a:t>
            </a:r>
          </a:p>
          <a:p>
            <a:pPr marL="0" indent="0" algn="just">
              <a:lnSpc>
                <a:spcPct val="150000"/>
              </a:lnSpc>
              <a:spcAft>
                <a:spcPts val="1200"/>
              </a:spcAft>
              <a:buNone/>
            </a:pPr>
            <a:r>
              <a:rPr lang="en-US" sz="1000">
                <a:solidFill>
                  <a:srgbClr val="5D5D5D"/>
                </a:solidFill>
                <a:latin typeface="Arial" panose="020B0604020202020204" pitchFamily="34" charset="0"/>
                <a:ea typeface="Tahoma" panose="020B0604030504040204" pitchFamily="34" charset="0"/>
                <a:cs typeface="Arial" panose="020B0604020202020204" pitchFamily="34" charset="0"/>
              </a:rPr>
              <a:t>Forward considerations are not performance guarantees. They involve risks. uncertainties and assumptions. as they refer to future events and. therefore. depend on circumstances that may or may not occur.</a:t>
            </a:r>
          </a:p>
          <a:p>
            <a:pPr marL="0" indent="0" algn="just">
              <a:lnSpc>
                <a:spcPct val="150000"/>
              </a:lnSpc>
              <a:spcAft>
                <a:spcPts val="1200"/>
              </a:spcAft>
              <a:buNone/>
            </a:pPr>
            <a:r>
              <a:rPr lang="en-US" sz="1000">
                <a:solidFill>
                  <a:srgbClr val="5D5D5D"/>
                </a:solidFill>
                <a:latin typeface="Arial" panose="020B0604020202020204" pitchFamily="34" charset="0"/>
                <a:ea typeface="Tahoma" panose="020B0604030504040204" pitchFamily="34" charset="0"/>
                <a:cs typeface="Arial" panose="020B0604020202020204" pitchFamily="34" charset="0"/>
              </a:rPr>
              <a:t>Investors should understand that general economic conditions. market conditions and other operating factors may affect the future performance of ISA CTEEP and lead to results that differ materially from those expressed in such forward-looking statements.</a:t>
            </a:r>
          </a:p>
          <a:p>
            <a:pPr marL="0" indent="0" algn="just">
              <a:lnSpc>
                <a:spcPct val="150000"/>
              </a:lnSpc>
              <a:spcAft>
                <a:spcPts val="1200"/>
              </a:spcAft>
              <a:buNone/>
            </a:pPr>
            <a:r>
              <a:rPr lang="en-US" sz="1000">
                <a:solidFill>
                  <a:srgbClr val="5D5D5D"/>
                </a:solidFill>
                <a:latin typeface="Arial" panose="020B0604020202020204" pitchFamily="34" charset="0"/>
                <a:ea typeface="Tahoma" panose="020B0604030504040204" pitchFamily="34" charset="0"/>
                <a:cs typeface="Arial" panose="020B0604020202020204" pitchFamily="34" charset="0"/>
              </a:rPr>
              <a:t>The financial information was prepared in accordance with CVM (Brazilian Securities and Exchange) rules and CPCs. and it follows international accounting standards (IFRS) issued by the International Accounting Standard Board (IASB). The Regulatory Result is presented in accordance with accounting practices adopted in Brazil. The purpose of disclosing the Regulatory Result is merely to collaborate to understand ISA CTEEP's business. Sums may differ due to rounding. The Regulatory result is audited only at the end of each fiscal year by the independent auditors.</a:t>
            </a:r>
            <a:endParaRPr lang="en-US" sz="1000" dirty="0">
              <a:solidFill>
                <a:srgbClr val="5D5D5D"/>
              </a:solidFill>
              <a:latin typeface="Arial" panose="020B0604020202020204" pitchFamily="34" charset="0"/>
              <a:ea typeface="Tahoma" panose="020B0604030504040204" pitchFamily="34" charset="0"/>
              <a:cs typeface="Arial" panose="020B0604020202020204" pitchFamily="34" charset="0"/>
            </a:endParaRPr>
          </a:p>
        </p:txBody>
      </p:sp>
      <p:sp>
        <p:nvSpPr>
          <p:cNvPr id="7" name="Título 1">
            <a:extLst>
              <a:ext uri="{FF2B5EF4-FFF2-40B4-BE49-F238E27FC236}">
                <a16:creationId xmlns:a16="http://schemas.microsoft.com/office/drawing/2014/main" id="{D1E6EDF5-E344-4BF0-5874-E6EC68AA77D6}"/>
              </a:ext>
            </a:extLst>
          </p:cNvPr>
          <p:cNvSpPr txBox="1">
            <a:spLocks/>
          </p:cNvSpPr>
          <p:nvPr/>
        </p:nvSpPr>
        <p:spPr>
          <a:xfrm>
            <a:off x="-1225980" y="-830549"/>
            <a:ext cx="6354086" cy="461665"/>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2800" b="1" i="0" kern="1200">
                <a:solidFill>
                  <a:srgbClr val="002F87"/>
                </a:solidFill>
                <a:latin typeface="Tahoma" panose="020B0604030504040204" pitchFamily="34" charset="0"/>
                <a:ea typeface="Tahoma" panose="020B0604030504040204" pitchFamily="34" charset="0"/>
                <a:cs typeface="Tahoma" panose="020B0604030504040204" pitchFamily="34" charset="0"/>
              </a:defRPr>
            </a:lvl1pPr>
          </a:lstStyle>
          <a:p>
            <a:pPr>
              <a:lnSpc>
                <a:spcPct val="85000"/>
              </a:lnSpc>
              <a:spcBef>
                <a:spcPts val="200"/>
              </a:spcBef>
              <a:spcAft>
                <a:spcPts val="200"/>
              </a:spcAft>
              <a:defRPr/>
            </a:pPr>
            <a:r>
              <a:rPr lang="pt-BR" sz="1200" dirty="0">
                <a:solidFill>
                  <a:srgbClr val="003087"/>
                </a:solidFill>
              </a:rPr>
              <a:t>DISCLAIMER</a:t>
            </a:r>
          </a:p>
        </p:txBody>
      </p:sp>
      <p:sp>
        <p:nvSpPr>
          <p:cNvPr id="11" name="CaixaDeTexto 10">
            <a:extLst>
              <a:ext uri="{FF2B5EF4-FFF2-40B4-BE49-F238E27FC236}">
                <a16:creationId xmlns:a16="http://schemas.microsoft.com/office/drawing/2014/main" id="{DF3C630F-4F29-1B67-DDB9-56F634A29CA0}"/>
              </a:ext>
            </a:extLst>
          </p:cNvPr>
          <p:cNvSpPr txBox="1"/>
          <p:nvPr/>
        </p:nvSpPr>
        <p:spPr>
          <a:xfrm>
            <a:off x="271697" y="399457"/>
            <a:ext cx="5115392" cy="369332"/>
          </a:xfrm>
          <a:prstGeom prst="rect">
            <a:avLst/>
          </a:prstGeom>
          <a:noFill/>
        </p:spPr>
        <p:txBody>
          <a:bodyPr wrap="square">
            <a:spAutoFit/>
          </a:bodyPr>
          <a:lstStyle/>
          <a:p>
            <a:r>
              <a:rPr kumimoji="0" lang="pt-BR" sz="1800" b="1" i="0" u="none" strike="noStrike" kern="1200" cap="none" spc="0" normalizeH="0" baseline="0" noProof="0">
                <a:ln>
                  <a:noFill/>
                </a:ln>
                <a:solidFill>
                  <a:srgbClr val="002581"/>
                </a:solidFill>
                <a:effectLst/>
                <a:uLnTx/>
                <a:uFillTx/>
                <a:latin typeface="Segoe UI Black" panose="020B0A02040204020203" pitchFamily="34" charset="0"/>
                <a:ea typeface="Segoe UI Black" panose="020B0A02040204020203" pitchFamily="34" charset="0"/>
                <a:cs typeface="Segoe UI" panose="020B0502040204020203" pitchFamily="34" charset="0"/>
              </a:rPr>
              <a:t>DISCLAIMER</a:t>
            </a:r>
            <a:endParaRPr lang="pt-BR"/>
          </a:p>
        </p:txBody>
      </p:sp>
    </p:spTree>
    <p:extLst>
      <p:ext uri="{BB962C8B-B14F-4D97-AF65-F5344CB8AC3E}">
        <p14:creationId xmlns:p14="http://schemas.microsoft.com/office/powerpoint/2010/main" val="4069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Tree>
    <p:extLst>
      <p:ext uri="{BB962C8B-B14F-4D97-AF65-F5344CB8AC3E}">
        <p14:creationId xmlns:p14="http://schemas.microsoft.com/office/powerpoint/2010/main" val="1061875453"/>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8" grpId="0"/>
      <p:bldP spid="28" grpId="1"/>
      <p:bldP spid="2" grpId="0"/>
      <p:bldP spid="2" grpId="1"/>
      <p:bldP spid="5" grpId="0"/>
      <p:bldP spid="5" grpId="1"/>
      <p:bldP spid="6" grpId="0"/>
      <p:bldP spid="6" grpId="1"/>
      <p:bldP spid="14" grpId="0"/>
      <p:bldP spid="14" grpId="1"/>
      <p:bldP spid="17" grpId="0"/>
      <p:bldP spid="17" grpId="1"/>
      <p:bldP spid="7" grpId="0"/>
      <p:bldP spid="7" grpId="1"/>
      <p:bldP spid="15" grpId="0"/>
      <p:bldP spid="15" grpId="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m 1" descr="Imagem em branco e azul&#10;&#10;Descrição gerada automaticamente com confiança média">
            <a:extLst>
              <a:ext uri="{FF2B5EF4-FFF2-40B4-BE49-F238E27FC236}">
                <a16:creationId xmlns:a16="http://schemas.microsoft.com/office/drawing/2014/main" id="{CDDCDAA6-54D1-9442-9C83-98CD583ADCD7}"/>
              </a:ext>
            </a:extLst>
          </p:cNvPr>
          <p:cNvPicPr>
            <a:picLocks noChangeAspect="1"/>
          </p:cNvPicPr>
          <p:nvPr>
            <p:custDataLst>
              <p:tags r:id="rId1"/>
            </p:custDataLst>
          </p:nvPr>
        </p:nvPicPr>
        <p:blipFill>
          <a:blip r:embed="rId17">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11" name="Imagem 10" descr="Sol atrás de montanha&#10;&#10;Descrição gerada automaticamente">
            <a:extLst>
              <a:ext uri="{FF2B5EF4-FFF2-40B4-BE49-F238E27FC236}">
                <a16:creationId xmlns:a16="http://schemas.microsoft.com/office/drawing/2014/main" id="{7B56ACDB-8A69-9D00-7CAC-5B9FDC1E0D30}"/>
              </a:ext>
            </a:extLst>
          </p:cNvPr>
          <p:cNvPicPr>
            <a:picLocks noChangeAspect="1"/>
          </p:cNvPicPr>
          <p:nvPr>
            <p:custDataLst>
              <p:tags r:id="rId2"/>
            </p:custDataLst>
          </p:nvPr>
        </p:nvPicPr>
        <p:blipFill>
          <a:blip r:embed="rId18">
            <a:extLst>
              <a:ext uri="{28A0092B-C50C-407E-A947-70E740481C1C}">
                <a14:useLocalDpi xmlns:a14="http://schemas.microsoft.com/office/drawing/2010/main"/>
              </a:ext>
            </a:extLst>
          </a:blip>
          <a:stretch>
            <a:fillRect/>
          </a:stretch>
        </p:blipFill>
        <p:spPr>
          <a:xfrm>
            <a:off x="0" y="149"/>
            <a:ext cx="8999538" cy="5062240"/>
          </a:xfrm>
          <a:prstGeom prst="rect">
            <a:avLst/>
          </a:prstGeom>
        </p:spPr>
      </p:pic>
      <p:graphicFrame>
        <p:nvGraphicFramePr>
          <p:cNvPr id="15" name="think-cell data - do not delete" hidden="1">
            <a:extLst>
              <a:ext uri="{FF2B5EF4-FFF2-40B4-BE49-F238E27FC236}">
                <a16:creationId xmlns:a16="http://schemas.microsoft.com/office/drawing/2014/main" id="{F9A7BDBD-8677-FCA8-D9DE-34D03181BA90}"/>
              </a:ext>
            </a:extLst>
          </p:cNvPr>
          <p:cNvGraphicFramePr>
            <a:graphicFrameLocks noChangeAspect="1"/>
          </p:cNvGraphicFramePr>
          <p:nvPr>
            <p:custDataLst>
              <p:tags r:id="rId3"/>
            </p:custData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19" imgW="0" imgH="0" progId="TCLayout.ActiveDocument.1">
                  <p:embed/>
                </p:oleObj>
              </mc:Choice>
              <mc:Fallback>
                <p:oleObj name="Slide do think-cell" r:id="rId19" imgW="0" imgH="0" progId="TCLayout.ActiveDocument.1">
                  <p:embed/>
                  <p:pic>
                    <p:nvPicPr>
                      <p:cNvPr id="0" name=""/>
                      <p:cNvPicPr/>
                      <p:nvPr/>
                    </p:nvPicPr>
                    <p:blipFill>
                      <a:blip r:embed="rId20"/>
                      <a:stretch>
                        <a:fillRect/>
                      </a:stretch>
                    </p:blipFill>
                    <p:spPr>
                      <a:xfrm>
                        <a:off x="1173" y="1321"/>
                        <a:ext cx="1172" cy="1172"/>
                      </a:xfrm>
                      <a:prstGeom prst="rect">
                        <a:avLst/>
                      </a:prstGeom>
                    </p:spPr>
                  </p:pic>
                </p:oleObj>
              </mc:Fallback>
            </mc:AlternateContent>
          </a:graphicData>
        </a:graphic>
      </p:graphicFrame>
      <p:pic>
        <p:nvPicPr>
          <p:cNvPr id="12" name="Imagem 11" descr="Uma imagem contendo Interface gráfica do usuário&#10;&#10;Descrição gerada automaticamente">
            <a:extLst>
              <a:ext uri="{FF2B5EF4-FFF2-40B4-BE49-F238E27FC236}">
                <a16:creationId xmlns:a16="http://schemas.microsoft.com/office/drawing/2014/main" id="{55BF15F7-3E41-F6F1-9BF6-8074A22253D3}"/>
              </a:ext>
            </a:extLst>
          </p:cNvPr>
          <p:cNvPicPr>
            <a:picLocks noChangeAspect="1"/>
          </p:cNvPicPr>
          <p:nvPr>
            <p:custDataLst>
              <p:tags r:id="rId4"/>
            </p:custDataLst>
          </p:nvPr>
        </p:nvPicPr>
        <p:blipFill>
          <a:blip r:embed="rId21">
            <a:biLevel thresh="25000"/>
            <a:extLst>
              <a:ext uri="{BEBA8EAE-BF5A-486C-A8C5-ECC9F3942E4B}">
                <a14:imgProps xmlns:a14="http://schemas.microsoft.com/office/drawing/2010/main">
                  <a14:imgLayer r:embed="rId22">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2472613" y="989384"/>
            <a:ext cx="4432684" cy="2454422"/>
          </a:xfrm>
          <a:prstGeom prst="rect">
            <a:avLst/>
          </a:prstGeom>
          <a:effectLst>
            <a:outerShdw blurRad="330200" sx="102000" sy="102000" algn="ctr" rotWithShape="0">
              <a:prstClr val="black">
                <a:alpha val="86000"/>
              </a:prstClr>
            </a:outerShdw>
          </a:effectLst>
        </p:spPr>
      </p:pic>
      <p:grpSp>
        <p:nvGrpSpPr>
          <p:cNvPr id="18" name="Agrupar 17">
            <a:extLst>
              <a:ext uri="{FF2B5EF4-FFF2-40B4-BE49-F238E27FC236}">
                <a16:creationId xmlns:a16="http://schemas.microsoft.com/office/drawing/2014/main" id="{260827EB-6B7F-4117-2EA5-42BB8F1388A1}"/>
              </a:ext>
            </a:extLst>
          </p:cNvPr>
          <p:cNvGrpSpPr/>
          <p:nvPr>
            <p:custDataLst>
              <p:tags r:id="rId5"/>
            </p:custDataLst>
          </p:nvPr>
        </p:nvGrpSpPr>
        <p:grpSpPr>
          <a:xfrm>
            <a:off x="1757910" y="3540808"/>
            <a:ext cx="5483718" cy="402119"/>
            <a:chOff x="1757910" y="3754253"/>
            <a:chExt cx="5483718" cy="402119"/>
          </a:xfrm>
        </p:grpSpPr>
        <p:sp>
          <p:nvSpPr>
            <p:cNvPr id="13" name="Retângulo: Cantos Arredondados 12">
              <a:extLst>
                <a:ext uri="{FF2B5EF4-FFF2-40B4-BE49-F238E27FC236}">
                  <a16:creationId xmlns:a16="http://schemas.microsoft.com/office/drawing/2014/main" id="{241C8CB9-CFF1-86C9-0CB8-7C74011D5C7D}"/>
                </a:ext>
              </a:extLst>
            </p:cNvPr>
            <p:cNvSpPr/>
            <p:nvPr>
              <p:custDataLst>
                <p:tags r:id="rId14"/>
              </p:custDataLst>
            </p:nvPr>
          </p:nvSpPr>
          <p:spPr>
            <a:xfrm>
              <a:off x="1757910" y="3754253"/>
              <a:ext cx="5483718" cy="402119"/>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CaixaDeTexto 16">
              <a:extLst>
                <a:ext uri="{FF2B5EF4-FFF2-40B4-BE49-F238E27FC236}">
                  <a16:creationId xmlns:a16="http://schemas.microsoft.com/office/drawing/2014/main" id="{40A2ADA9-7A82-3B5C-CC94-D50774B74AE7}"/>
                </a:ext>
              </a:extLst>
            </p:cNvPr>
            <p:cNvSpPr txBox="1"/>
            <p:nvPr>
              <p:custDataLst>
                <p:tags r:id="rId15"/>
              </p:custDataLst>
            </p:nvPr>
          </p:nvSpPr>
          <p:spPr>
            <a:xfrm>
              <a:off x="1849858" y="3810686"/>
              <a:ext cx="5299825" cy="31120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800" b="0" i="0" u="none" strike="noStrike" cap="none" baseline="0" dirty="0">
                  <a:solidFill>
                    <a:srgbClr val="FFFFFF"/>
                  </a:solidFill>
                  <a:effectLst/>
                  <a:uFillTx/>
                  <a:latin typeface="Segoe UI Light"/>
                </a:rPr>
                <a:t>INVESTOR RELATIONS | </a:t>
              </a:r>
              <a:r>
                <a:rPr lang="en-US" sz="1400" b="0" i="0" u="none" strike="noStrike" cap="none" baseline="0" dirty="0">
                  <a:solidFill>
                    <a:srgbClr val="FFFFFF"/>
                  </a:solidFill>
                  <a:effectLst/>
                  <a:uFillTx/>
                  <a:latin typeface="Segoe UI Light"/>
                </a:rPr>
                <a:t>TEAM</a:t>
              </a:r>
            </a:p>
          </p:txBody>
        </p:sp>
      </p:grpSp>
      <p:pic>
        <p:nvPicPr>
          <p:cNvPr id="19" name="Imagem 18">
            <a:hlinkClick r:id="rId23"/>
            <a:extLst>
              <a:ext uri="{FF2B5EF4-FFF2-40B4-BE49-F238E27FC236}">
                <a16:creationId xmlns:a16="http://schemas.microsoft.com/office/drawing/2014/main" id="{5AB010F7-E1A4-94C7-D955-AC4547572E09}"/>
              </a:ext>
            </a:extLst>
          </p:cNvPr>
          <p:cNvPicPr>
            <a:picLocks noChangeAspect="1"/>
          </p:cNvPicPr>
          <p:nvPr>
            <p:custDataLst>
              <p:tags r:id="rId6"/>
            </p:custDataLst>
          </p:nvPr>
        </p:nvPicPr>
        <p:blipFill>
          <a:blip r:embed="rId24">
            <a:extLst>
              <a:ext uri="{28A0092B-C50C-407E-A947-70E740481C1C}">
                <a14:useLocalDpi xmlns:a14="http://schemas.microsoft.com/office/drawing/2010/main"/>
              </a:ext>
            </a:extLst>
          </a:blip>
          <a:srcRect r="94089" b="-10030"/>
          <a:stretch>
            <a:fillRect/>
          </a:stretch>
        </p:blipFill>
        <p:spPr>
          <a:xfrm>
            <a:off x="211700" y="4625933"/>
            <a:ext cx="195074" cy="280976"/>
          </a:xfrm>
          <a:prstGeom prst="rect">
            <a:avLst/>
          </a:prstGeom>
        </p:spPr>
      </p:pic>
      <p:sp>
        <p:nvSpPr>
          <p:cNvPr id="20" name="CaixaDeTexto 19">
            <a:extLst>
              <a:ext uri="{FF2B5EF4-FFF2-40B4-BE49-F238E27FC236}">
                <a16:creationId xmlns:a16="http://schemas.microsoft.com/office/drawing/2014/main" id="{D2EC691C-BB1F-E98C-858A-E70466958FE9}"/>
              </a:ext>
            </a:extLst>
          </p:cNvPr>
          <p:cNvSpPr txBox="1"/>
          <p:nvPr>
            <p:custDataLst>
              <p:tags r:id="rId7"/>
            </p:custDataLst>
          </p:nvPr>
        </p:nvSpPr>
        <p:spPr>
          <a:xfrm>
            <a:off x="2297470" y="4040971"/>
            <a:ext cx="1535464"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hlinkClick r:id="rId25" history="0"/>
              </a:rPr>
              <a:t>ri@isacteep.com.br</a:t>
            </a:r>
          </a:p>
        </p:txBody>
      </p:sp>
      <p:pic>
        <p:nvPicPr>
          <p:cNvPr id="21" name="Imagem 20">
            <a:hlinkClick r:id="rId26"/>
            <a:extLst>
              <a:ext uri="{FF2B5EF4-FFF2-40B4-BE49-F238E27FC236}">
                <a16:creationId xmlns:a16="http://schemas.microsoft.com/office/drawing/2014/main" id="{EDF9E624-B6C3-5381-E493-44FD5C8201D2}"/>
              </a:ext>
            </a:extLst>
          </p:cNvPr>
          <p:cNvPicPr>
            <a:picLocks noChangeAspect="1"/>
          </p:cNvPicPr>
          <p:nvPr>
            <p:custDataLst>
              <p:tags r:id="rId8"/>
            </p:custDataLst>
          </p:nvPr>
        </p:nvPicPr>
        <p:blipFill>
          <a:blip r:embed="rId27">
            <a:extLst>
              <a:ext uri="{28A0092B-C50C-407E-A947-70E740481C1C}">
                <a14:useLocalDpi xmlns:a14="http://schemas.microsoft.com/office/drawing/2010/main"/>
              </a:ext>
            </a:extLst>
          </a:blip>
          <a:srcRect l="5911" r="87674" b="-10030"/>
          <a:stretch>
            <a:fillRect/>
          </a:stretch>
        </p:blipFill>
        <p:spPr>
          <a:xfrm>
            <a:off x="406774" y="4625933"/>
            <a:ext cx="211700" cy="280976"/>
          </a:xfrm>
          <a:prstGeom prst="rect">
            <a:avLst/>
          </a:prstGeom>
        </p:spPr>
      </p:pic>
      <p:pic>
        <p:nvPicPr>
          <p:cNvPr id="22" name="Imagem 21">
            <a:extLst>
              <a:ext uri="{FF2B5EF4-FFF2-40B4-BE49-F238E27FC236}">
                <a16:creationId xmlns:a16="http://schemas.microsoft.com/office/drawing/2014/main" id="{AA03B452-E5DC-19E3-2EDE-5A9049D599D8}"/>
              </a:ext>
            </a:extLst>
          </p:cNvPr>
          <p:cNvPicPr>
            <a:picLocks noChangeAspect="1"/>
          </p:cNvPicPr>
          <p:nvPr>
            <p:custDataLst>
              <p:tags r:id="rId9"/>
            </p:custDataLst>
          </p:nvPr>
        </p:nvPicPr>
        <p:blipFill>
          <a:blip r:embed="rId27">
            <a:extLst>
              <a:ext uri="{28A0092B-C50C-407E-A947-70E740481C1C}">
                <a14:useLocalDpi xmlns:a14="http://schemas.microsoft.com/office/drawing/2010/main"/>
              </a:ext>
            </a:extLst>
          </a:blip>
          <a:srcRect l="12326" r="81259" b="-10030"/>
          <a:stretch>
            <a:fillRect/>
          </a:stretch>
        </p:blipFill>
        <p:spPr>
          <a:xfrm>
            <a:off x="618474" y="4625933"/>
            <a:ext cx="211700" cy="280976"/>
          </a:xfrm>
          <a:prstGeom prst="rect">
            <a:avLst/>
          </a:prstGeom>
        </p:spPr>
      </p:pic>
      <p:pic>
        <p:nvPicPr>
          <p:cNvPr id="23" name="Imagem 22">
            <a:hlinkClick r:id="rId28"/>
            <a:extLst>
              <a:ext uri="{FF2B5EF4-FFF2-40B4-BE49-F238E27FC236}">
                <a16:creationId xmlns:a16="http://schemas.microsoft.com/office/drawing/2014/main" id="{D708D0DD-2FE4-559B-4091-4CF2AF104AA8}"/>
              </a:ext>
            </a:extLst>
          </p:cNvPr>
          <p:cNvPicPr>
            <a:picLocks noChangeAspect="1"/>
          </p:cNvPicPr>
          <p:nvPr>
            <p:custDataLst>
              <p:tags r:id="rId10"/>
            </p:custDataLst>
          </p:nvPr>
        </p:nvPicPr>
        <p:blipFill>
          <a:blip r:embed="rId29">
            <a:extLst>
              <a:ext uri="{28A0092B-C50C-407E-A947-70E740481C1C}">
                <a14:useLocalDpi xmlns:a14="http://schemas.microsoft.com/office/drawing/2010/main"/>
              </a:ext>
            </a:extLst>
          </a:blip>
          <a:srcRect l="18741" r="74844" b="-10030"/>
          <a:stretch>
            <a:fillRect/>
          </a:stretch>
        </p:blipFill>
        <p:spPr>
          <a:xfrm>
            <a:off x="830174" y="4625933"/>
            <a:ext cx="211700" cy="280976"/>
          </a:xfrm>
          <a:prstGeom prst="rect">
            <a:avLst/>
          </a:prstGeom>
        </p:spPr>
      </p:pic>
      <p:pic>
        <p:nvPicPr>
          <p:cNvPr id="24" name="Imagem 23">
            <a:hlinkClick r:id="rId30"/>
            <a:extLst>
              <a:ext uri="{FF2B5EF4-FFF2-40B4-BE49-F238E27FC236}">
                <a16:creationId xmlns:a16="http://schemas.microsoft.com/office/drawing/2014/main" id="{83075D75-2EE3-34A5-D811-A1F2566D7C63}"/>
              </a:ext>
            </a:extLst>
          </p:cNvPr>
          <p:cNvPicPr>
            <a:picLocks noChangeAspect="1"/>
          </p:cNvPicPr>
          <p:nvPr>
            <p:custDataLst>
              <p:tags r:id="rId11"/>
            </p:custDataLst>
          </p:nvPr>
        </p:nvPicPr>
        <p:blipFill>
          <a:blip r:embed="rId27">
            <a:extLst>
              <a:ext uri="{28A0092B-C50C-407E-A947-70E740481C1C}">
                <a14:useLocalDpi xmlns:a14="http://schemas.microsoft.com/office/drawing/2010/main"/>
              </a:ext>
            </a:extLst>
          </a:blip>
          <a:srcRect l="25156" r="66604" b="-10030"/>
          <a:stretch>
            <a:fillRect/>
          </a:stretch>
        </p:blipFill>
        <p:spPr>
          <a:xfrm>
            <a:off x="1041874" y="4625933"/>
            <a:ext cx="271918" cy="280976"/>
          </a:xfrm>
          <a:prstGeom prst="rect">
            <a:avLst/>
          </a:prstGeom>
        </p:spPr>
      </p:pic>
      <p:sp>
        <p:nvSpPr>
          <p:cNvPr id="26" name="CaixaDeTexto 25">
            <a:extLst>
              <a:ext uri="{FF2B5EF4-FFF2-40B4-BE49-F238E27FC236}">
                <a16:creationId xmlns:a16="http://schemas.microsoft.com/office/drawing/2014/main" id="{EBFA4C7C-78FC-FD11-1A7D-5D3F1C8930AD}"/>
              </a:ext>
            </a:extLst>
          </p:cNvPr>
          <p:cNvSpPr txBox="1"/>
          <p:nvPr>
            <p:custDataLst>
              <p:tags r:id="rId12"/>
            </p:custDataLst>
          </p:nvPr>
        </p:nvSpPr>
        <p:spPr>
          <a:xfrm>
            <a:off x="3732038" y="4040971"/>
            <a:ext cx="1535464"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hlinkClick r:id="rId26" history="0"/>
              </a:rPr>
              <a:t>@isacteepbr </a:t>
            </a:r>
          </a:p>
        </p:txBody>
      </p:sp>
      <p:sp>
        <p:nvSpPr>
          <p:cNvPr id="27" name="CaixaDeTexto 26">
            <a:extLst>
              <a:ext uri="{FF2B5EF4-FFF2-40B4-BE49-F238E27FC236}">
                <a16:creationId xmlns:a16="http://schemas.microsoft.com/office/drawing/2014/main" id="{2264250A-CE47-986F-6CBA-E0DE97A3901B}"/>
              </a:ext>
            </a:extLst>
          </p:cNvPr>
          <p:cNvSpPr txBox="1"/>
          <p:nvPr>
            <p:custDataLst>
              <p:tags r:id="rId13"/>
            </p:custDataLst>
          </p:nvPr>
        </p:nvSpPr>
        <p:spPr>
          <a:xfrm>
            <a:off x="5166446" y="4040971"/>
            <a:ext cx="1855974" cy="237982"/>
          </a:xfrm>
          <a:prstGeom prst="rect">
            <a:avLst/>
          </a:prstGeom>
          <a:noFill/>
        </p:spPr>
        <p:txBody>
          <a:bodyPr wrap="square" rtlCol="0" anchor="ctr">
            <a:spAutoFit/>
          </a:bodyPr>
          <a:lstStyle/>
          <a:p>
            <a:pPr marL="0" marR="0" lvl="0" indent="0" algn="ctr" defTabSz="449931" rtl="0" eaLnBrk="1" fontAlgn="auto" latinLnBrk="0" hangingPunct="1">
              <a:lnSpc>
                <a:spcPct val="80000"/>
              </a:lnSpc>
              <a:spcBef>
                <a:spcPts val="148"/>
              </a:spcBef>
              <a:spcAft>
                <a:spcPts val="148"/>
              </a:spcAft>
              <a:buClrTx/>
              <a:buSzTx/>
              <a:buFontTx/>
              <a:buNone/>
              <a:defRPr/>
            </a:pPr>
            <a:r>
              <a:rPr lang="en-US" sz="1200" b="0" i="0" u="none" strike="noStrike" cap="none" baseline="0" dirty="0">
                <a:solidFill>
                  <a:srgbClr val="011F57"/>
                </a:solidFill>
                <a:effectLst/>
                <a:uFillTx/>
                <a:latin typeface="Segoe UI"/>
                <a:hlinkClick r:id="rId31" history="0"/>
              </a:rPr>
              <a:t>www.isacteep.com.br/ri</a:t>
            </a:r>
          </a:p>
        </p:txBody>
      </p:sp>
    </p:spTree>
    <p:extLst>
      <p:ext uri="{BB962C8B-B14F-4D97-AF65-F5344CB8AC3E}">
        <p14:creationId xmlns:p14="http://schemas.microsoft.com/office/powerpoint/2010/main" val="1538585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childTnLst>
                                </p:cTn>
                              </p:par>
                              <p:par>
                                <p:cTn id="8" presetID="10" presetClass="entr" presetSubtype="0" fill="hold" nodeType="withEffect">
                                  <p:stCondLst>
                                    <p:cond delay="25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par>
                                <p:cTn id="11" presetID="35" presetClass="path" presetSubtype="0" accel="17000" decel="83000" fill="hold" nodeType="withEffect">
                                  <p:stCondLst>
                                    <p:cond delay="250"/>
                                  </p:stCondLst>
                                  <p:childTnLst>
                                    <p:animMotion origin="layout" path="M 0.00053 -0.04484 L 4.44523E-07 -4.78206E-06" pathEditMode="relative" rAng="0" ptsTypes="AA">
                                      <p:cBhvr>
                                        <p:cTn id="12" dur="2000" fill="hold"/>
                                        <p:tgtEl>
                                          <p:spTgt spid="12"/>
                                        </p:tgtEl>
                                        <p:attrNameLst>
                                          <p:attrName>ppt_x</p:attrName>
                                          <p:attrName>ppt_y</p:attrName>
                                        </p:attrNameLst>
                                      </p:cBhvr>
                                      <p:rCtr x="-35" y="2226"/>
                                    </p:animMotion>
                                  </p:childTnLst>
                                </p:cTn>
                              </p:par>
                              <p:par>
                                <p:cTn id="13" presetID="10" presetClass="entr" presetSubtype="0" fill="hold" nodeType="withEffect">
                                  <p:stCondLst>
                                    <p:cond delay="75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23" presetClass="entr" presetSubtype="288" fill="hold" nodeType="withEffect">
                                  <p:stCondLst>
                                    <p:cond delay="750"/>
                                  </p:stCondLst>
                                  <p:childTnLst>
                                    <p:set>
                                      <p:cBhvr>
                                        <p:cTn id="17" dur="1" fill="hold">
                                          <p:stCondLst>
                                            <p:cond delay="0"/>
                                          </p:stCondLst>
                                        </p:cTn>
                                        <p:tgtEl>
                                          <p:spTgt spid="18"/>
                                        </p:tgtEl>
                                        <p:attrNameLst>
                                          <p:attrName>style.visibility</p:attrName>
                                        </p:attrNameLst>
                                      </p:cBhvr>
                                      <p:to>
                                        <p:strVal val="visible"/>
                                      </p:to>
                                    </p:set>
                                    <p:anim calcmode="lin" valueType="num">
                                      <p:cBhvr>
                                        <p:cTn id="18" dur="500" fill="hold"/>
                                        <p:tgtEl>
                                          <p:spTgt spid="18"/>
                                        </p:tgtEl>
                                        <p:attrNameLst>
                                          <p:attrName>ppt_w</p:attrName>
                                        </p:attrNameLst>
                                      </p:cBhvr>
                                      <p:tavLst>
                                        <p:tav tm="0">
                                          <p:val>
                                            <p:strVal val="4/3*#ppt_w"/>
                                          </p:val>
                                        </p:tav>
                                        <p:tav tm="100000">
                                          <p:val>
                                            <p:strVal val="#ppt_w"/>
                                          </p:val>
                                        </p:tav>
                                      </p:tavLst>
                                    </p:anim>
                                    <p:anim calcmode="lin" valueType="num">
                                      <p:cBhvr>
                                        <p:cTn id="19" dur="500" fill="hold"/>
                                        <p:tgtEl>
                                          <p:spTgt spid="18"/>
                                        </p:tgtEl>
                                        <p:attrNameLst>
                                          <p:attrName>ppt_h</p:attrName>
                                        </p:attrNameLst>
                                      </p:cBhvr>
                                      <p:tavLst>
                                        <p:tav tm="0">
                                          <p:val>
                                            <p:strVal val="4/3*#ppt_h"/>
                                          </p:val>
                                        </p:tav>
                                        <p:tav tm="100000">
                                          <p:val>
                                            <p:strVal val="#ppt_h"/>
                                          </p:val>
                                        </p:tav>
                                      </p:tavLst>
                                    </p:anim>
                                  </p:childTnLst>
                                </p:cTn>
                              </p:par>
                              <p:par>
                                <p:cTn id="20" presetID="10" presetClass="entr" presetSubtype="0" fill="hold" grpId="0" nodeType="withEffect">
                                  <p:stCondLst>
                                    <p:cond delay="10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35" presetClass="path" presetSubtype="0" accel="17000" decel="83000" fill="hold" grpId="1" nodeType="withEffect">
                                  <p:stCondLst>
                                    <p:cond delay="1000"/>
                                  </p:stCondLst>
                                  <p:childTnLst>
                                    <p:animMotion origin="layout" path="M -4.44876E-06 0.04485 L -4.44876E-06 -4.16118E-06" pathEditMode="relative" rAng="0" ptsTypes="AA">
                                      <p:cBhvr>
                                        <p:cTn id="24" dur="1100" fill="hold"/>
                                        <p:tgtEl>
                                          <p:spTgt spid="20"/>
                                        </p:tgtEl>
                                        <p:attrNameLst>
                                          <p:attrName>ppt_x</p:attrName>
                                          <p:attrName>ppt_y</p:attrName>
                                        </p:attrNameLst>
                                      </p:cBhvr>
                                      <p:rCtr x="0" y="-2258"/>
                                    </p:animMotion>
                                  </p:childTnLst>
                                </p:cTn>
                              </p:par>
                              <p:par>
                                <p:cTn id="25" presetID="10" presetClass="entr" presetSubtype="0" fill="hold" nodeType="withEffect">
                                  <p:stCondLst>
                                    <p:cond delay="125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nodeType="withEffect">
                                  <p:stCondLst>
                                    <p:cond delay="125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nodeType="withEffect">
                                  <p:stCondLst>
                                    <p:cond delay="125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par>
                                <p:cTn id="34" presetID="10" presetClass="entr" presetSubtype="0" fill="hold" nodeType="withEffect">
                                  <p:stCondLst>
                                    <p:cond delay="1250"/>
                                  </p:stCondLst>
                                  <p:childTnLst>
                                    <p:set>
                                      <p:cBhvr>
                                        <p:cTn id="35" dur="1" fill="hold">
                                          <p:stCondLst>
                                            <p:cond delay="0"/>
                                          </p:stCondLst>
                                        </p:cTn>
                                        <p:tgtEl>
                                          <p:spTgt spid="23"/>
                                        </p:tgtEl>
                                        <p:attrNameLst>
                                          <p:attrName>style.visibility</p:attrName>
                                        </p:attrNameLst>
                                      </p:cBhvr>
                                      <p:to>
                                        <p:strVal val="visible"/>
                                      </p:to>
                                    </p:set>
                                    <p:animEffect transition="in" filter="fade">
                                      <p:cBhvr>
                                        <p:cTn id="36" dur="500"/>
                                        <p:tgtEl>
                                          <p:spTgt spid="23"/>
                                        </p:tgtEl>
                                      </p:cBhvr>
                                    </p:animEffect>
                                  </p:childTnLst>
                                </p:cTn>
                              </p:par>
                              <p:par>
                                <p:cTn id="37" presetID="10" presetClass="entr" presetSubtype="0" fill="hold" nodeType="withEffect">
                                  <p:stCondLst>
                                    <p:cond delay="1250"/>
                                  </p:stCondLst>
                                  <p:childTnLst>
                                    <p:set>
                                      <p:cBhvr>
                                        <p:cTn id="38" dur="1" fill="hold">
                                          <p:stCondLst>
                                            <p:cond delay="0"/>
                                          </p:stCondLst>
                                        </p:cTn>
                                        <p:tgtEl>
                                          <p:spTgt spid="24"/>
                                        </p:tgtEl>
                                        <p:attrNameLst>
                                          <p:attrName>style.visibility</p:attrName>
                                        </p:attrNameLst>
                                      </p:cBhvr>
                                      <p:to>
                                        <p:strVal val="visible"/>
                                      </p:to>
                                    </p:set>
                                    <p:animEffect transition="in" filter="fade">
                                      <p:cBhvr>
                                        <p:cTn id="39" dur="500"/>
                                        <p:tgtEl>
                                          <p:spTgt spid="24"/>
                                        </p:tgtEl>
                                      </p:cBhvr>
                                    </p:animEffect>
                                  </p:childTnLst>
                                </p:cTn>
                              </p:par>
                              <p:par>
                                <p:cTn id="40" presetID="10" presetClass="entr" presetSubtype="0" fill="hold" grpId="0" nodeType="withEffect">
                                  <p:stCondLst>
                                    <p:cond delay="100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childTnLst>
                                </p:cTn>
                              </p:par>
                              <p:par>
                                <p:cTn id="43" presetID="35" presetClass="path" presetSubtype="0" accel="17000" decel="83000" fill="hold" grpId="1" nodeType="withEffect">
                                  <p:stCondLst>
                                    <p:cond delay="1000"/>
                                  </p:stCondLst>
                                  <p:childTnLst>
                                    <p:animMotion origin="layout" path="M -1.80102E-06 0.04485 L -1.80102E-06 -4.16118E-06" pathEditMode="relative" rAng="0" ptsTypes="AA">
                                      <p:cBhvr>
                                        <p:cTn id="44" dur="1100" fill="hold"/>
                                        <p:tgtEl>
                                          <p:spTgt spid="26"/>
                                        </p:tgtEl>
                                        <p:attrNameLst>
                                          <p:attrName>ppt_x</p:attrName>
                                          <p:attrName>ppt_y</p:attrName>
                                        </p:attrNameLst>
                                      </p:cBhvr>
                                      <p:rCtr x="0" y="-2258"/>
                                    </p:animMotion>
                                  </p:childTnLst>
                                </p:cTn>
                              </p:par>
                              <p:par>
                                <p:cTn id="45" presetID="10" presetClass="entr" presetSubtype="0" fill="hold" grpId="0" nodeType="withEffect">
                                  <p:stCondLst>
                                    <p:cond delay="100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par>
                                <p:cTn id="48" presetID="35" presetClass="path" presetSubtype="0" accel="17000" decel="83000" fill="hold" grpId="1" nodeType="withEffect">
                                  <p:stCondLst>
                                    <p:cond delay="1000"/>
                                  </p:stCondLst>
                                  <p:childTnLst>
                                    <p:animMotion origin="layout" path="M -1.74458E-06 0.04485 L -1.74458E-06 -4.16118E-06" pathEditMode="relative" rAng="0" ptsTypes="AA">
                                      <p:cBhvr>
                                        <p:cTn id="49" dur="1100" fill="hold"/>
                                        <p:tgtEl>
                                          <p:spTgt spid="27"/>
                                        </p:tgtEl>
                                        <p:attrNameLst>
                                          <p:attrName>ppt_x</p:attrName>
                                          <p:attrName>ppt_y</p:attrName>
                                        </p:attrNameLst>
                                      </p:cBhvr>
                                      <p:rCtr x="0" y="-22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0" grpId="1"/>
      <p:bldP spid="26" grpId="0"/>
      <p:bldP spid="26" grpId="1"/>
      <p:bldP spid="27" grpId="0"/>
      <p:bldP spid="27" grpId="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m 4" descr="Imagem em branco e azul&#10;&#10;Descrição gerada automaticamente com confiança média">
            <a:extLst>
              <a:ext uri="{FF2B5EF4-FFF2-40B4-BE49-F238E27FC236}">
                <a16:creationId xmlns:a16="http://schemas.microsoft.com/office/drawing/2014/main" id="{2FED3438-4195-E794-5D6C-8E6275E7AAEC}"/>
              </a:ext>
            </a:extLst>
          </p:cNvPr>
          <p:cNvPicPr>
            <a:picLocks noChangeAspect="1"/>
          </p:cNvPicPr>
          <p:nvPr>
            <p:custDataLst>
              <p:tags r:id="rId1"/>
            </p:custDataLst>
          </p:nvPr>
        </p:nvPicPr>
        <p:blipFill>
          <a:blip r:embed="rId34">
            <a:extLst>
              <a:ext uri="{28A0092B-C50C-407E-A947-70E740481C1C}">
                <a14:useLocalDpi xmlns:a14="http://schemas.microsoft.com/office/drawing/2010/main"/>
              </a:ext>
            </a:extLst>
          </a:blip>
          <a:stretch>
            <a:fillRect/>
          </a:stretch>
        </p:blipFill>
        <p:spPr>
          <a:xfrm>
            <a:off x="0" y="0"/>
            <a:ext cx="8999538" cy="5062240"/>
          </a:xfrm>
          <a:prstGeom prst="rect">
            <a:avLst/>
          </a:prstGeom>
        </p:spPr>
      </p:pic>
      <p:pic>
        <p:nvPicPr>
          <p:cNvPr id="32" name="Imagem 31" descr="Uma imagem contendo água, pessoa, homem, frente&#10;&#10;Descrição gerada automaticamente">
            <a:extLst>
              <a:ext uri="{FF2B5EF4-FFF2-40B4-BE49-F238E27FC236}">
                <a16:creationId xmlns:a16="http://schemas.microsoft.com/office/drawing/2014/main" id="{89066C97-FB36-8BA0-A752-E2F18630A39C}"/>
              </a:ext>
            </a:extLst>
          </p:cNvPr>
          <p:cNvPicPr>
            <a:picLocks noChangeAspect="1"/>
          </p:cNvPicPr>
          <p:nvPr>
            <p:custDataLst>
              <p:tags r:id="rId2"/>
            </p:custDataLst>
          </p:nvPr>
        </p:nvPicPr>
        <p:blipFill>
          <a:blip r:embed="rId35">
            <a:extLst>
              <a:ext uri="{28A0092B-C50C-407E-A947-70E740481C1C}">
                <a14:useLocalDpi xmlns:a14="http://schemas.microsoft.com/office/drawing/2010/main"/>
              </a:ext>
            </a:extLst>
          </a:blip>
          <a:stretch>
            <a:fillRect/>
          </a:stretch>
        </p:blipFill>
        <p:spPr>
          <a:xfrm flipH="1">
            <a:off x="0" y="0"/>
            <a:ext cx="8999538" cy="5062240"/>
          </a:xfrm>
          <a:prstGeom prst="rect">
            <a:avLst/>
          </a:prstGeom>
        </p:spPr>
      </p:pic>
      <p:grpSp>
        <p:nvGrpSpPr>
          <p:cNvPr id="50" name="Agrupar 49">
            <a:extLst>
              <a:ext uri="{FF2B5EF4-FFF2-40B4-BE49-F238E27FC236}">
                <a16:creationId xmlns:a16="http://schemas.microsoft.com/office/drawing/2014/main" id="{6871F4FB-4BD9-C52C-7563-C8FEFF7B6F87}"/>
              </a:ext>
            </a:extLst>
          </p:cNvPr>
          <p:cNvGrpSpPr/>
          <p:nvPr>
            <p:custDataLst>
              <p:tags r:id="rId3"/>
            </p:custDataLst>
          </p:nvPr>
        </p:nvGrpSpPr>
        <p:grpSpPr>
          <a:xfrm>
            <a:off x="4177594" y="605125"/>
            <a:ext cx="5073313" cy="296882"/>
            <a:chOff x="4177594" y="605125"/>
            <a:chExt cx="5073313" cy="296882"/>
          </a:xfrm>
        </p:grpSpPr>
        <p:sp>
          <p:nvSpPr>
            <p:cNvPr id="24" name="Retângulo: Cantos Arredondados 23">
              <a:extLst>
                <a:ext uri="{FF2B5EF4-FFF2-40B4-BE49-F238E27FC236}">
                  <a16:creationId xmlns:a16="http://schemas.microsoft.com/office/drawing/2014/main" id="{CB1A97D7-B711-0564-8E0A-A6C3BD7BCC00}"/>
                </a:ext>
              </a:extLst>
            </p:cNvPr>
            <p:cNvSpPr/>
            <p:nvPr>
              <p:custDataLst>
                <p:tags r:id="rId30"/>
              </p:custDataLst>
            </p:nvPr>
          </p:nvSpPr>
          <p:spPr>
            <a:xfrm>
              <a:off x="4177594" y="605125"/>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25" name="CaixaDeTexto 24">
              <a:extLst>
                <a:ext uri="{FF2B5EF4-FFF2-40B4-BE49-F238E27FC236}">
                  <a16:creationId xmlns:a16="http://schemas.microsoft.com/office/drawing/2014/main" id="{7A267D24-E651-AFD0-295E-3CC0C1A4381E}"/>
                </a:ext>
              </a:extLst>
            </p:cNvPr>
            <p:cNvSpPr txBox="1"/>
            <p:nvPr>
              <p:custDataLst>
                <p:tags r:id="rId31"/>
              </p:custDataLst>
            </p:nvPr>
          </p:nvSpPr>
          <p:spPr>
            <a:xfrm>
              <a:off x="4254206" y="637319"/>
              <a:ext cx="3350498"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defTabSz="234364">
                <a:spcBef>
                  <a:spcPct val="0"/>
                </a:spcBef>
                <a:spcAft>
                  <a:spcPct val="0"/>
                </a:spcAft>
                <a:defRPr/>
              </a:pPr>
              <a:r>
                <a:rPr lang="en-US" sz="1400" b="1" spc="0" dirty="0">
                  <a:solidFill>
                    <a:prstClr val="white"/>
                  </a:solidFill>
                  <a:latin typeface="Segoe UI" panose="020B0502040204020203" pitchFamily="34" charset="0"/>
                  <a:ea typeface="Segoe UI Black" panose="020B0A02040204020203" pitchFamily="34" charset="0"/>
                  <a:cs typeface="Segoe UI" panose="020B0502040204020203" pitchFamily="34" charset="0"/>
                </a:rPr>
                <a:t>Safety culture</a:t>
              </a:r>
            </a:p>
          </p:txBody>
        </p:sp>
      </p:grpSp>
      <p:grpSp>
        <p:nvGrpSpPr>
          <p:cNvPr id="51" name="Agrupar 50">
            <a:extLst>
              <a:ext uri="{FF2B5EF4-FFF2-40B4-BE49-F238E27FC236}">
                <a16:creationId xmlns:a16="http://schemas.microsoft.com/office/drawing/2014/main" id="{44E20BF9-2CAF-AADD-685F-8048BF330942}"/>
              </a:ext>
            </a:extLst>
          </p:cNvPr>
          <p:cNvGrpSpPr/>
          <p:nvPr>
            <p:custDataLst>
              <p:tags r:id="rId4"/>
            </p:custDataLst>
          </p:nvPr>
        </p:nvGrpSpPr>
        <p:grpSpPr>
          <a:xfrm>
            <a:off x="4177594" y="1227688"/>
            <a:ext cx="5073313" cy="296883"/>
            <a:chOff x="4177594" y="1227688"/>
            <a:chExt cx="5073313" cy="296883"/>
          </a:xfrm>
        </p:grpSpPr>
        <p:sp>
          <p:nvSpPr>
            <p:cNvPr id="6" name="Retângulo: Cantos Arredondados 5">
              <a:extLst>
                <a:ext uri="{FF2B5EF4-FFF2-40B4-BE49-F238E27FC236}">
                  <a16:creationId xmlns:a16="http://schemas.microsoft.com/office/drawing/2014/main" id="{105C274C-36E6-C5B2-F40E-5FC69ABF782C}"/>
                </a:ext>
              </a:extLst>
            </p:cNvPr>
            <p:cNvSpPr/>
            <p:nvPr>
              <p:custDataLst>
                <p:tags r:id="rId28"/>
              </p:custDataLst>
            </p:nvPr>
          </p:nvSpPr>
          <p:spPr>
            <a:xfrm>
              <a:off x="4177594" y="1227688"/>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7" name="CaixaDeTexto 6">
              <a:extLst>
                <a:ext uri="{FF2B5EF4-FFF2-40B4-BE49-F238E27FC236}">
                  <a16:creationId xmlns:a16="http://schemas.microsoft.com/office/drawing/2014/main" id="{1E7F3330-3819-93DB-6617-C5D77C08D3ED}"/>
                </a:ext>
              </a:extLst>
            </p:cNvPr>
            <p:cNvSpPr txBox="1"/>
            <p:nvPr>
              <p:custDataLst>
                <p:tags r:id="rId29"/>
              </p:custDataLst>
            </p:nvPr>
          </p:nvSpPr>
          <p:spPr>
            <a:xfrm>
              <a:off x="4254206" y="1261032"/>
              <a:ext cx="3350498"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Energy transition </a:t>
              </a:r>
            </a:p>
          </p:txBody>
        </p:sp>
      </p:grpSp>
      <p:grpSp>
        <p:nvGrpSpPr>
          <p:cNvPr id="52" name="Agrupar 51">
            <a:extLst>
              <a:ext uri="{FF2B5EF4-FFF2-40B4-BE49-F238E27FC236}">
                <a16:creationId xmlns:a16="http://schemas.microsoft.com/office/drawing/2014/main" id="{9DD85358-86DA-1194-3499-ADC4F099B471}"/>
              </a:ext>
            </a:extLst>
          </p:cNvPr>
          <p:cNvGrpSpPr/>
          <p:nvPr>
            <p:custDataLst>
              <p:tags r:id="rId5"/>
            </p:custDataLst>
          </p:nvPr>
        </p:nvGrpSpPr>
        <p:grpSpPr>
          <a:xfrm>
            <a:off x="4177594" y="1850251"/>
            <a:ext cx="5073313" cy="296883"/>
            <a:chOff x="4177594" y="1850251"/>
            <a:chExt cx="5073313" cy="296883"/>
          </a:xfrm>
        </p:grpSpPr>
        <p:sp>
          <p:nvSpPr>
            <p:cNvPr id="9" name="Retângulo: Cantos Arredondados 8">
              <a:extLst>
                <a:ext uri="{FF2B5EF4-FFF2-40B4-BE49-F238E27FC236}">
                  <a16:creationId xmlns:a16="http://schemas.microsoft.com/office/drawing/2014/main" id="{E3A636B0-932F-B278-A7F7-87B8C6DFC234}"/>
                </a:ext>
              </a:extLst>
            </p:cNvPr>
            <p:cNvSpPr/>
            <p:nvPr>
              <p:custDataLst>
                <p:tags r:id="rId26"/>
              </p:custDataLst>
            </p:nvPr>
          </p:nvSpPr>
          <p:spPr>
            <a:xfrm>
              <a:off x="4177594" y="1850251"/>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10" name="CaixaDeTexto 9">
              <a:extLst>
                <a:ext uri="{FF2B5EF4-FFF2-40B4-BE49-F238E27FC236}">
                  <a16:creationId xmlns:a16="http://schemas.microsoft.com/office/drawing/2014/main" id="{02060BA7-8EC5-0C46-E830-5F05BC2CE57D}"/>
                </a:ext>
              </a:extLst>
            </p:cNvPr>
            <p:cNvSpPr txBox="1"/>
            <p:nvPr>
              <p:custDataLst>
                <p:tags r:id="rId27"/>
              </p:custDataLst>
            </p:nvPr>
          </p:nvSpPr>
          <p:spPr>
            <a:xfrm>
              <a:off x="4254208" y="1883595"/>
              <a:ext cx="4091986"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Growth and sustainability</a:t>
              </a:r>
            </a:p>
          </p:txBody>
        </p:sp>
      </p:grpSp>
      <p:grpSp>
        <p:nvGrpSpPr>
          <p:cNvPr id="53" name="Agrupar 52">
            <a:extLst>
              <a:ext uri="{FF2B5EF4-FFF2-40B4-BE49-F238E27FC236}">
                <a16:creationId xmlns:a16="http://schemas.microsoft.com/office/drawing/2014/main" id="{DFADB187-730B-333A-F448-3C65D6CC61EA}"/>
              </a:ext>
            </a:extLst>
          </p:cNvPr>
          <p:cNvGrpSpPr/>
          <p:nvPr>
            <p:custDataLst>
              <p:tags r:id="rId6"/>
            </p:custDataLst>
          </p:nvPr>
        </p:nvGrpSpPr>
        <p:grpSpPr>
          <a:xfrm>
            <a:off x="4177594" y="2472814"/>
            <a:ext cx="5073313" cy="296883"/>
            <a:chOff x="4177594" y="2472814"/>
            <a:chExt cx="5073313" cy="296883"/>
          </a:xfrm>
        </p:grpSpPr>
        <p:sp>
          <p:nvSpPr>
            <p:cNvPr id="12" name="Retângulo: Cantos Arredondados 11">
              <a:extLst>
                <a:ext uri="{FF2B5EF4-FFF2-40B4-BE49-F238E27FC236}">
                  <a16:creationId xmlns:a16="http://schemas.microsoft.com/office/drawing/2014/main" id="{31EEE9A8-7F51-33A6-095B-7BF509311D30}"/>
                </a:ext>
              </a:extLst>
            </p:cNvPr>
            <p:cNvSpPr/>
            <p:nvPr>
              <p:custDataLst>
                <p:tags r:id="rId24"/>
              </p:custDataLst>
            </p:nvPr>
          </p:nvSpPr>
          <p:spPr>
            <a:xfrm>
              <a:off x="4177594" y="2472814"/>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13" name="CaixaDeTexto 12">
              <a:extLst>
                <a:ext uri="{FF2B5EF4-FFF2-40B4-BE49-F238E27FC236}">
                  <a16:creationId xmlns:a16="http://schemas.microsoft.com/office/drawing/2014/main" id="{A6B87CDE-C0EB-6AF9-46A3-330E9B945693}"/>
                </a:ext>
              </a:extLst>
            </p:cNvPr>
            <p:cNvSpPr txBox="1"/>
            <p:nvPr>
              <p:custDataLst>
                <p:tags r:id="rId25"/>
              </p:custDataLst>
            </p:nvPr>
          </p:nvSpPr>
          <p:spPr>
            <a:xfrm>
              <a:off x="4254207" y="2506158"/>
              <a:ext cx="4697759" cy="26239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Innovation and opportunities</a:t>
              </a:r>
            </a:p>
          </p:txBody>
        </p:sp>
      </p:grpSp>
      <p:grpSp>
        <p:nvGrpSpPr>
          <p:cNvPr id="56" name="Agrupar 55">
            <a:extLst>
              <a:ext uri="{FF2B5EF4-FFF2-40B4-BE49-F238E27FC236}">
                <a16:creationId xmlns:a16="http://schemas.microsoft.com/office/drawing/2014/main" id="{98225E44-9951-668B-65DF-73AAD756937F}"/>
              </a:ext>
            </a:extLst>
          </p:cNvPr>
          <p:cNvGrpSpPr/>
          <p:nvPr>
            <p:custDataLst>
              <p:tags r:id="rId7"/>
            </p:custDataLst>
          </p:nvPr>
        </p:nvGrpSpPr>
        <p:grpSpPr>
          <a:xfrm>
            <a:off x="4177594" y="3095377"/>
            <a:ext cx="5415426" cy="296883"/>
            <a:chOff x="4177594" y="3095377"/>
            <a:chExt cx="5415426" cy="296883"/>
          </a:xfrm>
        </p:grpSpPr>
        <p:sp>
          <p:nvSpPr>
            <p:cNvPr id="16" name="Retângulo: Cantos Arredondados 15">
              <a:extLst>
                <a:ext uri="{FF2B5EF4-FFF2-40B4-BE49-F238E27FC236}">
                  <a16:creationId xmlns:a16="http://schemas.microsoft.com/office/drawing/2014/main" id="{000AD2DD-6E49-AAC4-844F-156F2E082CB4}"/>
                </a:ext>
              </a:extLst>
            </p:cNvPr>
            <p:cNvSpPr/>
            <p:nvPr>
              <p:custDataLst>
                <p:tags r:id="rId22"/>
              </p:custDataLst>
            </p:nvPr>
          </p:nvSpPr>
          <p:spPr>
            <a:xfrm>
              <a:off x="4177594" y="3095377"/>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19" name="CaixaDeTexto 18">
              <a:extLst>
                <a:ext uri="{FF2B5EF4-FFF2-40B4-BE49-F238E27FC236}">
                  <a16:creationId xmlns:a16="http://schemas.microsoft.com/office/drawing/2014/main" id="{17C1B705-FAD9-E584-931E-0228D0163651}"/>
                </a:ext>
              </a:extLst>
            </p:cNvPr>
            <p:cNvSpPr txBox="1"/>
            <p:nvPr>
              <p:custDataLst>
                <p:tags r:id="rId23"/>
              </p:custDataLst>
            </p:nvPr>
          </p:nvSpPr>
          <p:spPr>
            <a:xfrm>
              <a:off x="4254207" y="3127572"/>
              <a:ext cx="5338813"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a:solidFill>
                    <a:srgbClr val="FFFFFF"/>
                  </a:solidFill>
                  <a:effectLst/>
                  <a:uFillTx/>
                  <a:latin typeface="Segoe UI"/>
                </a:rPr>
                <a:t>Discipline of structuring </a:t>
              </a:r>
              <a:r>
                <a:rPr lang="en-US" sz="1400" b="1" spc="0">
                  <a:solidFill>
                    <a:srgbClr val="FFFFFF"/>
                  </a:solidFill>
                  <a:latin typeface="Segoe UI"/>
                </a:rPr>
                <a:t>and executin</a:t>
              </a:r>
              <a:r>
                <a:rPr lang="en-US" sz="1400" b="1" spc="0" dirty="0">
                  <a:solidFill>
                    <a:srgbClr val="FFFFFF"/>
                  </a:solidFill>
                  <a:latin typeface="Segoe UI"/>
                </a:rPr>
                <a:t>g</a:t>
              </a:r>
              <a:r>
                <a:rPr lang="en-US" sz="1400" b="1" i="0" u="none" strike="noStrike" cap="none" spc="0" baseline="0">
                  <a:solidFill>
                    <a:srgbClr val="FFFFFF"/>
                  </a:solidFill>
                  <a:effectLst/>
                  <a:uFillTx/>
                  <a:latin typeface="Segoe UI"/>
                </a:rPr>
                <a:t> </a:t>
              </a:r>
              <a:r>
                <a:rPr lang="en-US" sz="1400" b="1" i="0" u="none" strike="noStrike" cap="none" spc="0" baseline="0" dirty="0">
                  <a:solidFill>
                    <a:srgbClr val="FFFFFF"/>
                  </a:solidFill>
                  <a:effectLst/>
                  <a:uFillTx/>
                  <a:latin typeface="Segoe UI"/>
                </a:rPr>
                <a:t>projects</a:t>
              </a:r>
            </a:p>
          </p:txBody>
        </p:sp>
      </p:grpSp>
      <p:grpSp>
        <p:nvGrpSpPr>
          <p:cNvPr id="60" name="Agrupar 59">
            <a:extLst>
              <a:ext uri="{FF2B5EF4-FFF2-40B4-BE49-F238E27FC236}">
                <a16:creationId xmlns:a16="http://schemas.microsoft.com/office/drawing/2014/main" id="{746FCA07-7896-D261-F13D-FBC00593BDDF}"/>
              </a:ext>
            </a:extLst>
          </p:cNvPr>
          <p:cNvGrpSpPr/>
          <p:nvPr>
            <p:custDataLst>
              <p:tags r:id="rId8"/>
            </p:custDataLst>
          </p:nvPr>
        </p:nvGrpSpPr>
        <p:grpSpPr>
          <a:xfrm>
            <a:off x="4177594" y="3717942"/>
            <a:ext cx="5073313" cy="296883"/>
            <a:chOff x="4177594" y="3717942"/>
            <a:chExt cx="5073313" cy="296883"/>
          </a:xfrm>
        </p:grpSpPr>
        <p:sp>
          <p:nvSpPr>
            <p:cNvPr id="21" name="Retângulo: Cantos Arredondados 20">
              <a:extLst>
                <a:ext uri="{FF2B5EF4-FFF2-40B4-BE49-F238E27FC236}">
                  <a16:creationId xmlns:a16="http://schemas.microsoft.com/office/drawing/2014/main" id="{571D33C6-8D9B-E13C-0397-3BC2E81CC18F}"/>
                </a:ext>
              </a:extLst>
            </p:cNvPr>
            <p:cNvSpPr/>
            <p:nvPr>
              <p:custDataLst>
                <p:tags r:id="rId20"/>
              </p:custDataLst>
            </p:nvPr>
          </p:nvSpPr>
          <p:spPr>
            <a:xfrm>
              <a:off x="4177594" y="3717942"/>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22" name="CaixaDeTexto 21">
              <a:extLst>
                <a:ext uri="{FF2B5EF4-FFF2-40B4-BE49-F238E27FC236}">
                  <a16:creationId xmlns:a16="http://schemas.microsoft.com/office/drawing/2014/main" id="{E0619F1B-9A2F-05BC-934E-4430914BA7F7}"/>
                </a:ext>
              </a:extLst>
            </p:cNvPr>
            <p:cNvSpPr txBox="1"/>
            <p:nvPr>
              <p:custDataLst>
                <p:tags r:id="rId21"/>
              </p:custDataLst>
            </p:nvPr>
          </p:nvSpPr>
          <p:spPr>
            <a:xfrm>
              <a:off x="4254207" y="3750137"/>
              <a:ext cx="4996700"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Regulatory management (periodic tariff review)</a:t>
              </a:r>
            </a:p>
          </p:txBody>
        </p:sp>
      </p:grpSp>
      <p:sp>
        <p:nvSpPr>
          <p:cNvPr id="33" name="CaixaDeTexto 32">
            <a:extLst>
              <a:ext uri="{FF2B5EF4-FFF2-40B4-BE49-F238E27FC236}">
                <a16:creationId xmlns:a16="http://schemas.microsoft.com/office/drawing/2014/main" id="{EDCE1B51-1867-12CB-E0A3-A714E323BFB4}"/>
              </a:ext>
            </a:extLst>
          </p:cNvPr>
          <p:cNvSpPr txBox="1"/>
          <p:nvPr>
            <p:custDataLst>
              <p:tags r:id="rId9"/>
            </p:custDataLst>
          </p:nvPr>
        </p:nvSpPr>
        <p:spPr>
          <a:xfrm>
            <a:off x="4254207" y="923676"/>
            <a:ext cx="2824533" cy="237982"/>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defRPr/>
            </a:pPr>
            <a:r>
              <a:rPr lang="en-US" sz="1200" b="0" i="0" u="none" strike="noStrike" cap="none" spc="0" baseline="0" dirty="0">
                <a:solidFill>
                  <a:srgbClr val="011F57"/>
                </a:solidFill>
                <a:effectLst/>
                <a:uFillTx/>
                <a:latin typeface="Segoe UI"/>
              </a:rPr>
              <a:t>Bruno Laurentys</a:t>
            </a:r>
          </a:p>
        </p:txBody>
      </p:sp>
      <p:sp>
        <p:nvSpPr>
          <p:cNvPr id="35" name="CaixaDeTexto 34">
            <a:extLst>
              <a:ext uri="{FF2B5EF4-FFF2-40B4-BE49-F238E27FC236}">
                <a16:creationId xmlns:a16="http://schemas.microsoft.com/office/drawing/2014/main" id="{10AE745E-B1ED-E98F-37E5-27E2BB5EDE85}"/>
              </a:ext>
            </a:extLst>
          </p:cNvPr>
          <p:cNvSpPr txBox="1"/>
          <p:nvPr>
            <p:custDataLst>
              <p:tags r:id="rId10"/>
            </p:custDataLst>
          </p:nvPr>
        </p:nvSpPr>
        <p:spPr>
          <a:xfrm>
            <a:off x="4254208" y="1538060"/>
            <a:ext cx="1832229"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Luiz Barroso</a:t>
            </a:r>
          </a:p>
        </p:txBody>
      </p:sp>
      <p:sp>
        <p:nvSpPr>
          <p:cNvPr id="36" name="CaixaDeTexto 35">
            <a:extLst>
              <a:ext uri="{FF2B5EF4-FFF2-40B4-BE49-F238E27FC236}">
                <a16:creationId xmlns:a16="http://schemas.microsoft.com/office/drawing/2014/main" id="{56320C5D-07F5-8708-E0AC-3F830DEE6039}"/>
              </a:ext>
            </a:extLst>
          </p:cNvPr>
          <p:cNvSpPr txBox="1"/>
          <p:nvPr>
            <p:custDataLst>
              <p:tags r:id="rId11"/>
            </p:custDataLst>
          </p:nvPr>
        </p:nvSpPr>
        <p:spPr>
          <a:xfrm>
            <a:off x="4254207" y="2101262"/>
            <a:ext cx="1832230"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Rui Chammas</a:t>
            </a:r>
          </a:p>
        </p:txBody>
      </p:sp>
      <p:sp>
        <p:nvSpPr>
          <p:cNvPr id="41" name="CaixaDeTexto 40">
            <a:extLst>
              <a:ext uri="{FF2B5EF4-FFF2-40B4-BE49-F238E27FC236}">
                <a16:creationId xmlns:a16="http://schemas.microsoft.com/office/drawing/2014/main" id="{C901CA44-7912-FACE-371D-A1EAABE57E2B}"/>
              </a:ext>
            </a:extLst>
          </p:cNvPr>
          <p:cNvSpPr txBox="1"/>
          <p:nvPr>
            <p:custDataLst>
              <p:tags r:id="rId12"/>
            </p:custDataLst>
          </p:nvPr>
        </p:nvSpPr>
        <p:spPr>
          <a:xfrm>
            <a:off x="4254207" y="2824310"/>
            <a:ext cx="1832230"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Silvia Wada</a:t>
            </a:r>
          </a:p>
        </p:txBody>
      </p:sp>
      <p:sp>
        <p:nvSpPr>
          <p:cNvPr id="45" name="CaixaDeTexto 44">
            <a:extLst>
              <a:ext uri="{FF2B5EF4-FFF2-40B4-BE49-F238E27FC236}">
                <a16:creationId xmlns:a16="http://schemas.microsoft.com/office/drawing/2014/main" id="{31B4633F-FB51-F7F3-57E1-E1B30251D718}"/>
              </a:ext>
            </a:extLst>
          </p:cNvPr>
          <p:cNvSpPr txBox="1"/>
          <p:nvPr>
            <p:custDataLst>
              <p:tags r:id="rId13"/>
            </p:custDataLst>
          </p:nvPr>
        </p:nvSpPr>
        <p:spPr>
          <a:xfrm>
            <a:off x="4254206" y="3412886"/>
            <a:ext cx="2110017"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Dayron Urrego</a:t>
            </a:r>
          </a:p>
        </p:txBody>
      </p:sp>
      <p:sp>
        <p:nvSpPr>
          <p:cNvPr id="46" name="CaixaDeTexto 45">
            <a:extLst>
              <a:ext uri="{FF2B5EF4-FFF2-40B4-BE49-F238E27FC236}">
                <a16:creationId xmlns:a16="http://schemas.microsoft.com/office/drawing/2014/main" id="{AE77077D-4E16-320C-A49B-983977828D9F}"/>
              </a:ext>
            </a:extLst>
          </p:cNvPr>
          <p:cNvSpPr txBox="1"/>
          <p:nvPr>
            <p:custDataLst>
              <p:tags r:id="rId14"/>
            </p:custDataLst>
          </p:nvPr>
        </p:nvSpPr>
        <p:spPr>
          <a:xfrm>
            <a:off x="4254206" y="4035451"/>
            <a:ext cx="2824533"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Cláudio Domingorena</a:t>
            </a:r>
          </a:p>
        </p:txBody>
      </p:sp>
      <p:grpSp>
        <p:nvGrpSpPr>
          <p:cNvPr id="61" name="Agrupar 60">
            <a:extLst>
              <a:ext uri="{FF2B5EF4-FFF2-40B4-BE49-F238E27FC236}">
                <a16:creationId xmlns:a16="http://schemas.microsoft.com/office/drawing/2014/main" id="{D0D6A41D-77CF-3B4E-B157-545771A2B084}"/>
              </a:ext>
            </a:extLst>
          </p:cNvPr>
          <p:cNvGrpSpPr/>
          <p:nvPr>
            <p:custDataLst>
              <p:tags r:id="rId15"/>
            </p:custDataLst>
          </p:nvPr>
        </p:nvGrpSpPr>
        <p:grpSpPr>
          <a:xfrm>
            <a:off x="4177594" y="4309950"/>
            <a:ext cx="5073313" cy="296883"/>
            <a:chOff x="4177594" y="4309950"/>
            <a:chExt cx="5073313" cy="296883"/>
          </a:xfrm>
        </p:grpSpPr>
        <p:sp>
          <p:nvSpPr>
            <p:cNvPr id="47" name="Retângulo: Cantos Arredondados 46">
              <a:extLst>
                <a:ext uri="{FF2B5EF4-FFF2-40B4-BE49-F238E27FC236}">
                  <a16:creationId xmlns:a16="http://schemas.microsoft.com/office/drawing/2014/main" id="{52501224-28FA-709C-7854-35A96C55A034}"/>
                </a:ext>
              </a:extLst>
            </p:cNvPr>
            <p:cNvSpPr/>
            <p:nvPr>
              <p:custDataLst>
                <p:tags r:id="rId18"/>
              </p:custDataLst>
            </p:nvPr>
          </p:nvSpPr>
          <p:spPr>
            <a:xfrm>
              <a:off x="4177594" y="4309950"/>
              <a:ext cx="5073313" cy="294925"/>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n-US" sz="1329" b="1" i="0" u="none" strike="noStrike" kern="1200" cap="none" normalizeH="0" baseline="0" dirty="0">
                <a:ln>
                  <a:noFill/>
                </a:ln>
                <a:solidFill>
                  <a:prstClr val="white"/>
                </a:solidFill>
                <a:effectLst/>
                <a:uLnTx/>
                <a:uFillTx/>
                <a:latin typeface="Segoe UI" panose="020B0502040204020203" pitchFamily="34" charset="0"/>
                <a:ea typeface="Segoe UI Black" panose="020B0A02040204020203" pitchFamily="34" charset="0"/>
                <a:cs typeface="Segoe UI" panose="020B0502040204020203" pitchFamily="34" charset="0"/>
              </a:endParaRPr>
            </a:p>
          </p:txBody>
        </p:sp>
        <p:sp>
          <p:nvSpPr>
            <p:cNvPr id="48" name="CaixaDeTexto 47">
              <a:extLst>
                <a:ext uri="{FF2B5EF4-FFF2-40B4-BE49-F238E27FC236}">
                  <a16:creationId xmlns:a16="http://schemas.microsoft.com/office/drawing/2014/main" id="{5AD5F9A4-BEA6-90C0-DB4A-FF98DFB6F7BE}"/>
                </a:ext>
              </a:extLst>
            </p:cNvPr>
            <p:cNvSpPr txBox="1"/>
            <p:nvPr>
              <p:custDataLst>
                <p:tags r:id="rId19"/>
              </p:custDataLst>
            </p:nvPr>
          </p:nvSpPr>
          <p:spPr>
            <a:xfrm>
              <a:off x="4254207" y="4342145"/>
              <a:ext cx="4697759"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FFFFFF"/>
                  </a:solidFill>
                  <a:effectLst/>
                  <a:uFillTx/>
                  <a:latin typeface="Segoe UI"/>
                </a:rPr>
                <a:t>Prospects and sustainable value generation</a:t>
              </a:r>
            </a:p>
          </p:txBody>
        </p:sp>
      </p:grpSp>
      <p:sp>
        <p:nvSpPr>
          <p:cNvPr id="49" name="CaixaDeTexto 48">
            <a:extLst>
              <a:ext uri="{FF2B5EF4-FFF2-40B4-BE49-F238E27FC236}">
                <a16:creationId xmlns:a16="http://schemas.microsoft.com/office/drawing/2014/main" id="{B82985A5-180F-D77E-5A6B-2D47B2B2AA41}"/>
              </a:ext>
            </a:extLst>
          </p:cNvPr>
          <p:cNvSpPr txBox="1"/>
          <p:nvPr>
            <p:custDataLst>
              <p:tags r:id="rId16"/>
            </p:custDataLst>
          </p:nvPr>
        </p:nvSpPr>
        <p:spPr>
          <a:xfrm>
            <a:off x="4254207" y="4627459"/>
            <a:ext cx="1832230" cy="24006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200" b="0" i="0" u="none" strike="noStrike" cap="none" spc="0" baseline="0" dirty="0">
                <a:solidFill>
                  <a:srgbClr val="011F57"/>
                </a:solidFill>
                <a:effectLst/>
                <a:uFillTx/>
                <a:latin typeface="Segoe UI"/>
              </a:rPr>
              <a:t>Carisa Cristal</a:t>
            </a:r>
          </a:p>
        </p:txBody>
      </p:sp>
      <p:sp>
        <p:nvSpPr>
          <p:cNvPr id="15" name="CaixaDeTexto 14">
            <a:extLst>
              <a:ext uri="{FF2B5EF4-FFF2-40B4-BE49-F238E27FC236}">
                <a16:creationId xmlns:a16="http://schemas.microsoft.com/office/drawing/2014/main" id="{0EBD7378-C474-17CE-392A-BD1F545F82EE}"/>
              </a:ext>
            </a:extLst>
          </p:cNvPr>
          <p:cNvSpPr txBox="1"/>
          <p:nvPr>
            <p:custDataLst>
              <p:tags r:id="rId17"/>
            </p:custDataLst>
          </p:nvPr>
        </p:nvSpPr>
        <p:spPr>
          <a:xfrm>
            <a:off x="593482" y="3474751"/>
            <a:ext cx="2990631" cy="713945"/>
          </a:xfrm>
          <a:prstGeom prst="rect">
            <a:avLst/>
          </a:prstGeom>
          <a:noFill/>
        </p:spPr>
        <p:txBody>
          <a:bodyPr wrap="square" rtlCol="0">
            <a:spAutoFit/>
          </a:bodyPr>
          <a:lstStyle/>
          <a:p>
            <a:pPr marL="0" marR="0" lvl="0" indent="0" algn="ctr" defTabSz="675010" rtl="0" eaLnBrk="1" fontAlgn="auto" latinLnBrk="0" hangingPunct="1">
              <a:lnSpc>
                <a:spcPct val="85000"/>
              </a:lnSpc>
              <a:spcBef>
                <a:spcPts val="148"/>
              </a:spcBef>
              <a:spcAft>
                <a:spcPts val="148"/>
              </a:spcAft>
              <a:buClrTx/>
              <a:buSzTx/>
              <a:buFontTx/>
              <a:buNone/>
              <a:defRPr/>
            </a:pPr>
            <a:r>
              <a:rPr lang="en-US" sz="4800" b="1" i="0" u="none" strike="noStrike" cap="none" baseline="0" dirty="0">
                <a:solidFill>
                  <a:srgbClr val="002581"/>
                </a:solidFill>
                <a:effectLst/>
                <a:uFillTx/>
                <a:latin typeface="Segoe UI Black"/>
              </a:rPr>
              <a:t>AGENDA</a:t>
            </a:r>
          </a:p>
        </p:txBody>
      </p:sp>
      <p:pic>
        <p:nvPicPr>
          <p:cNvPr id="2" name="Imagem 1" descr="Uma imagem contendo Interface gráfica do usuário&#10;&#10;Descrição gerada automaticamente">
            <a:extLst>
              <a:ext uri="{FF2B5EF4-FFF2-40B4-BE49-F238E27FC236}">
                <a16:creationId xmlns:a16="http://schemas.microsoft.com/office/drawing/2014/main" id="{07440F9C-DD92-818C-FA0A-4081292F5F95}"/>
              </a:ext>
            </a:extLst>
          </p:cNvPr>
          <p:cNvPicPr>
            <a:picLocks noChangeAspect="1"/>
          </p:cNvPicPr>
          <p:nvPr/>
        </p:nvPicPr>
        <p:blipFill>
          <a:blip r:embed="rId36"/>
          <a:stretch>
            <a:fillRect/>
          </a:stretch>
        </p:blipFill>
        <p:spPr>
          <a:xfrm>
            <a:off x="8039840" y="60434"/>
            <a:ext cx="920231" cy="509571"/>
          </a:xfrm>
          <a:prstGeom prst="rect">
            <a:avLst/>
          </a:prstGeom>
        </p:spPr>
      </p:pic>
    </p:spTree>
    <p:extLst>
      <p:ext uri="{BB962C8B-B14F-4D97-AF65-F5344CB8AC3E}">
        <p14:creationId xmlns:p14="http://schemas.microsoft.com/office/powerpoint/2010/main" val="147805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35" presetClass="path" presetSubtype="0" accel="17000" decel="83000" fill="hold" grpId="1" nodeType="withEffect">
                                  <p:stCondLst>
                                    <p:cond delay="0"/>
                                  </p:stCondLst>
                                  <p:childTnLst>
                                    <p:animMotion origin="layout" path="M -0.0247 -6.86736E-07 L 2.92821E-07 -6.86736E-07" pathEditMode="relative" rAng="0" ptsTypes="AA">
                                      <p:cBhvr>
                                        <p:cTn id="9" dur="1100" fill="hold"/>
                                        <p:tgtEl>
                                          <p:spTgt spid="15"/>
                                        </p:tgtEl>
                                        <p:attrNameLst>
                                          <p:attrName>ppt_x</p:attrName>
                                          <p:attrName>ppt_y</p:attrName>
                                        </p:attrNameLst>
                                      </p:cBhvr>
                                      <p:rCtr x="1235" y="0"/>
                                    </p:animMotion>
                                  </p:childTnLst>
                                </p:cTn>
                              </p:par>
                              <p:par>
                                <p:cTn id="10" presetID="10"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childTnLst>
                                </p:cTn>
                              </p:par>
                              <p:par>
                                <p:cTn id="13" presetID="10" presetClass="entr" presetSubtype="0" fill="hold" nodeType="withEffect">
                                  <p:stCondLst>
                                    <p:cond delay="500"/>
                                  </p:stCondLst>
                                  <p:childTnLst>
                                    <p:set>
                                      <p:cBhvr>
                                        <p:cTn id="14" dur="1" fill="hold">
                                          <p:stCondLst>
                                            <p:cond delay="0"/>
                                          </p:stCondLst>
                                        </p:cTn>
                                        <p:tgtEl>
                                          <p:spTgt spid="50"/>
                                        </p:tgtEl>
                                        <p:attrNameLst>
                                          <p:attrName>style.visibility</p:attrName>
                                        </p:attrNameLst>
                                      </p:cBhvr>
                                      <p:to>
                                        <p:strVal val="visible"/>
                                      </p:to>
                                    </p:set>
                                    <p:animEffect transition="in" filter="fade">
                                      <p:cBhvr>
                                        <p:cTn id="15" dur="500"/>
                                        <p:tgtEl>
                                          <p:spTgt spid="50"/>
                                        </p:tgtEl>
                                      </p:cBhvr>
                                    </p:animEffect>
                                  </p:childTnLst>
                                </p:cTn>
                              </p:par>
                              <p:par>
                                <p:cTn id="16" presetID="23" presetClass="entr" presetSubtype="288" fill="hold" nodeType="withEffect">
                                  <p:stCondLst>
                                    <p:cond delay="500"/>
                                  </p:stCondLst>
                                  <p:childTnLst>
                                    <p:set>
                                      <p:cBhvr>
                                        <p:cTn id="17" dur="1" fill="hold">
                                          <p:stCondLst>
                                            <p:cond delay="0"/>
                                          </p:stCondLst>
                                        </p:cTn>
                                        <p:tgtEl>
                                          <p:spTgt spid="50"/>
                                        </p:tgtEl>
                                        <p:attrNameLst>
                                          <p:attrName>style.visibility</p:attrName>
                                        </p:attrNameLst>
                                      </p:cBhvr>
                                      <p:to>
                                        <p:strVal val="visible"/>
                                      </p:to>
                                    </p:set>
                                    <p:anim calcmode="lin" valueType="num">
                                      <p:cBhvr>
                                        <p:cTn id="18" dur="500" fill="hold"/>
                                        <p:tgtEl>
                                          <p:spTgt spid="50"/>
                                        </p:tgtEl>
                                        <p:attrNameLst>
                                          <p:attrName>ppt_w</p:attrName>
                                        </p:attrNameLst>
                                      </p:cBhvr>
                                      <p:tavLst>
                                        <p:tav tm="0">
                                          <p:val>
                                            <p:strVal val="4/3*#ppt_w"/>
                                          </p:val>
                                        </p:tav>
                                        <p:tav tm="100000">
                                          <p:val>
                                            <p:strVal val="#ppt_w"/>
                                          </p:val>
                                        </p:tav>
                                      </p:tavLst>
                                    </p:anim>
                                    <p:anim calcmode="lin" valueType="num">
                                      <p:cBhvr>
                                        <p:cTn id="19" dur="500" fill="hold"/>
                                        <p:tgtEl>
                                          <p:spTgt spid="50"/>
                                        </p:tgtEl>
                                        <p:attrNameLst>
                                          <p:attrName>ppt_h</p:attrName>
                                        </p:attrNameLst>
                                      </p:cBhvr>
                                      <p:tavLst>
                                        <p:tav tm="0">
                                          <p:val>
                                            <p:strVal val="4/3*#ppt_h"/>
                                          </p:val>
                                        </p:tav>
                                        <p:tav tm="100000">
                                          <p:val>
                                            <p:strVal val="#ppt_h"/>
                                          </p:val>
                                        </p:tav>
                                      </p:tavLst>
                                    </p:anim>
                                  </p:childTnLst>
                                </p:cTn>
                              </p:par>
                              <p:par>
                                <p:cTn id="20" presetID="10" presetClass="entr" presetSubtype="0" fill="hold" grpId="0" nodeType="withEffect">
                                  <p:stCondLst>
                                    <p:cond delay="500"/>
                                  </p:stCondLst>
                                  <p:childTnLst>
                                    <p:set>
                                      <p:cBhvr>
                                        <p:cTn id="21" dur="1" fill="hold">
                                          <p:stCondLst>
                                            <p:cond delay="0"/>
                                          </p:stCondLst>
                                        </p:cTn>
                                        <p:tgtEl>
                                          <p:spTgt spid="33"/>
                                        </p:tgtEl>
                                        <p:attrNameLst>
                                          <p:attrName>style.visibility</p:attrName>
                                        </p:attrNameLst>
                                      </p:cBhvr>
                                      <p:to>
                                        <p:strVal val="visible"/>
                                      </p:to>
                                    </p:set>
                                    <p:animEffect transition="in" filter="fade">
                                      <p:cBhvr>
                                        <p:cTn id="22" dur="500"/>
                                        <p:tgtEl>
                                          <p:spTgt spid="33"/>
                                        </p:tgtEl>
                                      </p:cBhvr>
                                    </p:animEffect>
                                  </p:childTnLst>
                                </p:cTn>
                              </p:par>
                              <p:par>
                                <p:cTn id="23" presetID="35" presetClass="path" presetSubtype="0" accel="17000" decel="83000" fill="hold" grpId="1" nodeType="withEffect">
                                  <p:stCondLst>
                                    <p:cond delay="500"/>
                                  </p:stCondLst>
                                  <p:childTnLst>
                                    <p:animMotion origin="layout" path="M 0.02311 2.88178E-06 L 2.1009E-06 2.88178E-06" pathEditMode="relative" rAng="0" ptsTypes="AA">
                                      <p:cBhvr>
                                        <p:cTn id="24" dur="1100" fill="hold"/>
                                        <p:tgtEl>
                                          <p:spTgt spid="33"/>
                                        </p:tgtEl>
                                        <p:attrNameLst>
                                          <p:attrName>ppt_x</p:attrName>
                                          <p:attrName>ppt_y</p:attrName>
                                        </p:attrNameLst>
                                      </p:cBhvr>
                                      <p:rCtr x="-1164" y="0"/>
                                    </p:animMotion>
                                  </p:childTnLst>
                                </p:cTn>
                              </p:par>
                              <p:par>
                                <p:cTn id="25" presetID="10" presetClass="entr" presetSubtype="0" fill="hold" nodeType="withEffect">
                                  <p:stCondLst>
                                    <p:cond delay="750"/>
                                  </p:stCondLst>
                                  <p:childTnLst>
                                    <p:set>
                                      <p:cBhvr>
                                        <p:cTn id="26" dur="1" fill="hold">
                                          <p:stCondLst>
                                            <p:cond delay="0"/>
                                          </p:stCondLst>
                                        </p:cTn>
                                        <p:tgtEl>
                                          <p:spTgt spid="51"/>
                                        </p:tgtEl>
                                        <p:attrNameLst>
                                          <p:attrName>style.visibility</p:attrName>
                                        </p:attrNameLst>
                                      </p:cBhvr>
                                      <p:to>
                                        <p:strVal val="visible"/>
                                      </p:to>
                                    </p:set>
                                    <p:animEffect transition="in" filter="fade">
                                      <p:cBhvr>
                                        <p:cTn id="27" dur="500"/>
                                        <p:tgtEl>
                                          <p:spTgt spid="51"/>
                                        </p:tgtEl>
                                      </p:cBhvr>
                                    </p:animEffect>
                                  </p:childTnLst>
                                </p:cTn>
                              </p:par>
                              <p:par>
                                <p:cTn id="28" presetID="23" presetClass="entr" presetSubtype="288" fill="hold" nodeType="withEffect">
                                  <p:stCondLst>
                                    <p:cond delay="750"/>
                                  </p:stCondLst>
                                  <p:childTnLst>
                                    <p:set>
                                      <p:cBhvr>
                                        <p:cTn id="29" dur="1" fill="hold">
                                          <p:stCondLst>
                                            <p:cond delay="0"/>
                                          </p:stCondLst>
                                        </p:cTn>
                                        <p:tgtEl>
                                          <p:spTgt spid="51"/>
                                        </p:tgtEl>
                                        <p:attrNameLst>
                                          <p:attrName>style.visibility</p:attrName>
                                        </p:attrNameLst>
                                      </p:cBhvr>
                                      <p:to>
                                        <p:strVal val="visible"/>
                                      </p:to>
                                    </p:set>
                                    <p:anim calcmode="lin" valueType="num">
                                      <p:cBhvr>
                                        <p:cTn id="30" dur="500" fill="hold"/>
                                        <p:tgtEl>
                                          <p:spTgt spid="51"/>
                                        </p:tgtEl>
                                        <p:attrNameLst>
                                          <p:attrName>ppt_w</p:attrName>
                                        </p:attrNameLst>
                                      </p:cBhvr>
                                      <p:tavLst>
                                        <p:tav tm="0">
                                          <p:val>
                                            <p:strVal val="4/3*#ppt_w"/>
                                          </p:val>
                                        </p:tav>
                                        <p:tav tm="100000">
                                          <p:val>
                                            <p:strVal val="#ppt_w"/>
                                          </p:val>
                                        </p:tav>
                                      </p:tavLst>
                                    </p:anim>
                                    <p:anim calcmode="lin" valueType="num">
                                      <p:cBhvr>
                                        <p:cTn id="31" dur="500" fill="hold"/>
                                        <p:tgtEl>
                                          <p:spTgt spid="51"/>
                                        </p:tgtEl>
                                        <p:attrNameLst>
                                          <p:attrName>ppt_h</p:attrName>
                                        </p:attrNameLst>
                                      </p:cBhvr>
                                      <p:tavLst>
                                        <p:tav tm="0">
                                          <p:val>
                                            <p:strVal val="4/3*#ppt_h"/>
                                          </p:val>
                                        </p:tav>
                                        <p:tav tm="100000">
                                          <p:val>
                                            <p:strVal val="#ppt_h"/>
                                          </p:val>
                                        </p:tav>
                                      </p:tavLst>
                                    </p:anim>
                                  </p:childTnLst>
                                </p:cTn>
                              </p:par>
                              <p:par>
                                <p:cTn id="32" presetID="10" presetClass="entr" presetSubtype="0" fill="hold" grpId="0" nodeType="withEffect">
                                  <p:stCondLst>
                                    <p:cond delay="750"/>
                                  </p:stCondLst>
                                  <p:childTnLst>
                                    <p:set>
                                      <p:cBhvr>
                                        <p:cTn id="33" dur="1" fill="hold">
                                          <p:stCondLst>
                                            <p:cond delay="0"/>
                                          </p:stCondLst>
                                        </p:cTn>
                                        <p:tgtEl>
                                          <p:spTgt spid="35"/>
                                        </p:tgtEl>
                                        <p:attrNameLst>
                                          <p:attrName>style.visibility</p:attrName>
                                        </p:attrNameLst>
                                      </p:cBhvr>
                                      <p:to>
                                        <p:strVal val="visible"/>
                                      </p:to>
                                    </p:set>
                                    <p:animEffect transition="in" filter="fade">
                                      <p:cBhvr>
                                        <p:cTn id="34" dur="500"/>
                                        <p:tgtEl>
                                          <p:spTgt spid="35"/>
                                        </p:tgtEl>
                                      </p:cBhvr>
                                    </p:animEffect>
                                  </p:childTnLst>
                                </p:cTn>
                              </p:par>
                              <p:par>
                                <p:cTn id="35" presetID="35" presetClass="path" presetSubtype="0" accel="17000" decel="83000" fill="hold" grpId="1" nodeType="withEffect">
                                  <p:stCondLst>
                                    <p:cond delay="750"/>
                                  </p:stCondLst>
                                  <p:childTnLst>
                                    <p:animMotion origin="layout" path="M 0.02311 2.88178E-06 L -4.93032E-06 2.88178E-06" pathEditMode="relative" rAng="0" ptsTypes="AA">
                                      <p:cBhvr>
                                        <p:cTn id="36" dur="1100" fill="hold"/>
                                        <p:tgtEl>
                                          <p:spTgt spid="35"/>
                                        </p:tgtEl>
                                        <p:attrNameLst>
                                          <p:attrName>ppt_x</p:attrName>
                                          <p:attrName>ppt_y</p:attrName>
                                        </p:attrNameLst>
                                      </p:cBhvr>
                                      <p:rCtr x="-1164" y="0"/>
                                    </p:animMotion>
                                  </p:childTnLst>
                                </p:cTn>
                              </p:par>
                              <p:par>
                                <p:cTn id="37" presetID="10" presetClass="entr" presetSubtype="0" fill="hold" nodeType="withEffect">
                                  <p:stCondLst>
                                    <p:cond delay="1000"/>
                                  </p:stCondLst>
                                  <p:childTnLst>
                                    <p:set>
                                      <p:cBhvr>
                                        <p:cTn id="38" dur="1" fill="hold">
                                          <p:stCondLst>
                                            <p:cond delay="0"/>
                                          </p:stCondLst>
                                        </p:cTn>
                                        <p:tgtEl>
                                          <p:spTgt spid="52"/>
                                        </p:tgtEl>
                                        <p:attrNameLst>
                                          <p:attrName>style.visibility</p:attrName>
                                        </p:attrNameLst>
                                      </p:cBhvr>
                                      <p:to>
                                        <p:strVal val="visible"/>
                                      </p:to>
                                    </p:set>
                                    <p:animEffect transition="in" filter="fade">
                                      <p:cBhvr>
                                        <p:cTn id="39" dur="500"/>
                                        <p:tgtEl>
                                          <p:spTgt spid="52"/>
                                        </p:tgtEl>
                                      </p:cBhvr>
                                    </p:animEffect>
                                  </p:childTnLst>
                                </p:cTn>
                              </p:par>
                              <p:par>
                                <p:cTn id="40" presetID="23" presetClass="entr" presetSubtype="288" fill="hold" nodeType="withEffect">
                                  <p:stCondLst>
                                    <p:cond delay="1000"/>
                                  </p:stCondLst>
                                  <p:childTnLst>
                                    <p:set>
                                      <p:cBhvr>
                                        <p:cTn id="41" dur="1" fill="hold">
                                          <p:stCondLst>
                                            <p:cond delay="0"/>
                                          </p:stCondLst>
                                        </p:cTn>
                                        <p:tgtEl>
                                          <p:spTgt spid="52"/>
                                        </p:tgtEl>
                                        <p:attrNameLst>
                                          <p:attrName>style.visibility</p:attrName>
                                        </p:attrNameLst>
                                      </p:cBhvr>
                                      <p:to>
                                        <p:strVal val="visible"/>
                                      </p:to>
                                    </p:set>
                                    <p:anim calcmode="lin" valueType="num">
                                      <p:cBhvr>
                                        <p:cTn id="42" dur="500" fill="hold"/>
                                        <p:tgtEl>
                                          <p:spTgt spid="52"/>
                                        </p:tgtEl>
                                        <p:attrNameLst>
                                          <p:attrName>ppt_w</p:attrName>
                                        </p:attrNameLst>
                                      </p:cBhvr>
                                      <p:tavLst>
                                        <p:tav tm="0">
                                          <p:val>
                                            <p:strVal val="4/3*#ppt_w"/>
                                          </p:val>
                                        </p:tav>
                                        <p:tav tm="100000">
                                          <p:val>
                                            <p:strVal val="#ppt_w"/>
                                          </p:val>
                                        </p:tav>
                                      </p:tavLst>
                                    </p:anim>
                                    <p:anim calcmode="lin" valueType="num">
                                      <p:cBhvr>
                                        <p:cTn id="43" dur="500" fill="hold"/>
                                        <p:tgtEl>
                                          <p:spTgt spid="52"/>
                                        </p:tgtEl>
                                        <p:attrNameLst>
                                          <p:attrName>ppt_h</p:attrName>
                                        </p:attrNameLst>
                                      </p:cBhvr>
                                      <p:tavLst>
                                        <p:tav tm="0">
                                          <p:val>
                                            <p:strVal val="4/3*#ppt_h"/>
                                          </p:val>
                                        </p:tav>
                                        <p:tav tm="100000">
                                          <p:val>
                                            <p:strVal val="#ppt_h"/>
                                          </p:val>
                                        </p:tav>
                                      </p:tavLst>
                                    </p:anim>
                                  </p:childTnLst>
                                </p:cTn>
                              </p:par>
                              <p:par>
                                <p:cTn id="44" presetID="10" presetClass="entr" presetSubtype="0" fill="hold" grpId="0" nodeType="withEffect">
                                  <p:stCondLst>
                                    <p:cond delay="100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500"/>
                                        <p:tgtEl>
                                          <p:spTgt spid="36"/>
                                        </p:tgtEl>
                                      </p:cBhvr>
                                    </p:animEffect>
                                  </p:childTnLst>
                                </p:cTn>
                              </p:par>
                              <p:par>
                                <p:cTn id="47" presetID="35" presetClass="path" presetSubtype="0" accel="17000" decel="83000" fill="hold" grpId="1" nodeType="withEffect">
                                  <p:stCondLst>
                                    <p:cond delay="1000"/>
                                  </p:stCondLst>
                                  <p:childTnLst>
                                    <p:animMotion origin="layout" path="M 0.02311 2.88178E-06 L -4.93032E-06 2.88178E-06" pathEditMode="relative" rAng="0" ptsTypes="AA">
                                      <p:cBhvr>
                                        <p:cTn id="48" dur="1100" fill="hold"/>
                                        <p:tgtEl>
                                          <p:spTgt spid="36"/>
                                        </p:tgtEl>
                                        <p:attrNameLst>
                                          <p:attrName>ppt_x</p:attrName>
                                          <p:attrName>ppt_y</p:attrName>
                                        </p:attrNameLst>
                                      </p:cBhvr>
                                      <p:rCtr x="-1164" y="0"/>
                                    </p:animMotion>
                                  </p:childTnLst>
                                </p:cTn>
                              </p:par>
                              <p:par>
                                <p:cTn id="49" presetID="10" presetClass="entr" presetSubtype="0" fill="hold" nodeType="withEffect">
                                  <p:stCondLst>
                                    <p:cond delay="1250"/>
                                  </p:stCondLst>
                                  <p:childTnLst>
                                    <p:set>
                                      <p:cBhvr>
                                        <p:cTn id="50" dur="1" fill="hold">
                                          <p:stCondLst>
                                            <p:cond delay="0"/>
                                          </p:stCondLst>
                                        </p:cTn>
                                        <p:tgtEl>
                                          <p:spTgt spid="53"/>
                                        </p:tgtEl>
                                        <p:attrNameLst>
                                          <p:attrName>style.visibility</p:attrName>
                                        </p:attrNameLst>
                                      </p:cBhvr>
                                      <p:to>
                                        <p:strVal val="visible"/>
                                      </p:to>
                                    </p:set>
                                    <p:animEffect transition="in" filter="fade">
                                      <p:cBhvr>
                                        <p:cTn id="51" dur="500"/>
                                        <p:tgtEl>
                                          <p:spTgt spid="53"/>
                                        </p:tgtEl>
                                      </p:cBhvr>
                                    </p:animEffect>
                                  </p:childTnLst>
                                </p:cTn>
                              </p:par>
                              <p:par>
                                <p:cTn id="52" presetID="23" presetClass="entr" presetSubtype="288" fill="hold" nodeType="withEffect">
                                  <p:stCondLst>
                                    <p:cond delay="1250"/>
                                  </p:stCondLst>
                                  <p:childTnLst>
                                    <p:set>
                                      <p:cBhvr>
                                        <p:cTn id="53" dur="1" fill="hold">
                                          <p:stCondLst>
                                            <p:cond delay="0"/>
                                          </p:stCondLst>
                                        </p:cTn>
                                        <p:tgtEl>
                                          <p:spTgt spid="53"/>
                                        </p:tgtEl>
                                        <p:attrNameLst>
                                          <p:attrName>style.visibility</p:attrName>
                                        </p:attrNameLst>
                                      </p:cBhvr>
                                      <p:to>
                                        <p:strVal val="visible"/>
                                      </p:to>
                                    </p:set>
                                    <p:anim calcmode="lin" valueType="num">
                                      <p:cBhvr>
                                        <p:cTn id="54" dur="500" fill="hold"/>
                                        <p:tgtEl>
                                          <p:spTgt spid="53"/>
                                        </p:tgtEl>
                                        <p:attrNameLst>
                                          <p:attrName>ppt_w</p:attrName>
                                        </p:attrNameLst>
                                      </p:cBhvr>
                                      <p:tavLst>
                                        <p:tav tm="0">
                                          <p:val>
                                            <p:strVal val="4/3*#ppt_w"/>
                                          </p:val>
                                        </p:tav>
                                        <p:tav tm="100000">
                                          <p:val>
                                            <p:strVal val="#ppt_w"/>
                                          </p:val>
                                        </p:tav>
                                      </p:tavLst>
                                    </p:anim>
                                    <p:anim calcmode="lin" valueType="num">
                                      <p:cBhvr>
                                        <p:cTn id="55" dur="500" fill="hold"/>
                                        <p:tgtEl>
                                          <p:spTgt spid="53"/>
                                        </p:tgtEl>
                                        <p:attrNameLst>
                                          <p:attrName>ppt_h</p:attrName>
                                        </p:attrNameLst>
                                      </p:cBhvr>
                                      <p:tavLst>
                                        <p:tav tm="0">
                                          <p:val>
                                            <p:strVal val="4/3*#ppt_h"/>
                                          </p:val>
                                        </p:tav>
                                        <p:tav tm="100000">
                                          <p:val>
                                            <p:strVal val="#ppt_h"/>
                                          </p:val>
                                        </p:tav>
                                      </p:tavLst>
                                    </p:anim>
                                  </p:childTnLst>
                                </p:cTn>
                              </p:par>
                              <p:par>
                                <p:cTn id="56" presetID="10" presetClass="entr" presetSubtype="0" fill="hold" grpId="0" nodeType="withEffect">
                                  <p:stCondLst>
                                    <p:cond delay="1250"/>
                                  </p:stCondLst>
                                  <p:childTnLst>
                                    <p:set>
                                      <p:cBhvr>
                                        <p:cTn id="57" dur="1" fill="hold">
                                          <p:stCondLst>
                                            <p:cond delay="0"/>
                                          </p:stCondLst>
                                        </p:cTn>
                                        <p:tgtEl>
                                          <p:spTgt spid="41"/>
                                        </p:tgtEl>
                                        <p:attrNameLst>
                                          <p:attrName>style.visibility</p:attrName>
                                        </p:attrNameLst>
                                      </p:cBhvr>
                                      <p:to>
                                        <p:strVal val="visible"/>
                                      </p:to>
                                    </p:set>
                                    <p:animEffect transition="in" filter="fade">
                                      <p:cBhvr>
                                        <p:cTn id="58" dur="500"/>
                                        <p:tgtEl>
                                          <p:spTgt spid="41"/>
                                        </p:tgtEl>
                                      </p:cBhvr>
                                    </p:animEffect>
                                  </p:childTnLst>
                                </p:cTn>
                              </p:par>
                              <p:par>
                                <p:cTn id="59" presetID="35" presetClass="path" presetSubtype="0" accel="17000" decel="83000" fill="hold" grpId="1" nodeType="withEffect">
                                  <p:stCondLst>
                                    <p:cond delay="1250"/>
                                  </p:stCondLst>
                                  <p:childTnLst>
                                    <p:animMotion origin="layout" path="M 0.02311 2.88178E-06 L -4.93032E-06 2.88178E-06" pathEditMode="relative" rAng="0" ptsTypes="AA">
                                      <p:cBhvr>
                                        <p:cTn id="60" dur="1100" fill="hold"/>
                                        <p:tgtEl>
                                          <p:spTgt spid="41"/>
                                        </p:tgtEl>
                                        <p:attrNameLst>
                                          <p:attrName>ppt_x</p:attrName>
                                          <p:attrName>ppt_y</p:attrName>
                                        </p:attrNameLst>
                                      </p:cBhvr>
                                      <p:rCtr x="-1164" y="0"/>
                                    </p:animMotion>
                                  </p:childTnLst>
                                </p:cTn>
                              </p:par>
                              <p:par>
                                <p:cTn id="61" presetID="10" presetClass="entr" presetSubtype="0" fill="hold" nodeType="withEffect">
                                  <p:stCondLst>
                                    <p:cond delay="1500"/>
                                  </p:stCondLst>
                                  <p:childTnLst>
                                    <p:set>
                                      <p:cBhvr>
                                        <p:cTn id="62" dur="1" fill="hold">
                                          <p:stCondLst>
                                            <p:cond delay="0"/>
                                          </p:stCondLst>
                                        </p:cTn>
                                        <p:tgtEl>
                                          <p:spTgt spid="56"/>
                                        </p:tgtEl>
                                        <p:attrNameLst>
                                          <p:attrName>style.visibility</p:attrName>
                                        </p:attrNameLst>
                                      </p:cBhvr>
                                      <p:to>
                                        <p:strVal val="visible"/>
                                      </p:to>
                                    </p:set>
                                    <p:animEffect transition="in" filter="fade">
                                      <p:cBhvr>
                                        <p:cTn id="63" dur="500"/>
                                        <p:tgtEl>
                                          <p:spTgt spid="56"/>
                                        </p:tgtEl>
                                      </p:cBhvr>
                                    </p:animEffect>
                                  </p:childTnLst>
                                </p:cTn>
                              </p:par>
                              <p:par>
                                <p:cTn id="64" presetID="23" presetClass="entr" presetSubtype="288" fill="hold" nodeType="withEffect">
                                  <p:stCondLst>
                                    <p:cond delay="1500"/>
                                  </p:stCondLst>
                                  <p:childTnLst>
                                    <p:set>
                                      <p:cBhvr>
                                        <p:cTn id="65" dur="1" fill="hold">
                                          <p:stCondLst>
                                            <p:cond delay="0"/>
                                          </p:stCondLst>
                                        </p:cTn>
                                        <p:tgtEl>
                                          <p:spTgt spid="56"/>
                                        </p:tgtEl>
                                        <p:attrNameLst>
                                          <p:attrName>style.visibility</p:attrName>
                                        </p:attrNameLst>
                                      </p:cBhvr>
                                      <p:to>
                                        <p:strVal val="visible"/>
                                      </p:to>
                                    </p:set>
                                    <p:anim calcmode="lin" valueType="num">
                                      <p:cBhvr>
                                        <p:cTn id="66" dur="500" fill="hold"/>
                                        <p:tgtEl>
                                          <p:spTgt spid="56"/>
                                        </p:tgtEl>
                                        <p:attrNameLst>
                                          <p:attrName>ppt_w</p:attrName>
                                        </p:attrNameLst>
                                      </p:cBhvr>
                                      <p:tavLst>
                                        <p:tav tm="0">
                                          <p:val>
                                            <p:strVal val="4/3*#ppt_w"/>
                                          </p:val>
                                        </p:tav>
                                        <p:tav tm="100000">
                                          <p:val>
                                            <p:strVal val="#ppt_w"/>
                                          </p:val>
                                        </p:tav>
                                      </p:tavLst>
                                    </p:anim>
                                    <p:anim calcmode="lin" valueType="num">
                                      <p:cBhvr>
                                        <p:cTn id="67" dur="500" fill="hold"/>
                                        <p:tgtEl>
                                          <p:spTgt spid="56"/>
                                        </p:tgtEl>
                                        <p:attrNameLst>
                                          <p:attrName>ppt_h</p:attrName>
                                        </p:attrNameLst>
                                      </p:cBhvr>
                                      <p:tavLst>
                                        <p:tav tm="0">
                                          <p:val>
                                            <p:strVal val="4/3*#ppt_h"/>
                                          </p:val>
                                        </p:tav>
                                        <p:tav tm="100000">
                                          <p:val>
                                            <p:strVal val="#ppt_h"/>
                                          </p:val>
                                        </p:tav>
                                      </p:tavLst>
                                    </p:anim>
                                  </p:childTnLst>
                                </p:cTn>
                              </p:par>
                              <p:par>
                                <p:cTn id="68" presetID="10" presetClass="entr" presetSubtype="0" fill="hold" grpId="0" nodeType="withEffect">
                                  <p:stCondLst>
                                    <p:cond delay="1500"/>
                                  </p:stCondLst>
                                  <p:childTnLst>
                                    <p:set>
                                      <p:cBhvr>
                                        <p:cTn id="69" dur="1" fill="hold">
                                          <p:stCondLst>
                                            <p:cond delay="0"/>
                                          </p:stCondLst>
                                        </p:cTn>
                                        <p:tgtEl>
                                          <p:spTgt spid="45"/>
                                        </p:tgtEl>
                                        <p:attrNameLst>
                                          <p:attrName>style.visibility</p:attrName>
                                        </p:attrNameLst>
                                      </p:cBhvr>
                                      <p:to>
                                        <p:strVal val="visible"/>
                                      </p:to>
                                    </p:set>
                                    <p:animEffect transition="in" filter="fade">
                                      <p:cBhvr>
                                        <p:cTn id="70" dur="500"/>
                                        <p:tgtEl>
                                          <p:spTgt spid="45"/>
                                        </p:tgtEl>
                                      </p:cBhvr>
                                    </p:animEffect>
                                  </p:childTnLst>
                                </p:cTn>
                              </p:par>
                              <p:par>
                                <p:cTn id="71" presetID="35" presetClass="path" presetSubtype="0" accel="17000" decel="83000" fill="hold" grpId="1" nodeType="withEffect">
                                  <p:stCondLst>
                                    <p:cond delay="1500"/>
                                  </p:stCondLst>
                                  <p:childTnLst>
                                    <p:animMotion origin="layout" path="M 0.02311 2.88178E-06 L -4.93032E-06 2.88178E-06" pathEditMode="relative" rAng="0" ptsTypes="AA">
                                      <p:cBhvr>
                                        <p:cTn id="72" dur="1100" fill="hold"/>
                                        <p:tgtEl>
                                          <p:spTgt spid="45"/>
                                        </p:tgtEl>
                                        <p:attrNameLst>
                                          <p:attrName>ppt_x</p:attrName>
                                          <p:attrName>ppt_y</p:attrName>
                                        </p:attrNameLst>
                                      </p:cBhvr>
                                      <p:rCtr x="-1164" y="0"/>
                                    </p:animMotion>
                                  </p:childTnLst>
                                </p:cTn>
                              </p:par>
                              <p:par>
                                <p:cTn id="73" presetID="10" presetClass="entr" presetSubtype="0" fill="hold" nodeType="withEffect">
                                  <p:stCondLst>
                                    <p:cond delay="1750"/>
                                  </p:stCondLst>
                                  <p:childTnLst>
                                    <p:set>
                                      <p:cBhvr>
                                        <p:cTn id="74" dur="1" fill="hold">
                                          <p:stCondLst>
                                            <p:cond delay="0"/>
                                          </p:stCondLst>
                                        </p:cTn>
                                        <p:tgtEl>
                                          <p:spTgt spid="60"/>
                                        </p:tgtEl>
                                        <p:attrNameLst>
                                          <p:attrName>style.visibility</p:attrName>
                                        </p:attrNameLst>
                                      </p:cBhvr>
                                      <p:to>
                                        <p:strVal val="visible"/>
                                      </p:to>
                                    </p:set>
                                    <p:animEffect transition="in" filter="fade">
                                      <p:cBhvr>
                                        <p:cTn id="75" dur="500"/>
                                        <p:tgtEl>
                                          <p:spTgt spid="60"/>
                                        </p:tgtEl>
                                      </p:cBhvr>
                                    </p:animEffect>
                                  </p:childTnLst>
                                </p:cTn>
                              </p:par>
                              <p:par>
                                <p:cTn id="76" presetID="23" presetClass="entr" presetSubtype="288" fill="hold" nodeType="withEffect">
                                  <p:stCondLst>
                                    <p:cond delay="1750"/>
                                  </p:stCondLst>
                                  <p:childTnLst>
                                    <p:set>
                                      <p:cBhvr>
                                        <p:cTn id="77" dur="1" fill="hold">
                                          <p:stCondLst>
                                            <p:cond delay="0"/>
                                          </p:stCondLst>
                                        </p:cTn>
                                        <p:tgtEl>
                                          <p:spTgt spid="60"/>
                                        </p:tgtEl>
                                        <p:attrNameLst>
                                          <p:attrName>style.visibility</p:attrName>
                                        </p:attrNameLst>
                                      </p:cBhvr>
                                      <p:to>
                                        <p:strVal val="visible"/>
                                      </p:to>
                                    </p:set>
                                    <p:anim calcmode="lin" valueType="num">
                                      <p:cBhvr>
                                        <p:cTn id="78" dur="500" fill="hold"/>
                                        <p:tgtEl>
                                          <p:spTgt spid="60"/>
                                        </p:tgtEl>
                                        <p:attrNameLst>
                                          <p:attrName>ppt_w</p:attrName>
                                        </p:attrNameLst>
                                      </p:cBhvr>
                                      <p:tavLst>
                                        <p:tav tm="0">
                                          <p:val>
                                            <p:strVal val="4/3*#ppt_w"/>
                                          </p:val>
                                        </p:tav>
                                        <p:tav tm="100000">
                                          <p:val>
                                            <p:strVal val="#ppt_w"/>
                                          </p:val>
                                        </p:tav>
                                      </p:tavLst>
                                    </p:anim>
                                    <p:anim calcmode="lin" valueType="num">
                                      <p:cBhvr>
                                        <p:cTn id="79" dur="500" fill="hold"/>
                                        <p:tgtEl>
                                          <p:spTgt spid="60"/>
                                        </p:tgtEl>
                                        <p:attrNameLst>
                                          <p:attrName>ppt_h</p:attrName>
                                        </p:attrNameLst>
                                      </p:cBhvr>
                                      <p:tavLst>
                                        <p:tav tm="0">
                                          <p:val>
                                            <p:strVal val="4/3*#ppt_h"/>
                                          </p:val>
                                        </p:tav>
                                        <p:tav tm="100000">
                                          <p:val>
                                            <p:strVal val="#ppt_h"/>
                                          </p:val>
                                        </p:tav>
                                      </p:tavLst>
                                    </p:anim>
                                  </p:childTnLst>
                                </p:cTn>
                              </p:par>
                              <p:par>
                                <p:cTn id="80" presetID="10" presetClass="entr" presetSubtype="0" fill="hold" grpId="0" nodeType="withEffect">
                                  <p:stCondLst>
                                    <p:cond delay="1750"/>
                                  </p:stCondLst>
                                  <p:childTnLst>
                                    <p:set>
                                      <p:cBhvr>
                                        <p:cTn id="81" dur="1" fill="hold">
                                          <p:stCondLst>
                                            <p:cond delay="0"/>
                                          </p:stCondLst>
                                        </p:cTn>
                                        <p:tgtEl>
                                          <p:spTgt spid="46"/>
                                        </p:tgtEl>
                                        <p:attrNameLst>
                                          <p:attrName>style.visibility</p:attrName>
                                        </p:attrNameLst>
                                      </p:cBhvr>
                                      <p:to>
                                        <p:strVal val="visible"/>
                                      </p:to>
                                    </p:set>
                                    <p:animEffect transition="in" filter="fade">
                                      <p:cBhvr>
                                        <p:cTn id="82" dur="500"/>
                                        <p:tgtEl>
                                          <p:spTgt spid="46"/>
                                        </p:tgtEl>
                                      </p:cBhvr>
                                    </p:animEffect>
                                  </p:childTnLst>
                                </p:cTn>
                              </p:par>
                              <p:par>
                                <p:cTn id="83" presetID="35" presetClass="path" presetSubtype="0" accel="17000" decel="83000" fill="hold" grpId="1" nodeType="withEffect">
                                  <p:stCondLst>
                                    <p:cond delay="1750"/>
                                  </p:stCondLst>
                                  <p:childTnLst>
                                    <p:animMotion origin="layout" path="M 0.02311 2.88178E-06 L -4.93032E-06 2.88178E-06" pathEditMode="relative" rAng="0" ptsTypes="AA">
                                      <p:cBhvr>
                                        <p:cTn id="84" dur="1100" fill="hold"/>
                                        <p:tgtEl>
                                          <p:spTgt spid="46"/>
                                        </p:tgtEl>
                                        <p:attrNameLst>
                                          <p:attrName>ppt_x</p:attrName>
                                          <p:attrName>ppt_y</p:attrName>
                                        </p:attrNameLst>
                                      </p:cBhvr>
                                      <p:rCtr x="-1164" y="0"/>
                                    </p:animMotion>
                                  </p:childTnLst>
                                </p:cTn>
                              </p:par>
                              <p:par>
                                <p:cTn id="85" presetID="10" presetClass="entr" presetSubtype="0" fill="hold" nodeType="withEffect">
                                  <p:stCondLst>
                                    <p:cond delay="2000"/>
                                  </p:stCondLst>
                                  <p:childTnLst>
                                    <p:set>
                                      <p:cBhvr>
                                        <p:cTn id="86" dur="1" fill="hold">
                                          <p:stCondLst>
                                            <p:cond delay="0"/>
                                          </p:stCondLst>
                                        </p:cTn>
                                        <p:tgtEl>
                                          <p:spTgt spid="61"/>
                                        </p:tgtEl>
                                        <p:attrNameLst>
                                          <p:attrName>style.visibility</p:attrName>
                                        </p:attrNameLst>
                                      </p:cBhvr>
                                      <p:to>
                                        <p:strVal val="visible"/>
                                      </p:to>
                                    </p:set>
                                    <p:animEffect transition="in" filter="fade">
                                      <p:cBhvr>
                                        <p:cTn id="87" dur="500"/>
                                        <p:tgtEl>
                                          <p:spTgt spid="61"/>
                                        </p:tgtEl>
                                      </p:cBhvr>
                                    </p:animEffect>
                                  </p:childTnLst>
                                </p:cTn>
                              </p:par>
                              <p:par>
                                <p:cTn id="88" presetID="23" presetClass="entr" presetSubtype="288" fill="hold" nodeType="withEffect">
                                  <p:stCondLst>
                                    <p:cond delay="2000"/>
                                  </p:stCondLst>
                                  <p:childTnLst>
                                    <p:set>
                                      <p:cBhvr>
                                        <p:cTn id="89" dur="1" fill="hold">
                                          <p:stCondLst>
                                            <p:cond delay="0"/>
                                          </p:stCondLst>
                                        </p:cTn>
                                        <p:tgtEl>
                                          <p:spTgt spid="61"/>
                                        </p:tgtEl>
                                        <p:attrNameLst>
                                          <p:attrName>style.visibility</p:attrName>
                                        </p:attrNameLst>
                                      </p:cBhvr>
                                      <p:to>
                                        <p:strVal val="visible"/>
                                      </p:to>
                                    </p:set>
                                    <p:anim calcmode="lin" valueType="num">
                                      <p:cBhvr>
                                        <p:cTn id="90" dur="500" fill="hold"/>
                                        <p:tgtEl>
                                          <p:spTgt spid="61"/>
                                        </p:tgtEl>
                                        <p:attrNameLst>
                                          <p:attrName>ppt_w</p:attrName>
                                        </p:attrNameLst>
                                      </p:cBhvr>
                                      <p:tavLst>
                                        <p:tav tm="0">
                                          <p:val>
                                            <p:strVal val="4/3*#ppt_w"/>
                                          </p:val>
                                        </p:tav>
                                        <p:tav tm="100000">
                                          <p:val>
                                            <p:strVal val="#ppt_w"/>
                                          </p:val>
                                        </p:tav>
                                      </p:tavLst>
                                    </p:anim>
                                    <p:anim calcmode="lin" valueType="num">
                                      <p:cBhvr>
                                        <p:cTn id="91" dur="500" fill="hold"/>
                                        <p:tgtEl>
                                          <p:spTgt spid="61"/>
                                        </p:tgtEl>
                                        <p:attrNameLst>
                                          <p:attrName>ppt_h</p:attrName>
                                        </p:attrNameLst>
                                      </p:cBhvr>
                                      <p:tavLst>
                                        <p:tav tm="0">
                                          <p:val>
                                            <p:strVal val="4/3*#ppt_h"/>
                                          </p:val>
                                        </p:tav>
                                        <p:tav tm="100000">
                                          <p:val>
                                            <p:strVal val="#ppt_h"/>
                                          </p:val>
                                        </p:tav>
                                      </p:tavLst>
                                    </p:anim>
                                  </p:childTnLst>
                                </p:cTn>
                              </p:par>
                              <p:par>
                                <p:cTn id="92" presetID="10" presetClass="entr" presetSubtype="0" fill="hold" grpId="0" nodeType="withEffect">
                                  <p:stCondLst>
                                    <p:cond delay="2000"/>
                                  </p:stCondLst>
                                  <p:childTnLst>
                                    <p:set>
                                      <p:cBhvr>
                                        <p:cTn id="93" dur="1" fill="hold">
                                          <p:stCondLst>
                                            <p:cond delay="0"/>
                                          </p:stCondLst>
                                        </p:cTn>
                                        <p:tgtEl>
                                          <p:spTgt spid="49"/>
                                        </p:tgtEl>
                                        <p:attrNameLst>
                                          <p:attrName>style.visibility</p:attrName>
                                        </p:attrNameLst>
                                      </p:cBhvr>
                                      <p:to>
                                        <p:strVal val="visible"/>
                                      </p:to>
                                    </p:set>
                                    <p:animEffect transition="in" filter="fade">
                                      <p:cBhvr>
                                        <p:cTn id="94" dur="500"/>
                                        <p:tgtEl>
                                          <p:spTgt spid="49"/>
                                        </p:tgtEl>
                                      </p:cBhvr>
                                    </p:animEffect>
                                  </p:childTnLst>
                                </p:cTn>
                              </p:par>
                              <p:par>
                                <p:cTn id="95" presetID="35" presetClass="path" presetSubtype="0" accel="17000" decel="83000" fill="hold" grpId="1" nodeType="withEffect">
                                  <p:stCondLst>
                                    <p:cond delay="2000"/>
                                  </p:stCondLst>
                                  <p:childTnLst>
                                    <p:animMotion origin="layout" path="M 0.02311 2.88178E-06 L -4.93032E-06 2.88178E-06" pathEditMode="relative" rAng="0" ptsTypes="AA">
                                      <p:cBhvr>
                                        <p:cTn id="96" dur="1100" fill="hold"/>
                                        <p:tgtEl>
                                          <p:spTgt spid="49"/>
                                        </p:tgtEl>
                                        <p:attrNameLst>
                                          <p:attrName>ppt_x</p:attrName>
                                          <p:attrName>ppt_y</p:attrName>
                                        </p:attrNameLst>
                                      </p:cBhvr>
                                      <p:rCtr x="-116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33" grpId="1"/>
      <p:bldP spid="35" grpId="0"/>
      <p:bldP spid="35" grpId="1"/>
      <p:bldP spid="36" grpId="0"/>
      <p:bldP spid="36" grpId="1"/>
      <p:bldP spid="41" grpId="0"/>
      <p:bldP spid="41" grpId="1"/>
      <p:bldP spid="45" grpId="0"/>
      <p:bldP spid="45" grpId="1"/>
      <p:bldP spid="46" grpId="0"/>
      <p:bldP spid="46" grpId="1"/>
      <p:bldP spid="49" grpId="0"/>
      <p:bldP spid="49" grpId="1"/>
      <p:bldP spid="15" grpId="0"/>
      <p:bldP spid="15"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B2B2B2"/>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167264006"/>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2" grpId="0"/>
      <p:bldP spid="2" grpId="1"/>
      <p:bldP spid="5" grpId="0"/>
      <p:bldP spid="5" grpId="1"/>
      <p:bldP spid="6" grpId="0"/>
      <p:bldP spid="6" grpId="1"/>
      <p:bldP spid="7" grpId="0"/>
      <p:bldP spid="7" grpId="1"/>
      <p:bldP spid="14" grpId="0"/>
      <p:bldP spid="14" grpId="1"/>
      <p:bldP spid="15" grpId="0"/>
      <p:bldP spid="15" grpId="1"/>
      <p:bldP spid="17" grpId="0"/>
      <p:bldP spid="17" grpId="1"/>
      <p:bldP spid="28" grpId="0"/>
      <p:bldP spid="28"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think-cell data - do not delete" hidden="1">
            <a:extLst>
              <a:ext uri="{FF2B5EF4-FFF2-40B4-BE49-F238E27FC236}">
                <a16:creationId xmlns:a16="http://schemas.microsoft.com/office/drawing/2014/main" id="{163074E8-ACED-741F-A64B-3A059DC46F62}"/>
              </a:ext>
            </a:extLst>
          </p:cNvPr>
          <p:cNvGraphicFramePr>
            <a:graphicFrameLocks noChangeAspect="1"/>
          </p:cNvGraphicFramePr>
          <p:nvPr>
            <p:custDataLst>
              <p:tags r:id="rId1"/>
            </p:custDataLst>
            <p:extLst>
              <p:ext uri="{D42A27DB-BD31-4B8C-83A1-F6EECF244321}">
                <p14:modId xmlns:p14="http://schemas.microsoft.com/office/powerpoint/2010/main" val="112860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4" imgW="395" imgH="394" progId="TCLayout.ActiveDocument.1">
                  <p:embed/>
                </p:oleObj>
              </mc:Choice>
              <mc:Fallback>
                <p:oleObj name="Slide do think-cell" r:id="rId4" imgW="395" imgH="394" progId="TCLayout.ActiveDocument.1">
                  <p:embed/>
                  <p:pic>
                    <p:nvPicPr>
                      <p:cNvPr id="60" name="think-cell data - do not delete" hidden="1">
                        <a:extLst>
                          <a:ext uri="{FF2B5EF4-FFF2-40B4-BE49-F238E27FC236}">
                            <a16:creationId xmlns:a16="http://schemas.microsoft.com/office/drawing/2014/main" id="{163074E8-ACED-741F-A64B-3A059DC46F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Imagem 8" descr="Imagem em branco e azul&#10;&#10;Descrição gerada automaticamente com confiança média">
            <a:extLst>
              <a:ext uri="{FF2B5EF4-FFF2-40B4-BE49-F238E27FC236}">
                <a16:creationId xmlns:a16="http://schemas.microsoft.com/office/drawing/2014/main" id="{BE7CFBD3-4690-6AB3-ACA0-086E924CAE7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4" name="Imagem 3" descr="Tela de computador com fundo azul&#10;&#10;Descrição gerada automaticamente com confiança média">
            <a:extLst>
              <a:ext uri="{FF2B5EF4-FFF2-40B4-BE49-F238E27FC236}">
                <a16:creationId xmlns:a16="http://schemas.microsoft.com/office/drawing/2014/main" id="{FA730FD0-FDC6-63F2-1966-CAC0EAAEEA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49"/>
            <a:ext cx="8999538" cy="5062240"/>
          </a:xfrm>
          <a:prstGeom prst="rect">
            <a:avLst/>
          </a:prstGeom>
        </p:spPr>
      </p:pic>
      <p:pic>
        <p:nvPicPr>
          <p:cNvPr id="10" name="Imagem 9" descr="Uma imagem contendo Interface gráfica do usuário&#10;&#10;Descrição gerada automaticamente">
            <a:extLst>
              <a:ext uri="{FF2B5EF4-FFF2-40B4-BE49-F238E27FC236}">
                <a16:creationId xmlns:a16="http://schemas.microsoft.com/office/drawing/2014/main" id="{58431475-D9D6-4698-65E6-66B5BBB2DCF5}"/>
              </a:ext>
            </a:extLst>
          </p:cNvPr>
          <p:cNvPicPr>
            <a:picLocks noChangeAspect="1"/>
          </p:cNvPicPr>
          <p:nvPr/>
        </p:nvPicPr>
        <p:blipFill>
          <a:blip r:embed="rId8"/>
          <a:stretch>
            <a:fillRect/>
          </a:stretch>
        </p:blipFill>
        <p:spPr>
          <a:xfrm>
            <a:off x="8039840" y="60434"/>
            <a:ext cx="920231" cy="509571"/>
          </a:xfrm>
          <a:prstGeom prst="rect">
            <a:avLst/>
          </a:prstGeom>
        </p:spPr>
      </p:pic>
      <p:sp>
        <p:nvSpPr>
          <p:cNvPr id="3" name="Elipse 2">
            <a:extLst>
              <a:ext uri="{FF2B5EF4-FFF2-40B4-BE49-F238E27FC236}">
                <a16:creationId xmlns:a16="http://schemas.microsoft.com/office/drawing/2014/main" id="{A3E1D121-5D27-DAC3-3693-702919E99176}"/>
              </a:ext>
            </a:extLst>
          </p:cNvPr>
          <p:cNvSpPr/>
          <p:nvPr/>
        </p:nvSpPr>
        <p:spPr>
          <a:xfrm>
            <a:off x="3435306" y="1659447"/>
            <a:ext cx="2160000" cy="2160000"/>
          </a:xfrm>
          <a:prstGeom prst="ellipse">
            <a:avLst/>
          </a:prstGeom>
          <a:noFill/>
          <a:ln w="28575" cap="rnd" cmpd="sng">
            <a:solidFill>
              <a:srgbClr val="FBB393"/>
            </a:solidFill>
            <a:prstDash val="lgDashDot"/>
            <a:roun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pt-BR"/>
          </a:p>
        </p:txBody>
      </p:sp>
      <p:grpSp>
        <p:nvGrpSpPr>
          <p:cNvPr id="122" name="Agrupar 121">
            <a:extLst>
              <a:ext uri="{FF2B5EF4-FFF2-40B4-BE49-F238E27FC236}">
                <a16:creationId xmlns:a16="http://schemas.microsoft.com/office/drawing/2014/main" id="{097DFCEA-0D79-818B-7C46-993C42D1D6FE}"/>
              </a:ext>
            </a:extLst>
          </p:cNvPr>
          <p:cNvGrpSpPr/>
          <p:nvPr/>
        </p:nvGrpSpPr>
        <p:grpSpPr>
          <a:xfrm>
            <a:off x="5140606" y="1264627"/>
            <a:ext cx="1175468" cy="1298194"/>
            <a:chOff x="4951057" y="1155736"/>
            <a:chExt cx="1387344" cy="1532190"/>
          </a:xfrm>
        </p:grpSpPr>
        <p:sp>
          <p:nvSpPr>
            <p:cNvPr id="13" name="Forma Livre: Forma 12">
              <a:extLst>
                <a:ext uri="{FF2B5EF4-FFF2-40B4-BE49-F238E27FC236}">
                  <a16:creationId xmlns:a16="http://schemas.microsoft.com/office/drawing/2014/main" id="{AA1222FF-6C30-9943-261B-4CF9439461B9}"/>
                </a:ext>
              </a:extLst>
            </p:cNvPr>
            <p:cNvSpPr/>
            <p:nvPr/>
          </p:nvSpPr>
          <p:spPr>
            <a:xfrm>
              <a:off x="4951057" y="1155736"/>
              <a:ext cx="1387344" cy="1532190"/>
            </a:xfrm>
            <a:custGeom>
              <a:avLst/>
              <a:gdLst>
                <a:gd name="connsiteX0" fmla="*/ 1303032 w 1303031"/>
                <a:gd name="connsiteY0" fmla="*/ 1439075 h 1439074"/>
                <a:gd name="connsiteX1" fmla="*/ 472498 w 1303031"/>
                <a:gd name="connsiteY1" fmla="*/ 0 h 1439074"/>
                <a:gd name="connsiteX2" fmla="*/ 66443 w 1303031"/>
                <a:gd name="connsiteY2" fmla="*/ 703281 h 1439074"/>
                <a:gd name="connsiteX3" fmla="*/ 491264 w 1303031"/>
                <a:gd name="connsiteY3" fmla="*/ 1439075 h 1439074"/>
                <a:gd name="connsiteX4" fmla="*/ 1303032 w 1303031"/>
                <a:gd name="connsiteY4" fmla="*/ 1439075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1" h="1439074">
                  <a:moveTo>
                    <a:pt x="1303032" y="1439075"/>
                  </a:moveTo>
                  <a:cubicBezTo>
                    <a:pt x="1293050" y="827910"/>
                    <a:pt x="962685" y="294660"/>
                    <a:pt x="472498" y="0"/>
                  </a:cubicBezTo>
                  <a:lnTo>
                    <a:pt x="66443" y="703281"/>
                  </a:lnTo>
                  <a:cubicBezTo>
                    <a:pt x="-122353" y="1030282"/>
                    <a:pt x="113671" y="1439075"/>
                    <a:pt x="491264" y="1439075"/>
                  </a:cubicBezTo>
                  <a:lnTo>
                    <a:pt x="1303032" y="1439075"/>
                  </a:lnTo>
                  <a:close/>
                </a:path>
              </a:pathLst>
            </a:custGeom>
            <a:solidFill>
              <a:srgbClr val="9DB5C7"/>
            </a:solidFill>
            <a:ln w="0" cap="flat">
              <a:noFill/>
              <a:prstDash val="solid"/>
              <a:miter/>
            </a:ln>
          </p:spPr>
          <p:txBody>
            <a:bodyPr rtlCol="0" anchor="ctr"/>
            <a:lstStyle/>
            <a:p>
              <a:endParaRPr lang="pt-BR" sz="3000"/>
            </a:p>
          </p:txBody>
        </p:sp>
        <p:sp>
          <p:nvSpPr>
            <p:cNvPr id="55" name="CaixaDeTexto 54">
              <a:extLst>
                <a:ext uri="{FF2B5EF4-FFF2-40B4-BE49-F238E27FC236}">
                  <a16:creationId xmlns:a16="http://schemas.microsoft.com/office/drawing/2014/main" id="{45D0684B-8CF8-AE53-2F46-18575840E098}"/>
                </a:ext>
              </a:extLst>
            </p:cNvPr>
            <p:cNvSpPr txBox="1"/>
            <p:nvPr/>
          </p:nvSpPr>
          <p:spPr>
            <a:xfrm>
              <a:off x="5467874"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2</a:t>
              </a:r>
            </a:p>
          </p:txBody>
        </p:sp>
      </p:grpSp>
      <p:grpSp>
        <p:nvGrpSpPr>
          <p:cNvPr id="123" name="Agrupar 122">
            <a:extLst>
              <a:ext uri="{FF2B5EF4-FFF2-40B4-BE49-F238E27FC236}">
                <a16:creationId xmlns:a16="http://schemas.microsoft.com/office/drawing/2014/main" id="{58677FB7-AB67-A3AA-36EC-F986C387963D}"/>
              </a:ext>
            </a:extLst>
          </p:cNvPr>
          <p:cNvGrpSpPr/>
          <p:nvPr/>
        </p:nvGrpSpPr>
        <p:grpSpPr>
          <a:xfrm>
            <a:off x="5115509" y="2946012"/>
            <a:ext cx="1175468" cy="1298194"/>
            <a:chOff x="4950994" y="2799034"/>
            <a:chExt cx="1387344" cy="1532190"/>
          </a:xfrm>
        </p:grpSpPr>
        <p:sp>
          <p:nvSpPr>
            <p:cNvPr id="21" name="Forma Livre: Forma 20">
              <a:extLst>
                <a:ext uri="{FF2B5EF4-FFF2-40B4-BE49-F238E27FC236}">
                  <a16:creationId xmlns:a16="http://schemas.microsoft.com/office/drawing/2014/main" id="{23C12B5D-6A8F-FE1E-B187-301CA9B6851B}"/>
                </a:ext>
              </a:extLst>
            </p:cNvPr>
            <p:cNvSpPr/>
            <p:nvPr/>
          </p:nvSpPr>
          <p:spPr>
            <a:xfrm>
              <a:off x="4950994" y="2799034"/>
              <a:ext cx="1387344" cy="1532190"/>
            </a:xfrm>
            <a:custGeom>
              <a:avLst/>
              <a:gdLst>
                <a:gd name="connsiteX0" fmla="*/ 472498 w 1303031"/>
                <a:gd name="connsiteY0" fmla="*/ 1439075 h 1439074"/>
                <a:gd name="connsiteX1" fmla="*/ 1303032 w 1303031"/>
                <a:gd name="connsiteY1" fmla="*/ 57 h 1439074"/>
                <a:gd name="connsiteX2" fmla="*/ 1302975 w 1303031"/>
                <a:gd name="connsiteY2" fmla="*/ 0 h 1439074"/>
                <a:gd name="connsiteX3" fmla="*/ 491264 w 1303031"/>
                <a:gd name="connsiteY3" fmla="*/ 0 h 1439074"/>
                <a:gd name="connsiteX4" fmla="*/ 66443 w 1303031"/>
                <a:gd name="connsiteY4" fmla="*/ 735793 h 1439074"/>
                <a:gd name="connsiteX5" fmla="*/ 472498 w 1303031"/>
                <a:gd name="connsiteY5" fmla="*/ 1439075 h 143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031" h="1439074">
                  <a:moveTo>
                    <a:pt x="472498" y="1439075"/>
                  </a:moveTo>
                  <a:cubicBezTo>
                    <a:pt x="962685" y="1144415"/>
                    <a:pt x="1293050" y="611222"/>
                    <a:pt x="1303032" y="57"/>
                  </a:cubicBezTo>
                  <a:cubicBezTo>
                    <a:pt x="1303032" y="57"/>
                    <a:pt x="1303032" y="0"/>
                    <a:pt x="1302975" y="0"/>
                  </a:cubicBezTo>
                  <a:lnTo>
                    <a:pt x="491264" y="0"/>
                  </a:lnTo>
                  <a:cubicBezTo>
                    <a:pt x="113671" y="0"/>
                    <a:pt x="-122353" y="408793"/>
                    <a:pt x="66443" y="735793"/>
                  </a:cubicBezTo>
                  <a:lnTo>
                    <a:pt x="472498" y="1439075"/>
                  </a:lnTo>
                  <a:close/>
                </a:path>
              </a:pathLst>
            </a:custGeom>
            <a:solidFill>
              <a:srgbClr val="4C87C8"/>
            </a:solidFill>
            <a:ln w="0" cap="flat">
              <a:noFill/>
              <a:prstDash val="solid"/>
              <a:miter/>
            </a:ln>
          </p:spPr>
          <p:txBody>
            <a:bodyPr rtlCol="0" anchor="ctr"/>
            <a:lstStyle/>
            <a:p>
              <a:endParaRPr lang="pt-BR" sz="3000"/>
            </a:p>
          </p:txBody>
        </p:sp>
        <p:sp>
          <p:nvSpPr>
            <p:cNvPr id="56" name="CaixaDeTexto 55">
              <a:extLst>
                <a:ext uri="{FF2B5EF4-FFF2-40B4-BE49-F238E27FC236}">
                  <a16:creationId xmlns:a16="http://schemas.microsoft.com/office/drawing/2014/main" id="{C909693D-FA15-43B5-15BC-80F5E6213518}"/>
                </a:ext>
              </a:extLst>
            </p:cNvPr>
            <p:cNvSpPr txBox="1"/>
            <p:nvPr/>
          </p:nvSpPr>
          <p:spPr>
            <a:xfrm>
              <a:off x="5467874"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3</a:t>
              </a:r>
            </a:p>
          </p:txBody>
        </p:sp>
      </p:grpSp>
      <p:grpSp>
        <p:nvGrpSpPr>
          <p:cNvPr id="124" name="Agrupar 123">
            <a:extLst>
              <a:ext uri="{FF2B5EF4-FFF2-40B4-BE49-F238E27FC236}">
                <a16:creationId xmlns:a16="http://schemas.microsoft.com/office/drawing/2014/main" id="{02DDBCBE-FA02-790F-CCAE-6AB435974728}"/>
              </a:ext>
            </a:extLst>
          </p:cNvPr>
          <p:cNvGrpSpPr/>
          <p:nvPr/>
        </p:nvGrpSpPr>
        <p:grpSpPr>
          <a:xfrm>
            <a:off x="3731696" y="3562668"/>
            <a:ext cx="1499070" cy="1049656"/>
            <a:chOff x="3596594" y="3364522"/>
            <a:chExt cx="1769274" cy="1238854"/>
          </a:xfrm>
        </p:grpSpPr>
        <p:sp>
          <p:nvSpPr>
            <p:cNvPr id="18" name="Forma Livre: Forma 17">
              <a:extLst>
                <a:ext uri="{FF2B5EF4-FFF2-40B4-BE49-F238E27FC236}">
                  <a16:creationId xmlns:a16="http://schemas.microsoft.com/office/drawing/2014/main" id="{3D496282-17E4-3C2A-1450-B6B62270CED9}"/>
                </a:ext>
              </a:extLst>
            </p:cNvPr>
            <p:cNvSpPr/>
            <p:nvPr/>
          </p:nvSpPr>
          <p:spPr>
            <a:xfrm>
              <a:off x="3596594" y="3364522"/>
              <a:ext cx="1769274" cy="1238854"/>
            </a:xfrm>
            <a:custGeom>
              <a:avLst/>
              <a:gdLst>
                <a:gd name="connsiteX0" fmla="*/ 830876 w 1661751"/>
                <a:gd name="connsiteY0" fmla="*/ 1163566 h 1163565"/>
                <a:gd name="connsiteX1" fmla="*/ 1661752 w 1661751"/>
                <a:gd name="connsiteY1" fmla="*/ 948531 h 1163565"/>
                <a:gd name="connsiteX2" fmla="*/ 1255697 w 1661751"/>
                <a:gd name="connsiteY2" fmla="*/ 245250 h 1163565"/>
                <a:gd name="connsiteX3" fmla="*/ 406055 w 1661751"/>
                <a:gd name="connsiteY3" fmla="*/ 245250 h 1163565"/>
                <a:gd name="connsiteX4" fmla="*/ 0 w 1661751"/>
                <a:gd name="connsiteY4" fmla="*/ 948531 h 1163565"/>
                <a:gd name="connsiteX5" fmla="*/ 830876 w 1661751"/>
                <a:gd name="connsiteY5" fmla="*/ 1163566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1163566"/>
                  </a:moveTo>
                  <a:cubicBezTo>
                    <a:pt x="1132437" y="1163566"/>
                    <a:pt x="1415689" y="1085480"/>
                    <a:pt x="1661752" y="948531"/>
                  </a:cubicBezTo>
                  <a:lnTo>
                    <a:pt x="1255697" y="245250"/>
                  </a:lnTo>
                  <a:cubicBezTo>
                    <a:pt x="1066900" y="-81750"/>
                    <a:pt x="594852" y="-81750"/>
                    <a:pt x="406055" y="245250"/>
                  </a:cubicBezTo>
                  <a:lnTo>
                    <a:pt x="0" y="948531"/>
                  </a:lnTo>
                  <a:cubicBezTo>
                    <a:pt x="246063" y="1085480"/>
                    <a:pt x="529315" y="1163566"/>
                    <a:pt x="830876" y="1163566"/>
                  </a:cubicBezTo>
                  <a:close/>
                </a:path>
              </a:pathLst>
            </a:custGeom>
            <a:solidFill>
              <a:srgbClr val="2C62BA"/>
            </a:solidFill>
            <a:ln w="0" cap="flat">
              <a:noFill/>
              <a:prstDash val="solid"/>
              <a:miter/>
            </a:ln>
          </p:spPr>
          <p:txBody>
            <a:bodyPr rtlCol="0" anchor="ctr"/>
            <a:lstStyle/>
            <a:p>
              <a:endParaRPr lang="pt-BR" sz="3000"/>
            </a:p>
          </p:txBody>
        </p:sp>
        <p:sp>
          <p:nvSpPr>
            <p:cNvPr id="57" name="CaixaDeTexto 56">
              <a:extLst>
                <a:ext uri="{FF2B5EF4-FFF2-40B4-BE49-F238E27FC236}">
                  <a16:creationId xmlns:a16="http://schemas.microsoft.com/office/drawing/2014/main" id="{1E5392DC-24A9-1F85-9BDF-F5DA175B4863}"/>
                </a:ext>
              </a:extLst>
            </p:cNvPr>
            <p:cNvSpPr txBox="1"/>
            <p:nvPr/>
          </p:nvSpPr>
          <p:spPr>
            <a:xfrm>
              <a:off x="4327394" y="3762883"/>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4</a:t>
              </a:r>
            </a:p>
          </p:txBody>
        </p:sp>
      </p:grpSp>
      <p:grpSp>
        <p:nvGrpSpPr>
          <p:cNvPr id="126" name="Agrupar 125">
            <a:extLst>
              <a:ext uri="{FF2B5EF4-FFF2-40B4-BE49-F238E27FC236}">
                <a16:creationId xmlns:a16="http://schemas.microsoft.com/office/drawing/2014/main" id="{05CD2428-708D-6929-1EA9-4F5663A8AB32}"/>
              </a:ext>
            </a:extLst>
          </p:cNvPr>
          <p:cNvGrpSpPr/>
          <p:nvPr/>
        </p:nvGrpSpPr>
        <p:grpSpPr>
          <a:xfrm>
            <a:off x="2678916" y="1282493"/>
            <a:ext cx="1175468" cy="1298194"/>
            <a:chOff x="2624060" y="1155736"/>
            <a:chExt cx="1387344" cy="1532190"/>
          </a:xfrm>
        </p:grpSpPr>
        <p:sp>
          <p:nvSpPr>
            <p:cNvPr id="12" name="Forma Livre: Forma 11">
              <a:extLst>
                <a:ext uri="{FF2B5EF4-FFF2-40B4-BE49-F238E27FC236}">
                  <a16:creationId xmlns:a16="http://schemas.microsoft.com/office/drawing/2014/main" id="{C3845908-14CB-D985-90FB-4260F0F3F7D0}"/>
                </a:ext>
              </a:extLst>
            </p:cNvPr>
            <p:cNvSpPr/>
            <p:nvPr/>
          </p:nvSpPr>
          <p:spPr>
            <a:xfrm>
              <a:off x="2624060" y="1155736"/>
              <a:ext cx="1387344" cy="1532190"/>
            </a:xfrm>
            <a:custGeom>
              <a:avLst/>
              <a:gdLst>
                <a:gd name="connsiteX0" fmla="*/ 830534 w 1303032"/>
                <a:gd name="connsiteY0" fmla="*/ 0 h 1439074"/>
                <a:gd name="connsiteX1" fmla="*/ 0 w 1303032"/>
                <a:gd name="connsiteY1" fmla="*/ 1439075 h 1439074"/>
                <a:gd name="connsiteX2" fmla="*/ 811768 w 1303032"/>
                <a:gd name="connsiteY2" fmla="*/ 1439075 h 1439074"/>
                <a:gd name="connsiteX3" fmla="*/ 1236589 w 1303032"/>
                <a:gd name="connsiteY3" fmla="*/ 703281 h 1439074"/>
                <a:gd name="connsiteX4" fmla="*/ 830534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830534" y="0"/>
                  </a:moveTo>
                  <a:cubicBezTo>
                    <a:pt x="340347" y="294660"/>
                    <a:pt x="10039" y="827910"/>
                    <a:pt x="0" y="1439075"/>
                  </a:cubicBezTo>
                  <a:lnTo>
                    <a:pt x="811768" y="1439075"/>
                  </a:lnTo>
                  <a:cubicBezTo>
                    <a:pt x="1189361" y="1439075"/>
                    <a:pt x="1425385" y="1030282"/>
                    <a:pt x="1236589" y="703281"/>
                  </a:cubicBezTo>
                  <a:lnTo>
                    <a:pt x="830534" y="0"/>
                  </a:lnTo>
                  <a:close/>
                </a:path>
              </a:pathLst>
            </a:custGeom>
            <a:solidFill>
              <a:srgbClr val="0B4BA1"/>
            </a:solidFill>
            <a:ln w="0" cap="flat">
              <a:noFill/>
              <a:prstDash val="solid"/>
              <a:miter/>
            </a:ln>
          </p:spPr>
          <p:txBody>
            <a:bodyPr rtlCol="0" anchor="ctr"/>
            <a:lstStyle/>
            <a:p>
              <a:endParaRPr lang="pt-BR" sz="3000"/>
            </a:p>
          </p:txBody>
        </p:sp>
        <p:sp>
          <p:nvSpPr>
            <p:cNvPr id="61" name="CaixaDeTexto 60">
              <a:extLst>
                <a:ext uri="{FF2B5EF4-FFF2-40B4-BE49-F238E27FC236}">
                  <a16:creationId xmlns:a16="http://schemas.microsoft.com/office/drawing/2014/main" id="{2B10B3A6-6543-3014-1640-F2CEFC5C4EB2}"/>
                </a:ext>
              </a:extLst>
            </p:cNvPr>
            <p:cNvSpPr txBox="1"/>
            <p:nvPr/>
          </p:nvSpPr>
          <p:spPr>
            <a:xfrm>
              <a:off x="3187426" y="1795919"/>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6</a:t>
              </a:r>
            </a:p>
          </p:txBody>
        </p:sp>
      </p:grpSp>
      <p:grpSp>
        <p:nvGrpSpPr>
          <p:cNvPr id="125" name="Agrupar 124">
            <a:extLst>
              <a:ext uri="{FF2B5EF4-FFF2-40B4-BE49-F238E27FC236}">
                <a16:creationId xmlns:a16="http://schemas.microsoft.com/office/drawing/2014/main" id="{06C56FE6-2E71-3F2F-0F0C-0FDE9F8298F8}"/>
              </a:ext>
            </a:extLst>
          </p:cNvPr>
          <p:cNvGrpSpPr/>
          <p:nvPr/>
        </p:nvGrpSpPr>
        <p:grpSpPr>
          <a:xfrm>
            <a:off x="2678916" y="2975991"/>
            <a:ext cx="1175468" cy="1298194"/>
            <a:chOff x="2624060" y="2799033"/>
            <a:chExt cx="1387344" cy="1532190"/>
          </a:xfrm>
        </p:grpSpPr>
        <p:sp>
          <p:nvSpPr>
            <p:cNvPr id="8" name="Forma Livre: Forma 7">
              <a:extLst>
                <a:ext uri="{FF2B5EF4-FFF2-40B4-BE49-F238E27FC236}">
                  <a16:creationId xmlns:a16="http://schemas.microsoft.com/office/drawing/2014/main" id="{752AB0AB-A9F7-EFF0-A8C9-4DE51F8DF38E}"/>
                </a:ext>
              </a:extLst>
            </p:cNvPr>
            <p:cNvSpPr/>
            <p:nvPr/>
          </p:nvSpPr>
          <p:spPr>
            <a:xfrm>
              <a:off x="2624060" y="2799033"/>
              <a:ext cx="1387344" cy="1532190"/>
            </a:xfrm>
            <a:custGeom>
              <a:avLst/>
              <a:gdLst>
                <a:gd name="connsiteX0" fmla="*/ 0 w 1303032"/>
                <a:gd name="connsiteY0" fmla="*/ 0 h 1439074"/>
                <a:gd name="connsiteX1" fmla="*/ 830534 w 1303032"/>
                <a:gd name="connsiteY1" fmla="*/ 1439075 h 1439074"/>
                <a:gd name="connsiteX2" fmla="*/ 1236589 w 1303032"/>
                <a:gd name="connsiteY2" fmla="*/ 735793 h 1439074"/>
                <a:gd name="connsiteX3" fmla="*/ 811768 w 1303032"/>
                <a:gd name="connsiteY3" fmla="*/ 0 h 1439074"/>
                <a:gd name="connsiteX4" fmla="*/ 0 w 1303032"/>
                <a:gd name="connsiteY4" fmla="*/ 0 h 1439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3032" h="1439074">
                  <a:moveTo>
                    <a:pt x="0" y="0"/>
                  </a:moveTo>
                  <a:cubicBezTo>
                    <a:pt x="9982" y="611165"/>
                    <a:pt x="340347" y="1144415"/>
                    <a:pt x="830534" y="1439075"/>
                  </a:cubicBezTo>
                  <a:lnTo>
                    <a:pt x="1236589" y="735793"/>
                  </a:lnTo>
                  <a:cubicBezTo>
                    <a:pt x="1425385" y="408793"/>
                    <a:pt x="1189361" y="0"/>
                    <a:pt x="811768" y="0"/>
                  </a:cubicBezTo>
                  <a:lnTo>
                    <a:pt x="0" y="0"/>
                  </a:lnTo>
                  <a:close/>
                </a:path>
              </a:pathLst>
            </a:custGeom>
            <a:solidFill>
              <a:srgbClr val="1071EE"/>
            </a:solidFill>
            <a:ln w="0" cap="flat">
              <a:noFill/>
              <a:prstDash val="solid"/>
              <a:miter/>
            </a:ln>
          </p:spPr>
          <p:txBody>
            <a:bodyPr rtlCol="0" anchor="ctr"/>
            <a:lstStyle/>
            <a:p>
              <a:endParaRPr lang="pt-BR" sz="3000"/>
            </a:p>
          </p:txBody>
        </p:sp>
        <p:sp>
          <p:nvSpPr>
            <p:cNvPr id="62" name="CaixaDeTexto 61">
              <a:extLst>
                <a:ext uri="{FF2B5EF4-FFF2-40B4-BE49-F238E27FC236}">
                  <a16:creationId xmlns:a16="http://schemas.microsoft.com/office/drawing/2014/main" id="{FC08ED16-55DB-93E7-39EC-F6AE846BDDF2}"/>
                </a:ext>
              </a:extLst>
            </p:cNvPr>
            <p:cNvSpPr txBox="1"/>
            <p:nvPr/>
          </p:nvSpPr>
          <p:spPr>
            <a:xfrm>
              <a:off x="3195657" y="3103911"/>
              <a:ext cx="295168" cy="572123"/>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5</a:t>
              </a:r>
            </a:p>
          </p:txBody>
        </p:sp>
      </p:grpSp>
      <p:cxnSp>
        <p:nvCxnSpPr>
          <p:cNvPr id="76" name="Conector reto 75">
            <a:extLst>
              <a:ext uri="{FF2B5EF4-FFF2-40B4-BE49-F238E27FC236}">
                <a16:creationId xmlns:a16="http://schemas.microsoft.com/office/drawing/2014/main" id="{7F143FDF-9121-39DD-6AAE-7D5B86018D97}"/>
              </a:ext>
            </a:extLst>
          </p:cNvPr>
          <p:cNvCxnSpPr>
            <a:cxnSpLocks/>
          </p:cNvCxnSpPr>
          <p:nvPr/>
        </p:nvCxnSpPr>
        <p:spPr>
          <a:xfrm>
            <a:off x="6232400" y="2365128"/>
            <a:ext cx="332365"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86" name="Conector reto 85">
            <a:extLst>
              <a:ext uri="{FF2B5EF4-FFF2-40B4-BE49-F238E27FC236}">
                <a16:creationId xmlns:a16="http://schemas.microsoft.com/office/drawing/2014/main" id="{77943BBD-9877-1124-3ABC-E6E72724C911}"/>
              </a:ext>
            </a:extLst>
          </p:cNvPr>
          <p:cNvCxnSpPr>
            <a:cxnSpLocks/>
          </p:cNvCxnSpPr>
          <p:nvPr/>
        </p:nvCxnSpPr>
        <p:spPr>
          <a:xfrm>
            <a:off x="5773109" y="3964133"/>
            <a:ext cx="791656"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0" name="Conector reto 99">
            <a:extLst>
              <a:ext uri="{FF2B5EF4-FFF2-40B4-BE49-F238E27FC236}">
                <a16:creationId xmlns:a16="http://schemas.microsoft.com/office/drawing/2014/main" id="{6F3E351D-18A1-ADF6-FB0C-750472AA40B7}"/>
              </a:ext>
            </a:extLst>
          </p:cNvPr>
          <p:cNvCxnSpPr>
            <a:cxnSpLocks/>
          </p:cNvCxnSpPr>
          <p:nvPr/>
        </p:nvCxnSpPr>
        <p:spPr>
          <a:xfrm>
            <a:off x="2366553" y="4523429"/>
            <a:ext cx="2108424"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8" name="Conector reto 107">
            <a:extLst>
              <a:ext uri="{FF2B5EF4-FFF2-40B4-BE49-F238E27FC236}">
                <a16:creationId xmlns:a16="http://schemas.microsoft.com/office/drawing/2014/main" id="{D1E9DA8D-5E36-F818-584E-BC2A87479B11}"/>
              </a:ext>
            </a:extLst>
          </p:cNvPr>
          <p:cNvCxnSpPr>
            <a:cxnSpLocks/>
          </p:cNvCxnSpPr>
          <p:nvPr/>
        </p:nvCxnSpPr>
        <p:spPr>
          <a:xfrm>
            <a:off x="2366553" y="3060937"/>
            <a:ext cx="342343"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109" name="Conector reto 108">
            <a:extLst>
              <a:ext uri="{FF2B5EF4-FFF2-40B4-BE49-F238E27FC236}">
                <a16:creationId xmlns:a16="http://schemas.microsoft.com/office/drawing/2014/main" id="{042362C5-D9BB-E2C3-D84A-82C21CE3A026}"/>
              </a:ext>
            </a:extLst>
          </p:cNvPr>
          <p:cNvCxnSpPr>
            <a:cxnSpLocks/>
          </p:cNvCxnSpPr>
          <p:nvPr/>
        </p:nvCxnSpPr>
        <p:spPr>
          <a:xfrm>
            <a:off x="2337692" y="1530543"/>
            <a:ext cx="742407" cy="0"/>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5" name="CaixaDeTexto 4">
            <a:extLst>
              <a:ext uri="{FF2B5EF4-FFF2-40B4-BE49-F238E27FC236}">
                <a16:creationId xmlns:a16="http://schemas.microsoft.com/office/drawing/2014/main" id="{E6A3E66B-C4A0-A353-409C-4A3AA342BF10}"/>
              </a:ext>
            </a:extLst>
          </p:cNvPr>
          <p:cNvSpPr txBox="1"/>
          <p:nvPr/>
        </p:nvSpPr>
        <p:spPr>
          <a:xfrm>
            <a:off x="6599986" y="2097362"/>
            <a:ext cx="1731358"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9DB5C7"/>
                </a:solidFill>
                <a:latin typeface="Segoe UI"/>
              </a:rPr>
              <a:t>SUSTAINABILITY</a:t>
            </a:r>
          </a:p>
          <a:p>
            <a:pPr defTabSz="234364"/>
            <a:r>
              <a:rPr lang="en-US" sz="1200" spc="0">
                <a:solidFill>
                  <a:srgbClr val="011F57"/>
                </a:solidFill>
                <a:latin typeface="Segoe UI"/>
              </a:rPr>
              <a:t>Decarbonization and social value generation </a:t>
            </a:r>
            <a:endParaRPr lang="en-US" sz="1200" spc="0" dirty="0">
              <a:solidFill>
                <a:srgbClr val="011F57"/>
              </a:solidFill>
              <a:latin typeface="Segoe UI"/>
            </a:endParaRPr>
          </a:p>
        </p:txBody>
      </p:sp>
      <p:sp>
        <p:nvSpPr>
          <p:cNvPr id="6" name="CaixaDeTexto 5">
            <a:extLst>
              <a:ext uri="{FF2B5EF4-FFF2-40B4-BE49-F238E27FC236}">
                <a16:creationId xmlns:a16="http://schemas.microsoft.com/office/drawing/2014/main" id="{14702289-3FDB-1AE5-A4FC-54F77AD6433F}"/>
              </a:ext>
            </a:extLst>
          </p:cNvPr>
          <p:cNvSpPr txBox="1"/>
          <p:nvPr/>
        </p:nvSpPr>
        <p:spPr>
          <a:xfrm>
            <a:off x="6607020" y="3710754"/>
            <a:ext cx="1959920" cy="535531"/>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200" b="1" spc="0">
                <a:solidFill>
                  <a:srgbClr val="4C87C8"/>
                </a:solidFill>
                <a:latin typeface="Segoe UI"/>
              </a:rPr>
              <a:t>INNOVATION </a:t>
            </a:r>
          </a:p>
          <a:p>
            <a:pPr defTabSz="234364"/>
            <a:r>
              <a:rPr lang="en-US" sz="1200" spc="0">
                <a:solidFill>
                  <a:srgbClr val="011F57"/>
                </a:solidFill>
                <a:latin typeface="Segoe UI"/>
              </a:rPr>
              <a:t>Provider of energy transition solutions</a:t>
            </a:r>
            <a:endParaRPr lang="en-US" sz="1200" spc="0" dirty="0">
              <a:solidFill>
                <a:srgbClr val="011F57"/>
              </a:solidFill>
              <a:latin typeface="Segoe UI"/>
            </a:endParaRPr>
          </a:p>
        </p:txBody>
      </p:sp>
      <p:sp>
        <p:nvSpPr>
          <p:cNvPr id="14" name="CaixaDeTexto 13">
            <a:extLst>
              <a:ext uri="{FF2B5EF4-FFF2-40B4-BE49-F238E27FC236}">
                <a16:creationId xmlns:a16="http://schemas.microsoft.com/office/drawing/2014/main" id="{501C0694-ADD6-B4CA-9B62-597FED6B3863}"/>
              </a:ext>
            </a:extLst>
          </p:cNvPr>
          <p:cNvSpPr txBox="1"/>
          <p:nvPr/>
        </p:nvSpPr>
        <p:spPr>
          <a:xfrm>
            <a:off x="246963" y="4181797"/>
            <a:ext cx="2108423"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2C62BA"/>
                </a:solidFill>
                <a:latin typeface="Segoe UI"/>
              </a:rPr>
              <a:t>EXCELLENCE IN  PROJECT MANAGEMENT</a:t>
            </a:r>
          </a:p>
          <a:p>
            <a:pPr algn="r" defTabSz="234364"/>
            <a:r>
              <a:rPr lang="en-US" sz="1200" spc="0">
                <a:solidFill>
                  <a:srgbClr val="011F57"/>
                </a:solidFill>
                <a:latin typeface="Segoe UI"/>
              </a:rPr>
              <a:t>Disciplined structuring and execution</a:t>
            </a:r>
            <a:endParaRPr lang="en-US" sz="1200" spc="0" dirty="0">
              <a:solidFill>
                <a:srgbClr val="011F57"/>
              </a:solidFill>
              <a:latin typeface="Segoe UI"/>
            </a:endParaRPr>
          </a:p>
        </p:txBody>
      </p:sp>
      <p:sp>
        <p:nvSpPr>
          <p:cNvPr id="15" name="CaixaDeTexto 14">
            <a:extLst>
              <a:ext uri="{FF2B5EF4-FFF2-40B4-BE49-F238E27FC236}">
                <a16:creationId xmlns:a16="http://schemas.microsoft.com/office/drawing/2014/main" id="{F90B2AAA-1680-EBC0-B404-E70D629831C0}"/>
              </a:ext>
            </a:extLst>
          </p:cNvPr>
          <p:cNvSpPr txBox="1"/>
          <p:nvPr/>
        </p:nvSpPr>
        <p:spPr>
          <a:xfrm>
            <a:off x="624029" y="1336644"/>
            <a:ext cx="1731358"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0B4BA1"/>
                </a:solidFill>
                <a:latin typeface="Segoe UI"/>
              </a:rPr>
              <a:t>SUSTAINABLE VALUE GENERATION</a:t>
            </a:r>
            <a:endParaRPr lang="en-US" sz="1200" b="1" spc="0" dirty="0">
              <a:solidFill>
                <a:srgbClr val="0B4BA1"/>
              </a:solidFill>
              <a:latin typeface="Segoe UI"/>
            </a:endParaRPr>
          </a:p>
        </p:txBody>
      </p:sp>
      <p:sp>
        <p:nvSpPr>
          <p:cNvPr id="17" name="CaixaDeTexto 16">
            <a:extLst>
              <a:ext uri="{FF2B5EF4-FFF2-40B4-BE49-F238E27FC236}">
                <a16:creationId xmlns:a16="http://schemas.microsoft.com/office/drawing/2014/main" id="{E818E0BA-F606-4F52-D739-EC0F2F32A0B1}"/>
              </a:ext>
            </a:extLst>
          </p:cNvPr>
          <p:cNvSpPr txBox="1"/>
          <p:nvPr/>
        </p:nvSpPr>
        <p:spPr>
          <a:xfrm>
            <a:off x="395947" y="2731839"/>
            <a:ext cx="1959440" cy="68326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r" defTabSz="234364"/>
            <a:r>
              <a:rPr lang="en-US" sz="1200" b="1" spc="0">
                <a:solidFill>
                  <a:srgbClr val="1071EE"/>
                </a:solidFill>
                <a:latin typeface="Segoe UI"/>
              </a:rPr>
              <a:t>REGULATORY MANAGEMENT</a:t>
            </a:r>
          </a:p>
          <a:p>
            <a:pPr algn="r" defTabSz="234364"/>
            <a:r>
              <a:rPr lang="en-US" sz="1200" spc="0">
                <a:solidFill>
                  <a:srgbClr val="011F57"/>
                </a:solidFill>
                <a:latin typeface="Segoe UI"/>
              </a:rPr>
              <a:t>Active management with competitive advantage</a:t>
            </a:r>
            <a:endParaRPr lang="en-US" sz="1200" spc="0" dirty="0">
              <a:solidFill>
                <a:srgbClr val="011F57"/>
              </a:solidFill>
              <a:latin typeface="Segoe UI"/>
            </a:endParaRPr>
          </a:p>
        </p:txBody>
      </p:sp>
      <p:sp>
        <p:nvSpPr>
          <p:cNvPr id="28" name="CaixaDeTexto 27">
            <a:extLst>
              <a:ext uri="{FF2B5EF4-FFF2-40B4-BE49-F238E27FC236}">
                <a16:creationId xmlns:a16="http://schemas.microsoft.com/office/drawing/2014/main" id="{D1B8D5A3-6701-3424-1F4F-B10545FCC558}"/>
              </a:ext>
            </a:extLst>
          </p:cNvPr>
          <p:cNvSpPr txBox="1"/>
          <p:nvPr/>
        </p:nvSpPr>
        <p:spPr>
          <a:xfrm>
            <a:off x="2792378" y="280341"/>
            <a:ext cx="3414782" cy="458587"/>
          </a:xfrm>
          <a:prstGeom prst="rect">
            <a:avLst/>
          </a:prstGeom>
          <a:noFill/>
        </p:spPr>
        <p:txBody>
          <a:bodyPr wrap="non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2800"/>
              <a:t>VALUE </a:t>
            </a:r>
            <a:r>
              <a:rPr lang="pt-BR" sz="2800" b="1">
                <a:latin typeface="Segoe UI" panose="020B0502040204020203" pitchFamily="34" charset="0"/>
                <a:cs typeface="Segoe UI" panose="020B0502040204020203" pitchFamily="34" charset="0"/>
              </a:rPr>
              <a:t>LEVERS</a:t>
            </a:r>
            <a:endParaRPr lang="pt-BR" sz="2800" b="1" dirty="0">
              <a:latin typeface="Segoe UI" panose="020B0502040204020203" pitchFamily="34" charset="0"/>
              <a:cs typeface="Segoe UI" panose="020B0502040204020203" pitchFamily="34" charset="0"/>
            </a:endParaRPr>
          </a:p>
        </p:txBody>
      </p:sp>
      <p:pic>
        <p:nvPicPr>
          <p:cNvPr id="11" name="Imagem 10" descr="Tela de computador com fundo azul&#10;&#10;Descrição gerada automaticamente com confiança média">
            <a:extLst>
              <a:ext uri="{FF2B5EF4-FFF2-40B4-BE49-F238E27FC236}">
                <a16:creationId xmlns:a16="http://schemas.microsoft.com/office/drawing/2014/main" id="{82A5F86A-7A88-E945-A1CF-6FED9F5AAB3D}"/>
              </a:ext>
            </a:extLst>
          </p:cNvPr>
          <p:cNvPicPr>
            <a:picLocks noChangeAspect="1"/>
          </p:cNvPicPr>
          <p:nvPr/>
        </p:nvPicPr>
        <p:blipFill>
          <a:blip r:embed="rId7">
            <a:alphaModFix amt="70000"/>
            <a:extLst>
              <a:ext uri="{28A0092B-C50C-407E-A947-70E740481C1C}">
                <a14:useLocalDpi xmlns:a14="http://schemas.microsoft.com/office/drawing/2010/main" val="0"/>
              </a:ext>
            </a:extLst>
          </a:blip>
          <a:stretch>
            <a:fillRect/>
          </a:stretch>
        </p:blipFill>
        <p:spPr>
          <a:xfrm>
            <a:off x="-5673" y="-3269"/>
            <a:ext cx="8999538" cy="5062240"/>
          </a:xfrm>
          <a:prstGeom prst="rect">
            <a:avLst/>
          </a:prstGeom>
        </p:spPr>
      </p:pic>
      <p:grpSp>
        <p:nvGrpSpPr>
          <p:cNvPr id="127" name="Agrupar 126">
            <a:extLst>
              <a:ext uri="{FF2B5EF4-FFF2-40B4-BE49-F238E27FC236}">
                <a16:creationId xmlns:a16="http://schemas.microsoft.com/office/drawing/2014/main" id="{9F6E5E48-D4AC-A439-CEEE-D1DDAFF2C4F9}"/>
              </a:ext>
            </a:extLst>
          </p:cNvPr>
          <p:cNvGrpSpPr/>
          <p:nvPr/>
        </p:nvGrpSpPr>
        <p:grpSpPr>
          <a:xfrm>
            <a:off x="3731696" y="881437"/>
            <a:ext cx="1499070" cy="1049656"/>
            <a:chOff x="3731696" y="978185"/>
            <a:chExt cx="1499070" cy="1049656"/>
          </a:xfrm>
        </p:grpSpPr>
        <p:sp>
          <p:nvSpPr>
            <p:cNvPr id="16" name="Forma Livre: Forma 15">
              <a:extLst>
                <a:ext uri="{FF2B5EF4-FFF2-40B4-BE49-F238E27FC236}">
                  <a16:creationId xmlns:a16="http://schemas.microsoft.com/office/drawing/2014/main" id="{5294B596-8F29-0AB3-29D6-45D978198826}"/>
                </a:ext>
              </a:extLst>
            </p:cNvPr>
            <p:cNvSpPr/>
            <p:nvPr/>
          </p:nvSpPr>
          <p:spPr>
            <a:xfrm>
              <a:off x="3731696" y="978185"/>
              <a:ext cx="1499070" cy="1049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B2B2B2"/>
            </a:solidFill>
            <a:ln w="0" cap="flat">
              <a:noFill/>
              <a:prstDash val="solid"/>
              <a:miter/>
            </a:ln>
          </p:spPr>
          <p:txBody>
            <a:bodyPr rtlCol="0" anchor="ctr"/>
            <a:lstStyle/>
            <a:p>
              <a:endParaRPr lang="pt-BR"/>
            </a:p>
          </p:txBody>
        </p:sp>
        <p:sp>
          <p:nvSpPr>
            <p:cNvPr id="32" name="CaixaDeTexto 31">
              <a:extLst>
                <a:ext uri="{FF2B5EF4-FFF2-40B4-BE49-F238E27FC236}">
                  <a16:creationId xmlns:a16="http://schemas.microsoft.com/office/drawing/2014/main" id="{B26D62C4-3135-1D6D-FB2E-4DB5B1D2FD38}"/>
                </a:ext>
              </a:extLst>
            </p:cNvPr>
            <p:cNvSpPr txBox="1"/>
            <p:nvPr/>
          </p:nvSpPr>
          <p:spPr>
            <a:xfrm>
              <a:off x="4346512" y="1268179"/>
              <a:ext cx="295168" cy="484748"/>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3000" spc="0">
                  <a:solidFill>
                    <a:schemeClr val="bg1"/>
                  </a:solidFill>
                  <a:latin typeface="Segoe UI Black" panose="020B0A02040204020203" pitchFamily="34" charset="0"/>
                  <a:ea typeface="Segoe UI Black" panose="020B0A02040204020203" pitchFamily="34" charset="0"/>
                </a:rPr>
                <a:t>1</a:t>
              </a:r>
            </a:p>
          </p:txBody>
        </p:sp>
      </p:grpSp>
      <p:cxnSp>
        <p:nvCxnSpPr>
          <p:cNvPr id="73" name="Conector reto 72">
            <a:extLst>
              <a:ext uri="{FF2B5EF4-FFF2-40B4-BE49-F238E27FC236}">
                <a16:creationId xmlns:a16="http://schemas.microsoft.com/office/drawing/2014/main" id="{6485267F-4EBB-0161-6723-C1968CF1D774}"/>
              </a:ext>
            </a:extLst>
          </p:cNvPr>
          <p:cNvCxnSpPr>
            <a:cxnSpLocks/>
          </p:cNvCxnSpPr>
          <p:nvPr/>
        </p:nvCxnSpPr>
        <p:spPr>
          <a:xfrm flipV="1">
            <a:off x="4481231" y="876822"/>
            <a:ext cx="2083534" cy="4615"/>
          </a:xfrm>
          <a:prstGeom prst="line">
            <a:avLst/>
          </a:prstGeom>
          <a:ln>
            <a:solidFill>
              <a:srgbClr val="002581"/>
            </a:solidFill>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2" name="CaixaDeTexto 1">
            <a:extLst>
              <a:ext uri="{FF2B5EF4-FFF2-40B4-BE49-F238E27FC236}">
                <a16:creationId xmlns:a16="http://schemas.microsoft.com/office/drawing/2014/main" id="{DA4DDB9C-FBC9-6240-F684-05B8B3352D42}"/>
              </a:ext>
            </a:extLst>
          </p:cNvPr>
          <p:cNvSpPr txBox="1"/>
          <p:nvPr/>
        </p:nvSpPr>
        <p:spPr>
          <a:xfrm>
            <a:off x="6599985" y="690642"/>
            <a:ext cx="1959919" cy="38779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pt-BR" sz="1200" b="1" spc="0">
                <a:solidFill>
                  <a:srgbClr val="F8681E"/>
                </a:solidFill>
                <a:latin typeface="Segoe UI" panose="020B0502040204020203" pitchFamily="34" charset="0"/>
                <a:cs typeface="Segoe UI" panose="020B0502040204020203" pitchFamily="34" charset="0"/>
              </a:rPr>
              <a:t>GROWTH</a:t>
            </a:r>
          </a:p>
          <a:p>
            <a:pPr lvl="0" defTabSz="234364"/>
            <a:r>
              <a:rPr lang="pt-BR" sz="1200" spc="0">
                <a:solidFill>
                  <a:srgbClr val="011F57"/>
                </a:solidFill>
                <a:latin typeface="Segoe UI" panose="020B0502040204020203" pitchFamily="34" charset="0"/>
                <a:cs typeface="Segoe UI" panose="020B0502040204020203" pitchFamily="34" charset="0"/>
              </a:rPr>
              <a:t>Consistent and profitable </a:t>
            </a:r>
            <a:endParaRPr lang="pt-BR" sz="1200" spc="0" dirty="0">
              <a:solidFill>
                <a:srgbClr val="011F57"/>
              </a:solidFill>
              <a:latin typeface="Segoe UI" panose="020B0502040204020203" pitchFamily="34" charset="0"/>
              <a:cs typeface="Segoe UI" panose="020B0502040204020203" pitchFamily="34" charset="0"/>
            </a:endParaRPr>
          </a:p>
        </p:txBody>
      </p:sp>
      <p:sp>
        <p:nvSpPr>
          <p:cNvPr id="7" name="CaixaDeTexto 6">
            <a:extLst>
              <a:ext uri="{FF2B5EF4-FFF2-40B4-BE49-F238E27FC236}">
                <a16:creationId xmlns:a16="http://schemas.microsoft.com/office/drawing/2014/main" id="{77CEB125-2F62-7F93-D968-73B6E466675C}"/>
              </a:ext>
            </a:extLst>
          </p:cNvPr>
          <p:cNvSpPr txBox="1"/>
          <p:nvPr/>
        </p:nvSpPr>
        <p:spPr>
          <a:xfrm>
            <a:off x="3781916" y="2014714"/>
            <a:ext cx="1439351" cy="486287"/>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pt-BR" sz="1600" b="1" spc="0">
                <a:solidFill>
                  <a:srgbClr val="F8681E"/>
                </a:solidFill>
                <a:latin typeface="Segoe UI" panose="020B0502040204020203" pitchFamily="34" charset="0"/>
                <a:cs typeface="Segoe UI" panose="020B0502040204020203" pitchFamily="34" charset="0"/>
              </a:rPr>
              <a:t>OUR STRATEGY</a:t>
            </a:r>
            <a:endParaRPr lang="pt-BR" sz="1600" spc="0" dirty="0">
              <a:solidFill>
                <a:srgbClr val="F8681E"/>
              </a:solidFill>
            </a:endParaRPr>
          </a:p>
        </p:txBody>
      </p:sp>
      <p:grpSp>
        <p:nvGrpSpPr>
          <p:cNvPr id="19" name="Agrupar 18">
            <a:extLst>
              <a:ext uri="{FF2B5EF4-FFF2-40B4-BE49-F238E27FC236}">
                <a16:creationId xmlns:a16="http://schemas.microsoft.com/office/drawing/2014/main" id="{4AA2D42D-FE05-86F7-2F90-D21034717B1F}"/>
              </a:ext>
            </a:extLst>
          </p:cNvPr>
          <p:cNvGrpSpPr/>
          <p:nvPr/>
        </p:nvGrpSpPr>
        <p:grpSpPr>
          <a:xfrm>
            <a:off x="3658864" y="2487574"/>
            <a:ext cx="1651767" cy="975040"/>
            <a:chOff x="3714711" y="2463461"/>
            <a:chExt cx="1651767" cy="975040"/>
          </a:xfrm>
        </p:grpSpPr>
        <p:grpSp>
          <p:nvGrpSpPr>
            <p:cNvPr id="20" name="Agrupar 19">
              <a:extLst>
                <a:ext uri="{FF2B5EF4-FFF2-40B4-BE49-F238E27FC236}">
                  <a16:creationId xmlns:a16="http://schemas.microsoft.com/office/drawing/2014/main" id="{D3A9A0F3-EC38-849E-0D78-3DAD7C03B21C}"/>
                </a:ext>
              </a:extLst>
            </p:cNvPr>
            <p:cNvGrpSpPr/>
            <p:nvPr/>
          </p:nvGrpSpPr>
          <p:grpSpPr>
            <a:xfrm>
              <a:off x="3714711" y="2463461"/>
              <a:ext cx="1651767" cy="975040"/>
              <a:chOff x="3714711" y="2441945"/>
              <a:chExt cx="1651767" cy="975040"/>
            </a:xfrm>
          </p:grpSpPr>
          <p:sp>
            <p:nvSpPr>
              <p:cNvPr id="25" name="CaixaDeTexto 24">
                <a:extLst>
                  <a:ext uri="{FF2B5EF4-FFF2-40B4-BE49-F238E27FC236}">
                    <a16:creationId xmlns:a16="http://schemas.microsoft.com/office/drawing/2014/main" id="{738177FE-7CBF-440B-7AE1-5DEA107ED546}"/>
                  </a:ext>
                </a:extLst>
              </p:cNvPr>
              <p:cNvSpPr txBox="1"/>
              <p:nvPr/>
            </p:nvSpPr>
            <p:spPr>
              <a:xfrm>
                <a:off x="3714711" y="2441945"/>
                <a:ext cx="1651767" cy="33855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lgn="ctr" defTabSz="234364"/>
                <a:r>
                  <a:rPr lang="en-US" sz="1000" b="0" i="0" u="none" strike="noStrike" cap="none" spc="0" baseline="0">
                    <a:solidFill>
                      <a:srgbClr val="011F57"/>
                    </a:solidFill>
                    <a:effectLst/>
                    <a:uFillTx/>
                    <a:latin typeface="Segoe UI"/>
                  </a:rPr>
                  <a:t>Create positive social and environmental impacts</a:t>
                </a:r>
                <a:endParaRPr lang="en-US" sz="1000" b="0" i="0" u="none" strike="noStrike" cap="none" spc="0" baseline="0" dirty="0">
                  <a:solidFill>
                    <a:srgbClr val="011F57"/>
                  </a:solidFill>
                  <a:effectLst/>
                  <a:uFillTx/>
                  <a:latin typeface="Segoe UI"/>
                </a:endParaRPr>
              </a:p>
            </p:txBody>
          </p:sp>
          <p:sp>
            <p:nvSpPr>
              <p:cNvPr id="26" name="CaixaDeTexto 25">
                <a:extLst>
                  <a:ext uri="{FF2B5EF4-FFF2-40B4-BE49-F238E27FC236}">
                    <a16:creationId xmlns:a16="http://schemas.microsoft.com/office/drawing/2014/main" id="{8B79B79E-B76E-FB14-AD67-CD5BDDE964C1}"/>
                  </a:ext>
                </a:extLst>
              </p:cNvPr>
              <p:cNvSpPr txBox="1"/>
              <p:nvPr/>
            </p:nvSpPr>
            <p:spPr>
              <a:xfrm>
                <a:off x="3831998" y="3078431"/>
                <a:ext cx="1283178"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algn="r" defTabSz="234364"/>
                <a:r>
                  <a:rPr lang="en-US" sz="1000" b="0" i="0" u="none" strike="noStrike" cap="none" spc="0" baseline="0">
                    <a:solidFill>
                      <a:srgbClr val="011F57"/>
                    </a:solidFill>
                    <a:effectLst/>
                    <a:uFillTx/>
                    <a:latin typeface="Segoe UI"/>
                  </a:rPr>
                  <a:t>Creation</a:t>
                </a:r>
                <a:r>
                  <a:rPr lang="en-US" sz="1000" b="0" i="0" u="none" strike="noStrike" cap="none" spc="0">
                    <a:solidFill>
                      <a:srgbClr val="011F57"/>
                    </a:solidFill>
                    <a:effectLst/>
                    <a:uFillTx/>
                    <a:latin typeface="Segoe UI"/>
                  </a:rPr>
                  <a:t> of</a:t>
                </a:r>
                <a:r>
                  <a:rPr lang="en-US" sz="1000" b="0" i="0" u="none" strike="noStrike" cap="none" spc="0" baseline="0">
                    <a:solidFill>
                      <a:srgbClr val="011F57"/>
                    </a:solidFill>
                    <a:effectLst/>
                    <a:uFillTx/>
                    <a:latin typeface="Segoe UI"/>
                  </a:rPr>
                  <a:t> value for shareholders</a:t>
                </a:r>
                <a:endParaRPr lang="en-US" sz="1000" b="0" i="0" u="none" strike="noStrike" cap="none" spc="0" baseline="0" dirty="0">
                  <a:solidFill>
                    <a:srgbClr val="011F57"/>
                  </a:solidFill>
                  <a:effectLst/>
                  <a:uFillTx/>
                  <a:latin typeface="Segoe UI"/>
                </a:endParaRPr>
              </a:p>
            </p:txBody>
          </p:sp>
          <p:sp>
            <p:nvSpPr>
              <p:cNvPr id="27" name="CaixaDeTexto 26">
                <a:extLst>
                  <a:ext uri="{FF2B5EF4-FFF2-40B4-BE49-F238E27FC236}">
                    <a16:creationId xmlns:a16="http://schemas.microsoft.com/office/drawing/2014/main" id="{4D65B63D-39EB-C9BE-B29A-DC4D10E9FEFC}"/>
                  </a:ext>
                </a:extLst>
              </p:cNvPr>
              <p:cNvSpPr txBox="1"/>
              <p:nvPr/>
            </p:nvSpPr>
            <p:spPr>
              <a:xfrm>
                <a:off x="3739633" y="2760188"/>
                <a:ext cx="1470690" cy="338554"/>
              </a:xfrm>
              <a:prstGeom prst="rect">
                <a:avLst/>
              </a:prstGeom>
              <a:noFill/>
            </p:spPr>
            <p:txBody>
              <a:bodyPr wrap="square" rtlCol="0" anchor="ctr">
                <a:spAutoFit/>
              </a:bodyPr>
              <a:lstStyle>
                <a:defPPr>
                  <a:defRPr lang="en-US"/>
                </a:defPPr>
                <a:lvl1pPr lvl="0" algn="ctr" defTabSz="234364">
                  <a:lnSpc>
                    <a:spcPct val="80000"/>
                  </a:lnSpc>
                  <a:defRPr sz="1050" spc="0">
                    <a:solidFill>
                      <a:srgbClr val="011F57"/>
                    </a:solidFill>
                    <a:latin typeface="Segoe UI" panose="020B0502040204020203" pitchFamily="34" charset="0"/>
                    <a:ea typeface="Tahoma" panose="020B0604030504040204" pitchFamily="34" charset="0"/>
                    <a:cs typeface="Segoe UI" panose="020B0502040204020203" pitchFamily="34" charset="0"/>
                  </a:defRPr>
                </a:lvl1pPr>
              </a:lstStyle>
              <a:p>
                <a:pPr lvl="0" defTabSz="234364"/>
                <a:r>
                  <a:rPr lang="en-US" sz="1000" b="0" i="0" u="none" strike="noStrike" cap="none" spc="0" baseline="0">
                    <a:solidFill>
                      <a:srgbClr val="011F57"/>
                    </a:solidFill>
                    <a:effectLst/>
                    <a:uFillTx/>
                    <a:latin typeface="Segoe UI"/>
                  </a:rPr>
                  <a:t>Ensure business longevity</a:t>
                </a:r>
                <a:endParaRPr lang="en-US" sz="1000" b="0" i="0" u="none" strike="noStrike" cap="none" spc="0" baseline="0" dirty="0">
                  <a:solidFill>
                    <a:srgbClr val="011F57"/>
                  </a:solidFill>
                  <a:effectLst/>
                  <a:uFillTx/>
                  <a:latin typeface="Segoe UI"/>
                </a:endParaRPr>
              </a:p>
            </p:txBody>
          </p:sp>
        </p:grpSp>
        <p:cxnSp>
          <p:nvCxnSpPr>
            <p:cNvPr id="23" name="Conector reto 22">
              <a:extLst>
                <a:ext uri="{FF2B5EF4-FFF2-40B4-BE49-F238E27FC236}">
                  <a16:creationId xmlns:a16="http://schemas.microsoft.com/office/drawing/2014/main" id="{72350ED9-FABD-C781-25BE-4793D33F559F}"/>
                </a:ext>
              </a:extLst>
            </p:cNvPr>
            <p:cNvCxnSpPr>
              <a:cxnSpLocks/>
            </p:cNvCxnSpPr>
            <p:nvPr/>
          </p:nvCxnSpPr>
          <p:spPr>
            <a:xfrm>
              <a:off x="4390615" y="2790278"/>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cxnSp>
          <p:nvCxnSpPr>
            <p:cNvPr id="24" name="Conector reto 23">
              <a:extLst>
                <a:ext uri="{FF2B5EF4-FFF2-40B4-BE49-F238E27FC236}">
                  <a16:creationId xmlns:a16="http://schemas.microsoft.com/office/drawing/2014/main" id="{8B3D15C3-DDEA-6B23-D105-C6D16B16925A}"/>
                </a:ext>
              </a:extLst>
            </p:cNvPr>
            <p:cNvCxnSpPr>
              <a:cxnSpLocks/>
            </p:cNvCxnSpPr>
            <p:nvPr/>
          </p:nvCxnSpPr>
          <p:spPr>
            <a:xfrm>
              <a:off x="4390615" y="3099947"/>
              <a:ext cx="174440" cy="0"/>
            </a:xfrm>
            <a:prstGeom prst="line">
              <a:avLst/>
            </a:prstGeom>
            <a:ln w="12700">
              <a:solidFill>
                <a:srgbClr val="00258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10366094"/>
      </p:ext>
    </p:extLst>
  </p:cSld>
  <p:clrMapOvr>
    <a:masterClrMapping/>
  </p:clrMapOvr>
  <p:transition advClick="0" advTm="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8" presetClass="emph" presetSubtype="0" fill="hold" grpId="0" nodeType="withEffect">
                                  <p:stCondLst>
                                    <p:cond delay="500"/>
                                  </p:stCondLst>
                                  <p:childTnLst>
                                    <p:animRot by="21600000">
                                      <p:cBhvr>
                                        <p:cTn id="9" dur="4000" fill="hold"/>
                                        <p:tgtEl>
                                          <p:spTgt spid="3"/>
                                        </p:tgtEl>
                                        <p:attrNameLst>
                                          <p:attrName>r</p:attrName>
                                        </p:attrNameLst>
                                      </p:cBhvr>
                                    </p:animRot>
                                  </p:childTnLst>
                                </p:cTn>
                              </p:par>
                              <p:par>
                                <p:cTn id="10" presetID="8" presetClass="emph" presetSubtype="0" fill="hold" grpId="1" nodeType="withEffect">
                                  <p:stCondLst>
                                    <p:cond delay="500"/>
                                  </p:stCondLst>
                                  <p:childTnLst>
                                    <p:animRot by="21600000">
                                      <p:cBhvr>
                                        <p:cTn id="11" dur="4000" fill="hold"/>
                                        <p:tgtEl>
                                          <p:spTgt spid="3"/>
                                        </p:tgtEl>
                                        <p:attrNameLst>
                                          <p:attrName>r</p:attrName>
                                        </p:attrNameLst>
                                      </p:cBhvr>
                                    </p:animRot>
                                  </p:childTnLst>
                                </p:cTn>
                              </p:par>
                              <p:par>
                                <p:cTn id="12" presetID="10" presetClass="entr" presetSubtype="0" fill="hold" nodeType="withEffect">
                                  <p:stCondLst>
                                    <p:cond delay="1000"/>
                                  </p:stCondLst>
                                  <p:childTnLst>
                                    <p:set>
                                      <p:cBhvr>
                                        <p:cTn id="13" dur="1" fill="hold">
                                          <p:stCondLst>
                                            <p:cond delay="0"/>
                                          </p:stCondLst>
                                        </p:cTn>
                                        <p:tgtEl>
                                          <p:spTgt spid="127"/>
                                        </p:tgtEl>
                                        <p:attrNameLst>
                                          <p:attrName>style.visibility</p:attrName>
                                        </p:attrNameLst>
                                      </p:cBhvr>
                                      <p:to>
                                        <p:strVal val="visible"/>
                                      </p:to>
                                    </p:set>
                                    <p:animEffect transition="in" filter="fade">
                                      <p:cBhvr>
                                        <p:cTn id="14" dur="500"/>
                                        <p:tgtEl>
                                          <p:spTgt spid="127"/>
                                        </p:tgtEl>
                                      </p:cBhvr>
                                    </p:animEffect>
                                  </p:childTnLst>
                                </p:cTn>
                              </p:par>
                              <p:par>
                                <p:cTn id="15" presetID="35" presetClass="path" presetSubtype="0" accel="17000" decel="83000" fill="hold" nodeType="withEffect">
                                  <p:stCondLst>
                                    <p:cond delay="1000"/>
                                  </p:stCondLst>
                                  <p:childTnLst>
                                    <p:animMotion origin="layout" path="M -4.64809E-6 0.04422 L -4.64809E-6 -1.36093E-6 " pathEditMode="relative" rAng="0" ptsTypes="AA">
                                      <p:cBhvr>
                                        <p:cTn id="16" dur="750" fill="hold"/>
                                        <p:tgtEl>
                                          <p:spTgt spid="127"/>
                                        </p:tgtEl>
                                        <p:attrNameLst>
                                          <p:attrName>ppt_x</p:attrName>
                                          <p:attrName>ppt_y</p:attrName>
                                        </p:attrNameLst>
                                      </p:cBhvr>
                                      <p:rCtr x="0" y="-2226"/>
                                    </p:animMotion>
                                  </p:childTnLst>
                                </p:cTn>
                              </p:par>
                              <p:par>
                                <p:cTn id="17" presetID="10" presetClass="entr" presetSubtype="0" fill="hold" nodeType="withEffect">
                                  <p:stCondLst>
                                    <p:cond delay="1000"/>
                                  </p:stCondLst>
                                  <p:childTnLst>
                                    <p:set>
                                      <p:cBhvr>
                                        <p:cTn id="18" dur="1" fill="hold">
                                          <p:stCondLst>
                                            <p:cond delay="0"/>
                                          </p:stCondLst>
                                        </p:cTn>
                                        <p:tgtEl>
                                          <p:spTgt spid="122"/>
                                        </p:tgtEl>
                                        <p:attrNameLst>
                                          <p:attrName>style.visibility</p:attrName>
                                        </p:attrNameLst>
                                      </p:cBhvr>
                                      <p:to>
                                        <p:strVal val="visible"/>
                                      </p:to>
                                    </p:set>
                                    <p:animEffect transition="in" filter="fade">
                                      <p:cBhvr>
                                        <p:cTn id="19" dur="500"/>
                                        <p:tgtEl>
                                          <p:spTgt spid="122"/>
                                        </p:tgtEl>
                                      </p:cBhvr>
                                    </p:animEffect>
                                  </p:childTnLst>
                                </p:cTn>
                              </p:par>
                              <p:par>
                                <p:cTn id="20" presetID="35" presetClass="path" presetSubtype="0" accel="17000" decel="83000" fill="hold" nodeType="withEffect">
                                  <p:stCondLst>
                                    <p:cond delay="1000"/>
                                  </p:stCondLst>
                                  <p:childTnLst>
                                    <p:animMotion origin="layout" path="M -0.02381 0.02728 L -3.81725E-6 -1.39856E-6 " pathEditMode="relative" rAng="0" ptsTypes="AA">
                                      <p:cBhvr>
                                        <p:cTn id="21" dur="750" fill="hold"/>
                                        <p:tgtEl>
                                          <p:spTgt spid="122"/>
                                        </p:tgtEl>
                                        <p:attrNameLst>
                                          <p:attrName>ppt_x</p:attrName>
                                          <p:attrName>ppt_y</p:attrName>
                                        </p:attrNameLst>
                                      </p:cBhvr>
                                      <p:rCtr x="1182" y="-1380"/>
                                    </p:animMotion>
                                  </p:childTnLst>
                                </p:cTn>
                              </p:par>
                              <p:par>
                                <p:cTn id="22" presetID="10" presetClass="entr" presetSubtype="0" fill="hold" nodeType="withEffect">
                                  <p:stCondLst>
                                    <p:cond delay="1000"/>
                                  </p:stCondLst>
                                  <p:childTnLst>
                                    <p:set>
                                      <p:cBhvr>
                                        <p:cTn id="23" dur="1" fill="hold">
                                          <p:stCondLst>
                                            <p:cond delay="0"/>
                                          </p:stCondLst>
                                        </p:cTn>
                                        <p:tgtEl>
                                          <p:spTgt spid="123"/>
                                        </p:tgtEl>
                                        <p:attrNameLst>
                                          <p:attrName>style.visibility</p:attrName>
                                        </p:attrNameLst>
                                      </p:cBhvr>
                                      <p:to>
                                        <p:strVal val="visible"/>
                                      </p:to>
                                    </p:set>
                                    <p:animEffect transition="in" filter="fade">
                                      <p:cBhvr>
                                        <p:cTn id="24" dur="500"/>
                                        <p:tgtEl>
                                          <p:spTgt spid="123"/>
                                        </p:tgtEl>
                                      </p:cBhvr>
                                    </p:animEffect>
                                  </p:childTnLst>
                                </p:cTn>
                              </p:par>
                              <p:par>
                                <p:cTn id="25" presetID="35" presetClass="path" presetSubtype="0" accel="17000" decel="83000" fill="hold" nodeType="withEffect">
                                  <p:stCondLst>
                                    <p:cond delay="1000"/>
                                  </p:stCondLst>
                                  <p:childTnLst>
                                    <p:animMotion origin="layout" path="M -0.02028 -0.01693 L -1.44999E-6 -3.99812E-6 " pathEditMode="relative" rAng="0" ptsTypes="AA">
                                      <p:cBhvr>
                                        <p:cTn id="26" dur="750" fill="hold"/>
                                        <p:tgtEl>
                                          <p:spTgt spid="123"/>
                                        </p:tgtEl>
                                        <p:attrNameLst>
                                          <p:attrName>ppt_x</p:attrName>
                                          <p:attrName>ppt_y</p:attrName>
                                        </p:attrNameLst>
                                      </p:cBhvr>
                                      <p:rCtr x="1005" y="847"/>
                                    </p:animMotion>
                                  </p:childTnLst>
                                </p:cTn>
                              </p:par>
                              <p:par>
                                <p:cTn id="27" presetID="10" presetClass="entr" presetSubtype="0" fill="hold" nodeType="withEffect">
                                  <p:stCondLst>
                                    <p:cond delay="1000"/>
                                  </p:stCondLst>
                                  <p:childTnLst>
                                    <p:set>
                                      <p:cBhvr>
                                        <p:cTn id="28" dur="1" fill="hold">
                                          <p:stCondLst>
                                            <p:cond delay="0"/>
                                          </p:stCondLst>
                                        </p:cTn>
                                        <p:tgtEl>
                                          <p:spTgt spid="124"/>
                                        </p:tgtEl>
                                        <p:attrNameLst>
                                          <p:attrName>style.visibility</p:attrName>
                                        </p:attrNameLst>
                                      </p:cBhvr>
                                      <p:to>
                                        <p:strVal val="visible"/>
                                      </p:to>
                                    </p:set>
                                    <p:animEffect transition="in" filter="fade">
                                      <p:cBhvr>
                                        <p:cTn id="29" dur="500"/>
                                        <p:tgtEl>
                                          <p:spTgt spid="124"/>
                                        </p:tgtEl>
                                      </p:cBhvr>
                                    </p:animEffect>
                                  </p:childTnLst>
                                </p:cTn>
                              </p:par>
                              <p:par>
                                <p:cTn id="30" presetID="35" presetClass="path" presetSubtype="0" accel="17000" decel="83000" fill="hold" nodeType="withEffect">
                                  <p:stCondLst>
                                    <p:cond delay="1000"/>
                                  </p:stCondLst>
                                  <p:childTnLst>
                                    <p:animMotion origin="layout" path="M -1.42353E-6 -0.0461 L -1.42353E-6 4.2333E-7 " pathEditMode="relative" rAng="0" ptsTypes="AA">
                                      <p:cBhvr>
                                        <p:cTn id="31" dur="750" fill="hold"/>
                                        <p:tgtEl>
                                          <p:spTgt spid="124"/>
                                        </p:tgtEl>
                                        <p:attrNameLst>
                                          <p:attrName>ppt_x</p:attrName>
                                          <p:attrName>ppt_y</p:attrName>
                                        </p:attrNameLst>
                                      </p:cBhvr>
                                      <p:rCtr x="0" y="2289"/>
                                    </p:animMotion>
                                  </p:childTnLst>
                                </p:cTn>
                              </p:par>
                              <p:par>
                                <p:cTn id="32" presetID="10" presetClass="entr" presetSubtype="0" fill="hold" nodeType="withEffect">
                                  <p:stCondLst>
                                    <p:cond delay="1000"/>
                                  </p:stCondLst>
                                  <p:childTnLst>
                                    <p:set>
                                      <p:cBhvr>
                                        <p:cTn id="33" dur="1" fill="hold">
                                          <p:stCondLst>
                                            <p:cond delay="0"/>
                                          </p:stCondLst>
                                        </p:cTn>
                                        <p:tgtEl>
                                          <p:spTgt spid="125"/>
                                        </p:tgtEl>
                                        <p:attrNameLst>
                                          <p:attrName>style.visibility</p:attrName>
                                        </p:attrNameLst>
                                      </p:cBhvr>
                                      <p:to>
                                        <p:strVal val="visible"/>
                                      </p:to>
                                    </p:set>
                                    <p:animEffect transition="in" filter="fade">
                                      <p:cBhvr>
                                        <p:cTn id="34" dur="500"/>
                                        <p:tgtEl>
                                          <p:spTgt spid="125"/>
                                        </p:tgtEl>
                                      </p:cBhvr>
                                    </p:animEffect>
                                  </p:childTnLst>
                                </p:cTn>
                              </p:par>
                              <p:par>
                                <p:cTn id="35" presetID="35" presetClass="path" presetSubtype="0" accel="17000" decel="83000" fill="hold" nodeType="withEffect">
                                  <p:stCondLst>
                                    <p:cond delay="1000"/>
                                  </p:stCondLst>
                                  <p:childTnLst>
                                    <p:animMotion origin="layout" path="M 0.02787 -0.02885 L 3.01111E-6 1.59925E-6 " pathEditMode="relative" rAng="0" ptsTypes="AA">
                                      <p:cBhvr>
                                        <p:cTn id="36" dur="750" fill="hold"/>
                                        <p:tgtEl>
                                          <p:spTgt spid="125"/>
                                        </p:tgtEl>
                                        <p:attrNameLst>
                                          <p:attrName>ppt_x</p:attrName>
                                          <p:attrName>ppt_y</p:attrName>
                                        </p:attrNameLst>
                                      </p:cBhvr>
                                      <p:rCtr x="-1394" y="1442"/>
                                    </p:animMotion>
                                  </p:childTnLst>
                                </p:cTn>
                              </p:par>
                              <p:par>
                                <p:cTn id="37" presetID="10" presetClass="entr" presetSubtype="0" fill="hold" nodeType="withEffect">
                                  <p:stCondLst>
                                    <p:cond delay="1000"/>
                                  </p:stCondLst>
                                  <p:childTnLst>
                                    <p:set>
                                      <p:cBhvr>
                                        <p:cTn id="38" dur="1" fill="hold">
                                          <p:stCondLst>
                                            <p:cond delay="0"/>
                                          </p:stCondLst>
                                        </p:cTn>
                                        <p:tgtEl>
                                          <p:spTgt spid="126"/>
                                        </p:tgtEl>
                                        <p:attrNameLst>
                                          <p:attrName>style.visibility</p:attrName>
                                        </p:attrNameLst>
                                      </p:cBhvr>
                                      <p:to>
                                        <p:strVal val="visible"/>
                                      </p:to>
                                    </p:set>
                                    <p:animEffect transition="in" filter="fade">
                                      <p:cBhvr>
                                        <p:cTn id="39" dur="500"/>
                                        <p:tgtEl>
                                          <p:spTgt spid="126"/>
                                        </p:tgtEl>
                                      </p:cBhvr>
                                    </p:animEffect>
                                  </p:childTnLst>
                                </p:cTn>
                              </p:par>
                              <p:par>
                                <p:cTn id="40" presetID="35" presetClass="path" presetSubtype="0" accel="17000" decel="83000" fill="hold" nodeType="withEffect">
                                  <p:stCondLst>
                                    <p:cond delay="1000"/>
                                  </p:stCondLst>
                                  <p:childTnLst>
                                    <p:animMotion origin="layout" path="M 0.02787 0.02415 L 3.01111E-6 -4.33365E-6 " pathEditMode="relative" rAng="0" ptsTypes="AA">
                                      <p:cBhvr>
                                        <p:cTn id="41" dur="750" fill="hold"/>
                                        <p:tgtEl>
                                          <p:spTgt spid="126"/>
                                        </p:tgtEl>
                                        <p:attrNameLst>
                                          <p:attrName>ppt_x</p:attrName>
                                          <p:attrName>ppt_y</p:attrName>
                                        </p:attrNameLst>
                                      </p:cBhvr>
                                      <p:rCtr x="-1394" y="-1223"/>
                                    </p:animMotion>
                                  </p:childTnLst>
                                </p:cTn>
                              </p:par>
                              <p:par>
                                <p:cTn id="42" presetID="22" presetClass="entr" presetSubtype="8" fill="hold" nodeType="withEffect">
                                  <p:stCondLst>
                                    <p:cond delay="1250"/>
                                  </p:stCondLst>
                                  <p:childTnLst>
                                    <p:set>
                                      <p:cBhvr>
                                        <p:cTn id="43" dur="1" fill="hold">
                                          <p:stCondLst>
                                            <p:cond delay="0"/>
                                          </p:stCondLst>
                                        </p:cTn>
                                        <p:tgtEl>
                                          <p:spTgt spid="73"/>
                                        </p:tgtEl>
                                        <p:attrNameLst>
                                          <p:attrName>style.visibility</p:attrName>
                                        </p:attrNameLst>
                                      </p:cBhvr>
                                      <p:to>
                                        <p:strVal val="visible"/>
                                      </p:to>
                                    </p:set>
                                    <p:animEffect transition="in" filter="wipe(left)">
                                      <p:cBhvr>
                                        <p:cTn id="44" dur="750"/>
                                        <p:tgtEl>
                                          <p:spTgt spid="73"/>
                                        </p:tgtEl>
                                      </p:cBhvr>
                                    </p:animEffect>
                                  </p:childTnLst>
                                </p:cTn>
                              </p:par>
                              <p:par>
                                <p:cTn id="45" presetID="22" presetClass="entr" presetSubtype="8" fill="hold" nodeType="withEffect">
                                  <p:stCondLst>
                                    <p:cond delay="1500"/>
                                  </p:stCondLst>
                                  <p:childTnLst>
                                    <p:set>
                                      <p:cBhvr>
                                        <p:cTn id="46" dur="1" fill="hold">
                                          <p:stCondLst>
                                            <p:cond delay="0"/>
                                          </p:stCondLst>
                                        </p:cTn>
                                        <p:tgtEl>
                                          <p:spTgt spid="76"/>
                                        </p:tgtEl>
                                        <p:attrNameLst>
                                          <p:attrName>style.visibility</p:attrName>
                                        </p:attrNameLst>
                                      </p:cBhvr>
                                      <p:to>
                                        <p:strVal val="visible"/>
                                      </p:to>
                                    </p:set>
                                    <p:animEffect transition="in" filter="wipe(left)">
                                      <p:cBhvr>
                                        <p:cTn id="47" dur="750"/>
                                        <p:tgtEl>
                                          <p:spTgt spid="76"/>
                                        </p:tgtEl>
                                      </p:cBhvr>
                                    </p:animEffect>
                                  </p:childTnLst>
                                </p:cTn>
                              </p:par>
                              <p:par>
                                <p:cTn id="48" presetID="22" presetClass="entr" presetSubtype="8" fill="hold" nodeType="withEffect">
                                  <p:stCondLst>
                                    <p:cond delay="1750"/>
                                  </p:stCondLst>
                                  <p:childTnLst>
                                    <p:set>
                                      <p:cBhvr>
                                        <p:cTn id="49" dur="1" fill="hold">
                                          <p:stCondLst>
                                            <p:cond delay="0"/>
                                          </p:stCondLst>
                                        </p:cTn>
                                        <p:tgtEl>
                                          <p:spTgt spid="86"/>
                                        </p:tgtEl>
                                        <p:attrNameLst>
                                          <p:attrName>style.visibility</p:attrName>
                                        </p:attrNameLst>
                                      </p:cBhvr>
                                      <p:to>
                                        <p:strVal val="visible"/>
                                      </p:to>
                                    </p:set>
                                    <p:animEffect transition="in" filter="wipe(left)">
                                      <p:cBhvr>
                                        <p:cTn id="50" dur="750"/>
                                        <p:tgtEl>
                                          <p:spTgt spid="86"/>
                                        </p:tgtEl>
                                      </p:cBhvr>
                                    </p:animEffect>
                                  </p:childTnLst>
                                </p:cTn>
                              </p:par>
                              <p:par>
                                <p:cTn id="51" presetID="22" presetClass="entr" presetSubtype="2" fill="hold" nodeType="withEffect">
                                  <p:stCondLst>
                                    <p:cond delay="2000"/>
                                  </p:stCondLst>
                                  <p:childTnLst>
                                    <p:set>
                                      <p:cBhvr>
                                        <p:cTn id="52" dur="1" fill="hold">
                                          <p:stCondLst>
                                            <p:cond delay="0"/>
                                          </p:stCondLst>
                                        </p:cTn>
                                        <p:tgtEl>
                                          <p:spTgt spid="100"/>
                                        </p:tgtEl>
                                        <p:attrNameLst>
                                          <p:attrName>style.visibility</p:attrName>
                                        </p:attrNameLst>
                                      </p:cBhvr>
                                      <p:to>
                                        <p:strVal val="visible"/>
                                      </p:to>
                                    </p:set>
                                    <p:animEffect transition="in" filter="wipe(right)">
                                      <p:cBhvr>
                                        <p:cTn id="53" dur="750"/>
                                        <p:tgtEl>
                                          <p:spTgt spid="100"/>
                                        </p:tgtEl>
                                      </p:cBhvr>
                                    </p:animEffect>
                                  </p:childTnLst>
                                </p:cTn>
                              </p:par>
                              <p:par>
                                <p:cTn id="54" presetID="22" presetClass="entr" presetSubtype="2" fill="hold" nodeType="withEffect">
                                  <p:stCondLst>
                                    <p:cond delay="2250"/>
                                  </p:stCondLst>
                                  <p:childTnLst>
                                    <p:set>
                                      <p:cBhvr>
                                        <p:cTn id="55" dur="1" fill="hold">
                                          <p:stCondLst>
                                            <p:cond delay="0"/>
                                          </p:stCondLst>
                                        </p:cTn>
                                        <p:tgtEl>
                                          <p:spTgt spid="108"/>
                                        </p:tgtEl>
                                        <p:attrNameLst>
                                          <p:attrName>style.visibility</p:attrName>
                                        </p:attrNameLst>
                                      </p:cBhvr>
                                      <p:to>
                                        <p:strVal val="visible"/>
                                      </p:to>
                                    </p:set>
                                    <p:animEffect transition="in" filter="wipe(right)">
                                      <p:cBhvr>
                                        <p:cTn id="56" dur="750"/>
                                        <p:tgtEl>
                                          <p:spTgt spid="108"/>
                                        </p:tgtEl>
                                      </p:cBhvr>
                                    </p:animEffect>
                                  </p:childTnLst>
                                </p:cTn>
                              </p:par>
                              <p:par>
                                <p:cTn id="57" presetID="22" presetClass="entr" presetSubtype="2" fill="hold" nodeType="withEffect">
                                  <p:stCondLst>
                                    <p:cond delay="2500"/>
                                  </p:stCondLst>
                                  <p:childTnLst>
                                    <p:set>
                                      <p:cBhvr>
                                        <p:cTn id="58" dur="1" fill="hold">
                                          <p:stCondLst>
                                            <p:cond delay="0"/>
                                          </p:stCondLst>
                                        </p:cTn>
                                        <p:tgtEl>
                                          <p:spTgt spid="109"/>
                                        </p:tgtEl>
                                        <p:attrNameLst>
                                          <p:attrName>style.visibility</p:attrName>
                                        </p:attrNameLst>
                                      </p:cBhvr>
                                      <p:to>
                                        <p:strVal val="visible"/>
                                      </p:to>
                                    </p:set>
                                    <p:animEffect transition="in" filter="wipe(right)">
                                      <p:cBhvr>
                                        <p:cTn id="59" dur="750"/>
                                        <p:tgtEl>
                                          <p:spTgt spid="109"/>
                                        </p:tgtEl>
                                      </p:cBhvr>
                                    </p:animEffect>
                                  </p:childTnLst>
                                </p:cTn>
                              </p:par>
                              <p:par>
                                <p:cTn id="60" presetID="10" presetClass="entr" presetSubtype="0" fill="hold" grpId="0" nodeType="withEffect">
                                  <p:stCondLst>
                                    <p:cond delay="1250"/>
                                  </p:stCondLst>
                                  <p:childTnLst>
                                    <p:set>
                                      <p:cBhvr>
                                        <p:cTn id="61" dur="1" fill="hold">
                                          <p:stCondLst>
                                            <p:cond delay="0"/>
                                          </p:stCondLst>
                                        </p:cTn>
                                        <p:tgtEl>
                                          <p:spTgt spid="2"/>
                                        </p:tgtEl>
                                        <p:attrNameLst>
                                          <p:attrName>style.visibility</p:attrName>
                                        </p:attrNameLst>
                                      </p:cBhvr>
                                      <p:to>
                                        <p:strVal val="visible"/>
                                      </p:to>
                                    </p:set>
                                    <p:animEffect transition="in" filter="fade">
                                      <p:cBhvr>
                                        <p:cTn id="62" dur="500"/>
                                        <p:tgtEl>
                                          <p:spTgt spid="2"/>
                                        </p:tgtEl>
                                      </p:cBhvr>
                                    </p:animEffect>
                                  </p:childTnLst>
                                </p:cTn>
                              </p:par>
                              <p:par>
                                <p:cTn id="63" presetID="35" presetClass="path" presetSubtype="0" accel="17000" decel="83000" fill="hold" grpId="1" nodeType="withEffect">
                                  <p:stCondLst>
                                    <p:cond delay="1250"/>
                                  </p:stCondLst>
                                  <p:childTnLst>
                                    <p:animMotion origin="layout" path="M 0.02311 -2.90373E-6 L -3.83136E-6 -2.90373E-6 " pathEditMode="relative" rAng="0" ptsTypes="AA">
                                      <p:cBhvr>
                                        <p:cTn id="64" dur="1100" fill="hold"/>
                                        <p:tgtEl>
                                          <p:spTgt spid="2"/>
                                        </p:tgtEl>
                                        <p:attrNameLst>
                                          <p:attrName>ppt_x</p:attrName>
                                          <p:attrName>ppt_y</p:attrName>
                                        </p:attrNameLst>
                                      </p:cBhvr>
                                      <p:rCtr x="-1164" y="0"/>
                                    </p:animMotion>
                                  </p:childTnLst>
                                </p:cTn>
                              </p:par>
                              <p:par>
                                <p:cTn id="65" presetID="10" presetClass="entr" presetSubtype="0" fill="hold" grpId="0" nodeType="withEffect">
                                  <p:stCondLst>
                                    <p:cond delay="1500"/>
                                  </p:stCondLst>
                                  <p:childTnLst>
                                    <p:set>
                                      <p:cBhvr>
                                        <p:cTn id="66" dur="1" fill="hold">
                                          <p:stCondLst>
                                            <p:cond delay="0"/>
                                          </p:stCondLst>
                                        </p:cTn>
                                        <p:tgtEl>
                                          <p:spTgt spid="5"/>
                                        </p:tgtEl>
                                        <p:attrNameLst>
                                          <p:attrName>style.visibility</p:attrName>
                                        </p:attrNameLst>
                                      </p:cBhvr>
                                      <p:to>
                                        <p:strVal val="visible"/>
                                      </p:to>
                                    </p:set>
                                    <p:animEffect transition="in" filter="fade">
                                      <p:cBhvr>
                                        <p:cTn id="67" dur="500"/>
                                        <p:tgtEl>
                                          <p:spTgt spid="5"/>
                                        </p:tgtEl>
                                      </p:cBhvr>
                                    </p:animEffect>
                                  </p:childTnLst>
                                </p:cTn>
                              </p:par>
                              <p:par>
                                <p:cTn id="68" presetID="35" presetClass="path" presetSubtype="0" accel="17000" decel="83000" fill="hold" grpId="1" nodeType="withEffect">
                                  <p:stCondLst>
                                    <p:cond delay="1500"/>
                                  </p:stCondLst>
                                  <p:childTnLst>
                                    <p:animMotion origin="layout" path="M 0.02311 -1.10693E-6 L -3.17869E-6 -1.10693E-6 " pathEditMode="relative" rAng="0" ptsTypes="AA">
                                      <p:cBhvr>
                                        <p:cTn id="69" dur="1100" fill="hold"/>
                                        <p:tgtEl>
                                          <p:spTgt spid="5"/>
                                        </p:tgtEl>
                                        <p:attrNameLst>
                                          <p:attrName>ppt_x</p:attrName>
                                          <p:attrName>ppt_y</p:attrName>
                                        </p:attrNameLst>
                                      </p:cBhvr>
                                      <p:rCtr x="-1164" y="0"/>
                                    </p:animMotion>
                                  </p:childTnLst>
                                </p:cTn>
                              </p:par>
                              <p:par>
                                <p:cTn id="70" presetID="10" presetClass="entr" presetSubtype="0" fill="hold" grpId="0" nodeType="withEffect">
                                  <p:stCondLst>
                                    <p:cond delay="1750"/>
                                  </p:stCondLst>
                                  <p:childTnLst>
                                    <p:set>
                                      <p:cBhvr>
                                        <p:cTn id="71" dur="1" fill="hold">
                                          <p:stCondLst>
                                            <p:cond delay="0"/>
                                          </p:stCondLst>
                                        </p:cTn>
                                        <p:tgtEl>
                                          <p:spTgt spid="6"/>
                                        </p:tgtEl>
                                        <p:attrNameLst>
                                          <p:attrName>style.visibility</p:attrName>
                                        </p:attrNameLst>
                                      </p:cBhvr>
                                      <p:to>
                                        <p:strVal val="visible"/>
                                      </p:to>
                                    </p:set>
                                    <p:animEffect transition="in" filter="fade">
                                      <p:cBhvr>
                                        <p:cTn id="72" dur="500"/>
                                        <p:tgtEl>
                                          <p:spTgt spid="6"/>
                                        </p:tgtEl>
                                      </p:cBhvr>
                                    </p:animEffect>
                                  </p:childTnLst>
                                </p:cTn>
                              </p:par>
                              <p:par>
                                <p:cTn id="73" presetID="35" presetClass="path" presetSubtype="0" accel="17000" decel="83000" fill="hold" grpId="1" nodeType="withEffect">
                                  <p:stCondLst>
                                    <p:cond delay="1750"/>
                                  </p:stCondLst>
                                  <p:childTnLst>
                                    <p:animMotion origin="layout" path="M 0.0231 3.72217E-6 L 4.17887E-6 3.72217E-6 " pathEditMode="relative" rAng="0" ptsTypes="AA">
                                      <p:cBhvr>
                                        <p:cTn id="74" dur="1100" fill="hold"/>
                                        <p:tgtEl>
                                          <p:spTgt spid="6"/>
                                        </p:tgtEl>
                                        <p:attrNameLst>
                                          <p:attrName>ppt_x</p:attrName>
                                          <p:attrName>ppt_y</p:attrName>
                                        </p:attrNameLst>
                                      </p:cBhvr>
                                      <p:rCtr x="-1164" y="0"/>
                                    </p:animMotion>
                                  </p:childTnLst>
                                </p:cTn>
                              </p:par>
                              <p:par>
                                <p:cTn id="75" presetID="10" presetClass="entr" presetSubtype="0" fill="hold" grpId="0" nodeType="withEffect">
                                  <p:stCondLst>
                                    <p:cond delay="1750"/>
                                  </p:stCondLst>
                                  <p:childTnLst>
                                    <p:set>
                                      <p:cBhvr>
                                        <p:cTn id="76" dur="1" fill="hold">
                                          <p:stCondLst>
                                            <p:cond delay="0"/>
                                          </p:stCondLst>
                                        </p:cTn>
                                        <p:tgtEl>
                                          <p:spTgt spid="14"/>
                                        </p:tgtEl>
                                        <p:attrNameLst>
                                          <p:attrName>style.visibility</p:attrName>
                                        </p:attrNameLst>
                                      </p:cBhvr>
                                      <p:to>
                                        <p:strVal val="visible"/>
                                      </p:to>
                                    </p:set>
                                    <p:animEffect transition="in" filter="fade">
                                      <p:cBhvr>
                                        <p:cTn id="77" dur="500"/>
                                        <p:tgtEl>
                                          <p:spTgt spid="14"/>
                                        </p:tgtEl>
                                      </p:cBhvr>
                                    </p:animEffect>
                                  </p:childTnLst>
                                </p:cTn>
                              </p:par>
                              <p:par>
                                <p:cTn id="78" presetID="35" presetClass="path" presetSubtype="0" accel="17000" decel="83000" fill="hold" grpId="1" nodeType="withEffect">
                                  <p:stCondLst>
                                    <p:cond delay="1750"/>
                                  </p:stCondLst>
                                  <p:childTnLst>
                                    <p:animMotion origin="layout" path="M -0.03528 -3.5058E-6 L 3.6779E-6 -3.5058E-6 " pathEditMode="relative" rAng="0" ptsTypes="AA">
                                      <p:cBhvr>
                                        <p:cTn id="79" dur="1100" fill="hold"/>
                                        <p:tgtEl>
                                          <p:spTgt spid="14"/>
                                        </p:tgtEl>
                                        <p:attrNameLst>
                                          <p:attrName>ppt_x</p:attrName>
                                          <p:attrName>ppt_y</p:attrName>
                                        </p:attrNameLst>
                                      </p:cBhvr>
                                      <p:rCtr x="1764" y="0"/>
                                    </p:animMotion>
                                  </p:childTnLst>
                                </p:cTn>
                              </p:par>
                              <p:par>
                                <p:cTn id="80" presetID="10" presetClass="entr" presetSubtype="0" fill="hold" grpId="0" nodeType="withEffect">
                                  <p:stCondLst>
                                    <p:cond delay="2500"/>
                                  </p:stCondLst>
                                  <p:childTnLst>
                                    <p:set>
                                      <p:cBhvr>
                                        <p:cTn id="81" dur="1" fill="hold">
                                          <p:stCondLst>
                                            <p:cond delay="0"/>
                                          </p:stCondLst>
                                        </p:cTn>
                                        <p:tgtEl>
                                          <p:spTgt spid="15"/>
                                        </p:tgtEl>
                                        <p:attrNameLst>
                                          <p:attrName>style.visibility</p:attrName>
                                        </p:attrNameLst>
                                      </p:cBhvr>
                                      <p:to>
                                        <p:strVal val="visible"/>
                                      </p:to>
                                    </p:set>
                                    <p:animEffect transition="in" filter="fade">
                                      <p:cBhvr>
                                        <p:cTn id="82" dur="500"/>
                                        <p:tgtEl>
                                          <p:spTgt spid="15"/>
                                        </p:tgtEl>
                                      </p:cBhvr>
                                    </p:animEffect>
                                  </p:childTnLst>
                                </p:cTn>
                              </p:par>
                              <p:par>
                                <p:cTn id="83" presetID="35" presetClass="path" presetSubtype="0" accel="17000" decel="83000" fill="hold" grpId="1" nodeType="withEffect">
                                  <p:stCondLst>
                                    <p:cond delay="2500"/>
                                  </p:stCondLst>
                                  <p:childTnLst>
                                    <p:animMotion origin="layout" path="M -0.02275 8.81154E-7 L -1.28065E-6 8.81154E-7 " pathEditMode="relative" rAng="0" ptsTypes="AA">
                                      <p:cBhvr>
                                        <p:cTn id="84" dur="1100" fill="hold"/>
                                        <p:tgtEl>
                                          <p:spTgt spid="15"/>
                                        </p:tgtEl>
                                        <p:attrNameLst>
                                          <p:attrName>ppt_x</p:attrName>
                                          <p:attrName>ppt_y</p:attrName>
                                        </p:attrNameLst>
                                      </p:cBhvr>
                                      <p:rCtr x="1129" y="0"/>
                                    </p:animMotion>
                                  </p:childTnLst>
                                </p:cTn>
                              </p:par>
                              <p:par>
                                <p:cTn id="85" presetID="10" presetClass="entr" presetSubtype="0" fill="hold" grpId="0" nodeType="withEffect">
                                  <p:stCondLst>
                                    <p:cond delay="2250"/>
                                  </p:stCondLst>
                                  <p:childTnLst>
                                    <p:set>
                                      <p:cBhvr>
                                        <p:cTn id="86" dur="1" fill="hold">
                                          <p:stCondLst>
                                            <p:cond delay="0"/>
                                          </p:stCondLst>
                                        </p:cTn>
                                        <p:tgtEl>
                                          <p:spTgt spid="17"/>
                                        </p:tgtEl>
                                        <p:attrNameLst>
                                          <p:attrName>style.visibility</p:attrName>
                                        </p:attrNameLst>
                                      </p:cBhvr>
                                      <p:to>
                                        <p:strVal val="visible"/>
                                      </p:to>
                                    </p:set>
                                    <p:animEffect transition="in" filter="fade">
                                      <p:cBhvr>
                                        <p:cTn id="87" dur="500"/>
                                        <p:tgtEl>
                                          <p:spTgt spid="17"/>
                                        </p:tgtEl>
                                      </p:cBhvr>
                                    </p:animEffect>
                                  </p:childTnLst>
                                </p:cTn>
                              </p:par>
                              <p:par>
                                <p:cTn id="88" presetID="35" presetClass="path" presetSubtype="0" accel="17000" decel="83000" fill="hold" grpId="1" nodeType="withEffect">
                                  <p:stCondLst>
                                    <p:cond delay="2250"/>
                                  </p:stCondLst>
                                  <p:childTnLst>
                                    <p:animMotion origin="layout" path="M -0.02558 3.13892E-6 L -6.27977E-7 3.13892E-6 " pathEditMode="relative" rAng="0" ptsTypes="AA">
                                      <p:cBhvr>
                                        <p:cTn id="89" dur="1100" fill="hold"/>
                                        <p:tgtEl>
                                          <p:spTgt spid="17"/>
                                        </p:tgtEl>
                                        <p:attrNameLst>
                                          <p:attrName>ppt_x</p:attrName>
                                          <p:attrName>ppt_y</p:attrName>
                                        </p:attrNameLst>
                                      </p:cBhvr>
                                      <p:rCtr x="1270" y="0"/>
                                    </p:animMotion>
                                  </p:childTnLst>
                                </p:cTn>
                              </p:par>
                              <p:par>
                                <p:cTn id="90" presetID="10" presetClass="entr" presetSubtype="0" fill="hold" grpId="0" nodeType="withEffect">
                                  <p:stCondLst>
                                    <p:cond delay="250"/>
                                  </p:stCondLst>
                                  <p:childTnLst>
                                    <p:set>
                                      <p:cBhvr>
                                        <p:cTn id="91" dur="1" fill="hold">
                                          <p:stCondLst>
                                            <p:cond delay="0"/>
                                          </p:stCondLst>
                                        </p:cTn>
                                        <p:tgtEl>
                                          <p:spTgt spid="7"/>
                                        </p:tgtEl>
                                        <p:attrNameLst>
                                          <p:attrName>style.visibility</p:attrName>
                                        </p:attrNameLst>
                                      </p:cBhvr>
                                      <p:to>
                                        <p:strVal val="visible"/>
                                      </p:to>
                                    </p:set>
                                    <p:animEffect transition="in" filter="fade">
                                      <p:cBhvr>
                                        <p:cTn id="92" dur="500"/>
                                        <p:tgtEl>
                                          <p:spTgt spid="7"/>
                                        </p:tgtEl>
                                      </p:cBhvr>
                                    </p:animEffect>
                                  </p:childTnLst>
                                </p:cTn>
                              </p:par>
                              <p:par>
                                <p:cTn id="93" presetID="23" presetClass="entr" presetSubtype="288" fill="hold" grpId="1" nodeType="withEffect">
                                  <p:stCondLst>
                                    <p:cond delay="250"/>
                                  </p:stCondLst>
                                  <p:childTnLst>
                                    <p:set>
                                      <p:cBhvr>
                                        <p:cTn id="94" dur="1" fill="hold">
                                          <p:stCondLst>
                                            <p:cond delay="0"/>
                                          </p:stCondLst>
                                        </p:cTn>
                                        <p:tgtEl>
                                          <p:spTgt spid="7"/>
                                        </p:tgtEl>
                                        <p:attrNameLst>
                                          <p:attrName>style.visibility</p:attrName>
                                        </p:attrNameLst>
                                      </p:cBhvr>
                                      <p:to>
                                        <p:strVal val="visible"/>
                                      </p:to>
                                    </p:set>
                                    <p:anim calcmode="lin" valueType="num">
                                      <p:cBhvr>
                                        <p:cTn id="95" dur="500" fill="hold"/>
                                        <p:tgtEl>
                                          <p:spTgt spid="7"/>
                                        </p:tgtEl>
                                        <p:attrNameLst>
                                          <p:attrName>ppt_w</p:attrName>
                                        </p:attrNameLst>
                                      </p:cBhvr>
                                      <p:tavLst>
                                        <p:tav tm="0">
                                          <p:val>
                                            <p:strVal val="4/3*#ppt_w"/>
                                          </p:val>
                                        </p:tav>
                                        <p:tav tm="100000">
                                          <p:val>
                                            <p:strVal val="#ppt_w"/>
                                          </p:val>
                                        </p:tav>
                                      </p:tavLst>
                                    </p:anim>
                                    <p:anim calcmode="lin" valueType="num">
                                      <p:cBhvr>
                                        <p:cTn id="96" dur="500" fill="hold"/>
                                        <p:tgtEl>
                                          <p:spTgt spid="7"/>
                                        </p:tgtEl>
                                        <p:attrNameLst>
                                          <p:attrName>ppt_h</p:attrName>
                                        </p:attrNameLst>
                                      </p:cBhvr>
                                      <p:tavLst>
                                        <p:tav tm="0">
                                          <p:val>
                                            <p:strVal val="4/3*#ppt_h"/>
                                          </p:val>
                                        </p:tav>
                                        <p:tav tm="100000">
                                          <p:val>
                                            <p:strVal val="#ppt_h"/>
                                          </p:val>
                                        </p:tav>
                                      </p:tavLst>
                                    </p:anim>
                                  </p:childTnLst>
                                </p:cTn>
                              </p:par>
                              <p:par>
                                <p:cTn id="97" presetID="10" presetClass="entr" presetSubtype="0" fill="hold" nodeType="withEffect">
                                  <p:stCondLst>
                                    <p:cond delay="500"/>
                                  </p:stCondLst>
                                  <p:childTnLst>
                                    <p:set>
                                      <p:cBhvr>
                                        <p:cTn id="98" dur="1" fill="hold">
                                          <p:stCondLst>
                                            <p:cond delay="0"/>
                                          </p:stCondLst>
                                        </p:cTn>
                                        <p:tgtEl>
                                          <p:spTgt spid="19"/>
                                        </p:tgtEl>
                                        <p:attrNameLst>
                                          <p:attrName>style.visibility</p:attrName>
                                        </p:attrNameLst>
                                      </p:cBhvr>
                                      <p:to>
                                        <p:strVal val="visible"/>
                                      </p:to>
                                    </p:set>
                                    <p:animEffect transition="in" filter="fade">
                                      <p:cBhvr>
                                        <p:cTn id="99" dur="500"/>
                                        <p:tgtEl>
                                          <p:spTgt spid="19"/>
                                        </p:tgtEl>
                                      </p:cBhvr>
                                    </p:animEffect>
                                  </p:childTnLst>
                                </p:cTn>
                              </p:par>
                              <p:par>
                                <p:cTn id="100" presetID="35" presetClass="path" presetSubtype="0" accel="17000" decel="83000" fill="hold" nodeType="withEffect">
                                  <p:stCondLst>
                                    <p:cond delay="500"/>
                                  </p:stCondLst>
                                  <p:childTnLst>
                                    <p:animMotion origin="layout" path="M -4.21944E-6 0.04421 L -4.21944E-6 4.97021E-6 " pathEditMode="relative" rAng="0" ptsTypes="AA">
                                      <p:cBhvr>
                                        <p:cTn id="101" dur="750" fill="hold"/>
                                        <p:tgtEl>
                                          <p:spTgt spid="19"/>
                                        </p:tgtEl>
                                        <p:attrNameLst>
                                          <p:attrName>ppt_x</p:attrName>
                                          <p:attrName>ppt_y</p:attrName>
                                        </p:attrNameLst>
                                      </p:cBhvr>
                                      <p:rCtr x="0" y="-2226"/>
                                    </p:animMotion>
                                  </p:childTnLst>
                                </p:cTn>
                              </p:par>
                              <p:par>
                                <p:cTn id="102" presetID="10" presetClass="entr" presetSubtype="0" fill="hold" grpId="0" nodeType="withEffect">
                                  <p:stCondLst>
                                    <p:cond delay="0"/>
                                  </p:stCondLst>
                                  <p:childTnLst>
                                    <p:set>
                                      <p:cBhvr>
                                        <p:cTn id="103" dur="1" fill="hold">
                                          <p:stCondLst>
                                            <p:cond delay="0"/>
                                          </p:stCondLst>
                                        </p:cTn>
                                        <p:tgtEl>
                                          <p:spTgt spid="28"/>
                                        </p:tgtEl>
                                        <p:attrNameLst>
                                          <p:attrName>style.visibility</p:attrName>
                                        </p:attrNameLst>
                                      </p:cBhvr>
                                      <p:to>
                                        <p:strVal val="visible"/>
                                      </p:to>
                                    </p:set>
                                    <p:animEffect transition="in" filter="fade">
                                      <p:cBhvr>
                                        <p:cTn id="104" dur="500"/>
                                        <p:tgtEl>
                                          <p:spTgt spid="28"/>
                                        </p:tgtEl>
                                      </p:cBhvr>
                                    </p:animEffect>
                                  </p:childTnLst>
                                </p:cTn>
                              </p:par>
                              <p:par>
                                <p:cTn id="105" presetID="35" presetClass="path" presetSubtype="0" accel="17000" decel="83000" fill="hold" grpId="1" nodeType="withEffect">
                                  <p:stCondLst>
                                    <p:cond delay="0"/>
                                  </p:stCondLst>
                                  <p:childTnLst>
                                    <p:animMotion origin="layout" path="M 0.00018 -0.06554 L -1.80102E-6 1.48636E-6 " pathEditMode="relative" rAng="0" ptsTypes="AA">
                                      <p:cBhvr>
                                        <p:cTn id="106" dur="1100" fill="hold"/>
                                        <p:tgtEl>
                                          <p:spTgt spid="28"/>
                                        </p:tgtEl>
                                        <p:attrNameLst>
                                          <p:attrName>ppt_x</p:attrName>
                                          <p:attrName>ppt_y</p:attrName>
                                        </p:attrNameLst>
                                      </p:cBhvr>
                                      <p:rCtr x="-18" y="3261"/>
                                    </p:animMotion>
                                  </p:childTnLst>
                                </p:cTn>
                              </p:par>
                              <p:par>
                                <p:cTn id="107" presetID="10" presetClass="entr" presetSubtype="0" fill="hold" nodeType="withEffect">
                                  <p:stCondLst>
                                    <p:cond delay="0"/>
                                  </p:stCondLst>
                                  <p:childTnLst>
                                    <p:set>
                                      <p:cBhvr>
                                        <p:cTn id="108" dur="1" fill="hold">
                                          <p:stCondLst>
                                            <p:cond delay="0"/>
                                          </p:stCondLst>
                                        </p:cTn>
                                        <p:tgtEl>
                                          <p:spTgt spid="11"/>
                                        </p:tgtEl>
                                        <p:attrNameLst>
                                          <p:attrName>style.visibility</p:attrName>
                                        </p:attrNameLst>
                                      </p:cBhvr>
                                      <p:to>
                                        <p:strVal val="visible"/>
                                      </p:to>
                                    </p:set>
                                    <p:animEffect transition="in" filter="fade">
                                      <p:cBhvr>
                                        <p:cTn id="10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5" grpId="0"/>
      <p:bldP spid="5" grpId="1"/>
      <p:bldP spid="6" grpId="0"/>
      <p:bldP spid="6" grpId="1"/>
      <p:bldP spid="14" grpId="0"/>
      <p:bldP spid="14" grpId="1"/>
      <p:bldP spid="15" grpId="0"/>
      <p:bldP spid="15" grpId="1"/>
      <p:bldP spid="17" grpId="0"/>
      <p:bldP spid="17" grpId="1"/>
      <p:bldP spid="28" grpId="0"/>
      <p:bldP spid="28" grpId="1"/>
      <p:bldP spid="2" grpId="0"/>
      <p:bldP spid="2" grpId="1"/>
      <p:bldP spid="7" grpId="0"/>
      <p:bldP spid="7" grpId="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m 3" descr="Imagem em branco e azul&#10;&#10;Descrição gerada automaticamente com confiança média">
            <a:extLst>
              <a:ext uri="{FF2B5EF4-FFF2-40B4-BE49-F238E27FC236}">
                <a16:creationId xmlns:a16="http://schemas.microsoft.com/office/drawing/2014/main" id="{640C5F0E-4652-55CE-8D4F-1ACDF501B39C}"/>
              </a:ext>
            </a:extLst>
          </p:cNvPr>
          <p:cNvPicPr>
            <a:picLocks noChangeAspect="1"/>
          </p:cNvPicPr>
          <p:nvPr>
            <p:custDataLst>
              <p:tags r:id="rId1"/>
            </p:custDataLst>
          </p:nvPr>
        </p:nvPicPr>
        <p:blipFill>
          <a:blip r:embed="rId67">
            <a:extLst>
              <a:ext uri="{28A0092B-C50C-407E-A947-70E740481C1C}">
                <a14:useLocalDpi xmlns:a14="http://schemas.microsoft.com/office/drawing/2010/main"/>
              </a:ext>
            </a:extLst>
          </a:blip>
          <a:stretch>
            <a:fillRect/>
          </a:stretch>
        </p:blipFill>
        <p:spPr>
          <a:xfrm>
            <a:off x="0" y="149"/>
            <a:ext cx="8999538" cy="5062240"/>
          </a:xfrm>
          <a:prstGeom prst="rect">
            <a:avLst/>
          </a:prstGeom>
        </p:spPr>
      </p:pic>
      <p:pic>
        <p:nvPicPr>
          <p:cNvPr id="225" name="Imagem 224" descr="Fundo preto com letras brancas&#10;&#10;Descrição gerada automaticamente com confiança média">
            <a:extLst>
              <a:ext uri="{FF2B5EF4-FFF2-40B4-BE49-F238E27FC236}">
                <a16:creationId xmlns:a16="http://schemas.microsoft.com/office/drawing/2014/main" id="{36852D3D-C59F-D94F-A1CD-AF616A2FFF57}"/>
              </a:ext>
            </a:extLst>
          </p:cNvPr>
          <p:cNvPicPr>
            <a:picLocks noChangeAspect="1"/>
          </p:cNvPicPr>
          <p:nvPr>
            <p:custDataLst>
              <p:tags r:id="rId2"/>
            </p:custDataLst>
          </p:nvPr>
        </p:nvPicPr>
        <p:blipFill>
          <a:blip r:embed="rId68">
            <a:extLst>
              <a:ext uri="{28A0092B-C50C-407E-A947-70E740481C1C}">
                <a14:useLocalDpi xmlns:a14="http://schemas.microsoft.com/office/drawing/2010/main"/>
              </a:ext>
            </a:extLst>
          </a:blip>
          <a:srcRect l="1" t="53816" r="49890"/>
          <a:stretch>
            <a:fillRect/>
          </a:stretch>
        </p:blipFill>
        <p:spPr>
          <a:xfrm flipV="1">
            <a:off x="5042485" y="1397434"/>
            <a:ext cx="3957053" cy="3665104"/>
          </a:xfrm>
          <a:prstGeom prst="rect">
            <a:avLst/>
          </a:prstGeom>
        </p:spPr>
      </p:pic>
      <p:sp>
        <p:nvSpPr>
          <p:cNvPr id="45" name="Retângulo 44">
            <a:extLst>
              <a:ext uri="{FF2B5EF4-FFF2-40B4-BE49-F238E27FC236}">
                <a16:creationId xmlns:a16="http://schemas.microsoft.com/office/drawing/2014/main" id="{0EA02A75-5F19-C608-4020-59FCCB485F43}"/>
              </a:ext>
            </a:extLst>
          </p:cNvPr>
          <p:cNvSpPr/>
          <p:nvPr>
            <p:custDataLst>
              <p:tags r:id="rId3"/>
            </p:custDataLst>
          </p:nvPr>
        </p:nvSpPr>
        <p:spPr>
          <a:xfrm>
            <a:off x="257839" y="897850"/>
            <a:ext cx="3205954" cy="4164539"/>
          </a:xfrm>
          <a:prstGeom prst="rect">
            <a:avLst/>
          </a:prstGeom>
          <a:gradFill>
            <a:gsLst>
              <a:gs pos="0">
                <a:schemeClr val="bg1">
                  <a:lumMod val="95000"/>
                  <a:alpha val="0"/>
                </a:schemeClr>
              </a:gs>
              <a:gs pos="100000">
                <a:schemeClr val="bg1">
                  <a:lumMod val="85000"/>
                </a:schemeClr>
              </a:gs>
            </a:gsLst>
            <a:lin ang="5400000" scaled="0"/>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20" name="Objeto 19" hidden="1">
            <a:extLst>
              <a:ext uri="{FF2B5EF4-FFF2-40B4-BE49-F238E27FC236}">
                <a16:creationId xmlns:a16="http://schemas.microsoft.com/office/drawing/2014/main" id="{85E36B8B-DC2F-451A-7734-EA1FAE0E86D9}"/>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Slide do think-cell" r:id="rId69" imgW="0" imgH="0" progId="TCLayout.ActiveDocument.1">
                  <p:embed/>
                </p:oleObj>
              </mc:Choice>
              <mc:Fallback>
                <p:oleObj name="Slide do think-cell" r:id="rId69" imgW="0" imgH="0" progId="TCLayout.ActiveDocument.1">
                  <p:embed/>
                  <p:pic>
                    <p:nvPicPr>
                      <p:cNvPr id="0" name="OLE substitute image"/>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8" name="CaixaDeTexto 7">
            <a:extLst>
              <a:ext uri="{FF2B5EF4-FFF2-40B4-BE49-F238E27FC236}">
                <a16:creationId xmlns:a16="http://schemas.microsoft.com/office/drawing/2014/main" id="{1B903901-1218-9CE2-F614-EF12457CF079}"/>
              </a:ext>
            </a:extLst>
          </p:cNvPr>
          <p:cNvSpPr txBox="1"/>
          <p:nvPr>
            <p:custDataLst>
              <p:tags r:id="rId5"/>
            </p:custDataLst>
          </p:nvPr>
        </p:nvSpPr>
        <p:spPr>
          <a:xfrm>
            <a:off x="186122" y="192516"/>
            <a:ext cx="5562063" cy="376804"/>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200" b="0" i="0" u="none" strike="noStrike" cap="none" spc="300" baseline="0" dirty="0">
                <a:solidFill>
                  <a:srgbClr val="002581"/>
                </a:solidFill>
                <a:effectLst/>
                <a:uFillTx/>
                <a:latin typeface="Segoe UI Light"/>
              </a:rPr>
              <a:t>HOW DID WE GET </a:t>
            </a:r>
            <a:r>
              <a:rPr lang="en-US" sz="2200" b="1" i="0" u="none" strike="noStrike" cap="none" spc="300" baseline="0" dirty="0">
                <a:solidFill>
                  <a:srgbClr val="002581"/>
                </a:solidFill>
                <a:effectLst/>
                <a:uFillTx/>
                <a:latin typeface="Segoe UI Black"/>
              </a:rPr>
              <a:t>HERE?</a:t>
            </a:r>
          </a:p>
        </p:txBody>
      </p:sp>
      <p:graphicFrame>
        <p:nvGraphicFramePr>
          <p:cNvPr id="16" name="Chart 3">
            <a:extLst>
              <a:ext uri="{FF2B5EF4-FFF2-40B4-BE49-F238E27FC236}">
                <a16:creationId xmlns:a16="http://schemas.microsoft.com/office/drawing/2014/main" id="{04A81A42-C322-A85E-2C7D-3B41AFD20BC6}"/>
              </a:ext>
            </a:extLst>
          </p:cNvPr>
          <p:cNvGraphicFramePr/>
          <p:nvPr>
            <p:custDataLst>
              <p:tags r:id="rId6"/>
            </p:custDataLst>
            <p:extLst>
              <p:ext uri="{D42A27DB-BD31-4B8C-83A1-F6EECF244321}">
                <p14:modId xmlns:p14="http://schemas.microsoft.com/office/powerpoint/2010/main" val="1648275036"/>
              </p:ext>
            </p:extLst>
          </p:nvPr>
        </p:nvGraphicFramePr>
        <p:xfrm>
          <a:off x="390272" y="1271552"/>
          <a:ext cx="8090231" cy="1179230"/>
        </p:xfrm>
        <a:graphic>
          <a:graphicData uri="http://schemas.openxmlformats.org/drawingml/2006/chart">
            <c:chart xmlns:c="http://schemas.openxmlformats.org/drawingml/2006/chart" xmlns:r="http://schemas.openxmlformats.org/officeDocument/2006/relationships" r:id="rId71"/>
          </a:graphicData>
        </a:graphic>
      </p:graphicFrame>
      <p:sp>
        <p:nvSpPr>
          <p:cNvPr id="15" name="CaixaDeTexto 14">
            <a:extLst>
              <a:ext uri="{FF2B5EF4-FFF2-40B4-BE49-F238E27FC236}">
                <a16:creationId xmlns:a16="http://schemas.microsoft.com/office/drawing/2014/main" id="{4F659C9E-F421-1840-D188-D9AEA209A74B}"/>
              </a:ext>
            </a:extLst>
          </p:cNvPr>
          <p:cNvSpPr txBox="1"/>
          <p:nvPr>
            <p:custDataLst>
              <p:tags r:id="rId7"/>
            </p:custDataLst>
          </p:nvPr>
        </p:nvSpPr>
        <p:spPr>
          <a:xfrm>
            <a:off x="194482" y="516228"/>
            <a:ext cx="3990984" cy="264688"/>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005FD7"/>
                </a:solidFill>
                <a:effectLst/>
                <a:uFillTx/>
                <a:latin typeface="Segoe UI"/>
              </a:rPr>
              <a:t>A DECADE OF PROFITABLE GROWTH</a:t>
            </a:r>
          </a:p>
        </p:txBody>
      </p:sp>
      <p:cxnSp>
        <p:nvCxnSpPr>
          <p:cNvPr id="87" name="Conector reto 86">
            <a:extLst>
              <a:ext uri="{FF2B5EF4-FFF2-40B4-BE49-F238E27FC236}">
                <a16:creationId xmlns:a16="http://schemas.microsoft.com/office/drawing/2014/main" id="{7C4D77A7-B1E2-C60E-B468-BABB3D3DDB81}"/>
              </a:ext>
            </a:extLst>
          </p:cNvPr>
          <p:cNvCxnSpPr/>
          <p:nvPr>
            <p:custDataLst>
              <p:tags r:id="rId8"/>
            </p:custDataLst>
          </p:nvPr>
        </p:nvCxnSpPr>
        <p:spPr>
          <a:xfrm flipH="1">
            <a:off x="1675796" y="3188769"/>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109" name="CaixaDeTexto 108">
            <a:extLst>
              <a:ext uri="{FF2B5EF4-FFF2-40B4-BE49-F238E27FC236}">
                <a16:creationId xmlns:a16="http://schemas.microsoft.com/office/drawing/2014/main" id="{F0019C0E-CA6C-9EB4-B3CA-AE247DA39CE8}"/>
              </a:ext>
            </a:extLst>
          </p:cNvPr>
          <p:cNvSpPr txBox="1"/>
          <p:nvPr>
            <p:custDataLst>
              <p:tags r:id="rId9"/>
            </p:custDataLst>
          </p:nvPr>
        </p:nvSpPr>
        <p:spPr>
          <a:xfrm>
            <a:off x="1604958" y="2771824"/>
            <a:ext cx="1423121" cy="451799"/>
          </a:xfrm>
          <a:prstGeom prst="rect">
            <a:avLst/>
          </a:prstGeom>
          <a:noFill/>
        </p:spPr>
        <p:txBody>
          <a:bodyPr wrap="square" rtlCol="0">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Acquisition of </a:t>
            </a:r>
            <a:br>
              <a:rPr sz="900" dirty="0"/>
            </a:br>
            <a:r>
              <a:rPr lang="en-US" sz="984" b="1" i="0" u="none" strike="noStrike" cap="none" baseline="0" dirty="0">
                <a:solidFill>
                  <a:srgbClr val="011F57"/>
                </a:solidFill>
                <a:effectLst/>
                <a:uFillTx/>
                <a:latin typeface="Segoe UI"/>
              </a:rPr>
              <a:t>1 concession</a:t>
            </a:r>
          </a:p>
          <a:p>
            <a:pPr marL="0" marR="0" lvl="0" indent="0" algn="l" defTabSz="449985" rtl="0" eaLnBrk="1" fontAlgn="auto" latinLnBrk="0" hangingPunct="1">
              <a:lnSpc>
                <a:spcPct val="80000"/>
              </a:lnSpc>
              <a:spcBef>
                <a:spcPct val="0"/>
              </a:spcBef>
              <a:spcAft>
                <a:spcPct val="0"/>
              </a:spcAft>
              <a:buClrTx/>
              <a:buSzTx/>
              <a:buFontTx/>
              <a:buNone/>
              <a:defRPr/>
            </a:pPr>
            <a:r>
              <a:rPr lang="en-US" sz="984" b="0" i="0" u="none" strike="noStrike" cap="none" baseline="0" dirty="0">
                <a:solidFill>
                  <a:srgbClr val="011F57"/>
                </a:solidFill>
                <a:effectLst/>
                <a:uFillTx/>
                <a:latin typeface="Segoe UI"/>
              </a:rPr>
              <a:t>Full</a:t>
            </a:r>
          </a:p>
        </p:txBody>
      </p:sp>
      <p:sp>
        <p:nvSpPr>
          <p:cNvPr id="111" name="CaixaDeTexto 110">
            <a:extLst>
              <a:ext uri="{FF2B5EF4-FFF2-40B4-BE49-F238E27FC236}">
                <a16:creationId xmlns:a16="http://schemas.microsoft.com/office/drawing/2014/main" id="{E699E0F5-AA80-44FE-5CD8-5667D1BD8C6E}"/>
              </a:ext>
            </a:extLst>
          </p:cNvPr>
          <p:cNvSpPr txBox="1"/>
          <p:nvPr>
            <p:custDataLst>
              <p:tags r:id="rId10"/>
            </p:custDataLst>
          </p:nvPr>
        </p:nvSpPr>
        <p:spPr>
          <a:xfrm>
            <a:off x="3646172" y="2771824"/>
            <a:ext cx="1880520" cy="451799"/>
          </a:xfrm>
          <a:prstGeom prst="rect">
            <a:avLst/>
          </a:prstGeom>
          <a:noFill/>
        </p:spPr>
        <p:txBody>
          <a:bodyPr wrap="square" rtlCol="0">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Start of receipt from</a:t>
            </a:r>
            <a:br>
              <a:rPr sz="900" dirty="0"/>
            </a:br>
            <a:r>
              <a:rPr lang="en-US" sz="984" b="1" i="0" u="none" strike="noStrike" cap="none" baseline="0" dirty="0">
                <a:solidFill>
                  <a:srgbClr val="011F57"/>
                </a:solidFill>
                <a:effectLst/>
                <a:uFillTx/>
                <a:latin typeface="Segoe UI"/>
              </a:rPr>
              <a:t>Existing Basic Network System “RBSE” </a:t>
            </a:r>
            <a:r>
              <a:rPr lang="en-US" sz="984" b="0" i="0" u="none" strike="noStrike" cap="none" baseline="0" dirty="0">
                <a:solidFill>
                  <a:srgbClr val="011F57"/>
                </a:solidFill>
                <a:effectLst/>
                <a:uFillTx/>
                <a:latin typeface="Segoe UI"/>
              </a:rPr>
              <a:t>(059/2001)</a:t>
            </a:r>
          </a:p>
        </p:txBody>
      </p:sp>
      <p:sp>
        <p:nvSpPr>
          <p:cNvPr id="118" name="CaixaDeTexto 117">
            <a:extLst>
              <a:ext uri="{FF2B5EF4-FFF2-40B4-BE49-F238E27FC236}">
                <a16:creationId xmlns:a16="http://schemas.microsoft.com/office/drawing/2014/main" id="{436475C5-A18B-32DE-E835-6B817C749F82}"/>
              </a:ext>
            </a:extLst>
          </p:cNvPr>
          <p:cNvSpPr txBox="1"/>
          <p:nvPr>
            <p:custDataLst>
              <p:tags r:id="rId11"/>
            </p:custDataLst>
          </p:nvPr>
        </p:nvSpPr>
        <p:spPr>
          <a:xfrm>
            <a:off x="6707618" y="2771824"/>
            <a:ext cx="1665192" cy="331710"/>
          </a:xfrm>
          <a:prstGeom prst="rect">
            <a:avLst/>
          </a:prstGeom>
          <a:noFill/>
        </p:spPr>
        <p:txBody>
          <a:bodyPr wrap="square" rtlCol="0">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Auction</a:t>
            </a:r>
            <a:br>
              <a:rPr sz="900" dirty="0"/>
            </a:br>
            <a:r>
              <a:rPr lang="en-US" sz="984" b="0" i="0" u="none" strike="noStrike" cap="none" baseline="0" dirty="0">
                <a:solidFill>
                  <a:srgbClr val="011F57"/>
                </a:solidFill>
                <a:effectLst/>
                <a:uFillTx/>
                <a:latin typeface="Segoe UI"/>
              </a:rPr>
              <a:t>16 more lots won</a:t>
            </a:r>
          </a:p>
        </p:txBody>
      </p:sp>
      <p:sp>
        <p:nvSpPr>
          <p:cNvPr id="130" name="CaixaDeTexto 129">
            <a:extLst>
              <a:ext uri="{FF2B5EF4-FFF2-40B4-BE49-F238E27FC236}">
                <a16:creationId xmlns:a16="http://schemas.microsoft.com/office/drawing/2014/main" id="{C081D9C3-2C43-541D-6843-4ECC2333099A}"/>
              </a:ext>
            </a:extLst>
          </p:cNvPr>
          <p:cNvSpPr txBox="1"/>
          <p:nvPr>
            <p:custDataLst>
              <p:tags r:id="rId12"/>
            </p:custDataLst>
          </p:nvPr>
        </p:nvSpPr>
        <p:spPr>
          <a:xfrm>
            <a:off x="540371" y="4233747"/>
            <a:ext cx="1477503" cy="455894"/>
          </a:xfrm>
          <a:prstGeom prst="rect">
            <a:avLst/>
          </a:prstGeom>
          <a:noFill/>
        </p:spPr>
        <p:txBody>
          <a:bodyPr wrap="square" rtlCol="0" anchor="b">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Extension of Main Agreement</a:t>
            </a:r>
            <a:r>
              <a:rPr lang="en-US" sz="984" b="0" i="0" u="none" strike="noStrike" cap="none" baseline="0" dirty="0">
                <a:solidFill>
                  <a:srgbClr val="011F57"/>
                </a:solidFill>
                <a:effectLst/>
                <a:uFillTx/>
                <a:latin typeface="Segoe UI"/>
              </a:rPr>
              <a:t> (059/2001) by 30 years</a:t>
            </a:r>
            <a:endParaRPr lang="en-US" b="0" i="0" u="none" strike="noStrike" cap="none" baseline="0" dirty="0">
              <a:effectLst/>
              <a:uFillTx/>
            </a:endParaRPr>
          </a:p>
        </p:txBody>
      </p:sp>
      <p:sp>
        <p:nvSpPr>
          <p:cNvPr id="140" name="CaixaDeTexto 139">
            <a:extLst>
              <a:ext uri="{FF2B5EF4-FFF2-40B4-BE49-F238E27FC236}">
                <a16:creationId xmlns:a16="http://schemas.microsoft.com/office/drawing/2014/main" id="{FCFDFDC6-F26F-B9F7-1CB0-04D9425B2AFF}"/>
              </a:ext>
            </a:extLst>
          </p:cNvPr>
          <p:cNvSpPr txBox="1"/>
          <p:nvPr>
            <p:custDataLst>
              <p:tags r:id="rId13"/>
            </p:custDataLst>
          </p:nvPr>
        </p:nvSpPr>
        <p:spPr>
          <a:xfrm>
            <a:off x="4526458" y="4292180"/>
            <a:ext cx="1443011" cy="451799"/>
          </a:xfrm>
          <a:prstGeom prst="rect">
            <a:avLst/>
          </a:prstGeom>
          <a:noFill/>
        </p:spPr>
        <p:txBody>
          <a:bodyPr wrap="square" rtlCol="0" anchor="b">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Acquisition of </a:t>
            </a:r>
            <a:br>
              <a:rPr sz="900" dirty="0"/>
            </a:br>
            <a:r>
              <a:rPr lang="en-US" sz="984" b="1" i="0" u="none" strike="noStrike" cap="none" baseline="0" dirty="0">
                <a:solidFill>
                  <a:srgbClr val="011F57"/>
                </a:solidFill>
                <a:effectLst/>
                <a:uFillTx/>
                <a:latin typeface="Segoe UI"/>
              </a:rPr>
              <a:t>4 concessions</a:t>
            </a:r>
          </a:p>
          <a:p>
            <a:pPr marL="0" marR="0" lvl="0" indent="0" algn="l" defTabSz="449985" rtl="0" eaLnBrk="1" fontAlgn="auto" latinLnBrk="0" hangingPunct="1">
              <a:lnSpc>
                <a:spcPct val="80000"/>
              </a:lnSpc>
              <a:spcBef>
                <a:spcPct val="0"/>
              </a:spcBef>
              <a:spcAft>
                <a:spcPct val="0"/>
              </a:spcAft>
              <a:buClrTx/>
              <a:buSzTx/>
              <a:buFontTx/>
              <a:buNone/>
              <a:defRPr/>
            </a:pPr>
            <a:r>
              <a:rPr lang="en-US" sz="984" b="0" i="0" u="none" strike="noStrike" cap="none" baseline="0" dirty="0">
                <a:solidFill>
                  <a:srgbClr val="011F57"/>
                </a:solidFill>
                <a:effectLst/>
                <a:uFillTx/>
                <a:latin typeface="Segoe UI"/>
              </a:rPr>
              <a:t>3 Partial and 1 Full</a:t>
            </a:r>
          </a:p>
        </p:txBody>
      </p:sp>
      <p:sp>
        <p:nvSpPr>
          <p:cNvPr id="139" name="CaixaDeTexto 138">
            <a:extLst>
              <a:ext uri="{FF2B5EF4-FFF2-40B4-BE49-F238E27FC236}">
                <a16:creationId xmlns:a16="http://schemas.microsoft.com/office/drawing/2014/main" id="{25E19389-7FF9-56B3-7CA6-8A5BA41ED540}"/>
              </a:ext>
            </a:extLst>
          </p:cNvPr>
          <p:cNvSpPr txBox="1"/>
          <p:nvPr>
            <p:custDataLst>
              <p:tags r:id="rId14"/>
            </p:custDataLst>
          </p:nvPr>
        </p:nvSpPr>
        <p:spPr>
          <a:xfrm>
            <a:off x="2386298" y="4293483"/>
            <a:ext cx="980893" cy="451799"/>
          </a:xfrm>
          <a:prstGeom prst="rect">
            <a:avLst/>
          </a:prstGeom>
          <a:noFill/>
        </p:spPr>
        <p:txBody>
          <a:bodyPr wrap="square" rtlCol="0" anchor="b">
            <a:spAutoFit/>
          </a:bodyPr>
          <a:lstStyle/>
          <a:p>
            <a:pPr marL="0" marR="0" lvl="0" indent="0" algn="l" defTabSz="449985" rtl="0" eaLnBrk="1" fontAlgn="auto" latinLnBrk="0" hangingPunct="1">
              <a:lnSpc>
                <a:spcPct val="80000"/>
              </a:lnSpc>
              <a:spcBef>
                <a:spcPct val="0"/>
              </a:spcBef>
              <a:spcAft>
                <a:spcPct val="0"/>
              </a:spcAft>
              <a:buClrTx/>
              <a:buSzTx/>
              <a:buFontTx/>
              <a:buNone/>
              <a:defRPr/>
            </a:pPr>
            <a:r>
              <a:rPr lang="en-US" sz="984" b="1" i="0" u="none" strike="noStrike" cap="none" baseline="0" dirty="0">
                <a:solidFill>
                  <a:srgbClr val="011F57"/>
                </a:solidFill>
                <a:effectLst/>
                <a:uFillTx/>
                <a:latin typeface="Segoe UI"/>
              </a:rPr>
              <a:t>Auction</a:t>
            </a:r>
          </a:p>
          <a:p>
            <a:pPr marL="0" marR="0" lvl="0" indent="0" algn="l" defTabSz="449985" rtl="0" eaLnBrk="1" fontAlgn="auto" latinLnBrk="0" hangingPunct="1">
              <a:lnSpc>
                <a:spcPct val="80000"/>
              </a:lnSpc>
              <a:spcBef>
                <a:spcPct val="0"/>
              </a:spcBef>
              <a:spcAft>
                <a:spcPct val="0"/>
              </a:spcAft>
              <a:buClrTx/>
              <a:buSzTx/>
              <a:buFontTx/>
              <a:buNone/>
              <a:defRPr/>
            </a:pPr>
            <a:r>
              <a:rPr lang="en-US" sz="984" b="0" i="0" u="none" strike="noStrike" cap="none" baseline="0" dirty="0">
                <a:solidFill>
                  <a:srgbClr val="011F57"/>
                </a:solidFill>
                <a:effectLst/>
                <a:uFillTx/>
                <a:latin typeface="Segoe UI"/>
              </a:rPr>
              <a:t>3 more lots won</a:t>
            </a:r>
          </a:p>
        </p:txBody>
      </p:sp>
      <p:sp>
        <p:nvSpPr>
          <p:cNvPr id="221" name="CaixaDeTexto 220">
            <a:extLst>
              <a:ext uri="{FF2B5EF4-FFF2-40B4-BE49-F238E27FC236}">
                <a16:creationId xmlns:a16="http://schemas.microsoft.com/office/drawing/2014/main" id="{8F807C4C-5EF3-0DD8-CEF6-1D978F015742}"/>
              </a:ext>
            </a:extLst>
          </p:cNvPr>
          <p:cNvSpPr txBox="1"/>
          <p:nvPr>
            <p:custDataLst>
              <p:tags r:id="rId15"/>
            </p:custDataLst>
          </p:nvPr>
        </p:nvSpPr>
        <p:spPr>
          <a:xfrm>
            <a:off x="234915" y="4796006"/>
            <a:ext cx="3111751" cy="247135"/>
          </a:xfrm>
          <a:prstGeom prst="rect">
            <a:avLst/>
          </a:prstGeom>
          <a:noFill/>
        </p:spPr>
        <p:txBody>
          <a:bodyPr wrap="none" rtlCol="0">
            <a:spAutoFit/>
          </a:bodyPr>
          <a:lstStyle>
            <a:defPPr>
              <a:defRPr lang="en-US"/>
            </a:defPPr>
            <a:lvl1pPr marR="0" lvl="0" indent="0" fontAlgn="auto">
              <a:lnSpc>
                <a:spcPct val="85000"/>
              </a:lnSpc>
              <a:spcBef>
                <a:spcPct val="0"/>
              </a:spcBef>
              <a:spcAft>
                <a:spcPct val="0"/>
              </a:spcAft>
              <a:buClrTx/>
              <a:buSzTx/>
              <a:buFontTx/>
              <a:buNone/>
              <a:defRPr kumimoji="0" sz="700" b="0" i="0" u="none" strike="noStrike" cap="none" spc="0" normalizeH="0" baseline="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defRPr>
            </a:lvl1pPr>
          </a:lstStyle>
          <a:p>
            <a:pPr lvl="0">
              <a:defRPr/>
            </a:pPr>
            <a:r>
              <a:rPr lang="en-US" sz="600" b="0" i="0" u="none" strike="noStrike" cap="none" baseline="0" dirty="0">
                <a:solidFill>
                  <a:srgbClr val="203864"/>
                </a:solidFill>
                <a:effectLst/>
                <a:uFillTx/>
                <a:latin typeface="Segoe UI"/>
              </a:rPr>
              <a:t>¹ RAP nominal cycle, considers RAP from RBSE and Adjustment Portion (PA) of the cycle</a:t>
            </a:r>
          </a:p>
          <a:p>
            <a:pPr marL="0" marR="0" lvl="0" indent="0" defTabSz="457200" rtl="0" eaLnBrk="1" fontAlgn="auto" latinLnBrk="0" hangingPunct="1">
              <a:lnSpc>
                <a:spcPct val="85000"/>
              </a:lnSpc>
              <a:spcBef>
                <a:spcPct val="0"/>
              </a:spcBef>
              <a:spcAft>
                <a:spcPct val="0"/>
              </a:spcAft>
              <a:buClrTx/>
              <a:buSzTx/>
              <a:buFontTx/>
              <a:buNone/>
              <a:defRPr/>
            </a:pPr>
            <a:r>
              <a:rPr lang="en-US" sz="600" b="0" i="0" u="none" strike="noStrike" cap="none" baseline="0" dirty="0">
                <a:solidFill>
                  <a:srgbClr val="203864"/>
                </a:solidFill>
                <a:effectLst/>
                <a:uFillTx/>
                <a:latin typeface="Segoe UI"/>
              </a:rPr>
              <a:t>² RAP 2023/2024 cycle, baseline June 2023</a:t>
            </a:r>
          </a:p>
        </p:txBody>
      </p:sp>
      <p:grpSp>
        <p:nvGrpSpPr>
          <p:cNvPr id="218" name="Agrupar 217">
            <a:extLst>
              <a:ext uri="{FF2B5EF4-FFF2-40B4-BE49-F238E27FC236}">
                <a16:creationId xmlns:a16="http://schemas.microsoft.com/office/drawing/2014/main" id="{852B065B-7B4B-5C2D-2F64-E8BA817B7AB6}"/>
              </a:ext>
            </a:extLst>
          </p:cNvPr>
          <p:cNvGrpSpPr/>
          <p:nvPr>
            <p:custDataLst>
              <p:tags r:id="rId16"/>
            </p:custDataLst>
          </p:nvPr>
        </p:nvGrpSpPr>
        <p:grpSpPr>
          <a:xfrm>
            <a:off x="296700" y="3399734"/>
            <a:ext cx="8445981" cy="263231"/>
            <a:chOff x="296700" y="3292804"/>
            <a:chExt cx="8445981" cy="263231"/>
          </a:xfrm>
        </p:grpSpPr>
        <p:sp>
          <p:nvSpPr>
            <p:cNvPr id="65" name="Retângulo: Cantos Arredondados 64">
              <a:extLst>
                <a:ext uri="{FF2B5EF4-FFF2-40B4-BE49-F238E27FC236}">
                  <a16:creationId xmlns:a16="http://schemas.microsoft.com/office/drawing/2014/main" id="{8DC89FE3-9164-7075-0190-04E413D7DDAA}"/>
                </a:ext>
              </a:extLst>
            </p:cNvPr>
            <p:cNvSpPr/>
            <p:nvPr>
              <p:custDataLst>
                <p:tags r:id="rId53"/>
              </p:custDataLst>
            </p:nvPr>
          </p:nvSpPr>
          <p:spPr>
            <a:xfrm>
              <a:off x="296700" y="3292804"/>
              <a:ext cx="8445981" cy="263231"/>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9" name="CaixaDeTexto 68">
              <a:extLst>
                <a:ext uri="{FF2B5EF4-FFF2-40B4-BE49-F238E27FC236}">
                  <a16:creationId xmlns:a16="http://schemas.microsoft.com/office/drawing/2014/main" id="{B86C713A-A7B4-6B71-F5AF-CF7EC7B78FCA}"/>
                </a:ext>
              </a:extLst>
            </p:cNvPr>
            <p:cNvSpPr txBox="1"/>
            <p:nvPr>
              <p:custDataLst>
                <p:tags r:id="rId54"/>
              </p:custDataLst>
            </p:nvPr>
          </p:nvSpPr>
          <p:spPr>
            <a:xfrm>
              <a:off x="1932386"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5</a:t>
              </a:r>
            </a:p>
          </p:txBody>
        </p:sp>
        <p:sp>
          <p:nvSpPr>
            <p:cNvPr id="70" name="CaixaDeTexto 69">
              <a:extLst>
                <a:ext uri="{FF2B5EF4-FFF2-40B4-BE49-F238E27FC236}">
                  <a16:creationId xmlns:a16="http://schemas.microsoft.com/office/drawing/2014/main" id="{747CEA95-DFB3-D6A9-981E-57B4ACAA04BC}"/>
                </a:ext>
              </a:extLst>
            </p:cNvPr>
            <p:cNvSpPr txBox="1"/>
            <p:nvPr>
              <p:custDataLst>
                <p:tags r:id="rId55"/>
              </p:custDataLst>
            </p:nvPr>
          </p:nvSpPr>
          <p:spPr>
            <a:xfrm>
              <a:off x="2703443"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6</a:t>
              </a:r>
            </a:p>
          </p:txBody>
        </p:sp>
        <p:sp>
          <p:nvSpPr>
            <p:cNvPr id="71" name="CaixaDeTexto 70">
              <a:extLst>
                <a:ext uri="{FF2B5EF4-FFF2-40B4-BE49-F238E27FC236}">
                  <a16:creationId xmlns:a16="http://schemas.microsoft.com/office/drawing/2014/main" id="{63ED289E-93A8-949B-2065-51B57ABE3AF8}"/>
                </a:ext>
              </a:extLst>
            </p:cNvPr>
            <p:cNvSpPr txBox="1"/>
            <p:nvPr>
              <p:custDataLst>
                <p:tags r:id="rId56"/>
              </p:custDataLst>
            </p:nvPr>
          </p:nvSpPr>
          <p:spPr>
            <a:xfrm>
              <a:off x="3474500"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7</a:t>
              </a:r>
            </a:p>
          </p:txBody>
        </p:sp>
        <p:sp>
          <p:nvSpPr>
            <p:cNvPr id="72" name="CaixaDeTexto 71">
              <a:extLst>
                <a:ext uri="{FF2B5EF4-FFF2-40B4-BE49-F238E27FC236}">
                  <a16:creationId xmlns:a16="http://schemas.microsoft.com/office/drawing/2014/main" id="{D1936DBC-8DFE-5148-8A9D-6BA4AD6844B8}"/>
                </a:ext>
              </a:extLst>
            </p:cNvPr>
            <p:cNvSpPr txBox="1"/>
            <p:nvPr>
              <p:custDataLst>
                <p:tags r:id="rId57"/>
              </p:custDataLst>
            </p:nvPr>
          </p:nvSpPr>
          <p:spPr>
            <a:xfrm>
              <a:off x="4245557"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8</a:t>
              </a:r>
            </a:p>
          </p:txBody>
        </p:sp>
        <p:sp>
          <p:nvSpPr>
            <p:cNvPr id="73" name="CaixaDeTexto 72">
              <a:extLst>
                <a:ext uri="{FF2B5EF4-FFF2-40B4-BE49-F238E27FC236}">
                  <a16:creationId xmlns:a16="http://schemas.microsoft.com/office/drawing/2014/main" id="{0E8624CF-B127-ED68-3114-8BEFF4A0469E}"/>
                </a:ext>
              </a:extLst>
            </p:cNvPr>
            <p:cNvSpPr txBox="1"/>
            <p:nvPr>
              <p:custDataLst>
                <p:tags r:id="rId58"/>
              </p:custDataLst>
            </p:nvPr>
          </p:nvSpPr>
          <p:spPr>
            <a:xfrm>
              <a:off x="5016614"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9</a:t>
              </a:r>
            </a:p>
          </p:txBody>
        </p:sp>
        <p:sp>
          <p:nvSpPr>
            <p:cNvPr id="74" name="CaixaDeTexto 73">
              <a:extLst>
                <a:ext uri="{FF2B5EF4-FFF2-40B4-BE49-F238E27FC236}">
                  <a16:creationId xmlns:a16="http://schemas.microsoft.com/office/drawing/2014/main" id="{7677A3C9-00A9-57D0-03CC-1BF2C9D31B53}"/>
                </a:ext>
              </a:extLst>
            </p:cNvPr>
            <p:cNvSpPr txBox="1"/>
            <p:nvPr>
              <p:custDataLst>
                <p:tags r:id="rId59"/>
              </p:custDataLst>
            </p:nvPr>
          </p:nvSpPr>
          <p:spPr>
            <a:xfrm>
              <a:off x="5787671"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20</a:t>
              </a:r>
            </a:p>
          </p:txBody>
        </p:sp>
        <p:sp>
          <p:nvSpPr>
            <p:cNvPr id="75" name="CaixaDeTexto 74">
              <a:extLst>
                <a:ext uri="{FF2B5EF4-FFF2-40B4-BE49-F238E27FC236}">
                  <a16:creationId xmlns:a16="http://schemas.microsoft.com/office/drawing/2014/main" id="{778D514A-B538-70D5-3477-76967C55DB33}"/>
                </a:ext>
              </a:extLst>
            </p:cNvPr>
            <p:cNvSpPr txBox="1"/>
            <p:nvPr>
              <p:custDataLst>
                <p:tags r:id="rId60"/>
              </p:custDataLst>
            </p:nvPr>
          </p:nvSpPr>
          <p:spPr>
            <a:xfrm>
              <a:off x="6558728"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21</a:t>
              </a:r>
            </a:p>
          </p:txBody>
        </p:sp>
        <p:sp>
          <p:nvSpPr>
            <p:cNvPr id="76" name="CaixaDeTexto 75">
              <a:extLst>
                <a:ext uri="{FF2B5EF4-FFF2-40B4-BE49-F238E27FC236}">
                  <a16:creationId xmlns:a16="http://schemas.microsoft.com/office/drawing/2014/main" id="{9E4B3F5D-98D1-7B13-02D9-852E50FBBA4C}"/>
                </a:ext>
              </a:extLst>
            </p:cNvPr>
            <p:cNvSpPr txBox="1"/>
            <p:nvPr>
              <p:custDataLst>
                <p:tags r:id="rId61"/>
              </p:custDataLst>
            </p:nvPr>
          </p:nvSpPr>
          <p:spPr>
            <a:xfrm>
              <a:off x="7329785"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22</a:t>
              </a:r>
            </a:p>
          </p:txBody>
        </p:sp>
        <p:sp>
          <p:nvSpPr>
            <p:cNvPr id="78" name="CaixaDeTexto 77">
              <a:extLst>
                <a:ext uri="{FF2B5EF4-FFF2-40B4-BE49-F238E27FC236}">
                  <a16:creationId xmlns:a16="http://schemas.microsoft.com/office/drawing/2014/main" id="{7DA8D577-E733-8692-7635-945739DB6ACD}"/>
                </a:ext>
              </a:extLst>
            </p:cNvPr>
            <p:cNvSpPr txBox="1"/>
            <p:nvPr>
              <p:custDataLst>
                <p:tags r:id="rId62"/>
              </p:custDataLst>
            </p:nvPr>
          </p:nvSpPr>
          <p:spPr>
            <a:xfrm>
              <a:off x="8100840"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23</a:t>
              </a:r>
            </a:p>
          </p:txBody>
        </p:sp>
        <p:sp>
          <p:nvSpPr>
            <p:cNvPr id="68" name="CaixaDeTexto 67">
              <a:extLst>
                <a:ext uri="{FF2B5EF4-FFF2-40B4-BE49-F238E27FC236}">
                  <a16:creationId xmlns:a16="http://schemas.microsoft.com/office/drawing/2014/main" id="{CFEB1867-EE88-3F41-99FF-5DE2C04B9D3D}"/>
                </a:ext>
              </a:extLst>
            </p:cNvPr>
            <p:cNvSpPr txBox="1"/>
            <p:nvPr>
              <p:custDataLst>
                <p:tags r:id="rId63"/>
              </p:custDataLst>
            </p:nvPr>
          </p:nvSpPr>
          <p:spPr>
            <a:xfrm>
              <a:off x="1161329"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4</a:t>
              </a:r>
            </a:p>
          </p:txBody>
        </p:sp>
        <p:sp>
          <p:nvSpPr>
            <p:cNvPr id="77" name="CaixaDeTexto 76">
              <a:extLst>
                <a:ext uri="{FF2B5EF4-FFF2-40B4-BE49-F238E27FC236}">
                  <a16:creationId xmlns:a16="http://schemas.microsoft.com/office/drawing/2014/main" id="{64037840-9230-FAFD-C77E-1328EB0BBF7B}"/>
                </a:ext>
              </a:extLst>
            </p:cNvPr>
            <p:cNvSpPr txBox="1"/>
            <p:nvPr>
              <p:custDataLst>
                <p:tags r:id="rId64"/>
              </p:custDataLst>
            </p:nvPr>
          </p:nvSpPr>
          <p:spPr>
            <a:xfrm>
              <a:off x="390272" y="3321684"/>
              <a:ext cx="586071" cy="219484"/>
            </a:xfrm>
            <a:prstGeom prst="rect">
              <a:avLst/>
            </a:prstGeom>
            <a:noFill/>
          </p:spPr>
          <p:txBody>
            <a:bodyPr wrap="square" rtlCol="0">
              <a:spAutoFit/>
            </a:bodyPr>
            <a:lstStyle/>
            <a:p>
              <a:pPr marL="0" marR="0" lvl="0" indent="0" algn="ctr" defTabSz="449985" rtl="0" eaLnBrk="1" fontAlgn="auto" latinLnBrk="0" hangingPunct="1">
                <a:lnSpc>
                  <a:spcPct val="80000"/>
                </a:lnSpc>
                <a:spcBef>
                  <a:spcPct val="0"/>
                </a:spcBef>
                <a:spcAft>
                  <a:spcPct val="0"/>
                </a:spcAft>
                <a:buClrTx/>
                <a:buSzTx/>
                <a:buFontTx/>
                <a:buNone/>
                <a:defRPr/>
              </a:pPr>
              <a:r>
                <a:rPr kumimoji="0" lang="pt-BR" sz="1033" b="1" i="0" u="none" strike="noStrike" kern="1200" cap="none" spc="0" normalizeH="0" baseline="0" noProof="0" dirty="0">
                  <a:ln>
                    <a:noFill/>
                  </a:ln>
                  <a:solidFill>
                    <a:prstClr val="white"/>
                  </a:solidFill>
                  <a:effectLst/>
                  <a:uLnTx/>
                  <a:uFillTx/>
                  <a:latin typeface="Segoe UI" panose="020B0502040204020203" pitchFamily="34" charset="0"/>
                  <a:ea typeface="Tahoma" panose="020B0604030504040204" pitchFamily="34" charset="0"/>
                  <a:cs typeface="Segoe UI" panose="020B0502040204020203" pitchFamily="34" charset="0"/>
                </a:rPr>
                <a:t>2013</a:t>
              </a:r>
            </a:p>
          </p:txBody>
        </p:sp>
      </p:grpSp>
      <p:cxnSp>
        <p:nvCxnSpPr>
          <p:cNvPr id="36" name="Conector reto 35">
            <a:extLst>
              <a:ext uri="{FF2B5EF4-FFF2-40B4-BE49-F238E27FC236}">
                <a16:creationId xmlns:a16="http://schemas.microsoft.com/office/drawing/2014/main" id="{5D92DDB5-79AA-5ABE-8591-94D5ABF3E999}"/>
              </a:ext>
            </a:extLst>
          </p:cNvPr>
          <p:cNvCxnSpPr/>
          <p:nvPr>
            <p:custDataLst>
              <p:tags r:id="rId17"/>
            </p:custDataLst>
          </p:nvPr>
        </p:nvCxnSpPr>
        <p:spPr>
          <a:xfrm flipH="1">
            <a:off x="3474500" y="929141"/>
            <a:ext cx="0" cy="3903170"/>
          </a:xfrm>
          <a:prstGeom prst="line">
            <a:avLst/>
          </a:prstGeom>
          <a:ln w="19050" cap="rnd">
            <a:solidFill>
              <a:schemeClr val="bg1">
                <a:lumMod val="65000"/>
              </a:schemeClr>
            </a:solidFill>
            <a:prstDash val="dash"/>
            <a:round/>
          </a:ln>
        </p:spPr>
        <p:style>
          <a:lnRef idx="1">
            <a:schemeClr val="accent1"/>
          </a:lnRef>
          <a:fillRef idx="0">
            <a:schemeClr val="accent1"/>
          </a:fillRef>
          <a:effectRef idx="0">
            <a:schemeClr val="accent1"/>
          </a:effectRef>
          <a:fontRef idx="minor">
            <a:schemeClr val="tx1"/>
          </a:fontRef>
        </p:style>
      </p:cxnSp>
      <p:grpSp>
        <p:nvGrpSpPr>
          <p:cNvPr id="41" name="Agrupar 40">
            <a:extLst>
              <a:ext uri="{FF2B5EF4-FFF2-40B4-BE49-F238E27FC236}">
                <a16:creationId xmlns:a16="http://schemas.microsoft.com/office/drawing/2014/main" id="{A66B272D-4BDC-8EF4-4318-F3A4CFF388A3}"/>
              </a:ext>
            </a:extLst>
          </p:cNvPr>
          <p:cNvGrpSpPr/>
          <p:nvPr>
            <p:custDataLst>
              <p:tags r:id="rId18"/>
            </p:custDataLst>
          </p:nvPr>
        </p:nvGrpSpPr>
        <p:grpSpPr>
          <a:xfrm>
            <a:off x="277092" y="914590"/>
            <a:ext cx="2839474" cy="286060"/>
            <a:chOff x="277092" y="998375"/>
            <a:chExt cx="2839474" cy="211086"/>
          </a:xfrm>
        </p:grpSpPr>
        <p:sp>
          <p:nvSpPr>
            <p:cNvPr id="3" name="Retângulo: Cantos Arredondados 2">
              <a:extLst>
                <a:ext uri="{FF2B5EF4-FFF2-40B4-BE49-F238E27FC236}">
                  <a16:creationId xmlns:a16="http://schemas.microsoft.com/office/drawing/2014/main" id="{9CA635AE-FE35-EA79-7FDE-AB2CE30E44C3}"/>
                </a:ext>
              </a:extLst>
            </p:cNvPr>
            <p:cNvSpPr/>
            <p:nvPr>
              <p:custDataLst>
                <p:tags r:id="rId51"/>
              </p:custDataLst>
            </p:nvPr>
          </p:nvSpPr>
          <p:spPr>
            <a:xfrm>
              <a:off x="277092" y="998375"/>
              <a:ext cx="2839474" cy="192262"/>
            </a:xfrm>
            <a:prstGeom prst="roundRect">
              <a:avLst>
                <a:gd name="adj" fmla="val 50000"/>
              </a:avLst>
            </a:prstGeom>
            <a:gradFill>
              <a:gsLst>
                <a:gs pos="0">
                  <a:srgbClr val="F8681E">
                    <a:alpha val="0"/>
                  </a:srgbClr>
                </a:gs>
                <a:gs pos="100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8" name="CaixaDeTexto 37">
              <a:extLst>
                <a:ext uri="{FF2B5EF4-FFF2-40B4-BE49-F238E27FC236}">
                  <a16:creationId xmlns:a16="http://schemas.microsoft.com/office/drawing/2014/main" id="{02C67C89-2EC0-0AA8-B30B-F84B4A2B704F}"/>
                </a:ext>
              </a:extLst>
            </p:cNvPr>
            <p:cNvSpPr txBox="1"/>
            <p:nvPr>
              <p:custDataLst>
                <p:tags r:id="rId52"/>
              </p:custDataLst>
            </p:nvPr>
          </p:nvSpPr>
          <p:spPr>
            <a:xfrm>
              <a:off x="779248" y="1014145"/>
              <a:ext cx="1835161" cy="195316"/>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011F57"/>
                  </a:solidFill>
                  <a:effectLst/>
                  <a:uFillTx/>
                  <a:latin typeface="Segoe UI"/>
                </a:rPr>
                <a:t>STABILIZATION</a:t>
              </a:r>
            </a:p>
          </p:txBody>
        </p:sp>
      </p:grpSp>
      <p:grpSp>
        <p:nvGrpSpPr>
          <p:cNvPr id="40" name="Agrupar 39">
            <a:extLst>
              <a:ext uri="{FF2B5EF4-FFF2-40B4-BE49-F238E27FC236}">
                <a16:creationId xmlns:a16="http://schemas.microsoft.com/office/drawing/2014/main" id="{6CCD3F35-AA76-BD43-493F-5C1FF9DBE97C}"/>
              </a:ext>
            </a:extLst>
          </p:cNvPr>
          <p:cNvGrpSpPr/>
          <p:nvPr>
            <p:custDataLst>
              <p:tags r:id="rId19"/>
            </p:custDataLst>
          </p:nvPr>
        </p:nvGrpSpPr>
        <p:grpSpPr>
          <a:xfrm>
            <a:off x="4689965" y="921149"/>
            <a:ext cx="2839474" cy="272680"/>
            <a:chOff x="4608551" y="998375"/>
            <a:chExt cx="2839474" cy="201213"/>
          </a:xfrm>
        </p:grpSpPr>
        <p:sp>
          <p:nvSpPr>
            <p:cNvPr id="37" name="Retângulo: Cantos Arredondados 36">
              <a:extLst>
                <a:ext uri="{FF2B5EF4-FFF2-40B4-BE49-F238E27FC236}">
                  <a16:creationId xmlns:a16="http://schemas.microsoft.com/office/drawing/2014/main" id="{37777E5D-D41D-C756-0B96-0A198E2847B4}"/>
                </a:ext>
              </a:extLst>
            </p:cNvPr>
            <p:cNvSpPr/>
            <p:nvPr>
              <p:custDataLst>
                <p:tags r:id="rId49"/>
              </p:custDataLst>
            </p:nvPr>
          </p:nvSpPr>
          <p:spPr>
            <a:xfrm>
              <a:off x="4608551" y="998375"/>
              <a:ext cx="2839474" cy="192262"/>
            </a:xfrm>
            <a:prstGeom prst="roundRect">
              <a:avLst>
                <a:gd name="adj" fmla="val 50000"/>
              </a:avLst>
            </a:prstGeom>
            <a:gradFill>
              <a:gsLst>
                <a:gs pos="0">
                  <a:srgbClr val="F8681E">
                    <a:alpha val="0"/>
                  </a:srgbClr>
                </a:gs>
                <a:gs pos="100000">
                  <a:srgbClr val="F8681E"/>
                </a:gs>
              </a:gsLst>
              <a:lin ang="2700000" scaled="0"/>
            </a:gradFill>
            <a:ln w="19050">
              <a:gradFill>
                <a:gsLst>
                  <a:gs pos="0">
                    <a:srgbClr val="FB9F71"/>
                  </a:gs>
                  <a:gs pos="50000">
                    <a:srgbClr val="FB9F71">
                      <a:alpha val="0"/>
                    </a:srgbClr>
                  </a:gs>
                  <a:gs pos="100000">
                    <a:srgbClr val="FB9F71"/>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9" name="CaixaDeTexto 38">
              <a:extLst>
                <a:ext uri="{FF2B5EF4-FFF2-40B4-BE49-F238E27FC236}">
                  <a16:creationId xmlns:a16="http://schemas.microsoft.com/office/drawing/2014/main" id="{9C617FA3-1978-53AB-379A-15C49E28EE68}"/>
                </a:ext>
              </a:extLst>
            </p:cNvPr>
            <p:cNvSpPr txBox="1"/>
            <p:nvPr>
              <p:custDataLst>
                <p:tags r:id="rId50"/>
              </p:custDataLst>
            </p:nvPr>
          </p:nvSpPr>
          <p:spPr>
            <a:xfrm>
              <a:off x="5245753" y="1005120"/>
              <a:ext cx="1565067" cy="19362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ctr" defTabSz="234364" rtl="0" eaLnBrk="1" fontAlgn="auto" latinLnBrk="0" hangingPunct="1">
                <a:lnSpc>
                  <a:spcPct val="80000"/>
                </a:lnSpc>
                <a:spcBef>
                  <a:spcPct val="0"/>
                </a:spcBef>
                <a:spcAft>
                  <a:spcPct val="0"/>
                </a:spcAft>
                <a:buClrTx/>
                <a:buSzTx/>
                <a:buFontTx/>
                <a:buNone/>
                <a:defRPr/>
              </a:pPr>
              <a:r>
                <a:rPr lang="en-US" sz="1400" b="1" i="0" u="none" strike="noStrike" cap="none" spc="0" baseline="0" dirty="0">
                  <a:solidFill>
                    <a:srgbClr val="011F57"/>
                  </a:solidFill>
                  <a:effectLst/>
                  <a:uFillTx/>
                  <a:latin typeface="Segoe UI"/>
                </a:rPr>
                <a:t>GROWTH</a:t>
              </a:r>
            </a:p>
          </p:txBody>
        </p:sp>
      </p:grpSp>
      <p:sp>
        <p:nvSpPr>
          <p:cNvPr id="42" name="CaixaDeTexto 41">
            <a:extLst>
              <a:ext uri="{FF2B5EF4-FFF2-40B4-BE49-F238E27FC236}">
                <a16:creationId xmlns:a16="http://schemas.microsoft.com/office/drawing/2014/main" id="{281DE522-4319-16E2-B5CD-2BDCF2C2B6BB}"/>
              </a:ext>
            </a:extLst>
          </p:cNvPr>
          <p:cNvSpPr txBox="1"/>
          <p:nvPr>
            <p:custDataLst>
              <p:tags r:id="rId20"/>
            </p:custDataLst>
          </p:nvPr>
        </p:nvSpPr>
        <p:spPr>
          <a:xfrm>
            <a:off x="99703" y="1341018"/>
            <a:ext cx="3152185" cy="561179"/>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defRPr/>
            </a:pPr>
            <a:r>
              <a:rPr lang="en-US" sz="1200" b="1" i="0" u="none" strike="noStrike" cap="none" spc="0" baseline="0" dirty="0">
                <a:solidFill>
                  <a:srgbClr val="F8681E"/>
                </a:solidFill>
                <a:effectLst/>
                <a:uFillTx/>
                <a:latin typeface="Segoe UI"/>
              </a:rPr>
              <a:t>Permitted Annual Revenue¹ “RAP” </a:t>
            </a:r>
          </a:p>
          <a:p>
            <a:pPr lvl="0" defTabSz="234364">
              <a:defRPr/>
            </a:pPr>
            <a:r>
              <a:rPr lang="en-US" sz="1200" b="0" i="0" u="none" strike="noStrike" cap="none" spc="0" baseline="0" dirty="0">
                <a:solidFill>
                  <a:srgbClr val="F8681E"/>
                </a:solidFill>
                <a:effectLst/>
                <a:uFillTx/>
                <a:latin typeface="Segoe UI"/>
              </a:rPr>
              <a:t>Assets under construction and in operation</a:t>
            </a:r>
          </a:p>
          <a:p>
            <a:pPr lvl="0" defTabSz="234364">
              <a:spcBef>
                <a:spcPts val="200"/>
              </a:spcBef>
              <a:defRPr/>
            </a:pPr>
            <a:r>
              <a:rPr lang="en-US" sz="1200" b="0" i="0" u="none" strike="noStrike" cap="none" spc="0" baseline="0" dirty="0">
                <a:solidFill>
                  <a:srgbClr val="F8681E"/>
                </a:solidFill>
                <a:effectLst/>
                <a:uFillTx/>
                <a:latin typeface="Segoe UI"/>
              </a:rPr>
              <a:t>(R$ billion)</a:t>
            </a:r>
          </a:p>
        </p:txBody>
      </p:sp>
      <p:grpSp>
        <p:nvGrpSpPr>
          <p:cNvPr id="108" name="Agrupar 107">
            <a:extLst>
              <a:ext uri="{FF2B5EF4-FFF2-40B4-BE49-F238E27FC236}">
                <a16:creationId xmlns:a16="http://schemas.microsoft.com/office/drawing/2014/main" id="{34EB8E9B-566A-D96E-E3BB-5D85BD919606}"/>
              </a:ext>
            </a:extLst>
          </p:cNvPr>
          <p:cNvGrpSpPr/>
          <p:nvPr>
            <p:custDataLst>
              <p:tags r:id="rId21"/>
            </p:custDataLst>
          </p:nvPr>
        </p:nvGrpSpPr>
        <p:grpSpPr>
          <a:xfrm>
            <a:off x="604695" y="3858453"/>
            <a:ext cx="384963" cy="384963"/>
            <a:chOff x="626298" y="4447348"/>
            <a:chExt cx="384963" cy="384963"/>
          </a:xfrm>
        </p:grpSpPr>
        <p:sp>
          <p:nvSpPr>
            <p:cNvPr id="11" name="Elipse 10">
              <a:extLst>
                <a:ext uri="{FF2B5EF4-FFF2-40B4-BE49-F238E27FC236}">
                  <a16:creationId xmlns:a16="http://schemas.microsoft.com/office/drawing/2014/main" id="{F9EDA10C-9AAF-7C35-38CC-F6D9B3ABB670}"/>
                </a:ext>
              </a:extLst>
            </p:cNvPr>
            <p:cNvSpPr/>
            <p:nvPr>
              <p:custDataLst>
                <p:tags r:id="rId47"/>
              </p:custDataLst>
            </p:nvPr>
          </p:nvSpPr>
          <p:spPr>
            <a:xfrm>
              <a:off x="626298" y="4447348"/>
              <a:ext cx="384963" cy="384963"/>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9" name="Forma Livre: Forma 48">
              <a:extLst>
                <a:ext uri="{FF2B5EF4-FFF2-40B4-BE49-F238E27FC236}">
                  <a16:creationId xmlns:a16="http://schemas.microsoft.com/office/drawing/2014/main" id="{C59CD9A8-C7C2-D268-6ADC-67C81441D426}"/>
                </a:ext>
              </a:extLst>
            </p:cNvPr>
            <p:cNvSpPr/>
            <p:nvPr>
              <p:custDataLst>
                <p:tags r:id="rId48"/>
              </p:custDataLst>
            </p:nvPr>
          </p:nvSpPr>
          <p:spPr>
            <a:xfrm>
              <a:off x="701953" y="4525040"/>
              <a:ext cx="212512" cy="217436"/>
            </a:xfrm>
            <a:custGeom>
              <a:avLst/>
              <a:gdLst>
                <a:gd name="connsiteX0" fmla="*/ 210387 w 839540"/>
                <a:gd name="connsiteY0" fmla="*/ 376359 h 858990"/>
                <a:gd name="connsiteX1" fmla="*/ 210387 w 839540"/>
                <a:gd name="connsiteY1" fmla="*/ 496260 h 858990"/>
                <a:gd name="connsiteX2" fmla="*/ 169296 w 839540"/>
                <a:gd name="connsiteY2" fmla="*/ 633734 h 858990"/>
                <a:gd name="connsiteX3" fmla="*/ 210387 w 839540"/>
                <a:gd name="connsiteY3" fmla="*/ 771208 h 858990"/>
                <a:gd name="connsiteX4" fmla="*/ 183355 w 839540"/>
                <a:gd name="connsiteY4" fmla="*/ 798107 h 858990"/>
                <a:gd name="connsiteX5" fmla="*/ 77713 w 839540"/>
                <a:gd name="connsiteY5" fmla="*/ 798107 h 858990"/>
                <a:gd name="connsiteX6" fmla="*/ 50681 w 839540"/>
                <a:gd name="connsiteY6" fmla="*/ 771075 h 858990"/>
                <a:gd name="connsiteX7" fmla="*/ 50681 w 839540"/>
                <a:gd name="connsiteY7" fmla="*/ 376359 h 858990"/>
                <a:gd name="connsiteX8" fmla="*/ 9038 w 839540"/>
                <a:gd name="connsiteY8" fmla="*/ 376359 h 858990"/>
                <a:gd name="connsiteX9" fmla="*/ 713 w 839540"/>
                <a:gd name="connsiteY9" fmla="*/ 370796 h 858990"/>
                <a:gd name="connsiteX10" fmla="*/ 2666 w 839540"/>
                <a:gd name="connsiteY10" fmla="*/ 360976 h 858990"/>
                <a:gd name="connsiteX11" fmla="*/ 120337 w 839540"/>
                <a:gd name="connsiteY11" fmla="*/ 243304 h 858990"/>
                <a:gd name="connsiteX12" fmla="*/ 140721 w 839540"/>
                <a:gd name="connsiteY12" fmla="*/ 243304 h 858990"/>
                <a:gd name="connsiteX13" fmla="*/ 258393 w 839540"/>
                <a:gd name="connsiteY13" fmla="*/ 360976 h 858990"/>
                <a:gd name="connsiteX14" fmla="*/ 260345 w 839540"/>
                <a:gd name="connsiteY14" fmla="*/ 370796 h 858990"/>
                <a:gd name="connsiteX15" fmla="*/ 252021 w 839540"/>
                <a:gd name="connsiteY15" fmla="*/ 376359 h 858990"/>
                <a:gd name="connsiteX16" fmla="*/ 210387 w 839540"/>
                <a:gd name="connsiteY16" fmla="*/ 376359 h 858990"/>
                <a:gd name="connsiteX17" fmla="*/ 210387 w 839540"/>
                <a:gd name="connsiteY17" fmla="*/ 376359 h 858990"/>
                <a:gd name="connsiteX18" fmla="*/ 419775 w 839540"/>
                <a:gd name="connsiteY18" fmla="*/ 408477 h 858990"/>
                <a:gd name="connsiteX19" fmla="*/ 194518 w 839540"/>
                <a:gd name="connsiteY19" fmla="*/ 633734 h 858990"/>
                <a:gd name="connsiteX20" fmla="*/ 419775 w 839540"/>
                <a:gd name="connsiteY20" fmla="*/ 858991 h 858990"/>
                <a:gd name="connsiteX21" fmla="*/ 645032 w 839540"/>
                <a:gd name="connsiteY21" fmla="*/ 633734 h 858990"/>
                <a:gd name="connsiteX22" fmla="*/ 419775 w 839540"/>
                <a:gd name="connsiteY22" fmla="*/ 408477 h 858990"/>
                <a:gd name="connsiteX23" fmla="*/ 419775 w 839540"/>
                <a:gd name="connsiteY23" fmla="*/ 408477 h 858990"/>
                <a:gd name="connsiteX24" fmla="*/ 419775 w 839540"/>
                <a:gd name="connsiteY24" fmla="*/ 448587 h 858990"/>
                <a:gd name="connsiteX25" fmla="*/ 288863 w 839540"/>
                <a:gd name="connsiteY25" fmla="*/ 502813 h 858990"/>
                <a:gd name="connsiteX26" fmla="*/ 234637 w 839540"/>
                <a:gd name="connsiteY26" fmla="*/ 633724 h 858990"/>
                <a:gd name="connsiteX27" fmla="*/ 288863 w 839540"/>
                <a:gd name="connsiteY27" fmla="*/ 764636 h 858990"/>
                <a:gd name="connsiteX28" fmla="*/ 419775 w 839540"/>
                <a:gd name="connsiteY28" fmla="*/ 818871 h 858990"/>
                <a:gd name="connsiteX29" fmla="*/ 550687 w 839540"/>
                <a:gd name="connsiteY29" fmla="*/ 764646 h 858990"/>
                <a:gd name="connsiteX30" fmla="*/ 604912 w 839540"/>
                <a:gd name="connsiteY30" fmla="*/ 633734 h 858990"/>
                <a:gd name="connsiteX31" fmla="*/ 550687 w 839540"/>
                <a:gd name="connsiteY31" fmla="*/ 502822 h 858990"/>
                <a:gd name="connsiteX32" fmla="*/ 419775 w 839540"/>
                <a:gd name="connsiteY32" fmla="*/ 448587 h 858990"/>
                <a:gd name="connsiteX33" fmla="*/ 419775 w 839540"/>
                <a:gd name="connsiteY33" fmla="*/ 448587 h 858990"/>
                <a:gd name="connsiteX34" fmla="*/ 532856 w 839540"/>
                <a:gd name="connsiteY34" fmla="*/ 520653 h 858990"/>
                <a:gd name="connsiteX35" fmla="*/ 419775 w 839540"/>
                <a:gd name="connsiteY35" fmla="*/ 473819 h 858990"/>
                <a:gd name="connsiteX36" fmla="*/ 306694 w 839540"/>
                <a:gd name="connsiteY36" fmla="*/ 520653 h 858990"/>
                <a:gd name="connsiteX37" fmla="*/ 259860 w 839540"/>
                <a:gd name="connsiteY37" fmla="*/ 633734 h 858990"/>
                <a:gd name="connsiteX38" fmla="*/ 306694 w 839540"/>
                <a:gd name="connsiteY38" fmla="*/ 746815 h 858990"/>
                <a:gd name="connsiteX39" fmla="*/ 419775 w 839540"/>
                <a:gd name="connsiteY39" fmla="*/ 793649 h 858990"/>
                <a:gd name="connsiteX40" fmla="*/ 532856 w 839540"/>
                <a:gd name="connsiteY40" fmla="*/ 746815 h 858990"/>
                <a:gd name="connsiteX41" fmla="*/ 579690 w 839540"/>
                <a:gd name="connsiteY41" fmla="*/ 633734 h 858990"/>
                <a:gd name="connsiteX42" fmla="*/ 532856 w 839540"/>
                <a:gd name="connsiteY42" fmla="*/ 520653 h 858990"/>
                <a:gd name="connsiteX43" fmla="*/ 532856 w 839540"/>
                <a:gd name="connsiteY43" fmla="*/ 520653 h 858990"/>
                <a:gd name="connsiteX44" fmla="*/ 368950 w 839540"/>
                <a:gd name="connsiteY44" fmla="*/ 714449 h 858990"/>
                <a:gd name="connsiteX45" fmla="*/ 368407 w 839540"/>
                <a:gd name="connsiteY45" fmla="*/ 696656 h 858990"/>
                <a:gd name="connsiteX46" fmla="*/ 386199 w 839540"/>
                <a:gd name="connsiteY46" fmla="*/ 696113 h 858990"/>
                <a:gd name="connsiteX47" fmla="*/ 402049 w 839540"/>
                <a:gd name="connsiteY47" fmla="*/ 708296 h 858990"/>
                <a:gd name="connsiteX48" fmla="*/ 419775 w 839540"/>
                <a:gd name="connsiteY48" fmla="*/ 712020 h 858990"/>
                <a:gd name="connsiteX49" fmla="*/ 447064 w 839540"/>
                <a:gd name="connsiteY49" fmla="*/ 702076 h 858990"/>
                <a:gd name="connsiteX50" fmla="*/ 457599 w 839540"/>
                <a:gd name="connsiteY50" fmla="*/ 679587 h 858990"/>
                <a:gd name="connsiteX51" fmla="*/ 447064 w 839540"/>
                <a:gd name="connsiteY51" fmla="*/ 657099 h 858990"/>
                <a:gd name="connsiteX52" fmla="*/ 419775 w 839540"/>
                <a:gd name="connsiteY52" fmla="*/ 647155 h 858990"/>
                <a:gd name="connsiteX53" fmla="*/ 375731 w 839540"/>
                <a:gd name="connsiteY53" fmla="*/ 630715 h 858990"/>
                <a:gd name="connsiteX54" fmla="*/ 356719 w 839540"/>
                <a:gd name="connsiteY54" fmla="*/ 589500 h 858990"/>
                <a:gd name="connsiteX55" fmla="*/ 375731 w 839540"/>
                <a:gd name="connsiteY55" fmla="*/ 548285 h 858990"/>
                <a:gd name="connsiteX56" fmla="*/ 406992 w 839540"/>
                <a:gd name="connsiteY56" fmla="*/ 533074 h 858990"/>
                <a:gd name="connsiteX57" fmla="*/ 406611 w 839540"/>
                <a:gd name="connsiteY57" fmla="*/ 516977 h 858990"/>
                <a:gd name="connsiteX58" fmla="*/ 418880 w 839540"/>
                <a:gd name="connsiteY58" fmla="*/ 504118 h 858990"/>
                <a:gd name="connsiteX59" fmla="*/ 431738 w 839540"/>
                <a:gd name="connsiteY59" fmla="*/ 516386 h 858990"/>
                <a:gd name="connsiteX60" fmla="*/ 432148 w 839540"/>
                <a:gd name="connsiteY60" fmla="*/ 533398 h 858990"/>
                <a:gd name="connsiteX61" fmla="*/ 451150 w 839540"/>
                <a:gd name="connsiteY61" fmla="*/ 539846 h 858990"/>
                <a:gd name="connsiteX62" fmla="*/ 475020 w 839540"/>
                <a:gd name="connsiteY62" fmla="*/ 558363 h 858990"/>
                <a:gd name="connsiteX63" fmla="*/ 471419 w 839540"/>
                <a:gd name="connsiteY63" fmla="*/ 575755 h 858990"/>
                <a:gd name="connsiteX64" fmla="*/ 454027 w 839540"/>
                <a:gd name="connsiteY64" fmla="*/ 572155 h 858990"/>
                <a:gd name="connsiteX65" fmla="*/ 440606 w 839540"/>
                <a:gd name="connsiteY65" fmla="*/ 562706 h 858990"/>
                <a:gd name="connsiteX66" fmla="*/ 419775 w 839540"/>
                <a:gd name="connsiteY66" fmla="*/ 557010 h 858990"/>
                <a:gd name="connsiteX67" fmla="*/ 392486 w 839540"/>
                <a:gd name="connsiteY67" fmla="*/ 567002 h 858990"/>
                <a:gd name="connsiteX68" fmla="*/ 381951 w 839540"/>
                <a:gd name="connsiteY68" fmla="*/ 589490 h 858990"/>
                <a:gd name="connsiteX69" fmla="*/ 392486 w 839540"/>
                <a:gd name="connsiteY69" fmla="*/ 611979 h 858990"/>
                <a:gd name="connsiteX70" fmla="*/ 419775 w 839540"/>
                <a:gd name="connsiteY70" fmla="*/ 621923 h 858990"/>
                <a:gd name="connsiteX71" fmla="*/ 463819 w 839540"/>
                <a:gd name="connsiteY71" fmla="*/ 638363 h 858990"/>
                <a:gd name="connsiteX72" fmla="*/ 482830 w 839540"/>
                <a:gd name="connsiteY72" fmla="*/ 679578 h 858990"/>
                <a:gd name="connsiteX73" fmla="*/ 463819 w 839540"/>
                <a:gd name="connsiteY73" fmla="*/ 720793 h 858990"/>
                <a:gd name="connsiteX74" fmla="*/ 432596 w 839540"/>
                <a:gd name="connsiteY74" fmla="*/ 736032 h 858990"/>
                <a:gd name="connsiteX75" fmla="*/ 432948 w 839540"/>
                <a:gd name="connsiteY75" fmla="*/ 750434 h 858990"/>
                <a:gd name="connsiteX76" fmla="*/ 420680 w 839540"/>
                <a:gd name="connsiteY76" fmla="*/ 763293 h 858990"/>
                <a:gd name="connsiteX77" fmla="*/ 407821 w 839540"/>
                <a:gd name="connsiteY77" fmla="*/ 751025 h 858990"/>
                <a:gd name="connsiteX78" fmla="*/ 407469 w 839540"/>
                <a:gd name="connsiteY78" fmla="*/ 736261 h 858990"/>
                <a:gd name="connsiteX79" fmla="*/ 390733 w 839540"/>
                <a:gd name="connsiteY79" fmla="*/ 730756 h 858990"/>
                <a:gd name="connsiteX80" fmla="*/ 368950 w 839540"/>
                <a:gd name="connsiteY80" fmla="*/ 714449 h 858990"/>
                <a:gd name="connsiteX81" fmla="*/ 368950 w 839540"/>
                <a:gd name="connsiteY81" fmla="*/ 714449 h 858990"/>
                <a:gd name="connsiteX82" fmla="*/ 788869 w 839540"/>
                <a:gd name="connsiteY82" fmla="*/ 137253 h 858990"/>
                <a:gd name="connsiteX83" fmla="*/ 788869 w 839540"/>
                <a:gd name="connsiteY83" fmla="*/ 771075 h 858990"/>
                <a:gd name="connsiteX84" fmla="*/ 761837 w 839540"/>
                <a:gd name="connsiteY84" fmla="*/ 798107 h 858990"/>
                <a:gd name="connsiteX85" fmla="*/ 656195 w 839540"/>
                <a:gd name="connsiteY85" fmla="*/ 798107 h 858990"/>
                <a:gd name="connsiteX86" fmla="*/ 629163 w 839540"/>
                <a:gd name="connsiteY86" fmla="*/ 771208 h 858990"/>
                <a:gd name="connsiteX87" fmla="*/ 670254 w 839540"/>
                <a:gd name="connsiteY87" fmla="*/ 633734 h 858990"/>
                <a:gd name="connsiteX88" fmla="*/ 629163 w 839540"/>
                <a:gd name="connsiteY88" fmla="*/ 496260 h 858990"/>
                <a:gd name="connsiteX89" fmla="*/ 629163 w 839540"/>
                <a:gd name="connsiteY89" fmla="*/ 137262 h 858990"/>
                <a:gd name="connsiteX90" fmla="*/ 587520 w 839540"/>
                <a:gd name="connsiteY90" fmla="*/ 137262 h 858990"/>
                <a:gd name="connsiteX91" fmla="*/ 579195 w 839540"/>
                <a:gd name="connsiteY91" fmla="*/ 131700 h 858990"/>
                <a:gd name="connsiteX92" fmla="*/ 581147 w 839540"/>
                <a:gd name="connsiteY92" fmla="*/ 121880 h 858990"/>
                <a:gd name="connsiteX93" fmla="*/ 698819 w 839540"/>
                <a:gd name="connsiteY93" fmla="*/ 4208 h 858990"/>
                <a:gd name="connsiteX94" fmla="*/ 719203 w 839540"/>
                <a:gd name="connsiteY94" fmla="*/ 4208 h 858990"/>
                <a:gd name="connsiteX95" fmla="*/ 836875 w 839540"/>
                <a:gd name="connsiteY95" fmla="*/ 121880 h 858990"/>
                <a:gd name="connsiteX96" fmla="*/ 838827 w 839540"/>
                <a:gd name="connsiteY96" fmla="*/ 131700 h 858990"/>
                <a:gd name="connsiteX97" fmla="*/ 830502 w 839540"/>
                <a:gd name="connsiteY97" fmla="*/ 137262 h 858990"/>
                <a:gd name="connsiteX98" fmla="*/ 788869 w 839540"/>
                <a:gd name="connsiteY98" fmla="*/ 137262 h 858990"/>
                <a:gd name="connsiteX99" fmla="*/ 788869 w 839540"/>
                <a:gd name="connsiteY99" fmla="*/ 137253 h 858990"/>
                <a:gd name="connsiteX100" fmla="*/ 499632 w 839540"/>
                <a:gd name="connsiteY100" fmla="*/ 256811 h 858990"/>
                <a:gd name="connsiteX101" fmla="*/ 499632 w 839540"/>
                <a:gd name="connsiteY101" fmla="*/ 396257 h 858990"/>
                <a:gd name="connsiteX102" fmla="*/ 419775 w 839540"/>
                <a:gd name="connsiteY102" fmla="*/ 383255 h 858990"/>
                <a:gd name="connsiteX103" fmla="*/ 339927 w 839540"/>
                <a:gd name="connsiteY103" fmla="*/ 396257 h 858990"/>
                <a:gd name="connsiteX104" fmla="*/ 339927 w 839540"/>
                <a:gd name="connsiteY104" fmla="*/ 256811 h 858990"/>
                <a:gd name="connsiteX105" fmla="*/ 298284 w 839540"/>
                <a:gd name="connsiteY105" fmla="*/ 256811 h 858990"/>
                <a:gd name="connsiteX106" fmla="*/ 289959 w 839540"/>
                <a:gd name="connsiteY106" fmla="*/ 251248 h 858990"/>
                <a:gd name="connsiteX107" fmla="*/ 291911 w 839540"/>
                <a:gd name="connsiteY107" fmla="*/ 241428 h 858990"/>
                <a:gd name="connsiteX108" fmla="*/ 409583 w 839540"/>
                <a:gd name="connsiteY108" fmla="*/ 123756 h 858990"/>
                <a:gd name="connsiteX109" fmla="*/ 429967 w 839540"/>
                <a:gd name="connsiteY109" fmla="*/ 123756 h 858990"/>
                <a:gd name="connsiteX110" fmla="*/ 547639 w 839540"/>
                <a:gd name="connsiteY110" fmla="*/ 241428 h 858990"/>
                <a:gd name="connsiteX111" fmla="*/ 549591 w 839540"/>
                <a:gd name="connsiteY111" fmla="*/ 251248 h 858990"/>
                <a:gd name="connsiteX112" fmla="*/ 541266 w 839540"/>
                <a:gd name="connsiteY112" fmla="*/ 256811 h 858990"/>
                <a:gd name="connsiteX113" fmla="*/ 499632 w 839540"/>
                <a:gd name="connsiteY113" fmla="*/ 256811 h 858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39540" h="858990">
                  <a:moveTo>
                    <a:pt x="210387" y="376359"/>
                  </a:moveTo>
                  <a:lnTo>
                    <a:pt x="210387" y="496260"/>
                  </a:lnTo>
                  <a:cubicBezTo>
                    <a:pt x="184422" y="535731"/>
                    <a:pt x="169296" y="582966"/>
                    <a:pt x="169296" y="633734"/>
                  </a:cubicBezTo>
                  <a:cubicBezTo>
                    <a:pt x="169296" y="684502"/>
                    <a:pt x="184422" y="731737"/>
                    <a:pt x="210387" y="771208"/>
                  </a:cubicBezTo>
                  <a:cubicBezTo>
                    <a:pt x="210311" y="786039"/>
                    <a:pt x="198204" y="798107"/>
                    <a:pt x="183355" y="798107"/>
                  </a:cubicBezTo>
                  <a:lnTo>
                    <a:pt x="77713" y="798107"/>
                  </a:lnTo>
                  <a:cubicBezTo>
                    <a:pt x="62826" y="798107"/>
                    <a:pt x="50681" y="785963"/>
                    <a:pt x="50681" y="771075"/>
                  </a:cubicBezTo>
                  <a:lnTo>
                    <a:pt x="50681" y="376359"/>
                  </a:lnTo>
                  <a:lnTo>
                    <a:pt x="9038" y="376359"/>
                  </a:lnTo>
                  <a:cubicBezTo>
                    <a:pt x="5314" y="376359"/>
                    <a:pt x="2142" y="374235"/>
                    <a:pt x="713" y="370796"/>
                  </a:cubicBezTo>
                  <a:cubicBezTo>
                    <a:pt x="-716" y="367358"/>
                    <a:pt x="37" y="363605"/>
                    <a:pt x="2666" y="360976"/>
                  </a:cubicBezTo>
                  <a:lnTo>
                    <a:pt x="120337" y="243304"/>
                  </a:lnTo>
                  <a:cubicBezTo>
                    <a:pt x="125948" y="237694"/>
                    <a:pt x="135111" y="237694"/>
                    <a:pt x="140721" y="243304"/>
                  </a:cubicBezTo>
                  <a:lnTo>
                    <a:pt x="258393" y="360976"/>
                  </a:lnTo>
                  <a:cubicBezTo>
                    <a:pt x="261022" y="363605"/>
                    <a:pt x="261774" y="367358"/>
                    <a:pt x="260345" y="370796"/>
                  </a:cubicBezTo>
                  <a:cubicBezTo>
                    <a:pt x="258917" y="374235"/>
                    <a:pt x="255745" y="376359"/>
                    <a:pt x="252021" y="376359"/>
                  </a:cubicBezTo>
                  <a:lnTo>
                    <a:pt x="210387" y="376359"/>
                  </a:lnTo>
                  <a:lnTo>
                    <a:pt x="210387" y="376359"/>
                  </a:lnTo>
                  <a:close/>
                  <a:moveTo>
                    <a:pt x="419775" y="408477"/>
                  </a:moveTo>
                  <a:cubicBezTo>
                    <a:pt x="295369" y="408477"/>
                    <a:pt x="194518" y="509328"/>
                    <a:pt x="194518" y="633734"/>
                  </a:cubicBezTo>
                  <a:cubicBezTo>
                    <a:pt x="194518" y="758140"/>
                    <a:pt x="295369" y="858991"/>
                    <a:pt x="419775" y="858991"/>
                  </a:cubicBezTo>
                  <a:cubicBezTo>
                    <a:pt x="544181" y="858991"/>
                    <a:pt x="645032" y="758140"/>
                    <a:pt x="645032" y="633734"/>
                  </a:cubicBezTo>
                  <a:cubicBezTo>
                    <a:pt x="645032" y="509328"/>
                    <a:pt x="544181" y="408477"/>
                    <a:pt x="419775" y="408477"/>
                  </a:cubicBezTo>
                  <a:lnTo>
                    <a:pt x="419775" y="408477"/>
                  </a:lnTo>
                  <a:close/>
                  <a:moveTo>
                    <a:pt x="419775" y="448587"/>
                  </a:moveTo>
                  <a:cubicBezTo>
                    <a:pt x="368654" y="448587"/>
                    <a:pt x="322363" y="469313"/>
                    <a:pt x="288863" y="502813"/>
                  </a:cubicBezTo>
                  <a:cubicBezTo>
                    <a:pt x="255364" y="536312"/>
                    <a:pt x="234637" y="582604"/>
                    <a:pt x="234637" y="633724"/>
                  </a:cubicBezTo>
                  <a:cubicBezTo>
                    <a:pt x="234637" y="684845"/>
                    <a:pt x="255364" y="731137"/>
                    <a:pt x="288863" y="764636"/>
                  </a:cubicBezTo>
                  <a:cubicBezTo>
                    <a:pt x="322363" y="798145"/>
                    <a:pt x="368654" y="818871"/>
                    <a:pt x="419775" y="818871"/>
                  </a:cubicBezTo>
                  <a:cubicBezTo>
                    <a:pt x="470896" y="818871"/>
                    <a:pt x="517187" y="798145"/>
                    <a:pt x="550687" y="764646"/>
                  </a:cubicBezTo>
                  <a:cubicBezTo>
                    <a:pt x="584186" y="731146"/>
                    <a:pt x="604912" y="684855"/>
                    <a:pt x="604912" y="633734"/>
                  </a:cubicBezTo>
                  <a:cubicBezTo>
                    <a:pt x="604912" y="582613"/>
                    <a:pt x="584186" y="536322"/>
                    <a:pt x="550687" y="502822"/>
                  </a:cubicBezTo>
                  <a:cubicBezTo>
                    <a:pt x="517187" y="469313"/>
                    <a:pt x="470896" y="448587"/>
                    <a:pt x="419775" y="448587"/>
                  </a:cubicBezTo>
                  <a:lnTo>
                    <a:pt x="419775" y="448587"/>
                  </a:lnTo>
                  <a:close/>
                  <a:moveTo>
                    <a:pt x="532856" y="520653"/>
                  </a:moveTo>
                  <a:cubicBezTo>
                    <a:pt x="503919" y="491716"/>
                    <a:pt x="463942" y="473819"/>
                    <a:pt x="419775" y="473819"/>
                  </a:cubicBezTo>
                  <a:cubicBezTo>
                    <a:pt x="375617" y="473819"/>
                    <a:pt x="335641" y="491716"/>
                    <a:pt x="306694" y="520653"/>
                  </a:cubicBezTo>
                  <a:cubicBezTo>
                    <a:pt x="277757" y="549590"/>
                    <a:pt x="259860" y="589567"/>
                    <a:pt x="259860" y="633734"/>
                  </a:cubicBezTo>
                  <a:cubicBezTo>
                    <a:pt x="259860" y="677892"/>
                    <a:pt x="277757" y="717878"/>
                    <a:pt x="306694" y="746815"/>
                  </a:cubicBezTo>
                  <a:cubicBezTo>
                    <a:pt x="335631" y="775752"/>
                    <a:pt x="375607" y="793649"/>
                    <a:pt x="419775" y="793649"/>
                  </a:cubicBezTo>
                  <a:cubicBezTo>
                    <a:pt x="463933" y="793649"/>
                    <a:pt x="503909" y="775752"/>
                    <a:pt x="532856" y="746815"/>
                  </a:cubicBezTo>
                  <a:cubicBezTo>
                    <a:pt x="561793" y="717878"/>
                    <a:pt x="579690" y="677901"/>
                    <a:pt x="579690" y="633734"/>
                  </a:cubicBezTo>
                  <a:cubicBezTo>
                    <a:pt x="579690" y="589576"/>
                    <a:pt x="561793" y="549590"/>
                    <a:pt x="532856" y="520653"/>
                  </a:cubicBezTo>
                  <a:lnTo>
                    <a:pt x="532856" y="520653"/>
                  </a:lnTo>
                  <a:close/>
                  <a:moveTo>
                    <a:pt x="368950" y="714449"/>
                  </a:moveTo>
                  <a:cubicBezTo>
                    <a:pt x="363892" y="709686"/>
                    <a:pt x="363644" y="701723"/>
                    <a:pt x="368407" y="696656"/>
                  </a:cubicBezTo>
                  <a:cubicBezTo>
                    <a:pt x="373169" y="691598"/>
                    <a:pt x="381132" y="691351"/>
                    <a:pt x="386199" y="696113"/>
                  </a:cubicBezTo>
                  <a:cubicBezTo>
                    <a:pt x="391886" y="701476"/>
                    <a:pt x="396848" y="705667"/>
                    <a:pt x="402049" y="708296"/>
                  </a:cubicBezTo>
                  <a:cubicBezTo>
                    <a:pt x="406830" y="710715"/>
                    <a:pt x="412355" y="712020"/>
                    <a:pt x="419775" y="712020"/>
                  </a:cubicBezTo>
                  <a:cubicBezTo>
                    <a:pt x="430548" y="712020"/>
                    <a:pt x="440187" y="708220"/>
                    <a:pt x="447064" y="702076"/>
                  </a:cubicBezTo>
                  <a:cubicBezTo>
                    <a:pt x="453570" y="696266"/>
                    <a:pt x="457599" y="688312"/>
                    <a:pt x="457599" y="679587"/>
                  </a:cubicBezTo>
                  <a:cubicBezTo>
                    <a:pt x="457599" y="670872"/>
                    <a:pt x="453570" y="662909"/>
                    <a:pt x="447064" y="657099"/>
                  </a:cubicBezTo>
                  <a:cubicBezTo>
                    <a:pt x="440187" y="650955"/>
                    <a:pt x="430548" y="647155"/>
                    <a:pt x="419775" y="647155"/>
                  </a:cubicBezTo>
                  <a:cubicBezTo>
                    <a:pt x="402687" y="647155"/>
                    <a:pt x="387114" y="640868"/>
                    <a:pt x="375731" y="630715"/>
                  </a:cubicBezTo>
                  <a:cubicBezTo>
                    <a:pt x="363987" y="620228"/>
                    <a:pt x="356719" y="605664"/>
                    <a:pt x="356719" y="589500"/>
                  </a:cubicBezTo>
                  <a:cubicBezTo>
                    <a:pt x="356719" y="573346"/>
                    <a:pt x="363987" y="558782"/>
                    <a:pt x="375731" y="548285"/>
                  </a:cubicBezTo>
                  <a:cubicBezTo>
                    <a:pt x="384170" y="540741"/>
                    <a:pt x="394962" y="535350"/>
                    <a:pt x="406992" y="533074"/>
                  </a:cubicBezTo>
                  <a:lnTo>
                    <a:pt x="406611" y="516977"/>
                  </a:lnTo>
                  <a:cubicBezTo>
                    <a:pt x="406449" y="510033"/>
                    <a:pt x="411945" y="504280"/>
                    <a:pt x="418880" y="504118"/>
                  </a:cubicBezTo>
                  <a:cubicBezTo>
                    <a:pt x="425823" y="503956"/>
                    <a:pt x="431576" y="509452"/>
                    <a:pt x="431738" y="516386"/>
                  </a:cubicBezTo>
                  <a:lnTo>
                    <a:pt x="432148" y="533398"/>
                  </a:lnTo>
                  <a:cubicBezTo>
                    <a:pt x="438377" y="534769"/>
                    <a:pt x="445035" y="536998"/>
                    <a:pt x="451150" y="539846"/>
                  </a:cubicBezTo>
                  <a:cubicBezTo>
                    <a:pt x="461018" y="544437"/>
                    <a:pt x="470105" y="550886"/>
                    <a:pt x="475020" y="558363"/>
                  </a:cubicBezTo>
                  <a:cubicBezTo>
                    <a:pt x="478830" y="564163"/>
                    <a:pt x="477220" y="571945"/>
                    <a:pt x="471419" y="575755"/>
                  </a:cubicBezTo>
                  <a:cubicBezTo>
                    <a:pt x="465619" y="579565"/>
                    <a:pt x="457837" y="577956"/>
                    <a:pt x="454027" y="572155"/>
                  </a:cubicBezTo>
                  <a:cubicBezTo>
                    <a:pt x="451903" y="568916"/>
                    <a:pt x="446683" y="565535"/>
                    <a:pt x="440606" y="562706"/>
                  </a:cubicBezTo>
                  <a:cubicBezTo>
                    <a:pt x="433100" y="559220"/>
                    <a:pt x="425090" y="557010"/>
                    <a:pt x="419775" y="557010"/>
                  </a:cubicBezTo>
                  <a:cubicBezTo>
                    <a:pt x="409040" y="557010"/>
                    <a:pt x="399401" y="560830"/>
                    <a:pt x="392486" y="567002"/>
                  </a:cubicBezTo>
                  <a:cubicBezTo>
                    <a:pt x="385980" y="572812"/>
                    <a:pt x="381951" y="580765"/>
                    <a:pt x="381951" y="589490"/>
                  </a:cubicBezTo>
                  <a:cubicBezTo>
                    <a:pt x="381951" y="598206"/>
                    <a:pt x="385980" y="606169"/>
                    <a:pt x="392486" y="611979"/>
                  </a:cubicBezTo>
                  <a:cubicBezTo>
                    <a:pt x="399363" y="618123"/>
                    <a:pt x="409002" y="621923"/>
                    <a:pt x="419775" y="621923"/>
                  </a:cubicBezTo>
                  <a:cubicBezTo>
                    <a:pt x="436863" y="621923"/>
                    <a:pt x="452436" y="628209"/>
                    <a:pt x="463819" y="638363"/>
                  </a:cubicBezTo>
                  <a:cubicBezTo>
                    <a:pt x="475563" y="648850"/>
                    <a:pt x="482830" y="663414"/>
                    <a:pt x="482830" y="679578"/>
                  </a:cubicBezTo>
                  <a:cubicBezTo>
                    <a:pt x="482830" y="695732"/>
                    <a:pt x="475563" y="710296"/>
                    <a:pt x="463819" y="720793"/>
                  </a:cubicBezTo>
                  <a:cubicBezTo>
                    <a:pt x="455360" y="728346"/>
                    <a:pt x="444588" y="733756"/>
                    <a:pt x="432596" y="736032"/>
                  </a:cubicBezTo>
                  <a:lnTo>
                    <a:pt x="432948" y="750434"/>
                  </a:lnTo>
                  <a:cubicBezTo>
                    <a:pt x="433110" y="757378"/>
                    <a:pt x="427614" y="763131"/>
                    <a:pt x="420680" y="763293"/>
                  </a:cubicBezTo>
                  <a:cubicBezTo>
                    <a:pt x="413736" y="763455"/>
                    <a:pt x="407983" y="757959"/>
                    <a:pt x="407821" y="751025"/>
                  </a:cubicBezTo>
                  <a:lnTo>
                    <a:pt x="407469" y="736261"/>
                  </a:lnTo>
                  <a:cubicBezTo>
                    <a:pt x="401315" y="735223"/>
                    <a:pt x="395877" y="733356"/>
                    <a:pt x="390733" y="730756"/>
                  </a:cubicBezTo>
                  <a:cubicBezTo>
                    <a:pt x="382808" y="726774"/>
                    <a:pt x="376208" y="721288"/>
                    <a:pt x="368950" y="714449"/>
                  </a:cubicBezTo>
                  <a:lnTo>
                    <a:pt x="368950" y="714449"/>
                  </a:lnTo>
                  <a:close/>
                  <a:moveTo>
                    <a:pt x="788869" y="137253"/>
                  </a:moveTo>
                  <a:lnTo>
                    <a:pt x="788869" y="771075"/>
                  </a:lnTo>
                  <a:cubicBezTo>
                    <a:pt x="788869" y="785963"/>
                    <a:pt x="776724" y="798107"/>
                    <a:pt x="761837" y="798107"/>
                  </a:cubicBezTo>
                  <a:lnTo>
                    <a:pt x="656195" y="798107"/>
                  </a:lnTo>
                  <a:cubicBezTo>
                    <a:pt x="641355" y="798107"/>
                    <a:pt x="629239" y="786039"/>
                    <a:pt x="629163" y="771208"/>
                  </a:cubicBezTo>
                  <a:cubicBezTo>
                    <a:pt x="655128" y="731737"/>
                    <a:pt x="670254" y="684502"/>
                    <a:pt x="670254" y="633734"/>
                  </a:cubicBezTo>
                  <a:cubicBezTo>
                    <a:pt x="670254" y="582966"/>
                    <a:pt x="655128" y="535731"/>
                    <a:pt x="629163" y="496260"/>
                  </a:cubicBezTo>
                  <a:lnTo>
                    <a:pt x="629163" y="137262"/>
                  </a:lnTo>
                  <a:lnTo>
                    <a:pt x="587520" y="137262"/>
                  </a:lnTo>
                  <a:cubicBezTo>
                    <a:pt x="583795" y="137262"/>
                    <a:pt x="580624" y="135138"/>
                    <a:pt x="579195" y="131700"/>
                  </a:cubicBezTo>
                  <a:cubicBezTo>
                    <a:pt x="577766" y="128261"/>
                    <a:pt x="578519" y="124508"/>
                    <a:pt x="581147" y="121880"/>
                  </a:cubicBezTo>
                  <a:lnTo>
                    <a:pt x="698819" y="4208"/>
                  </a:lnTo>
                  <a:cubicBezTo>
                    <a:pt x="704430" y="-1403"/>
                    <a:pt x="713593" y="-1403"/>
                    <a:pt x="719203" y="4208"/>
                  </a:cubicBezTo>
                  <a:lnTo>
                    <a:pt x="836875" y="121880"/>
                  </a:lnTo>
                  <a:cubicBezTo>
                    <a:pt x="839504" y="124508"/>
                    <a:pt x="840256" y="128261"/>
                    <a:pt x="838827" y="131700"/>
                  </a:cubicBezTo>
                  <a:cubicBezTo>
                    <a:pt x="837399" y="135138"/>
                    <a:pt x="834227" y="137262"/>
                    <a:pt x="830502" y="137262"/>
                  </a:cubicBezTo>
                  <a:lnTo>
                    <a:pt x="788869" y="137262"/>
                  </a:lnTo>
                  <a:lnTo>
                    <a:pt x="788869" y="137253"/>
                  </a:lnTo>
                  <a:close/>
                  <a:moveTo>
                    <a:pt x="499632" y="256811"/>
                  </a:moveTo>
                  <a:lnTo>
                    <a:pt x="499632" y="396257"/>
                  </a:lnTo>
                  <a:cubicBezTo>
                    <a:pt x="474553" y="387827"/>
                    <a:pt x="447702" y="383255"/>
                    <a:pt x="419775" y="383255"/>
                  </a:cubicBezTo>
                  <a:cubicBezTo>
                    <a:pt x="391857" y="383255"/>
                    <a:pt x="364997" y="387827"/>
                    <a:pt x="339927" y="396257"/>
                  </a:cubicBezTo>
                  <a:lnTo>
                    <a:pt x="339927" y="256811"/>
                  </a:lnTo>
                  <a:lnTo>
                    <a:pt x="298284" y="256811"/>
                  </a:lnTo>
                  <a:cubicBezTo>
                    <a:pt x="294559" y="256811"/>
                    <a:pt x="291387" y="254687"/>
                    <a:pt x="289959" y="251248"/>
                  </a:cubicBezTo>
                  <a:cubicBezTo>
                    <a:pt x="288530" y="247810"/>
                    <a:pt x="289282" y="244057"/>
                    <a:pt x="291911" y="241428"/>
                  </a:cubicBezTo>
                  <a:lnTo>
                    <a:pt x="409583" y="123756"/>
                  </a:lnTo>
                  <a:cubicBezTo>
                    <a:pt x="415193" y="118146"/>
                    <a:pt x="424356" y="118146"/>
                    <a:pt x="429967" y="123756"/>
                  </a:cubicBezTo>
                  <a:lnTo>
                    <a:pt x="547639" y="241428"/>
                  </a:lnTo>
                  <a:cubicBezTo>
                    <a:pt x="550267" y="244057"/>
                    <a:pt x="551020" y="247810"/>
                    <a:pt x="549591" y="251248"/>
                  </a:cubicBezTo>
                  <a:cubicBezTo>
                    <a:pt x="548162" y="254687"/>
                    <a:pt x="544991" y="256811"/>
                    <a:pt x="541266" y="256811"/>
                  </a:cubicBezTo>
                  <a:lnTo>
                    <a:pt x="499632" y="256811"/>
                  </a:ln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83" name="Agrupar 82">
            <a:extLst>
              <a:ext uri="{FF2B5EF4-FFF2-40B4-BE49-F238E27FC236}">
                <a16:creationId xmlns:a16="http://schemas.microsoft.com/office/drawing/2014/main" id="{FBC0A247-3A56-D787-B18A-F80F761BBEAE}"/>
              </a:ext>
            </a:extLst>
          </p:cNvPr>
          <p:cNvGrpSpPr/>
          <p:nvPr>
            <p:custDataLst>
              <p:tags r:id="rId22"/>
            </p:custDataLst>
          </p:nvPr>
        </p:nvGrpSpPr>
        <p:grpSpPr>
          <a:xfrm>
            <a:off x="2428155" y="3874085"/>
            <a:ext cx="384963" cy="384963"/>
            <a:chOff x="2479333" y="4447348"/>
            <a:chExt cx="384963" cy="384963"/>
          </a:xfrm>
        </p:grpSpPr>
        <p:sp>
          <p:nvSpPr>
            <p:cNvPr id="12" name="Elipse 11">
              <a:extLst>
                <a:ext uri="{FF2B5EF4-FFF2-40B4-BE49-F238E27FC236}">
                  <a16:creationId xmlns:a16="http://schemas.microsoft.com/office/drawing/2014/main" id="{37F048E9-0752-236E-4816-234A8E8A1270}"/>
                </a:ext>
              </a:extLst>
            </p:cNvPr>
            <p:cNvSpPr/>
            <p:nvPr>
              <p:custDataLst>
                <p:tags r:id="rId45"/>
              </p:custDataLst>
            </p:nvPr>
          </p:nvSpPr>
          <p:spPr>
            <a:xfrm>
              <a:off x="2479333" y="4447348"/>
              <a:ext cx="384963" cy="384963"/>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Forma Livre: Forma 65">
              <a:extLst>
                <a:ext uri="{FF2B5EF4-FFF2-40B4-BE49-F238E27FC236}">
                  <a16:creationId xmlns:a16="http://schemas.microsoft.com/office/drawing/2014/main" id="{771AF909-FF07-71BC-F8EC-B5D2169AEC91}"/>
                </a:ext>
              </a:extLst>
            </p:cNvPr>
            <p:cNvSpPr/>
            <p:nvPr>
              <p:custDataLst>
                <p:tags r:id="rId46"/>
              </p:custDataLst>
            </p:nvPr>
          </p:nvSpPr>
          <p:spPr>
            <a:xfrm>
              <a:off x="2569764" y="4503284"/>
              <a:ext cx="220011" cy="227881"/>
            </a:xfrm>
            <a:custGeom>
              <a:avLst/>
              <a:gdLst>
                <a:gd name="connsiteX0" fmla="*/ 225076 w 526567"/>
                <a:gd name="connsiteY0" fmla="*/ 438246 h 545402"/>
                <a:gd name="connsiteX1" fmla="*/ 234601 w 526567"/>
                <a:gd name="connsiteY1" fmla="*/ 447771 h 545402"/>
                <a:gd name="connsiteX2" fmla="*/ 234601 w 526567"/>
                <a:gd name="connsiteY2" fmla="*/ 477489 h 545402"/>
                <a:gd name="connsiteX3" fmla="*/ 39624 w 526567"/>
                <a:gd name="connsiteY3" fmla="*/ 477489 h 545402"/>
                <a:gd name="connsiteX4" fmla="*/ 39624 w 526567"/>
                <a:gd name="connsiteY4" fmla="*/ 447771 h 545402"/>
                <a:gd name="connsiteX5" fmla="*/ 49149 w 526567"/>
                <a:gd name="connsiteY5" fmla="*/ 438246 h 545402"/>
                <a:gd name="connsiteX6" fmla="*/ 264700 w 526567"/>
                <a:gd name="connsiteY6" fmla="*/ 506064 h 545402"/>
                <a:gd name="connsiteX7" fmla="*/ 9525 w 526567"/>
                <a:gd name="connsiteY7" fmla="*/ 506064 h 545402"/>
                <a:gd name="connsiteX8" fmla="*/ 0 w 526567"/>
                <a:gd name="connsiteY8" fmla="*/ 515589 h 545402"/>
                <a:gd name="connsiteX9" fmla="*/ 0 w 526567"/>
                <a:gd name="connsiteY9" fmla="*/ 545402 h 545402"/>
                <a:gd name="connsiteX10" fmla="*/ 274225 w 526567"/>
                <a:gd name="connsiteY10" fmla="*/ 545402 h 545402"/>
                <a:gd name="connsiteX11" fmla="*/ 274225 w 526567"/>
                <a:gd name="connsiteY11" fmla="*/ 515589 h 545402"/>
                <a:gd name="connsiteX12" fmla="*/ 264700 w 526567"/>
                <a:gd name="connsiteY12" fmla="*/ 506064 h 545402"/>
                <a:gd name="connsiteX13" fmla="*/ 304895 w 526567"/>
                <a:gd name="connsiteY13" fmla="*/ 203264 h 545402"/>
                <a:gd name="connsiteX14" fmla="*/ 284607 w 526567"/>
                <a:gd name="connsiteY14" fmla="*/ 183167 h 545402"/>
                <a:gd name="connsiteX15" fmla="*/ 186976 w 526567"/>
                <a:gd name="connsiteY15" fmla="*/ 84964 h 545402"/>
                <a:gd name="connsiteX16" fmla="*/ 92678 w 526567"/>
                <a:gd name="connsiteY16" fmla="*/ 178880 h 545402"/>
                <a:gd name="connsiteX17" fmla="*/ 210979 w 526567"/>
                <a:gd name="connsiteY17" fmla="*/ 297181 h 545402"/>
                <a:gd name="connsiteX18" fmla="*/ 226981 w 526567"/>
                <a:gd name="connsiteY18" fmla="*/ 84964 h 545402"/>
                <a:gd name="connsiteX19" fmla="*/ 304800 w 526567"/>
                <a:gd name="connsiteY19" fmla="*/ 162878 h 545402"/>
                <a:gd name="connsiteX20" fmla="*/ 325088 w 526567"/>
                <a:gd name="connsiteY20" fmla="*/ 183071 h 545402"/>
                <a:gd name="connsiteX21" fmla="*/ 326422 w 526567"/>
                <a:gd name="connsiteY21" fmla="*/ 184405 h 545402"/>
                <a:gd name="connsiteX22" fmla="*/ 336518 w 526567"/>
                <a:gd name="connsiteY22" fmla="*/ 188596 h 545402"/>
                <a:gd name="connsiteX23" fmla="*/ 346615 w 526567"/>
                <a:gd name="connsiteY23" fmla="*/ 184405 h 545402"/>
                <a:gd name="connsiteX24" fmla="*/ 385858 w 526567"/>
                <a:gd name="connsiteY24" fmla="*/ 145162 h 545402"/>
                <a:gd name="connsiteX25" fmla="*/ 390049 w 526567"/>
                <a:gd name="connsiteY25" fmla="*/ 135065 h 545402"/>
                <a:gd name="connsiteX26" fmla="*/ 385858 w 526567"/>
                <a:gd name="connsiteY26" fmla="*/ 124969 h 545402"/>
                <a:gd name="connsiteX27" fmla="*/ 264890 w 526567"/>
                <a:gd name="connsiteY27" fmla="*/ 4001 h 545402"/>
                <a:gd name="connsiteX28" fmla="*/ 244602 w 526567"/>
                <a:gd name="connsiteY28" fmla="*/ 4001 h 545402"/>
                <a:gd name="connsiteX29" fmla="*/ 205454 w 526567"/>
                <a:gd name="connsiteY29" fmla="*/ 43244 h 545402"/>
                <a:gd name="connsiteX30" fmla="*/ 205332 w 526567"/>
                <a:gd name="connsiteY30" fmla="*/ 63315 h 545402"/>
                <a:gd name="connsiteX31" fmla="*/ 205454 w 526567"/>
                <a:gd name="connsiteY31" fmla="*/ 63437 h 545402"/>
                <a:gd name="connsiteX32" fmla="*/ 132683 w 526567"/>
                <a:gd name="connsiteY32" fmla="*/ 378143 h 545402"/>
                <a:gd name="connsiteX33" fmla="*/ 142780 w 526567"/>
                <a:gd name="connsiteY33" fmla="*/ 382334 h 545402"/>
                <a:gd name="connsiteX34" fmla="*/ 152876 w 526567"/>
                <a:gd name="connsiteY34" fmla="*/ 378143 h 545402"/>
                <a:gd name="connsiteX35" fmla="*/ 192119 w 526567"/>
                <a:gd name="connsiteY35" fmla="*/ 339377 h 545402"/>
                <a:gd name="connsiteX36" fmla="*/ 192119 w 526567"/>
                <a:gd name="connsiteY36" fmla="*/ 319184 h 545402"/>
                <a:gd name="connsiteX37" fmla="*/ 190786 w 526567"/>
                <a:gd name="connsiteY37" fmla="*/ 317850 h 545402"/>
                <a:gd name="connsiteX38" fmla="*/ 170593 w 526567"/>
                <a:gd name="connsiteY38" fmla="*/ 297657 h 545402"/>
                <a:gd name="connsiteX39" fmla="*/ 92678 w 526567"/>
                <a:gd name="connsiteY39" fmla="*/ 219266 h 545402"/>
                <a:gd name="connsiteX40" fmla="*/ 72676 w 526567"/>
                <a:gd name="connsiteY40" fmla="*/ 199073 h 545402"/>
                <a:gd name="connsiteX41" fmla="*/ 71342 w 526567"/>
                <a:gd name="connsiteY41" fmla="*/ 197740 h 545402"/>
                <a:gd name="connsiteX42" fmla="*/ 51149 w 526567"/>
                <a:gd name="connsiteY42" fmla="*/ 197740 h 545402"/>
                <a:gd name="connsiteX43" fmla="*/ 11716 w 526567"/>
                <a:gd name="connsiteY43" fmla="*/ 236983 h 545402"/>
                <a:gd name="connsiteX44" fmla="*/ 11593 w 526567"/>
                <a:gd name="connsiteY44" fmla="*/ 257053 h 545402"/>
                <a:gd name="connsiteX45" fmla="*/ 11716 w 526567"/>
                <a:gd name="connsiteY45" fmla="*/ 257176 h 545402"/>
                <a:gd name="connsiteX46" fmla="*/ 514541 w 526567"/>
                <a:gd name="connsiteY46" fmla="*/ 448914 h 545402"/>
                <a:gd name="connsiteX47" fmla="*/ 306610 w 526567"/>
                <a:gd name="connsiteY47" fmla="*/ 241936 h 545402"/>
                <a:gd name="connsiteX48" fmla="*/ 249460 w 526567"/>
                <a:gd name="connsiteY48" fmla="*/ 299086 h 545402"/>
                <a:gd name="connsiteX49" fmla="*/ 457581 w 526567"/>
                <a:gd name="connsiteY49" fmla="*/ 505969 h 545402"/>
                <a:gd name="connsiteX50" fmla="*/ 514731 w 526567"/>
                <a:gd name="connsiteY50" fmla="*/ 505969 h 545402"/>
                <a:gd name="connsiteX51" fmla="*/ 514731 w 526567"/>
                <a:gd name="connsiteY51" fmla="*/ 448819 h 54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6567" h="545402">
                  <a:moveTo>
                    <a:pt x="225076" y="438246"/>
                  </a:moveTo>
                  <a:cubicBezTo>
                    <a:pt x="230336" y="438246"/>
                    <a:pt x="234601" y="442511"/>
                    <a:pt x="234601" y="447771"/>
                  </a:cubicBezTo>
                  <a:lnTo>
                    <a:pt x="234601" y="477489"/>
                  </a:lnTo>
                  <a:lnTo>
                    <a:pt x="39624" y="477489"/>
                  </a:lnTo>
                  <a:lnTo>
                    <a:pt x="39624" y="447771"/>
                  </a:lnTo>
                  <a:cubicBezTo>
                    <a:pt x="39624" y="442511"/>
                    <a:pt x="43888" y="438246"/>
                    <a:pt x="49149" y="438246"/>
                  </a:cubicBezTo>
                  <a:close/>
                  <a:moveTo>
                    <a:pt x="264700" y="506064"/>
                  </a:moveTo>
                  <a:lnTo>
                    <a:pt x="9525" y="506064"/>
                  </a:lnTo>
                  <a:cubicBezTo>
                    <a:pt x="4264" y="506064"/>
                    <a:pt x="0" y="510329"/>
                    <a:pt x="0" y="515589"/>
                  </a:cubicBezTo>
                  <a:lnTo>
                    <a:pt x="0" y="545402"/>
                  </a:lnTo>
                  <a:lnTo>
                    <a:pt x="274225" y="545402"/>
                  </a:lnTo>
                  <a:lnTo>
                    <a:pt x="274225" y="515589"/>
                  </a:lnTo>
                  <a:cubicBezTo>
                    <a:pt x="274225" y="510329"/>
                    <a:pt x="269960" y="506064"/>
                    <a:pt x="264700" y="506064"/>
                  </a:cubicBezTo>
                  <a:close/>
                  <a:moveTo>
                    <a:pt x="304895" y="203264"/>
                  </a:moveTo>
                  <a:lnTo>
                    <a:pt x="284607" y="183167"/>
                  </a:lnTo>
                  <a:lnTo>
                    <a:pt x="186976" y="84964"/>
                  </a:lnTo>
                  <a:lnTo>
                    <a:pt x="92678" y="178880"/>
                  </a:lnTo>
                  <a:lnTo>
                    <a:pt x="210979" y="297181"/>
                  </a:lnTo>
                  <a:close/>
                  <a:moveTo>
                    <a:pt x="226981" y="84964"/>
                  </a:moveTo>
                  <a:lnTo>
                    <a:pt x="304800" y="162878"/>
                  </a:lnTo>
                  <a:lnTo>
                    <a:pt x="325088" y="183071"/>
                  </a:lnTo>
                  <a:lnTo>
                    <a:pt x="326422" y="184405"/>
                  </a:lnTo>
                  <a:cubicBezTo>
                    <a:pt x="329068" y="187131"/>
                    <a:pt x="332720" y="188647"/>
                    <a:pt x="336518" y="188596"/>
                  </a:cubicBezTo>
                  <a:cubicBezTo>
                    <a:pt x="340310" y="188614"/>
                    <a:pt x="343950" y="187103"/>
                    <a:pt x="346615" y="184405"/>
                  </a:cubicBezTo>
                  <a:lnTo>
                    <a:pt x="385858" y="145162"/>
                  </a:lnTo>
                  <a:cubicBezTo>
                    <a:pt x="388538" y="142485"/>
                    <a:pt x="390045" y="138853"/>
                    <a:pt x="390049" y="135065"/>
                  </a:cubicBezTo>
                  <a:cubicBezTo>
                    <a:pt x="390025" y="131282"/>
                    <a:pt x="388520" y="127657"/>
                    <a:pt x="385858" y="124969"/>
                  </a:cubicBezTo>
                  <a:lnTo>
                    <a:pt x="264890" y="4001"/>
                  </a:lnTo>
                  <a:cubicBezTo>
                    <a:pt x="259180" y="-1334"/>
                    <a:pt x="250312" y="-1334"/>
                    <a:pt x="244602" y="4001"/>
                  </a:cubicBezTo>
                  <a:lnTo>
                    <a:pt x="205454" y="43244"/>
                  </a:lnTo>
                  <a:cubicBezTo>
                    <a:pt x="199878" y="48753"/>
                    <a:pt x="199823" y="57739"/>
                    <a:pt x="205332" y="63315"/>
                  </a:cubicBezTo>
                  <a:cubicBezTo>
                    <a:pt x="205372" y="63356"/>
                    <a:pt x="205413" y="63397"/>
                    <a:pt x="205454" y="63437"/>
                  </a:cubicBezTo>
                  <a:close/>
                  <a:moveTo>
                    <a:pt x="132683" y="378143"/>
                  </a:moveTo>
                  <a:cubicBezTo>
                    <a:pt x="135354" y="380833"/>
                    <a:pt x="138990" y="382342"/>
                    <a:pt x="142780" y="382334"/>
                  </a:cubicBezTo>
                  <a:cubicBezTo>
                    <a:pt x="146566" y="382321"/>
                    <a:pt x="150194" y="380815"/>
                    <a:pt x="152876" y="378143"/>
                  </a:cubicBezTo>
                  <a:lnTo>
                    <a:pt x="192119" y="339377"/>
                  </a:lnTo>
                  <a:cubicBezTo>
                    <a:pt x="197691" y="333799"/>
                    <a:pt x="197691" y="324762"/>
                    <a:pt x="192119" y="319184"/>
                  </a:cubicBezTo>
                  <a:lnTo>
                    <a:pt x="190786" y="317850"/>
                  </a:lnTo>
                  <a:lnTo>
                    <a:pt x="170593" y="297657"/>
                  </a:lnTo>
                  <a:lnTo>
                    <a:pt x="92678" y="219266"/>
                  </a:lnTo>
                  <a:lnTo>
                    <a:pt x="72676" y="199073"/>
                  </a:lnTo>
                  <a:lnTo>
                    <a:pt x="71342" y="197740"/>
                  </a:lnTo>
                  <a:cubicBezTo>
                    <a:pt x="65664" y="192417"/>
                    <a:pt x="56828" y="192417"/>
                    <a:pt x="51149" y="197740"/>
                  </a:cubicBezTo>
                  <a:lnTo>
                    <a:pt x="11716" y="236983"/>
                  </a:lnTo>
                  <a:cubicBezTo>
                    <a:pt x="6140" y="242491"/>
                    <a:pt x="6085" y="251477"/>
                    <a:pt x="11593" y="257053"/>
                  </a:cubicBezTo>
                  <a:cubicBezTo>
                    <a:pt x="11634" y="257095"/>
                    <a:pt x="11675" y="257135"/>
                    <a:pt x="11716" y="257176"/>
                  </a:cubicBezTo>
                  <a:close/>
                  <a:moveTo>
                    <a:pt x="514541" y="448914"/>
                  </a:moveTo>
                  <a:lnTo>
                    <a:pt x="306610" y="241936"/>
                  </a:lnTo>
                  <a:lnTo>
                    <a:pt x="249460" y="299086"/>
                  </a:lnTo>
                  <a:lnTo>
                    <a:pt x="457581" y="505969"/>
                  </a:lnTo>
                  <a:cubicBezTo>
                    <a:pt x="473363" y="521750"/>
                    <a:pt x="498949" y="521750"/>
                    <a:pt x="514731" y="505969"/>
                  </a:cubicBezTo>
                  <a:cubicBezTo>
                    <a:pt x="530513" y="490187"/>
                    <a:pt x="530513" y="464600"/>
                    <a:pt x="514731" y="448819"/>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63" name="Agrupar 62">
            <a:extLst>
              <a:ext uri="{FF2B5EF4-FFF2-40B4-BE49-F238E27FC236}">
                <a16:creationId xmlns:a16="http://schemas.microsoft.com/office/drawing/2014/main" id="{C69DEFD3-D858-E4CE-0373-7B9344E02EEB}"/>
              </a:ext>
            </a:extLst>
          </p:cNvPr>
          <p:cNvGrpSpPr/>
          <p:nvPr>
            <p:custDataLst>
              <p:tags r:id="rId23"/>
            </p:custDataLst>
          </p:nvPr>
        </p:nvGrpSpPr>
        <p:grpSpPr>
          <a:xfrm>
            <a:off x="1687910" y="2356463"/>
            <a:ext cx="384963" cy="384963"/>
            <a:chOff x="1687910" y="2499133"/>
            <a:chExt cx="384963" cy="384963"/>
          </a:xfrm>
        </p:grpSpPr>
        <p:sp>
          <p:nvSpPr>
            <p:cNvPr id="5" name="Elipse 4">
              <a:extLst>
                <a:ext uri="{FF2B5EF4-FFF2-40B4-BE49-F238E27FC236}">
                  <a16:creationId xmlns:a16="http://schemas.microsoft.com/office/drawing/2014/main" id="{3E7979E4-AFDE-85EF-3514-9759F68839C8}"/>
                </a:ext>
              </a:extLst>
            </p:cNvPr>
            <p:cNvSpPr/>
            <p:nvPr>
              <p:custDataLst>
                <p:tags r:id="rId43"/>
              </p:custDataLst>
            </p:nvPr>
          </p:nvSpPr>
          <p:spPr>
            <a:xfrm>
              <a:off x="1687910" y="2499133"/>
              <a:ext cx="384963" cy="384963"/>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8" name="Forma Livre: Forma 57">
              <a:extLst>
                <a:ext uri="{FF2B5EF4-FFF2-40B4-BE49-F238E27FC236}">
                  <a16:creationId xmlns:a16="http://schemas.microsoft.com/office/drawing/2014/main" id="{92113C7C-BE9B-FD2D-D04F-51673AB9377C}"/>
                </a:ext>
              </a:extLst>
            </p:cNvPr>
            <p:cNvSpPr/>
            <p:nvPr>
              <p:custDataLst>
                <p:tags r:id="rId44"/>
              </p:custDataLst>
            </p:nvPr>
          </p:nvSpPr>
          <p:spPr>
            <a:xfrm>
              <a:off x="1794895" y="2574318"/>
              <a:ext cx="175101" cy="218876"/>
            </a:xfrm>
            <a:custGeom>
              <a:avLst/>
              <a:gdLst>
                <a:gd name="connsiteX0" fmla="*/ 217504 w 315251"/>
                <a:gd name="connsiteY0" fmla="*/ 110417 h 394064"/>
                <a:gd name="connsiteX1" fmla="*/ 295548 w 315251"/>
                <a:gd name="connsiteY1" fmla="*/ 98516 h 394064"/>
                <a:gd name="connsiteX2" fmla="*/ 295548 w 315251"/>
                <a:gd name="connsiteY2" fmla="*/ 59110 h 394064"/>
                <a:gd name="connsiteX3" fmla="*/ 222567 w 315251"/>
                <a:gd name="connsiteY3" fmla="*/ 68587 h 394064"/>
                <a:gd name="connsiteX4" fmla="*/ 227198 w 315251"/>
                <a:gd name="connsiteY4" fmla="*/ 62774 h 394064"/>
                <a:gd name="connsiteX5" fmla="*/ 235552 w 315251"/>
                <a:gd name="connsiteY5" fmla="*/ 20787 h 394064"/>
                <a:gd name="connsiteX6" fmla="*/ 236439 w 315251"/>
                <a:gd name="connsiteY6" fmla="*/ 19703 h 394064"/>
                <a:gd name="connsiteX7" fmla="*/ 235040 w 315251"/>
                <a:gd name="connsiteY7" fmla="*/ 19703 h 394064"/>
                <a:gd name="connsiteX8" fmla="*/ 197032 w 315251"/>
                <a:gd name="connsiteY8" fmla="*/ 0 h 394064"/>
                <a:gd name="connsiteX9" fmla="*/ 118219 w 315251"/>
                <a:gd name="connsiteY9" fmla="*/ 0 h 394064"/>
                <a:gd name="connsiteX10" fmla="*/ 80212 w 315251"/>
                <a:gd name="connsiteY10" fmla="*/ 19703 h 394064"/>
                <a:gd name="connsiteX11" fmla="*/ 78813 w 315251"/>
                <a:gd name="connsiteY11" fmla="*/ 19703 h 394064"/>
                <a:gd name="connsiteX12" fmla="*/ 79680 w 315251"/>
                <a:gd name="connsiteY12" fmla="*/ 20807 h 394064"/>
                <a:gd name="connsiteX13" fmla="*/ 88054 w 315251"/>
                <a:gd name="connsiteY13" fmla="*/ 62794 h 394064"/>
                <a:gd name="connsiteX14" fmla="*/ 91640 w 315251"/>
                <a:gd name="connsiteY14" fmla="*/ 67286 h 394064"/>
                <a:gd name="connsiteX15" fmla="*/ 19703 w 315251"/>
                <a:gd name="connsiteY15" fmla="*/ 59110 h 394064"/>
                <a:gd name="connsiteX16" fmla="*/ 19703 w 315251"/>
                <a:gd name="connsiteY16" fmla="*/ 98516 h 394064"/>
                <a:gd name="connsiteX17" fmla="*/ 99659 w 315251"/>
                <a:gd name="connsiteY17" fmla="*/ 109707 h 394064"/>
                <a:gd name="connsiteX18" fmla="*/ 0 w 315251"/>
                <a:gd name="connsiteY18" fmla="*/ 256142 h 394064"/>
                <a:gd name="connsiteX19" fmla="*/ 0 w 315251"/>
                <a:gd name="connsiteY19" fmla="*/ 315251 h 394064"/>
                <a:gd name="connsiteX20" fmla="*/ 78813 w 315251"/>
                <a:gd name="connsiteY20" fmla="*/ 394064 h 394064"/>
                <a:gd name="connsiteX21" fmla="*/ 236439 w 315251"/>
                <a:gd name="connsiteY21" fmla="*/ 394064 h 394064"/>
                <a:gd name="connsiteX22" fmla="*/ 315251 w 315251"/>
                <a:gd name="connsiteY22" fmla="*/ 315251 h 394064"/>
                <a:gd name="connsiteX23" fmla="*/ 315251 w 315251"/>
                <a:gd name="connsiteY23" fmla="*/ 256142 h 394064"/>
                <a:gd name="connsiteX24" fmla="*/ 217504 w 315251"/>
                <a:gd name="connsiteY24" fmla="*/ 110417 h 394064"/>
                <a:gd name="connsiteX25" fmla="*/ 157626 w 315251"/>
                <a:gd name="connsiteY25" fmla="*/ 334954 h 394064"/>
                <a:gd name="connsiteX26" fmla="*/ 118219 w 315251"/>
                <a:gd name="connsiteY26" fmla="*/ 334954 h 394064"/>
                <a:gd name="connsiteX27" fmla="*/ 118219 w 315251"/>
                <a:gd name="connsiteY27" fmla="*/ 295548 h 394064"/>
                <a:gd name="connsiteX28" fmla="*/ 157626 w 315251"/>
                <a:gd name="connsiteY28" fmla="*/ 295548 h 394064"/>
                <a:gd name="connsiteX29" fmla="*/ 167477 w 315251"/>
                <a:gd name="connsiteY29" fmla="*/ 285696 h 394064"/>
                <a:gd name="connsiteX30" fmla="*/ 157626 w 315251"/>
                <a:gd name="connsiteY30" fmla="*/ 275845 h 394064"/>
                <a:gd name="connsiteX31" fmla="*/ 108368 w 315251"/>
                <a:gd name="connsiteY31" fmla="*/ 226587 h 394064"/>
                <a:gd name="connsiteX32" fmla="*/ 137922 w 315251"/>
                <a:gd name="connsiteY32" fmla="*/ 181506 h 394064"/>
                <a:gd name="connsiteX33" fmla="*/ 137922 w 315251"/>
                <a:gd name="connsiteY33" fmla="*/ 157626 h 394064"/>
                <a:gd name="connsiteX34" fmla="*/ 177329 w 315251"/>
                <a:gd name="connsiteY34" fmla="*/ 157626 h 394064"/>
                <a:gd name="connsiteX35" fmla="*/ 177329 w 315251"/>
                <a:gd name="connsiteY35" fmla="*/ 177329 h 394064"/>
                <a:gd name="connsiteX36" fmla="*/ 197032 w 315251"/>
                <a:gd name="connsiteY36" fmla="*/ 177329 h 394064"/>
                <a:gd name="connsiteX37" fmla="*/ 197032 w 315251"/>
                <a:gd name="connsiteY37" fmla="*/ 216735 h 394064"/>
                <a:gd name="connsiteX38" fmla="*/ 157626 w 315251"/>
                <a:gd name="connsiteY38" fmla="*/ 216735 h 394064"/>
                <a:gd name="connsiteX39" fmla="*/ 147774 w 315251"/>
                <a:gd name="connsiteY39" fmla="*/ 226587 h 394064"/>
                <a:gd name="connsiteX40" fmla="*/ 157626 w 315251"/>
                <a:gd name="connsiteY40" fmla="*/ 236438 h 394064"/>
                <a:gd name="connsiteX41" fmla="*/ 206884 w 315251"/>
                <a:gd name="connsiteY41" fmla="*/ 285696 h 394064"/>
                <a:gd name="connsiteX42" fmla="*/ 157626 w 315251"/>
                <a:gd name="connsiteY42" fmla="*/ 334954 h 39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5251" h="394064">
                  <a:moveTo>
                    <a:pt x="217504" y="110417"/>
                  </a:moveTo>
                  <a:cubicBezTo>
                    <a:pt x="239709" y="103974"/>
                    <a:pt x="267668" y="98516"/>
                    <a:pt x="295548" y="98516"/>
                  </a:cubicBezTo>
                  <a:lnTo>
                    <a:pt x="295548" y="59110"/>
                  </a:lnTo>
                  <a:cubicBezTo>
                    <a:pt x="277047" y="59110"/>
                    <a:pt x="249482" y="62439"/>
                    <a:pt x="222567" y="68587"/>
                  </a:cubicBezTo>
                  <a:lnTo>
                    <a:pt x="227198" y="62774"/>
                  </a:lnTo>
                  <a:cubicBezTo>
                    <a:pt x="238409" y="48785"/>
                    <a:pt x="241384" y="33515"/>
                    <a:pt x="235552" y="20787"/>
                  </a:cubicBezTo>
                  <a:lnTo>
                    <a:pt x="236439" y="19703"/>
                  </a:lnTo>
                  <a:lnTo>
                    <a:pt x="235040" y="19703"/>
                  </a:lnTo>
                  <a:cubicBezTo>
                    <a:pt x="228715" y="7211"/>
                    <a:pt x="214962" y="0"/>
                    <a:pt x="197032" y="0"/>
                  </a:cubicBezTo>
                  <a:lnTo>
                    <a:pt x="118219" y="0"/>
                  </a:lnTo>
                  <a:cubicBezTo>
                    <a:pt x="100289" y="0"/>
                    <a:pt x="86536" y="7211"/>
                    <a:pt x="80212" y="19703"/>
                  </a:cubicBezTo>
                  <a:lnTo>
                    <a:pt x="78813" y="19703"/>
                  </a:lnTo>
                  <a:lnTo>
                    <a:pt x="79680" y="20807"/>
                  </a:lnTo>
                  <a:cubicBezTo>
                    <a:pt x="73867" y="33515"/>
                    <a:pt x="76843" y="48805"/>
                    <a:pt x="88054" y="62794"/>
                  </a:cubicBezTo>
                  <a:lnTo>
                    <a:pt x="91640" y="67286"/>
                  </a:lnTo>
                  <a:cubicBezTo>
                    <a:pt x="67326" y="62026"/>
                    <a:pt x="41574" y="59110"/>
                    <a:pt x="19703" y="59110"/>
                  </a:cubicBezTo>
                  <a:lnTo>
                    <a:pt x="19703" y="98516"/>
                  </a:lnTo>
                  <a:cubicBezTo>
                    <a:pt x="51012" y="98516"/>
                    <a:pt x="78576" y="103659"/>
                    <a:pt x="99659" y="109707"/>
                  </a:cubicBezTo>
                  <a:cubicBezTo>
                    <a:pt x="41377" y="132859"/>
                    <a:pt x="0" y="189722"/>
                    <a:pt x="0" y="256142"/>
                  </a:cubicBezTo>
                  <a:lnTo>
                    <a:pt x="0" y="315251"/>
                  </a:lnTo>
                  <a:cubicBezTo>
                    <a:pt x="0" y="358716"/>
                    <a:pt x="35348" y="394064"/>
                    <a:pt x="78813" y="394064"/>
                  </a:cubicBezTo>
                  <a:lnTo>
                    <a:pt x="236439" y="394064"/>
                  </a:lnTo>
                  <a:cubicBezTo>
                    <a:pt x="279904" y="394064"/>
                    <a:pt x="315251" y="358716"/>
                    <a:pt x="315251" y="315251"/>
                  </a:cubicBezTo>
                  <a:lnTo>
                    <a:pt x="315251" y="256142"/>
                  </a:lnTo>
                  <a:cubicBezTo>
                    <a:pt x="315251" y="190412"/>
                    <a:pt x="274781" y="134021"/>
                    <a:pt x="217504" y="110417"/>
                  </a:cubicBezTo>
                  <a:close/>
                  <a:moveTo>
                    <a:pt x="157626" y="334954"/>
                  </a:moveTo>
                  <a:lnTo>
                    <a:pt x="118219" y="334954"/>
                  </a:lnTo>
                  <a:lnTo>
                    <a:pt x="118219" y="295548"/>
                  </a:lnTo>
                  <a:lnTo>
                    <a:pt x="157626" y="295548"/>
                  </a:lnTo>
                  <a:cubicBezTo>
                    <a:pt x="163064" y="295548"/>
                    <a:pt x="167477" y="291115"/>
                    <a:pt x="167477" y="285696"/>
                  </a:cubicBezTo>
                  <a:cubicBezTo>
                    <a:pt x="167477" y="280278"/>
                    <a:pt x="163064" y="275845"/>
                    <a:pt x="157626" y="275845"/>
                  </a:cubicBezTo>
                  <a:cubicBezTo>
                    <a:pt x="130475" y="275845"/>
                    <a:pt x="108368" y="253758"/>
                    <a:pt x="108368" y="226587"/>
                  </a:cubicBezTo>
                  <a:cubicBezTo>
                    <a:pt x="108368" y="206450"/>
                    <a:pt x="120564" y="189131"/>
                    <a:pt x="137922" y="181506"/>
                  </a:cubicBezTo>
                  <a:lnTo>
                    <a:pt x="137922" y="157626"/>
                  </a:lnTo>
                  <a:lnTo>
                    <a:pt x="177329" y="157626"/>
                  </a:lnTo>
                  <a:lnTo>
                    <a:pt x="177329" y="177329"/>
                  </a:lnTo>
                  <a:lnTo>
                    <a:pt x="197032" y="177329"/>
                  </a:lnTo>
                  <a:lnTo>
                    <a:pt x="197032" y="216735"/>
                  </a:lnTo>
                  <a:lnTo>
                    <a:pt x="157626" y="216735"/>
                  </a:lnTo>
                  <a:cubicBezTo>
                    <a:pt x="152188" y="216735"/>
                    <a:pt x="147774" y="221168"/>
                    <a:pt x="147774" y="226587"/>
                  </a:cubicBezTo>
                  <a:cubicBezTo>
                    <a:pt x="147774" y="232005"/>
                    <a:pt x="152188" y="236438"/>
                    <a:pt x="157626" y="236438"/>
                  </a:cubicBezTo>
                  <a:cubicBezTo>
                    <a:pt x="184777" y="236438"/>
                    <a:pt x="206884" y="258526"/>
                    <a:pt x="206884" y="285696"/>
                  </a:cubicBezTo>
                  <a:cubicBezTo>
                    <a:pt x="206884" y="312867"/>
                    <a:pt x="184777" y="334954"/>
                    <a:pt x="157626" y="334954"/>
                  </a:cubicBezTo>
                  <a:close/>
                </a:path>
              </a:pathLst>
            </a:custGeom>
            <a:solidFill>
              <a:schemeClr val="bg1"/>
            </a:solidFill>
            <a:ln w="19447"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98" name="Agrupar 97">
            <a:extLst>
              <a:ext uri="{FF2B5EF4-FFF2-40B4-BE49-F238E27FC236}">
                <a16:creationId xmlns:a16="http://schemas.microsoft.com/office/drawing/2014/main" id="{D35EBA0B-EC20-76CA-C20E-A0B5717E21BF}"/>
              </a:ext>
            </a:extLst>
          </p:cNvPr>
          <p:cNvGrpSpPr/>
          <p:nvPr>
            <p:custDataLst>
              <p:tags r:id="rId24"/>
            </p:custDataLst>
          </p:nvPr>
        </p:nvGrpSpPr>
        <p:grpSpPr>
          <a:xfrm>
            <a:off x="3723059" y="2356463"/>
            <a:ext cx="384963" cy="384963"/>
            <a:chOff x="3723059" y="2499133"/>
            <a:chExt cx="384963" cy="384963"/>
          </a:xfrm>
        </p:grpSpPr>
        <p:sp>
          <p:nvSpPr>
            <p:cNvPr id="7" name="Elipse 6">
              <a:extLst>
                <a:ext uri="{FF2B5EF4-FFF2-40B4-BE49-F238E27FC236}">
                  <a16:creationId xmlns:a16="http://schemas.microsoft.com/office/drawing/2014/main" id="{D2BFD77A-C669-4257-56DF-C59E7C02D7E8}"/>
                </a:ext>
              </a:extLst>
            </p:cNvPr>
            <p:cNvSpPr/>
            <p:nvPr>
              <p:custDataLst>
                <p:tags r:id="rId41"/>
              </p:custDataLst>
            </p:nvPr>
          </p:nvSpPr>
          <p:spPr>
            <a:xfrm>
              <a:off x="3723059" y="2499133"/>
              <a:ext cx="384963" cy="384963"/>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3" name="Forma Livre: Forma 92">
              <a:extLst>
                <a:ext uri="{FF2B5EF4-FFF2-40B4-BE49-F238E27FC236}">
                  <a16:creationId xmlns:a16="http://schemas.microsoft.com/office/drawing/2014/main" id="{215D5FFB-5E97-CCEF-6CE2-9390164E7ED4}"/>
                </a:ext>
              </a:extLst>
            </p:cNvPr>
            <p:cNvSpPr/>
            <p:nvPr>
              <p:custDataLst>
                <p:tags r:id="rId42"/>
              </p:custDataLst>
            </p:nvPr>
          </p:nvSpPr>
          <p:spPr>
            <a:xfrm>
              <a:off x="3805549" y="2553317"/>
              <a:ext cx="233589" cy="245998"/>
            </a:xfrm>
            <a:custGeom>
              <a:avLst/>
              <a:gdLst>
                <a:gd name="connsiteX0" fmla="*/ 755527 w 759741"/>
                <a:gd name="connsiteY0" fmla="*/ 375656 h 800100"/>
                <a:gd name="connsiteX1" fmla="*/ 379871 w 759741"/>
                <a:gd name="connsiteY1" fmla="*/ 0 h 800100"/>
                <a:gd name="connsiteX2" fmla="*/ 4214 w 759741"/>
                <a:gd name="connsiteY2" fmla="*/ 375656 h 800100"/>
                <a:gd name="connsiteX3" fmla="*/ 14311 w 759741"/>
                <a:gd name="connsiteY3" fmla="*/ 400050 h 800100"/>
                <a:gd name="connsiteX4" fmla="*/ 179846 w 759741"/>
                <a:gd name="connsiteY4" fmla="*/ 400050 h 800100"/>
                <a:gd name="connsiteX5" fmla="*/ 179846 w 759741"/>
                <a:gd name="connsiteY5" fmla="*/ 800100 h 800100"/>
                <a:gd name="connsiteX6" fmla="*/ 579896 w 759741"/>
                <a:gd name="connsiteY6" fmla="*/ 800100 h 800100"/>
                <a:gd name="connsiteX7" fmla="*/ 579896 w 759741"/>
                <a:gd name="connsiteY7" fmla="*/ 400050 h 800100"/>
                <a:gd name="connsiteX8" fmla="*/ 745431 w 759741"/>
                <a:gd name="connsiteY8" fmla="*/ 400050 h 800100"/>
                <a:gd name="connsiteX9" fmla="*/ 755527 w 759741"/>
                <a:gd name="connsiteY9" fmla="*/ 375656 h 800100"/>
                <a:gd name="connsiteX10" fmla="*/ 408446 w 759741"/>
                <a:gd name="connsiteY10" fmla="*/ 655777 h 800100"/>
                <a:gd name="connsiteX11" fmla="*/ 408446 w 759741"/>
                <a:gd name="connsiteY11" fmla="*/ 685800 h 800100"/>
                <a:gd name="connsiteX12" fmla="*/ 351296 w 759741"/>
                <a:gd name="connsiteY12" fmla="*/ 685800 h 800100"/>
                <a:gd name="connsiteX13" fmla="*/ 351296 w 759741"/>
                <a:gd name="connsiteY13" fmla="*/ 657225 h 800100"/>
                <a:gd name="connsiteX14" fmla="*/ 308433 w 759741"/>
                <a:gd name="connsiteY14" fmla="*/ 657225 h 800100"/>
                <a:gd name="connsiteX15" fmla="*/ 294146 w 759741"/>
                <a:gd name="connsiteY15" fmla="*/ 642938 h 800100"/>
                <a:gd name="connsiteX16" fmla="*/ 294146 w 759741"/>
                <a:gd name="connsiteY16" fmla="*/ 614363 h 800100"/>
                <a:gd name="connsiteX17" fmla="*/ 308433 w 759741"/>
                <a:gd name="connsiteY17" fmla="*/ 600075 h 800100"/>
                <a:gd name="connsiteX18" fmla="*/ 394158 w 759741"/>
                <a:gd name="connsiteY18" fmla="*/ 600075 h 800100"/>
                <a:gd name="connsiteX19" fmla="*/ 408446 w 759741"/>
                <a:gd name="connsiteY19" fmla="*/ 585788 h 800100"/>
                <a:gd name="connsiteX20" fmla="*/ 394158 w 759741"/>
                <a:gd name="connsiteY20" fmla="*/ 571500 h 800100"/>
                <a:gd name="connsiteX21" fmla="*/ 368727 w 759741"/>
                <a:gd name="connsiteY21" fmla="*/ 571500 h 800100"/>
                <a:gd name="connsiteX22" fmla="*/ 295260 w 759741"/>
                <a:gd name="connsiteY22" fmla="*/ 512836 h 800100"/>
                <a:gd name="connsiteX23" fmla="*/ 351296 w 759741"/>
                <a:gd name="connsiteY23" fmla="*/ 430073 h 800100"/>
                <a:gd name="connsiteX24" fmla="*/ 351296 w 759741"/>
                <a:gd name="connsiteY24" fmla="*/ 400050 h 800100"/>
                <a:gd name="connsiteX25" fmla="*/ 408446 w 759741"/>
                <a:gd name="connsiteY25" fmla="*/ 400050 h 800100"/>
                <a:gd name="connsiteX26" fmla="*/ 408446 w 759741"/>
                <a:gd name="connsiteY26" fmla="*/ 428625 h 800100"/>
                <a:gd name="connsiteX27" fmla="*/ 437021 w 759741"/>
                <a:gd name="connsiteY27" fmla="*/ 428625 h 800100"/>
                <a:gd name="connsiteX28" fmla="*/ 451308 w 759741"/>
                <a:gd name="connsiteY28" fmla="*/ 442913 h 800100"/>
                <a:gd name="connsiteX29" fmla="*/ 451308 w 759741"/>
                <a:gd name="connsiteY29" fmla="*/ 471488 h 800100"/>
                <a:gd name="connsiteX30" fmla="*/ 437021 w 759741"/>
                <a:gd name="connsiteY30" fmla="*/ 485775 h 800100"/>
                <a:gd name="connsiteX31" fmla="*/ 365583 w 759741"/>
                <a:gd name="connsiteY31" fmla="*/ 485775 h 800100"/>
                <a:gd name="connsiteX32" fmla="*/ 351296 w 759741"/>
                <a:gd name="connsiteY32" fmla="*/ 500063 h 800100"/>
                <a:gd name="connsiteX33" fmla="*/ 365583 w 759741"/>
                <a:gd name="connsiteY33" fmla="*/ 514350 h 800100"/>
                <a:gd name="connsiteX34" fmla="*/ 391015 w 759741"/>
                <a:gd name="connsiteY34" fmla="*/ 514350 h 800100"/>
                <a:gd name="connsiteX35" fmla="*/ 464481 w 759741"/>
                <a:gd name="connsiteY35" fmla="*/ 573014 h 800100"/>
                <a:gd name="connsiteX36" fmla="*/ 408446 w 759741"/>
                <a:gd name="connsiteY36" fmla="*/ 655777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59741" h="800100">
                  <a:moveTo>
                    <a:pt x="755527" y="375656"/>
                  </a:moveTo>
                  <a:lnTo>
                    <a:pt x="379871" y="0"/>
                  </a:lnTo>
                  <a:lnTo>
                    <a:pt x="4214" y="375656"/>
                  </a:lnTo>
                  <a:cubicBezTo>
                    <a:pt x="-4787" y="384658"/>
                    <a:pt x="1586" y="400050"/>
                    <a:pt x="14311" y="400050"/>
                  </a:cubicBezTo>
                  <a:lnTo>
                    <a:pt x="179846" y="400050"/>
                  </a:lnTo>
                  <a:lnTo>
                    <a:pt x="179846" y="800100"/>
                  </a:lnTo>
                  <a:lnTo>
                    <a:pt x="579896" y="800100"/>
                  </a:lnTo>
                  <a:lnTo>
                    <a:pt x="579896" y="400050"/>
                  </a:lnTo>
                  <a:lnTo>
                    <a:pt x="745431" y="400050"/>
                  </a:lnTo>
                  <a:cubicBezTo>
                    <a:pt x="758156" y="400050"/>
                    <a:pt x="764529" y="384658"/>
                    <a:pt x="755527" y="375656"/>
                  </a:cubicBezTo>
                  <a:close/>
                  <a:moveTo>
                    <a:pt x="408446" y="655777"/>
                  </a:moveTo>
                  <a:lnTo>
                    <a:pt x="408446" y="685800"/>
                  </a:lnTo>
                  <a:lnTo>
                    <a:pt x="351296" y="685800"/>
                  </a:lnTo>
                  <a:lnTo>
                    <a:pt x="351296" y="657225"/>
                  </a:lnTo>
                  <a:lnTo>
                    <a:pt x="308433" y="657225"/>
                  </a:lnTo>
                  <a:cubicBezTo>
                    <a:pt x="300547" y="657225"/>
                    <a:pt x="294146" y="650824"/>
                    <a:pt x="294146" y="642938"/>
                  </a:cubicBezTo>
                  <a:lnTo>
                    <a:pt x="294146" y="614363"/>
                  </a:lnTo>
                  <a:cubicBezTo>
                    <a:pt x="294146" y="606466"/>
                    <a:pt x="300547" y="600075"/>
                    <a:pt x="308433" y="600075"/>
                  </a:cubicBezTo>
                  <a:lnTo>
                    <a:pt x="394158" y="600075"/>
                  </a:lnTo>
                  <a:cubicBezTo>
                    <a:pt x="402026" y="600075"/>
                    <a:pt x="408446" y="593674"/>
                    <a:pt x="408446" y="585788"/>
                  </a:cubicBezTo>
                  <a:cubicBezTo>
                    <a:pt x="408446" y="577901"/>
                    <a:pt x="402026" y="571500"/>
                    <a:pt x="394158" y="571500"/>
                  </a:cubicBezTo>
                  <a:lnTo>
                    <a:pt x="368727" y="571500"/>
                  </a:lnTo>
                  <a:cubicBezTo>
                    <a:pt x="333560" y="571500"/>
                    <a:pt x="301299" y="547478"/>
                    <a:pt x="295260" y="512836"/>
                  </a:cubicBezTo>
                  <a:cubicBezTo>
                    <a:pt x="288298" y="472897"/>
                    <a:pt x="314768" y="437512"/>
                    <a:pt x="351296" y="430073"/>
                  </a:cubicBezTo>
                  <a:lnTo>
                    <a:pt x="351296" y="400050"/>
                  </a:lnTo>
                  <a:lnTo>
                    <a:pt x="408446" y="400050"/>
                  </a:lnTo>
                  <a:lnTo>
                    <a:pt x="408446" y="428625"/>
                  </a:lnTo>
                  <a:lnTo>
                    <a:pt x="437021" y="428625"/>
                  </a:lnTo>
                  <a:cubicBezTo>
                    <a:pt x="444908" y="428625"/>
                    <a:pt x="451308" y="435016"/>
                    <a:pt x="451308" y="442913"/>
                  </a:cubicBezTo>
                  <a:lnTo>
                    <a:pt x="451308" y="471488"/>
                  </a:lnTo>
                  <a:cubicBezTo>
                    <a:pt x="451308" y="479374"/>
                    <a:pt x="444908" y="485775"/>
                    <a:pt x="437021" y="485775"/>
                  </a:cubicBezTo>
                  <a:lnTo>
                    <a:pt x="365583" y="485775"/>
                  </a:lnTo>
                  <a:cubicBezTo>
                    <a:pt x="357716" y="485775"/>
                    <a:pt x="351296" y="492176"/>
                    <a:pt x="351296" y="500063"/>
                  </a:cubicBezTo>
                  <a:cubicBezTo>
                    <a:pt x="351296" y="507949"/>
                    <a:pt x="357716" y="514350"/>
                    <a:pt x="365583" y="514350"/>
                  </a:cubicBezTo>
                  <a:lnTo>
                    <a:pt x="391015" y="514350"/>
                  </a:lnTo>
                  <a:cubicBezTo>
                    <a:pt x="426181" y="514350"/>
                    <a:pt x="458443" y="538372"/>
                    <a:pt x="464481" y="573014"/>
                  </a:cubicBezTo>
                  <a:cubicBezTo>
                    <a:pt x="471444" y="612953"/>
                    <a:pt x="444974" y="648338"/>
                    <a:pt x="408446" y="655777"/>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2" name="Agrupar 101">
            <a:extLst>
              <a:ext uri="{FF2B5EF4-FFF2-40B4-BE49-F238E27FC236}">
                <a16:creationId xmlns:a16="http://schemas.microsoft.com/office/drawing/2014/main" id="{0D71819F-F7A0-4E24-562C-6D6F70E88692}"/>
              </a:ext>
            </a:extLst>
          </p:cNvPr>
          <p:cNvGrpSpPr/>
          <p:nvPr>
            <p:custDataLst>
              <p:tags r:id="rId25"/>
            </p:custDataLst>
          </p:nvPr>
        </p:nvGrpSpPr>
        <p:grpSpPr>
          <a:xfrm>
            <a:off x="4501704" y="3888256"/>
            <a:ext cx="384963" cy="384963"/>
            <a:chOff x="1687910" y="2499133"/>
            <a:chExt cx="384963" cy="384963"/>
          </a:xfrm>
        </p:grpSpPr>
        <p:sp>
          <p:nvSpPr>
            <p:cNvPr id="103" name="Elipse 102">
              <a:extLst>
                <a:ext uri="{FF2B5EF4-FFF2-40B4-BE49-F238E27FC236}">
                  <a16:creationId xmlns:a16="http://schemas.microsoft.com/office/drawing/2014/main" id="{27F43D09-0378-A63C-983A-A7333042A789}"/>
                </a:ext>
              </a:extLst>
            </p:cNvPr>
            <p:cNvSpPr/>
            <p:nvPr>
              <p:custDataLst>
                <p:tags r:id="rId39"/>
              </p:custDataLst>
            </p:nvPr>
          </p:nvSpPr>
          <p:spPr>
            <a:xfrm>
              <a:off x="1687910" y="2499133"/>
              <a:ext cx="384963" cy="384963"/>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4" name="Forma Livre: Forma 103">
              <a:extLst>
                <a:ext uri="{FF2B5EF4-FFF2-40B4-BE49-F238E27FC236}">
                  <a16:creationId xmlns:a16="http://schemas.microsoft.com/office/drawing/2014/main" id="{5FDF21C1-9B75-8938-7E3F-47305D1BEDFB}"/>
                </a:ext>
              </a:extLst>
            </p:cNvPr>
            <p:cNvSpPr/>
            <p:nvPr>
              <p:custDataLst>
                <p:tags r:id="rId40"/>
              </p:custDataLst>
            </p:nvPr>
          </p:nvSpPr>
          <p:spPr>
            <a:xfrm>
              <a:off x="1794895" y="2574318"/>
              <a:ext cx="175101" cy="218876"/>
            </a:xfrm>
            <a:custGeom>
              <a:avLst/>
              <a:gdLst>
                <a:gd name="connsiteX0" fmla="*/ 217504 w 315251"/>
                <a:gd name="connsiteY0" fmla="*/ 110417 h 394064"/>
                <a:gd name="connsiteX1" fmla="*/ 295548 w 315251"/>
                <a:gd name="connsiteY1" fmla="*/ 98516 h 394064"/>
                <a:gd name="connsiteX2" fmla="*/ 295548 w 315251"/>
                <a:gd name="connsiteY2" fmla="*/ 59110 h 394064"/>
                <a:gd name="connsiteX3" fmla="*/ 222567 w 315251"/>
                <a:gd name="connsiteY3" fmla="*/ 68587 h 394064"/>
                <a:gd name="connsiteX4" fmla="*/ 227198 w 315251"/>
                <a:gd name="connsiteY4" fmla="*/ 62774 h 394064"/>
                <a:gd name="connsiteX5" fmla="*/ 235552 w 315251"/>
                <a:gd name="connsiteY5" fmla="*/ 20787 h 394064"/>
                <a:gd name="connsiteX6" fmla="*/ 236439 w 315251"/>
                <a:gd name="connsiteY6" fmla="*/ 19703 h 394064"/>
                <a:gd name="connsiteX7" fmla="*/ 235040 w 315251"/>
                <a:gd name="connsiteY7" fmla="*/ 19703 h 394064"/>
                <a:gd name="connsiteX8" fmla="*/ 197032 w 315251"/>
                <a:gd name="connsiteY8" fmla="*/ 0 h 394064"/>
                <a:gd name="connsiteX9" fmla="*/ 118219 w 315251"/>
                <a:gd name="connsiteY9" fmla="*/ 0 h 394064"/>
                <a:gd name="connsiteX10" fmla="*/ 80212 w 315251"/>
                <a:gd name="connsiteY10" fmla="*/ 19703 h 394064"/>
                <a:gd name="connsiteX11" fmla="*/ 78813 w 315251"/>
                <a:gd name="connsiteY11" fmla="*/ 19703 h 394064"/>
                <a:gd name="connsiteX12" fmla="*/ 79680 w 315251"/>
                <a:gd name="connsiteY12" fmla="*/ 20807 h 394064"/>
                <a:gd name="connsiteX13" fmla="*/ 88054 w 315251"/>
                <a:gd name="connsiteY13" fmla="*/ 62794 h 394064"/>
                <a:gd name="connsiteX14" fmla="*/ 91640 w 315251"/>
                <a:gd name="connsiteY14" fmla="*/ 67286 h 394064"/>
                <a:gd name="connsiteX15" fmla="*/ 19703 w 315251"/>
                <a:gd name="connsiteY15" fmla="*/ 59110 h 394064"/>
                <a:gd name="connsiteX16" fmla="*/ 19703 w 315251"/>
                <a:gd name="connsiteY16" fmla="*/ 98516 h 394064"/>
                <a:gd name="connsiteX17" fmla="*/ 99659 w 315251"/>
                <a:gd name="connsiteY17" fmla="*/ 109707 h 394064"/>
                <a:gd name="connsiteX18" fmla="*/ 0 w 315251"/>
                <a:gd name="connsiteY18" fmla="*/ 256142 h 394064"/>
                <a:gd name="connsiteX19" fmla="*/ 0 w 315251"/>
                <a:gd name="connsiteY19" fmla="*/ 315251 h 394064"/>
                <a:gd name="connsiteX20" fmla="*/ 78813 w 315251"/>
                <a:gd name="connsiteY20" fmla="*/ 394064 h 394064"/>
                <a:gd name="connsiteX21" fmla="*/ 236439 w 315251"/>
                <a:gd name="connsiteY21" fmla="*/ 394064 h 394064"/>
                <a:gd name="connsiteX22" fmla="*/ 315251 w 315251"/>
                <a:gd name="connsiteY22" fmla="*/ 315251 h 394064"/>
                <a:gd name="connsiteX23" fmla="*/ 315251 w 315251"/>
                <a:gd name="connsiteY23" fmla="*/ 256142 h 394064"/>
                <a:gd name="connsiteX24" fmla="*/ 217504 w 315251"/>
                <a:gd name="connsiteY24" fmla="*/ 110417 h 394064"/>
                <a:gd name="connsiteX25" fmla="*/ 157626 w 315251"/>
                <a:gd name="connsiteY25" fmla="*/ 334954 h 394064"/>
                <a:gd name="connsiteX26" fmla="*/ 118219 w 315251"/>
                <a:gd name="connsiteY26" fmla="*/ 334954 h 394064"/>
                <a:gd name="connsiteX27" fmla="*/ 118219 w 315251"/>
                <a:gd name="connsiteY27" fmla="*/ 295548 h 394064"/>
                <a:gd name="connsiteX28" fmla="*/ 157626 w 315251"/>
                <a:gd name="connsiteY28" fmla="*/ 295548 h 394064"/>
                <a:gd name="connsiteX29" fmla="*/ 167477 w 315251"/>
                <a:gd name="connsiteY29" fmla="*/ 285696 h 394064"/>
                <a:gd name="connsiteX30" fmla="*/ 157626 w 315251"/>
                <a:gd name="connsiteY30" fmla="*/ 275845 h 394064"/>
                <a:gd name="connsiteX31" fmla="*/ 108368 w 315251"/>
                <a:gd name="connsiteY31" fmla="*/ 226587 h 394064"/>
                <a:gd name="connsiteX32" fmla="*/ 137922 w 315251"/>
                <a:gd name="connsiteY32" fmla="*/ 181506 h 394064"/>
                <a:gd name="connsiteX33" fmla="*/ 137922 w 315251"/>
                <a:gd name="connsiteY33" fmla="*/ 157626 h 394064"/>
                <a:gd name="connsiteX34" fmla="*/ 177329 w 315251"/>
                <a:gd name="connsiteY34" fmla="*/ 157626 h 394064"/>
                <a:gd name="connsiteX35" fmla="*/ 177329 w 315251"/>
                <a:gd name="connsiteY35" fmla="*/ 177329 h 394064"/>
                <a:gd name="connsiteX36" fmla="*/ 197032 w 315251"/>
                <a:gd name="connsiteY36" fmla="*/ 177329 h 394064"/>
                <a:gd name="connsiteX37" fmla="*/ 197032 w 315251"/>
                <a:gd name="connsiteY37" fmla="*/ 216735 h 394064"/>
                <a:gd name="connsiteX38" fmla="*/ 157626 w 315251"/>
                <a:gd name="connsiteY38" fmla="*/ 216735 h 394064"/>
                <a:gd name="connsiteX39" fmla="*/ 147774 w 315251"/>
                <a:gd name="connsiteY39" fmla="*/ 226587 h 394064"/>
                <a:gd name="connsiteX40" fmla="*/ 157626 w 315251"/>
                <a:gd name="connsiteY40" fmla="*/ 236438 h 394064"/>
                <a:gd name="connsiteX41" fmla="*/ 206884 w 315251"/>
                <a:gd name="connsiteY41" fmla="*/ 285696 h 394064"/>
                <a:gd name="connsiteX42" fmla="*/ 157626 w 315251"/>
                <a:gd name="connsiteY42" fmla="*/ 334954 h 39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15251" h="394064">
                  <a:moveTo>
                    <a:pt x="217504" y="110417"/>
                  </a:moveTo>
                  <a:cubicBezTo>
                    <a:pt x="239709" y="103974"/>
                    <a:pt x="267668" y="98516"/>
                    <a:pt x="295548" y="98516"/>
                  </a:cubicBezTo>
                  <a:lnTo>
                    <a:pt x="295548" y="59110"/>
                  </a:lnTo>
                  <a:cubicBezTo>
                    <a:pt x="277047" y="59110"/>
                    <a:pt x="249482" y="62439"/>
                    <a:pt x="222567" y="68587"/>
                  </a:cubicBezTo>
                  <a:lnTo>
                    <a:pt x="227198" y="62774"/>
                  </a:lnTo>
                  <a:cubicBezTo>
                    <a:pt x="238409" y="48785"/>
                    <a:pt x="241384" y="33515"/>
                    <a:pt x="235552" y="20787"/>
                  </a:cubicBezTo>
                  <a:lnTo>
                    <a:pt x="236439" y="19703"/>
                  </a:lnTo>
                  <a:lnTo>
                    <a:pt x="235040" y="19703"/>
                  </a:lnTo>
                  <a:cubicBezTo>
                    <a:pt x="228715" y="7211"/>
                    <a:pt x="214962" y="0"/>
                    <a:pt x="197032" y="0"/>
                  </a:cubicBezTo>
                  <a:lnTo>
                    <a:pt x="118219" y="0"/>
                  </a:lnTo>
                  <a:cubicBezTo>
                    <a:pt x="100289" y="0"/>
                    <a:pt x="86536" y="7211"/>
                    <a:pt x="80212" y="19703"/>
                  </a:cubicBezTo>
                  <a:lnTo>
                    <a:pt x="78813" y="19703"/>
                  </a:lnTo>
                  <a:lnTo>
                    <a:pt x="79680" y="20807"/>
                  </a:lnTo>
                  <a:cubicBezTo>
                    <a:pt x="73867" y="33515"/>
                    <a:pt x="76843" y="48805"/>
                    <a:pt x="88054" y="62794"/>
                  </a:cubicBezTo>
                  <a:lnTo>
                    <a:pt x="91640" y="67286"/>
                  </a:lnTo>
                  <a:cubicBezTo>
                    <a:pt x="67326" y="62026"/>
                    <a:pt x="41574" y="59110"/>
                    <a:pt x="19703" y="59110"/>
                  </a:cubicBezTo>
                  <a:lnTo>
                    <a:pt x="19703" y="98516"/>
                  </a:lnTo>
                  <a:cubicBezTo>
                    <a:pt x="51012" y="98516"/>
                    <a:pt x="78576" y="103659"/>
                    <a:pt x="99659" y="109707"/>
                  </a:cubicBezTo>
                  <a:cubicBezTo>
                    <a:pt x="41377" y="132859"/>
                    <a:pt x="0" y="189722"/>
                    <a:pt x="0" y="256142"/>
                  </a:cubicBezTo>
                  <a:lnTo>
                    <a:pt x="0" y="315251"/>
                  </a:lnTo>
                  <a:cubicBezTo>
                    <a:pt x="0" y="358716"/>
                    <a:pt x="35348" y="394064"/>
                    <a:pt x="78813" y="394064"/>
                  </a:cubicBezTo>
                  <a:lnTo>
                    <a:pt x="236439" y="394064"/>
                  </a:lnTo>
                  <a:cubicBezTo>
                    <a:pt x="279904" y="394064"/>
                    <a:pt x="315251" y="358716"/>
                    <a:pt x="315251" y="315251"/>
                  </a:cubicBezTo>
                  <a:lnTo>
                    <a:pt x="315251" y="256142"/>
                  </a:lnTo>
                  <a:cubicBezTo>
                    <a:pt x="315251" y="190412"/>
                    <a:pt x="274781" y="134021"/>
                    <a:pt x="217504" y="110417"/>
                  </a:cubicBezTo>
                  <a:close/>
                  <a:moveTo>
                    <a:pt x="157626" y="334954"/>
                  </a:moveTo>
                  <a:lnTo>
                    <a:pt x="118219" y="334954"/>
                  </a:lnTo>
                  <a:lnTo>
                    <a:pt x="118219" y="295548"/>
                  </a:lnTo>
                  <a:lnTo>
                    <a:pt x="157626" y="295548"/>
                  </a:lnTo>
                  <a:cubicBezTo>
                    <a:pt x="163064" y="295548"/>
                    <a:pt x="167477" y="291115"/>
                    <a:pt x="167477" y="285696"/>
                  </a:cubicBezTo>
                  <a:cubicBezTo>
                    <a:pt x="167477" y="280278"/>
                    <a:pt x="163064" y="275845"/>
                    <a:pt x="157626" y="275845"/>
                  </a:cubicBezTo>
                  <a:cubicBezTo>
                    <a:pt x="130475" y="275845"/>
                    <a:pt x="108368" y="253758"/>
                    <a:pt x="108368" y="226587"/>
                  </a:cubicBezTo>
                  <a:cubicBezTo>
                    <a:pt x="108368" y="206450"/>
                    <a:pt x="120564" y="189131"/>
                    <a:pt x="137922" y="181506"/>
                  </a:cubicBezTo>
                  <a:lnTo>
                    <a:pt x="137922" y="157626"/>
                  </a:lnTo>
                  <a:lnTo>
                    <a:pt x="177329" y="157626"/>
                  </a:lnTo>
                  <a:lnTo>
                    <a:pt x="177329" y="177329"/>
                  </a:lnTo>
                  <a:lnTo>
                    <a:pt x="197032" y="177329"/>
                  </a:lnTo>
                  <a:lnTo>
                    <a:pt x="197032" y="216735"/>
                  </a:lnTo>
                  <a:lnTo>
                    <a:pt x="157626" y="216735"/>
                  </a:lnTo>
                  <a:cubicBezTo>
                    <a:pt x="152188" y="216735"/>
                    <a:pt x="147774" y="221168"/>
                    <a:pt x="147774" y="226587"/>
                  </a:cubicBezTo>
                  <a:cubicBezTo>
                    <a:pt x="147774" y="232005"/>
                    <a:pt x="152188" y="236438"/>
                    <a:pt x="157626" y="236438"/>
                  </a:cubicBezTo>
                  <a:cubicBezTo>
                    <a:pt x="184777" y="236438"/>
                    <a:pt x="206884" y="258526"/>
                    <a:pt x="206884" y="285696"/>
                  </a:cubicBezTo>
                  <a:cubicBezTo>
                    <a:pt x="206884" y="312867"/>
                    <a:pt x="184777" y="334954"/>
                    <a:pt x="157626" y="334954"/>
                  </a:cubicBezTo>
                  <a:close/>
                </a:path>
              </a:pathLst>
            </a:custGeom>
            <a:solidFill>
              <a:schemeClr val="bg1"/>
            </a:solidFill>
            <a:ln w="19447"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5" name="Agrupar 104">
            <a:extLst>
              <a:ext uri="{FF2B5EF4-FFF2-40B4-BE49-F238E27FC236}">
                <a16:creationId xmlns:a16="http://schemas.microsoft.com/office/drawing/2014/main" id="{47100357-C4AF-9E36-FAD6-8489CBA493DF}"/>
              </a:ext>
            </a:extLst>
          </p:cNvPr>
          <p:cNvGrpSpPr/>
          <p:nvPr>
            <p:custDataLst>
              <p:tags r:id="rId26"/>
            </p:custDataLst>
          </p:nvPr>
        </p:nvGrpSpPr>
        <p:grpSpPr>
          <a:xfrm>
            <a:off x="6788174" y="2356463"/>
            <a:ext cx="384963" cy="384963"/>
            <a:chOff x="2479333" y="4447348"/>
            <a:chExt cx="384963" cy="384963"/>
          </a:xfrm>
        </p:grpSpPr>
        <p:sp>
          <p:nvSpPr>
            <p:cNvPr id="106" name="Elipse 105">
              <a:extLst>
                <a:ext uri="{FF2B5EF4-FFF2-40B4-BE49-F238E27FC236}">
                  <a16:creationId xmlns:a16="http://schemas.microsoft.com/office/drawing/2014/main" id="{1DABBB91-EF03-CFBE-65AD-6787B0F4A555}"/>
                </a:ext>
              </a:extLst>
            </p:cNvPr>
            <p:cNvSpPr/>
            <p:nvPr>
              <p:custDataLst>
                <p:tags r:id="rId37"/>
              </p:custDataLst>
            </p:nvPr>
          </p:nvSpPr>
          <p:spPr>
            <a:xfrm>
              <a:off x="2479333" y="4447348"/>
              <a:ext cx="384963" cy="384963"/>
            </a:xfrm>
            <a:prstGeom prst="ellipse">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7" name="Forma Livre: Forma 106">
              <a:extLst>
                <a:ext uri="{FF2B5EF4-FFF2-40B4-BE49-F238E27FC236}">
                  <a16:creationId xmlns:a16="http://schemas.microsoft.com/office/drawing/2014/main" id="{351EDA25-C979-26F9-1353-FC25970072BD}"/>
                </a:ext>
              </a:extLst>
            </p:cNvPr>
            <p:cNvSpPr/>
            <p:nvPr>
              <p:custDataLst>
                <p:tags r:id="rId38"/>
              </p:custDataLst>
            </p:nvPr>
          </p:nvSpPr>
          <p:spPr>
            <a:xfrm>
              <a:off x="2569764" y="4503284"/>
              <a:ext cx="220011" cy="227881"/>
            </a:xfrm>
            <a:custGeom>
              <a:avLst/>
              <a:gdLst>
                <a:gd name="connsiteX0" fmla="*/ 225076 w 526567"/>
                <a:gd name="connsiteY0" fmla="*/ 438246 h 545402"/>
                <a:gd name="connsiteX1" fmla="*/ 234601 w 526567"/>
                <a:gd name="connsiteY1" fmla="*/ 447771 h 545402"/>
                <a:gd name="connsiteX2" fmla="*/ 234601 w 526567"/>
                <a:gd name="connsiteY2" fmla="*/ 477489 h 545402"/>
                <a:gd name="connsiteX3" fmla="*/ 39624 w 526567"/>
                <a:gd name="connsiteY3" fmla="*/ 477489 h 545402"/>
                <a:gd name="connsiteX4" fmla="*/ 39624 w 526567"/>
                <a:gd name="connsiteY4" fmla="*/ 447771 h 545402"/>
                <a:gd name="connsiteX5" fmla="*/ 49149 w 526567"/>
                <a:gd name="connsiteY5" fmla="*/ 438246 h 545402"/>
                <a:gd name="connsiteX6" fmla="*/ 264700 w 526567"/>
                <a:gd name="connsiteY6" fmla="*/ 506064 h 545402"/>
                <a:gd name="connsiteX7" fmla="*/ 9525 w 526567"/>
                <a:gd name="connsiteY7" fmla="*/ 506064 h 545402"/>
                <a:gd name="connsiteX8" fmla="*/ 0 w 526567"/>
                <a:gd name="connsiteY8" fmla="*/ 515589 h 545402"/>
                <a:gd name="connsiteX9" fmla="*/ 0 w 526567"/>
                <a:gd name="connsiteY9" fmla="*/ 545402 h 545402"/>
                <a:gd name="connsiteX10" fmla="*/ 274225 w 526567"/>
                <a:gd name="connsiteY10" fmla="*/ 545402 h 545402"/>
                <a:gd name="connsiteX11" fmla="*/ 274225 w 526567"/>
                <a:gd name="connsiteY11" fmla="*/ 515589 h 545402"/>
                <a:gd name="connsiteX12" fmla="*/ 264700 w 526567"/>
                <a:gd name="connsiteY12" fmla="*/ 506064 h 545402"/>
                <a:gd name="connsiteX13" fmla="*/ 304895 w 526567"/>
                <a:gd name="connsiteY13" fmla="*/ 203264 h 545402"/>
                <a:gd name="connsiteX14" fmla="*/ 284607 w 526567"/>
                <a:gd name="connsiteY14" fmla="*/ 183167 h 545402"/>
                <a:gd name="connsiteX15" fmla="*/ 186976 w 526567"/>
                <a:gd name="connsiteY15" fmla="*/ 84964 h 545402"/>
                <a:gd name="connsiteX16" fmla="*/ 92678 w 526567"/>
                <a:gd name="connsiteY16" fmla="*/ 178880 h 545402"/>
                <a:gd name="connsiteX17" fmla="*/ 210979 w 526567"/>
                <a:gd name="connsiteY17" fmla="*/ 297181 h 545402"/>
                <a:gd name="connsiteX18" fmla="*/ 226981 w 526567"/>
                <a:gd name="connsiteY18" fmla="*/ 84964 h 545402"/>
                <a:gd name="connsiteX19" fmla="*/ 304800 w 526567"/>
                <a:gd name="connsiteY19" fmla="*/ 162878 h 545402"/>
                <a:gd name="connsiteX20" fmla="*/ 325088 w 526567"/>
                <a:gd name="connsiteY20" fmla="*/ 183071 h 545402"/>
                <a:gd name="connsiteX21" fmla="*/ 326422 w 526567"/>
                <a:gd name="connsiteY21" fmla="*/ 184405 h 545402"/>
                <a:gd name="connsiteX22" fmla="*/ 336518 w 526567"/>
                <a:gd name="connsiteY22" fmla="*/ 188596 h 545402"/>
                <a:gd name="connsiteX23" fmla="*/ 346615 w 526567"/>
                <a:gd name="connsiteY23" fmla="*/ 184405 h 545402"/>
                <a:gd name="connsiteX24" fmla="*/ 385858 w 526567"/>
                <a:gd name="connsiteY24" fmla="*/ 145162 h 545402"/>
                <a:gd name="connsiteX25" fmla="*/ 390049 w 526567"/>
                <a:gd name="connsiteY25" fmla="*/ 135065 h 545402"/>
                <a:gd name="connsiteX26" fmla="*/ 385858 w 526567"/>
                <a:gd name="connsiteY26" fmla="*/ 124969 h 545402"/>
                <a:gd name="connsiteX27" fmla="*/ 264890 w 526567"/>
                <a:gd name="connsiteY27" fmla="*/ 4001 h 545402"/>
                <a:gd name="connsiteX28" fmla="*/ 244602 w 526567"/>
                <a:gd name="connsiteY28" fmla="*/ 4001 h 545402"/>
                <a:gd name="connsiteX29" fmla="*/ 205454 w 526567"/>
                <a:gd name="connsiteY29" fmla="*/ 43244 h 545402"/>
                <a:gd name="connsiteX30" fmla="*/ 205332 w 526567"/>
                <a:gd name="connsiteY30" fmla="*/ 63315 h 545402"/>
                <a:gd name="connsiteX31" fmla="*/ 205454 w 526567"/>
                <a:gd name="connsiteY31" fmla="*/ 63437 h 545402"/>
                <a:gd name="connsiteX32" fmla="*/ 132683 w 526567"/>
                <a:gd name="connsiteY32" fmla="*/ 378143 h 545402"/>
                <a:gd name="connsiteX33" fmla="*/ 142780 w 526567"/>
                <a:gd name="connsiteY33" fmla="*/ 382334 h 545402"/>
                <a:gd name="connsiteX34" fmla="*/ 152876 w 526567"/>
                <a:gd name="connsiteY34" fmla="*/ 378143 h 545402"/>
                <a:gd name="connsiteX35" fmla="*/ 192119 w 526567"/>
                <a:gd name="connsiteY35" fmla="*/ 339377 h 545402"/>
                <a:gd name="connsiteX36" fmla="*/ 192119 w 526567"/>
                <a:gd name="connsiteY36" fmla="*/ 319184 h 545402"/>
                <a:gd name="connsiteX37" fmla="*/ 190786 w 526567"/>
                <a:gd name="connsiteY37" fmla="*/ 317850 h 545402"/>
                <a:gd name="connsiteX38" fmla="*/ 170593 w 526567"/>
                <a:gd name="connsiteY38" fmla="*/ 297657 h 545402"/>
                <a:gd name="connsiteX39" fmla="*/ 92678 w 526567"/>
                <a:gd name="connsiteY39" fmla="*/ 219266 h 545402"/>
                <a:gd name="connsiteX40" fmla="*/ 72676 w 526567"/>
                <a:gd name="connsiteY40" fmla="*/ 199073 h 545402"/>
                <a:gd name="connsiteX41" fmla="*/ 71342 w 526567"/>
                <a:gd name="connsiteY41" fmla="*/ 197740 h 545402"/>
                <a:gd name="connsiteX42" fmla="*/ 51149 w 526567"/>
                <a:gd name="connsiteY42" fmla="*/ 197740 h 545402"/>
                <a:gd name="connsiteX43" fmla="*/ 11716 w 526567"/>
                <a:gd name="connsiteY43" fmla="*/ 236983 h 545402"/>
                <a:gd name="connsiteX44" fmla="*/ 11593 w 526567"/>
                <a:gd name="connsiteY44" fmla="*/ 257053 h 545402"/>
                <a:gd name="connsiteX45" fmla="*/ 11716 w 526567"/>
                <a:gd name="connsiteY45" fmla="*/ 257176 h 545402"/>
                <a:gd name="connsiteX46" fmla="*/ 514541 w 526567"/>
                <a:gd name="connsiteY46" fmla="*/ 448914 h 545402"/>
                <a:gd name="connsiteX47" fmla="*/ 306610 w 526567"/>
                <a:gd name="connsiteY47" fmla="*/ 241936 h 545402"/>
                <a:gd name="connsiteX48" fmla="*/ 249460 w 526567"/>
                <a:gd name="connsiteY48" fmla="*/ 299086 h 545402"/>
                <a:gd name="connsiteX49" fmla="*/ 457581 w 526567"/>
                <a:gd name="connsiteY49" fmla="*/ 505969 h 545402"/>
                <a:gd name="connsiteX50" fmla="*/ 514731 w 526567"/>
                <a:gd name="connsiteY50" fmla="*/ 505969 h 545402"/>
                <a:gd name="connsiteX51" fmla="*/ 514731 w 526567"/>
                <a:gd name="connsiteY51" fmla="*/ 448819 h 545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26567" h="545402">
                  <a:moveTo>
                    <a:pt x="225076" y="438246"/>
                  </a:moveTo>
                  <a:cubicBezTo>
                    <a:pt x="230336" y="438246"/>
                    <a:pt x="234601" y="442511"/>
                    <a:pt x="234601" y="447771"/>
                  </a:cubicBezTo>
                  <a:lnTo>
                    <a:pt x="234601" y="477489"/>
                  </a:lnTo>
                  <a:lnTo>
                    <a:pt x="39624" y="477489"/>
                  </a:lnTo>
                  <a:lnTo>
                    <a:pt x="39624" y="447771"/>
                  </a:lnTo>
                  <a:cubicBezTo>
                    <a:pt x="39624" y="442511"/>
                    <a:pt x="43888" y="438246"/>
                    <a:pt x="49149" y="438246"/>
                  </a:cubicBezTo>
                  <a:close/>
                  <a:moveTo>
                    <a:pt x="264700" y="506064"/>
                  </a:moveTo>
                  <a:lnTo>
                    <a:pt x="9525" y="506064"/>
                  </a:lnTo>
                  <a:cubicBezTo>
                    <a:pt x="4264" y="506064"/>
                    <a:pt x="0" y="510329"/>
                    <a:pt x="0" y="515589"/>
                  </a:cubicBezTo>
                  <a:lnTo>
                    <a:pt x="0" y="545402"/>
                  </a:lnTo>
                  <a:lnTo>
                    <a:pt x="274225" y="545402"/>
                  </a:lnTo>
                  <a:lnTo>
                    <a:pt x="274225" y="515589"/>
                  </a:lnTo>
                  <a:cubicBezTo>
                    <a:pt x="274225" y="510329"/>
                    <a:pt x="269960" y="506064"/>
                    <a:pt x="264700" y="506064"/>
                  </a:cubicBezTo>
                  <a:close/>
                  <a:moveTo>
                    <a:pt x="304895" y="203264"/>
                  </a:moveTo>
                  <a:lnTo>
                    <a:pt x="284607" y="183167"/>
                  </a:lnTo>
                  <a:lnTo>
                    <a:pt x="186976" y="84964"/>
                  </a:lnTo>
                  <a:lnTo>
                    <a:pt x="92678" y="178880"/>
                  </a:lnTo>
                  <a:lnTo>
                    <a:pt x="210979" y="297181"/>
                  </a:lnTo>
                  <a:close/>
                  <a:moveTo>
                    <a:pt x="226981" y="84964"/>
                  </a:moveTo>
                  <a:lnTo>
                    <a:pt x="304800" y="162878"/>
                  </a:lnTo>
                  <a:lnTo>
                    <a:pt x="325088" y="183071"/>
                  </a:lnTo>
                  <a:lnTo>
                    <a:pt x="326422" y="184405"/>
                  </a:lnTo>
                  <a:cubicBezTo>
                    <a:pt x="329068" y="187131"/>
                    <a:pt x="332720" y="188647"/>
                    <a:pt x="336518" y="188596"/>
                  </a:cubicBezTo>
                  <a:cubicBezTo>
                    <a:pt x="340310" y="188614"/>
                    <a:pt x="343950" y="187103"/>
                    <a:pt x="346615" y="184405"/>
                  </a:cubicBezTo>
                  <a:lnTo>
                    <a:pt x="385858" y="145162"/>
                  </a:lnTo>
                  <a:cubicBezTo>
                    <a:pt x="388538" y="142485"/>
                    <a:pt x="390045" y="138853"/>
                    <a:pt x="390049" y="135065"/>
                  </a:cubicBezTo>
                  <a:cubicBezTo>
                    <a:pt x="390025" y="131282"/>
                    <a:pt x="388520" y="127657"/>
                    <a:pt x="385858" y="124969"/>
                  </a:cubicBezTo>
                  <a:lnTo>
                    <a:pt x="264890" y="4001"/>
                  </a:lnTo>
                  <a:cubicBezTo>
                    <a:pt x="259180" y="-1334"/>
                    <a:pt x="250312" y="-1334"/>
                    <a:pt x="244602" y="4001"/>
                  </a:cubicBezTo>
                  <a:lnTo>
                    <a:pt x="205454" y="43244"/>
                  </a:lnTo>
                  <a:cubicBezTo>
                    <a:pt x="199878" y="48753"/>
                    <a:pt x="199823" y="57739"/>
                    <a:pt x="205332" y="63315"/>
                  </a:cubicBezTo>
                  <a:cubicBezTo>
                    <a:pt x="205372" y="63356"/>
                    <a:pt x="205413" y="63397"/>
                    <a:pt x="205454" y="63437"/>
                  </a:cubicBezTo>
                  <a:close/>
                  <a:moveTo>
                    <a:pt x="132683" y="378143"/>
                  </a:moveTo>
                  <a:cubicBezTo>
                    <a:pt x="135354" y="380833"/>
                    <a:pt x="138990" y="382342"/>
                    <a:pt x="142780" y="382334"/>
                  </a:cubicBezTo>
                  <a:cubicBezTo>
                    <a:pt x="146566" y="382321"/>
                    <a:pt x="150194" y="380815"/>
                    <a:pt x="152876" y="378143"/>
                  </a:cubicBezTo>
                  <a:lnTo>
                    <a:pt x="192119" y="339377"/>
                  </a:lnTo>
                  <a:cubicBezTo>
                    <a:pt x="197691" y="333799"/>
                    <a:pt x="197691" y="324762"/>
                    <a:pt x="192119" y="319184"/>
                  </a:cubicBezTo>
                  <a:lnTo>
                    <a:pt x="190786" y="317850"/>
                  </a:lnTo>
                  <a:lnTo>
                    <a:pt x="170593" y="297657"/>
                  </a:lnTo>
                  <a:lnTo>
                    <a:pt x="92678" y="219266"/>
                  </a:lnTo>
                  <a:lnTo>
                    <a:pt x="72676" y="199073"/>
                  </a:lnTo>
                  <a:lnTo>
                    <a:pt x="71342" y="197740"/>
                  </a:lnTo>
                  <a:cubicBezTo>
                    <a:pt x="65664" y="192417"/>
                    <a:pt x="56828" y="192417"/>
                    <a:pt x="51149" y="197740"/>
                  </a:cubicBezTo>
                  <a:lnTo>
                    <a:pt x="11716" y="236983"/>
                  </a:lnTo>
                  <a:cubicBezTo>
                    <a:pt x="6140" y="242491"/>
                    <a:pt x="6085" y="251477"/>
                    <a:pt x="11593" y="257053"/>
                  </a:cubicBezTo>
                  <a:cubicBezTo>
                    <a:pt x="11634" y="257095"/>
                    <a:pt x="11675" y="257135"/>
                    <a:pt x="11716" y="257176"/>
                  </a:cubicBezTo>
                  <a:close/>
                  <a:moveTo>
                    <a:pt x="514541" y="448914"/>
                  </a:moveTo>
                  <a:lnTo>
                    <a:pt x="306610" y="241936"/>
                  </a:lnTo>
                  <a:lnTo>
                    <a:pt x="249460" y="299086"/>
                  </a:lnTo>
                  <a:lnTo>
                    <a:pt x="457581" y="505969"/>
                  </a:lnTo>
                  <a:cubicBezTo>
                    <a:pt x="473363" y="521750"/>
                    <a:pt x="498949" y="521750"/>
                    <a:pt x="514731" y="505969"/>
                  </a:cubicBezTo>
                  <a:cubicBezTo>
                    <a:pt x="530513" y="490187"/>
                    <a:pt x="530513" y="464600"/>
                    <a:pt x="514731" y="448819"/>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6" name="Conector reto 5">
            <a:extLst>
              <a:ext uri="{FF2B5EF4-FFF2-40B4-BE49-F238E27FC236}">
                <a16:creationId xmlns:a16="http://schemas.microsoft.com/office/drawing/2014/main" id="{7CD8560D-62F2-67B1-FD2A-C377E6F03582}"/>
              </a:ext>
            </a:extLst>
          </p:cNvPr>
          <p:cNvCxnSpPr/>
          <p:nvPr>
            <p:custDataLst>
              <p:tags r:id="rId27"/>
            </p:custDataLst>
          </p:nvPr>
        </p:nvCxnSpPr>
        <p:spPr>
          <a:xfrm flipH="1">
            <a:off x="2397801" y="4718263"/>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9" name="Conector reto 8">
            <a:extLst>
              <a:ext uri="{FF2B5EF4-FFF2-40B4-BE49-F238E27FC236}">
                <a16:creationId xmlns:a16="http://schemas.microsoft.com/office/drawing/2014/main" id="{EA05C96B-EFA3-8B68-3CCB-C0818055EBBE}"/>
              </a:ext>
            </a:extLst>
          </p:cNvPr>
          <p:cNvCxnSpPr/>
          <p:nvPr>
            <p:custDataLst>
              <p:tags r:id="rId28"/>
            </p:custDataLst>
          </p:nvPr>
        </p:nvCxnSpPr>
        <p:spPr>
          <a:xfrm flipH="1">
            <a:off x="712695" y="4718263"/>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13" name="Conector reto 12">
            <a:extLst>
              <a:ext uri="{FF2B5EF4-FFF2-40B4-BE49-F238E27FC236}">
                <a16:creationId xmlns:a16="http://schemas.microsoft.com/office/drawing/2014/main" id="{604921B5-0162-5BB9-3D33-B874F9AC8507}"/>
              </a:ext>
            </a:extLst>
          </p:cNvPr>
          <p:cNvCxnSpPr/>
          <p:nvPr>
            <p:custDataLst>
              <p:tags r:id="rId29"/>
            </p:custDataLst>
          </p:nvPr>
        </p:nvCxnSpPr>
        <p:spPr>
          <a:xfrm flipH="1">
            <a:off x="4563425" y="4723870"/>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14" name="Conector reto 13">
            <a:extLst>
              <a:ext uri="{FF2B5EF4-FFF2-40B4-BE49-F238E27FC236}">
                <a16:creationId xmlns:a16="http://schemas.microsoft.com/office/drawing/2014/main" id="{048F4F4D-46C4-E699-0DDB-217A65B4F121}"/>
              </a:ext>
            </a:extLst>
          </p:cNvPr>
          <p:cNvCxnSpPr/>
          <p:nvPr>
            <p:custDataLst>
              <p:tags r:id="rId30"/>
            </p:custDataLst>
          </p:nvPr>
        </p:nvCxnSpPr>
        <p:spPr>
          <a:xfrm flipH="1">
            <a:off x="3915540" y="3233886"/>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cxnSp>
        <p:nvCxnSpPr>
          <p:cNvPr id="17" name="Conector reto 16">
            <a:extLst>
              <a:ext uri="{FF2B5EF4-FFF2-40B4-BE49-F238E27FC236}">
                <a16:creationId xmlns:a16="http://schemas.microsoft.com/office/drawing/2014/main" id="{A0F67F8E-FB3C-2A3F-3102-32299E37CE5C}"/>
              </a:ext>
            </a:extLst>
          </p:cNvPr>
          <p:cNvCxnSpPr/>
          <p:nvPr>
            <p:custDataLst>
              <p:tags r:id="rId31"/>
            </p:custDataLst>
          </p:nvPr>
        </p:nvCxnSpPr>
        <p:spPr>
          <a:xfrm flipH="1">
            <a:off x="6964873" y="3121119"/>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sp>
        <p:nvSpPr>
          <p:cNvPr id="2" name="CaixaDeTexto 1">
            <a:extLst>
              <a:ext uri="{FF2B5EF4-FFF2-40B4-BE49-F238E27FC236}">
                <a16:creationId xmlns:a16="http://schemas.microsoft.com/office/drawing/2014/main" id="{B0C4127B-3A83-D677-1E4B-00BC399637A2}"/>
              </a:ext>
            </a:extLst>
          </p:cNvPr>
          <p:cNvSpPr txBox="1"/>
          <p:nvPr>
            <p:custDataLst>
              <p:tags r:id="rId32"/>
            </p:custDataLst>
          </p:nvPr>
        </p:nvSpPr>
        <p:spPr>
          <a:xfrm>
            <a:off x="6317884" y="4271635"/>
            <a:ext cx="2214554" cy="455894"/>
          </a:xfrm>
          <a:prstGeom prst="rect">
            <a:avLst/>
          </a:prstGeom>
          <a:noFill/>
        </p:spPr>
        <p:txBody>
          <a:bodyPr wrap="square" rtlCol="0">
            <a:spAutoFit/>
          </a:bodyPr>
          <a:lstStyle/>
          <a:p>
            <a:pPr lvl="0" defTabSz="449985">
              <a:lnSpc>
                <a:spcPct val="80000"/>
              </a:lnSpc>
              <a:spcBef>
                <a:spcPct val="0"/>
              </a:spcBef>
              <a:spcAft>
                <a:spcPct val="0"/>
              </a:spcAft>
              <a:defRPr/>
            </a:pPr>
            <a:r>
              <a:rPr lang="en-US" sz="984" b="1" i="0" u="none" strike="noStrike" cap="none" baseline="0" dirty="0">
                <a:solidFill>
                  <a:srgbClr val="011F57"/>
                </a:solidFill>
                <a:effectLst/>
                <a:uFillTx/>
                <a:latin typeface="Segoe UI"/>
              </a:rPr>
              <a:t>Conclusion of 12 </a:t>
            </a:r>
            <a:r>
              <a:rPr lang="en-US" sz="984" b="1" dirty="0">
                <a:solidFill>
                  <a:srgbClr val="011F57"/>
                </a:solidFill>
                <a:latin typeface="Segoe UI"/>
              </a:rPr>
              <a:t>bidded projects</a:t>
            </a:r>
            <a:endParaRPr lang="en-US" sz="984" b="1" i="0" u="none" strike="noStrike" cap="none" baseline="0" dirty="0">
              <a:solidFill>
                <a:srgbClr val="011F57"/>
              </a:solidFill>
              <a:effectLst/>
              <a:uFillTx/>
              <a:latin typeface="Segoe UI"/>
            </a:endParaRPr>
          </a:p>
          <a:p>
            <a:pPr defTabSz="449985">
              <a:lnSpc>
                <a:spcPct val="80000"/>
              </a:lnSpc>
              <a:defRPr/>
            </a:pPr>
            <a:r>
              <a:rPr lang="en-US" sz="984" b="0" i="0" u="none" strike="noStrike" cap="none" baseline="0" dirty="0">
                <a:solidFill>
                  <a:srgbClr val="011F57"/>
                </a:solidFill>
                <a:effectLst/>
                <a:uFillTx/>
                <a:latin typeface="Segoe UI"/>
              </a:rPr>
              <a:t>Addition</a:t>
            </a:r>
            <a:r>
              <a:rPr lang="en-US" sz="984" b="0" i="0" u="none" strike="noStrike" cap="none" dirty="0">
                <a:solidFill>
                  <a:srgbClr val="011F57"/>
                </a:solidFill>
                <a:effectLst/>
                <a:uFillTx/>
                <a:latin typeface="Segoe UI"/>
              </a:rPr>
              <a:t> of </a:t>
            </a:r>
            <a:r>
              <a:rPr lang="en-US" sz="984" b="0" i="0" u="none" strike="noStrike" cap="none" baseline="0" dirty="0">
                <a:solidFill>
                  <a:srgbClr val="011F57"/>
                </a:solidFill>
                <a:effectLst/>
                <a:uFillTx/>
                <a:latin typeface="Segoe UI"/>
              </a:rPr>
              <a:t>R$ 644.8 million in Annual Revenue²</a:t>
            </a:r>
          </a:p>
        </p:txBody>
      </p:sp>
      <p:grpSp>
        <p:nvGrpSpPr>
          <p:cNvPr id="18" name="Agrupar 17">
            <a:extLst>
              <a:ext uri="{FF2B5EF4-FFF2-40B4-BE49-F238E27FC236}">
                <a16:creationId xmlns:a16="http://schemas.microsoft.com/office/drawing/2014/main" id="{E8D00205-04A7-47AE-B882-F2394DC6F25C}"/>
              </a:ext>
            </a:extLst>
          </p:cNvPr>
          <p:cNvGrpSpPr/>
          <p:nvPr>
            <p:custDataLst>
              <p:tags r:id="rId33"/>
            </p:custDataLst>
          </p:nvPr>
        </p:nvGrpSpPr>
        <p:grpSpPr>
          <a:xfrm>
            <a:off x="6394770" y="3856274"/>
            <a:ext cx="384963" cy="384963"/>
            <a:chOff x="3723059" y="2499133"/>
            <a:chExt cx="384963" cy="384963"/>
          </a:xfrm>
        </p:grpSpPr>
        <p:sp>
          <p:nvSpPr>
            <p:cNvPr id="19" name="Elipse 18">
              <a:extLst>
                <a:ext uri="{FF2B5EF4-FFF2-40B4-BE49-F238E27FC236}">
                  <a16:creationId xmlns:a16="http://schemas.microsoft.com/office/drawing/2014/main" id="{343C4B21-73E2-02C3-4696-781DA0F8AC64}"/>
                </a:ext>
              </a:extLst>
            </p:cNvPr>
            <p:cNvSpPr/>
            <p:nvPr>
              <p:custDataLst>
                <p:tags r:id="rId35"/>
              </p:custDataLst>
            </p:nvPr>
          </p:nvSpPr>
          <p:spPr>
            <a:xfrm>
              <a:off x="3723059" y="2499133"/>
              <a:ext cx="384963" cy="384963"/>
            </a:xfrm>
            <a:prstGeom prst="ellipse">
              <a:avLst/>
            </a:prstGeom>
            <a:gradFill>
              <a:gsLst>
                <a:gs pos="0">
                  <a:srgbClr val="FE5000">
                    <a:alpha val="45000"/>
                  </a:srgbClr>
                </a:gs>
                <a:gs pos="100000">
                  <a:srgbClr val="FE5000"/>
                </a:gs>
              </a:gsLst>
              <a:lin ang="2700000" scaled="0"/>
            </a:gradFill>
            <a:ln w="19050">
              <a:gradFill>
                <a:gsLst>
                  <a:gs pos="0">
                    <a:srgbClr val="FE5000"/>
                  </a:gs>
                  <a:gs pos="50000">
                    <a:srgbClr val="FE5000">
                      <a:alpha val="0"/>
                    </a:srgbClr>
                  </a:gs>
                  <a:gs pos="100000">
                    <a:srgbClr val="FE5000"/>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Forma Livre: Forma 20">
              <a:extLst>
                <a:ext uri="{FF2B5EF4-FFF2-40B4-BE49-F238E27FC236}">
                  <a16:creationId xmlns:a16="http://schemas.microsoft.com/office/drawing/2014/main" id="{C0749418-DC88-ABE3-3059-C5DE7490F363}"/>
                </a:ext>
              </a:extLst>
            </p:cNvPr>
            <p:cNvSpPr/>
            <p:nvPr>
              <p:custDataLst>
                <p:tags r:id="rId36"/>
              </p:custDataLst>
            </p:nvPr>
          </p:nvSpPr>
          <p:spPr>
            <a:xfrm>
              <a:off x="3805549" y="2553317"/>
              <a:ext cx="233589" cy="245998"/>
            </a:xfrm>
            <a:custGeom>
              <a:avLst/>
              <a:gdLst>
                <a:gd name="connsiteX0" fmla="*/ 755527 w 759741"/>
                <a:gd name="connsiteY0" fmla="*/ 375656 h 800100"/>
                <a:gd name="connsiteX1" fmla="*/ 379871 w 759741"/>
                <a:gd name="connsiteY1" fmla="*/ 0 h 800100"/>
                <a:gd name="connsiteX2" fmla="*/ 4214 w 759741"/>
                <a:gd name="connsiteY2" fmla="*/ 375656 h 800100"/>
                <a:gd name="connsiteX3" fmla="*/ 14311 w 759741"/>
                <a:gd name="connsiteY3" fmla="*/ 400050 h 800100"/>
                <a:gd name="connsiteX4" fmla="*/ 179846 w 759741"/>
                <a:gd name="connsiteY4" fmla="*/ 400050 h 800100"/>
                <a:gd name="connsiteX5" fmla="*/ 179846 w 759741"/>
                <a:gd name="connsiteY5" fmla="*/ 800100 h 800100"/>
                <a:gd name="connsiteX6" fmla="*/ 579896 w 759741"/>
                <a:gd name="connsiteY6" fmla="*/ 800100 h 800100"/>
                <a:gd name="connsiteX7" fmla="*/ 579896 w 759741"/>
                <a:gd name="connsiteY7" fmla="*/ 400050 h 800100"/>
                <a:gd name="connsiteX8" fmla="*/ 745431 w 759741"/>
                <a:gd name="connsiteY8" fmla="*/ 400050 h 800100"/>
                <a:gd name="connsiteX9" fmla="*/ 755527 w 759741"/>
                <a:gd name="connsiteY9" fmla="*/ 375656 h 800100"/>
                <a:gd name="connsiteX10" fmla="*/ 408446 w 759741"/>
                <a:gd name="connsiteY10" fmla="*/ 655777 h 800100"/>
                <a:gd name="connsiteX11" fmla="*/ 408446 w 759741"/>
                <a:gd name="connsiteY11" fmla="*/ 685800 h 800100"/>
                <a:gd name="connsiteX12" fmla="*/ 351296 w 759741"/>
                <a:gd name="connsiteY12" fmla="*/ 685800 h 800100"/>
                <a:gd name="connsiteX13" fmla="*/ 351296 w 759741"/>
                <a:gd name="connsiteY13" fmla="*/ 657225 h 800100"/>
                <a:gd name="connsiteX14" fmla="*/ 308433 w 759741"/>
                <a:gd name="connsiteY14" fmla="*/ 657225 h 800100"/>
                <a:gd name="connsiteX15" fmla="*/ 294146 w 759741"/>
                <a:gd name="connsiteY15" fmla="*/ 642938 h 800100"/>
                <a:gd name="connsiteX16" fmla="*/ 294146 w 759741"/>
                <a:gd name="connsiteY16" fmla="*/ 614363 h 800100"/>
                <a:gd name="connsiteX17" fmla="*/ 308433 w 759741"/>
                <a:gd name="connsiteY17" fmla="*/ 600075 h 800100"/>
                <a:gd name="connsiteX18" fmla="*/ 394158 w 759741"/>
                <a:gd name="connsiteY18" fmla="*/ 600075 h 800100"/>
                <a:gd name="connsiteX19" fmla="*/ 408446 w 759741"/>
                <a:gd name="connsiteY19" fmla="*/ 585788 h 800100"/>
                <a:gd name="connsiteX20" fmla="*/ 394158 w 759741"/>
                <a:gd name="connsiteY20" fmla="*/ 571500 h 800100"/>
                <a:gd name="connsiteX21" fmla="*/ 368727 w 759741"/>
                <a:gd name="connsiteY21" fmla="*/ 571500 h 800100"/>
                <a:gd name="connsiteX22" fmla="*/ 295260 w 759741"/>
                <a:gd name="connsiteY22" fmla="*/ 512836 h 800100"/>
                <a:gd name="connsiteX23" fmla="*/ 351296 w 759741"/>
                <a:gd name="connsiteY23" fmla="*/ 430073 h 800100"/>
                <a:gd name="connsiteX24" fmla="*/ 351296 w 759741"/>
                <a:gd name="connsiteY24" fmla="*/ 400050 h 800100"/>
                <a:gd name="connsiteX25" fmla="*/ 408446 w 759741"/>
                <a:gd name="connsiteY25" fmla="*/ 400050 h 800100"/>
                <a:gd name="connsiteX26" fmla="*/ 408446 w 759741"/>
                <a:gd name="connsiteY26" fmla="*/ 428625 h 800100"/>
                <a:gd name="connsiteX27" fmla="*/ 437021 w 759741"/>
                <a:gd name="connsiteY27" fmla="*/ 428625 h 800100"/>
                <a:gd name="connsiteX28" fmla="*/ 451308 w 759741"/>
                <a:gd name="connsiteY28" fmla="*/ 442913 h 800100"/>
                <a:gd name="connsiteX29" fmla="*/ 451308 w 759741"/>
                <a:gd name="connsiteY29" fmla="*/ 471488 h 800100"/>
                <a:gd name="connsiteX30" fmla="*/ 437021 w 759741"/>
                <a:gd name="connsiteY30" fmla="*/ 485775 h 800100"/>
                <a:gd name="connsiteX31" fmla="*/ 365583 w 759741"/>
                <a:gd name="connsiteY31" fmla="*/ 485775 h 800100"/>
                <a:gd name="connsiteX32" fmla="*/ 351296 w 759741"/>
                <a:gd name="connsiteY32" fmla="*/ 500063 h 800100"/>
                <a:gd name="connsiteX33" fmla="*/ 365583 w 759741"/>
                <a:gd name="connsiteY33" fmla="*/ 514350 h 800100"/>
                <a:gd name="connsiteX34" fmla="*/ 391015 w 759741"/>
                <a:gd name="connsiteY34" fmla="*/ 514350 h 800100"/>
                <a:gd name="connsiteX35" fmla="*/ 464481 w 759741"/>
                <a:gd name="connsiteY35" fmla="*/ 573014 h 800100"/>
                <a:gd name="connsiteX36" fmla="*/ 408446 w 759741"/>
                <a:gd name="connsiteY36" fmla="*/ 655777 h 80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59741" h="800100">
                  <a:moveTo>
                    <a:pt x="755527" y="375656"/>
                  </a:moveTo>
                  <a:lnTo>
                    <a:pt x="379871" y="0"/>
                  </a:lnTo>
                  <a:lnTo>
                    <a:pt x="4214" y="375656"/>
                  </a:lnTo>
                  <a:cubicBezTo>
                    <a:pt x="-4787" y="384658"/>
                    <a:pt x="1586" y="400050"/>
                    <a:pt x="14311" y="400050"/>
                  </a:cubicBezTo>
                  <a:lnTo>
                    <a:pt x="179846" y="400050"/>
                  </a:lnTo>
                  <a:lnTo>
                    <a:pt x="179846" y="800100"/>
                  </a:lnTo>
                  <a:lnTo>
                    <a:pt x="579896" y="800100"/>
                  </a:lnTo>
                  <a:lnTo>
                    <a:pt x="579896" y="400050"/>
                  </a:lnTo>
                  <a:lnTo>
                    <a:pt x="745431" y="400050"/>
                  </a:lnTo>
                  <a:cubicBezTo>
                    <a:pt x="758156" y="400050"/>
                    <a:pt x="764529" y="384658"/>
                    <a:pt x="755527" y="375656"/>
                  </a:cubicBezTo>
                  <a:close/>
                  <a:moveTo>
                    <a:pt x="408446" y="655777"/>
                  </a:moveTo>
                  <a:lnTo>
                    <a:pt x="408446" y="685800"/>
                  </a:lnTo>
                  <a:lnTo>
                    <a:pt x="351296" y="685800"/>
                  </a:lnTo>
                  <a:lnTo>
                    <a:pt x="351296" y="657225"/>
                  </a:lnTo>
                  <a:lnTo>
                    <a:pt x="308433" y="657225"/>
                  </a:lnTo>
                  <a:cubicBezTo>
                    <a:pt x="300547" y="657225"/>
                    <a:pt x="294146" y="650824"/>
                    <a:pt x="294146" y="642938"/>
                  </a:cubicBezTo>
                  <a:lnTo>
                    <a:pt x="294146" y="614363"/>
                  </a:lnTo>
                  <a:cubicBezTo>
                    <a:pt x="294146" y="606466"/>
                    <a:pt x="300547" y="600075"/>
                    <a:pt x="308433" y="600075"/>
                  </a:cubicBezTo>
                  <a:lnTo>
                    <a:pt x="394158" y="600075"/>
                  </a:lnTo>
                  <a:cubicBezTo>
                    <a:pt x="402026" y="600075"/>
                    <a:pt x="408446" y="593674"/>
                    <a:pt x="408446" y="585788"/>
                  </a:cubicBezTo>
                  <a:cubicBezTo>
                    <a:pt x="408446" y="577901"/>
                    <a:pt x="402026" y="571500"/>
                    <a:pt x="394158" y="571500"/>
                  </a:cubicBezTo>
                  <a:lnTo>
                    <a:pt x="368727" y="571500"/>
                  </a:lnTo>
                  <a:cubicBezTo>
                    <a:pt x="333560" y="571500"/>
                    <a:pt x="301299" y="547478"/>
                    <a:pt x="295260" y="512836"/>
                  </a:cubicBezTo>
                  <a:cubicBezTo>
                    <a:pt x="288298" y="472897"/>
                    <a:pt x="314768" y="437512"/>
                    <a:pt x="351296" y="430073"/>
                  </a:cubicBezTo>
                  <a:lnTo>
                    <a:pt x="351296" y="400050"/>
                  </a:lnTo>
                  <a:lnTo>
                    <a:pt x="408446" y="400050"/>
                  </a:lnTo>
                  <a:lnTo>
                    <a:pt x="408446" y="428625"/>
                  </a:lnTo>
                  <a:lnTo>
                    <a:pt x="437021" y="428625"/>
                  </a:lnTo>
                  <a:cubicBezTo>
                    <a:pt x="444908" y="428625"/>
                    <a:pt x="451308" y="435016"/>
                    <a:pt x="451308" y="442913"/>
                  </a:cubicBezTo>
                  <a:lnTo>
                    <a:pt x="451308" y="471488"/>
                  </a:lnTo>
                  <a:cubicBezTo>
                    <a:pt x="451308" y="479374"/>
                    <a:pt x="444908" y="485775"/>
                    <a:pt x="437021" y="485775"/>
                  </a:cubicBezTo>
                  <a:lnTo>
                    <a:pt x="365583" y="485775"/>
                  </a:lnTo>
                  <a:cubicBezTo>
                    <a:pt x="357716" y="485775"/>
                    <a:pt x="351296" y="492176"/>
                    <a:pt x="351296" y="500063"/>
                  </a:cubicBezTo>
                  <a:cubicBezTo>
                    <a:pt x="351296" y="507949"/>
                    <a:pt x="357716" y="514350"/>
                    <a:pt x="365583" y="514350"/>
                  </a:cubicBezTo>
                  <a:lnTo>
                    <a:pt x="391015" y="514350"/>
                  </a:lnTo>
                  <a:cubicBezTo>
                    <a:pt x="426181" y="514350"/>
                    <a:pt x="458443" y="538372"/>
                    <a:pt x="464481" y="573014"/>
                  </a:cubicBezTo>
                  <a:cubicBezTo>
                    <a:pt x="471444" y="612953"/>
                    <a:pt x="444974" y="648338"/>
                    <a:pt x="408446" y="655777"/>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ct val="0"/>
                </a:spcBef>
                <a:spcAft>
                  <a:spcPct val="0"/>
                </a:spcAft>
                <a:buClrTx/>
                <a:buSzTx/>
                <a:buFontTx/>
                <a:buNone/>
                <a:defRPr/>
              </a:pPr>
              <a:endParaRPr kumimoji="0" lang="pt-B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cxnSp>
        <p:nvCxnSpPr>
          <p:cNvPr id="22" name="Conector reto 21">
            <a:extLst>
              <a:ext uri="{FF2B5EF4-FFF2-40B4-BE49-F238E27FC236}">
                <a16:creationId xmlns:a16="http://schemas.microsoft.com/office/drawing/2014/main" id="{F9AF9AFC-EA0C-AA0C-94E9-FF814580F231}"/>
              </a:ext>
            </a:extLst>
          </p:cNvPr>
          <p:cNvCxnSpPr/>
          <p:nvPr>
            <p:custDataLst>
              <p:tags r:id="rId34"/>
            </p:custDataLst>
          </p:nvPr>
        </p:nvCxnSpPr>
        <p:spPr>
          <a:xfrm flipH="1">
            <a:off x="6501002" y="4729471"/>
            <a:ext cx="975215" cy="11203"/>
          </a:xfrm>
          <a:prstGeom prst="line">
            <a:avLst/>
          </a:prstGeom>
          <a:gradFill>
            <a:gsLst>
              <a:gs pos="0">
                <a:srgbClr val="006BEF">
                  <a:alpha val="50000"/>
                </a:srgbClr>
              </a:gs>
              <a:gs pos="100000">
                <a:srgbClr val="0067EE"/>
              </a:gs>
            </a:gsLst>
            <a:lin ang="2700000" scaled="0"/>
          </a:gradFill>
          <a:ln w="19050">
            <a:gradFill>
              <a:gsLst>
                <a:gs pos="0">
                  <a:srgbClr val="005FD7">
                    <a:alpha val="0"/>
                  </a:srgbClr>
                </a:gs>
                <a:gs pos="50000">
                  <a:srgbClr val="005FD7"/>
                </a:gs>
                <a:gs pos="100000">
                  <a:srgbClr val="005FD7">
                    <a:alpha val="0"/>
                  </a:srgbClr>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cxnSp>
      <p:pic>
        <p:nvPicPr>
          <p:cNvPr id="23" name="Imagem 22" descr="Uma imagem contendo Interface gráfica do usuário&#10;&#10;Descrição gerada automaticamente">
            <a:extLst>
              <a:ext uri="{FF2B5EF4-FFF2-40B4-BE49-F238E27FC236}">
                <a16:creationId xmlns:a16="http://schemas.microsoft.com/office/drawing/2014/main" id="{A98EB4FE-2534-1CFD-A78B-AC95DE2FF1C0}"/>
              </a:ext>
            </a:extLst>
          </p:cNvPr>
          <p:cNvPicPr>
            <a:picLocks noChangeAspect="1"/>
          </p:cNvPicPr>
          <p:nvPr/>
        </p:nvPicPr>
        <p:blipFill>
          <a:blip r:embed="rId72"/>
          <a:stretch>
            <a:fillRect/>
          </a:stretch>
        </p:blipFill>
        <p:spPr>
          <a:xfrm>
            <a:off x="8039840" y="60434"/>
            <a:ext cx="920231" cy="509571"/>
          </a:xfrm>
          <a:prstGeom prst="rect">
            <a:avLst/>
          </a:prstGeom>
        </p:spPr>
      </p:pic>
    </p:spTree>
    <p:extLst>
      <p:ext uri="{BB962C8B-B14F-4D97-AF65-F5344CB8AC3E}">
        <p14:creationId xmlns:p14="http://schemas.microsoft.com/office/powerpoint/2010/main" val="117049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35" presetClass="path" presetSubtype="0" accel="17000" decel="83000" fill="hold" grpId="1" nodeType="withEffect">
                                  <p:stCondLst>
                                    <p:cond delay="0"/>
                                  </p:stCondLst>
                                  <p:childTnLst>
                                    <p:animMotion origin="layout" path="M 0.02311 -2.27971E-06 L -4.97971E-06 -2.27971E-06" pathEditMode="relative" rAng="0" ptsTypes="AA">
                                      <p:cBhvr>
                                        <p:cTn id="9" dur="1100" fill="hold"/>
                                        <p:tgtEl>
                                          <p:spTgt spid="8"/>
                                        </p:tgtEl>
                                        <p:attrNameLst>
                                          <p:attrName>ppt_x</p:attrName>
                                          <p:attrName>ppt_y</p:attrName>
                                        </p:attrNameLst>
                                      </p:cBhvr>
                                      <p:rCtr x="-1164" y="0"/>
                                    </p:animMotion>
                                  </p:childTnLst>
                                </p:cTn>
                              </p:par>
                              <p:par>
                                <p:cTn id="10" presetID="10"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35" presetClass="path" presetSubtype="0" accel="17000" decel="83000" fill="hold" grpId="1" nodeType="withEffect">
                                  <p:stCondLst>
                                    <p:cond delay="0"/>
                                  </p:stCondLst>
                                  <p:childTnLst>
                                    <p:animMotion origin="layout" path="M -0.02152 2.06961E-07 L 3.61969E-06 2.06961E-07" pathEditMode="relative" rAng="0" ptsTypes="AA">
                                      <p:cBhvr>
                                        <p:cTn id="14" dur="1100" fill="hold"/>
                                        <p:tgtEl>
                                          <p:spTgt spid="15"/>
                                        </p:tgtEl>
                                        <p:attrNameLst>
                                          <p:attrName>ppt_x</p:attrName>
                                          <p:attrName>ppt_y</p:attrName>
                                        </p:attrNameLst>
                                      </p:cBhvr>
                                      <p:rCtr x="1076" y="0"/>
                                    </p:animMotion>
                                  </p:childTnLst>
                                </p:cTn>
                              </p:par>
                              <p:par>
                                <p:cTn id="15" presetID="2" presetClass="entr" presetSubtype="8" decel="100000" fill="hold" nodeType="withEffect">
                                  <p:stCondLst>
                                    <p:cond delay="250"/>
                                  </p:stCondLst>
                                  <p:childTnLst>
                                    <p:set>
                                      <p:cBhvr>
                                        <p:cTn id="16" dur="1" fill="hold">
                                          <p:stCondLst>
                                            <p:cond delay="0"/>
                                          </p:stCondLst>
                                        </p:cTn>
                                        <p:tgtEl>
                                          <p:spTgt spid="218"/>
                                        </p:tgtEl>
                                        <p:attrNameLst>
                                          <p:attrName>style.visibility</p:attrName>
                                        </p:attrNameLst>
                                      </p:cBhvr>
                                      <p:to>
                                        <p:strVal val="visible"/>
                                      </p:to>
                                    </p:set>
                                    <p:anim calcmode="lin" valueType="num">
                                      <p:cBhvr additive="base">
                                        <p:cTn id="17" dur="750" fill="hold"/>
                                        <p:tgtEl>
                                          <p:spTgt spid="218"/>
                                        </p:tgtEl>
                                        <p:attrNameLst>
                                          <p:attrName>ppt_x</p:attrName>
                                        </p:attrNameLst>
                                      </p:cBhvr>
                                      <p:tavLst>
                                        <p:tav tm="0">
                                          <p:val>
                                            <p:strVal val="0-#ppt_w/2"/>
                                          </p:val>
                                        </p:tav>
                                        <p:tav tm="100000">
                                          <p:val>
                                            <p:strVal val="#ppt_x"/>
                                          </p:val>
                                        </p:tav>
                                      </p:tavLst>
                                    </p:anim>
                                    <p:anim calcmode="lin" valueType="num">
                                      <p:cBhvr additive="base">
                                        <p:cTn id="18" dur="750" fill="hold"/>
                                        <p:tgtEl>
                                          <p:spTgt spid="218"/>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4000"/>
                                  </p:stCondLst>
                                  <p:childTnLst>
                                    <p:set>
                                      <p:cBhvr>
                                        <p:cTn id="20" dur="1" fill="hold">
                                          <p:stCondLst>
                                            <p:cond delay="0"/>
                                          </p:stCondLst>
                                        </p:cTn>
                                        <p:tgtEl>
                                          <p:spTgt spid="221"/>
                                        </p:tgtEl>
                                        <p:attrNameLst>
                                          <p:attrName>style.visibility</p:attrName>
                                        </p:attrNameLst>
                                      </p:cBhvr>
                                      <p:to>
                                        <p:strVal val="visible"/>
                                      </p:to>
                                    </p:set>
                                    <p:animEffect transition="in" filter="fade">
                                      <p:cBhvr>
                                        <p:cTn id="21" dur="500"/>
                                        <p:tgtEl>
                                          <p:spTgt spid="221"/>
                                        </p:tgtEl>
                                      </p:cBhvr>
                                    </p:animEffect>
                                  </p:childTnLst>
                                </p:cTn>
                              </p:par>
                              <p:par>
                                <p:cTn id="22" presetID="10" presetClass="entr" presetSubtype="0" fill="hold" nodeType="withEffect">
                                  <p:stCondLst>
                                    <p:cond delay="500"/>
                                  </p:stCondLst>
                                  <p:childTnLst>
                                    <p:set>
                                      <p:cBhvr>
                                        <p:cTn id="23" dur="1" fill="hold">
                                          <p:stCondLst>
                                            <p:cond delay="0"/>
                                          </p:stCondLst>
                                        </p:cTn>
                                        <p:tgtEl>
                                          <p:spTgt spid="41"/>
                                        </p:tgtEl>
                                        <p:attrNameLst>
                                          <p:attrName>style.visibility</p:attrName>
                                        </p:attrNameLst>
                                      </p:cBhvr>
                                      <p:to>
                                        <p:strVal val="visible"/>
                                      </p:to>
                                    </p:set>
                                    <p:animEffect transition="in" filter="fade">
                                      <p:cBhvr>
                                        <p:cTn id="24" dur="500"/>
                                        <p:tgtEl>
                                          <p:spTgt spid="41"/>
                                        </p:tgtEl>
                                      </p:cBhvr>
                                    </p:animEffect>
                                  </p:childTnLst>
                                </p:cTn>
                              </p:par>
                              <p:par>
                                <p:cTn id="25" presetID="23" presetClass="entr" presetSubtype="288" fill="hold" nodeType="withEffect">
                                  <p:stCondLst>
                                    <p:cond delay="500"/>
                                  </p:stCondLst>
                                  <p:childTnLst>
                                    <p:set>
                                      <p:cBhvr>
                                        <p:cTn id="26" dur="1" fill="hold">
                                          <p:stCondLst>
                                            <p:cond delay="0"/>
                                          </p:stCondLst>
                                        </p:cTn>
                                        <p:tgtEl>
                                          <p:spTgt spid="41"/>
                                        </p:tgtEl>
                                        <p:attrNameLst>
                                          <p:attrName>style.visibility</p:attrName>
                                        </p:attrNameLst>
                                      </p:cBhvr>
                                      <p:to>
                                        <p:strVal val="visible"/>
                                      </p:to>
                                    </p:set>
                                    <p:anim calcmode="lin" valueType="num">
                                      <p:cBhvr>
                                        <p:cTn id="27" dur="500" fill="hold"/>
                                        <p:tgtEl>
                                          <p:spTgt spid="41"/>
                                        </p:tgtEl>
                                        <p:attrNameLst>
                                          <p:attrName>ppt_w</p:attrName>
                                        </p:attrNameLst>
                                      </p:cBhvr>
                                      <p:tavLst>
                                        <p:tav tm="0">
                                          <p:val>
                                            <p:strVal val="4/3*#ppt_w"/>
                                          </p:val>
                                        </p:tav>
                                        <p:tav tm="100000">
                                          <p:val>
                                            <p:strVal val="#ppt_w"/>
                                          </p:val>
                                        </p:tav>
                                      </p:tavLst>
                                    </p:anim>
                                    <p:anim calcmode="lin" valueType="num">
                                      <p:cBhvr>
                                        <p:cTn id="28" dur="500" fill="hold"/>
                                        <p:tgtEl>
                                          <p:spTgt spid="41"/>
                                        </p:tgtEl>
                                        <p:attrNameLst>
                                          <p:attrName>ppt_h</p:attrName>
                                        </p:attrNameLst>
                                      </p:cBhvr>
                                      <p:tavLst>
                                        <p:tav tm="0">
                                          <p:val>
                                            <p:strVal val="4/3*#ppt_h"/>
                                          </p:val>
                                        </p:tav>
                                        <p:tav tm="100000">
                                          <p:val>
                                            <p:strVal val="#ppt_h"/>
                                          </p:val>
                                        </p:tav>
                                      </p:tavLst>
                                    </p:anim>
                                  </p:childTnLst>
                                </p:cTn>
                              </p:par>
                              <p:par>
                                <p:cTn id="29" presetID="22" presetClass="entr" presetSubtype="1" fill="hold" nodeType="withEffect">
                                  <p:stCondLst>
                                    <p:cond delay="500"/>
                                  </p:stCondLst>
                                  <p:childTnLst>
                                    <p:set>
                                      <p:cBhvr>
                                        <p:cTn id="30" dur="1" fill="hold">
                                          <p:stCondLst>
                                            <p:cond delay="0"/>
                                          </p:stCondLst>
                                        </p:cTn>
                                        <p:tgtEl>
                                          <p:spTgt spid="36"/>
                                        </p:tgtEl>
                                        <p:attrNameLst>
                                          <p:attrName>style.visibility</p:attrName>
                                        </p:attrNameLst>
                                      </p:cBhvr>
                                      <p:to>
                                        <p:strVal val="visible"/>
                                      </p:to>
                                    </p:set>
                                    <p:animEffect transition="in" filter="wipe(up)">
                                      <p:cBhvr>
                                        <p:cTn id="31" dur="500"/>
                                        <p:tgtEl>
                                          <p:spTgt spid="36"/>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42"/>
                                        </p:tgtEl>
                                        <p:attrNameLst>
                                          <p:attrName>style.visibility</p:attrName>
                                        </p:attrNameLst>
                                      </p:cBhvr>
                                      <p:to>
                                        <p:strVal val="visible"/>
                                      </p:to>
                                    </p:set>
                                    <p:animEffect transition="in" filter="fade">
                                      <p:cBhvr>
                                        <p:cTn id="34" dur="500"/>
                                        <p:tgtEl>
                                          <p:spTgt spid="42"/>
                                        </p:tgtEl>
                                      </p:cBhvr>
                                    </p:animEffect>
                                  </p:childTnLst>
                                </p:cTn>
                              </p:par>
                              <p:par>
                                <p:cTn id="35" presetID="35" presetClass="path" presetSubtype="0" accel="17000" decel="83000" fill="hold" grpId="1" nodeType="withEffect">
                                  <p:stCondLst>
                                    <p:cond delay="750"/>
                                  </p:stCondLst>
                                  <p:childTnLst>
                                    <p:animMotion origin="layout" path="M -0.02152 -3.06052E-6 L 1.58758E-7 -3.06052E-6 " pathEditMode="relative" rAng="0" ptsTypes="AA">
                                      <p:cBhvr>
                                        <p:cTn id="36" dur="1100" fill="hold"/>
                                        <p:tgtEl>
                                          <p:spTgt spid="42"/>
                                        </p:tgtEl>
                                        <p:attrNameLst>
                                          <p:attrName>ppt_x</p:attrName>
                                          <p:attrName>ppt_y</p:attrName>
                                        </p:attrNameLst>
                                      </p:cBhvr>
                                      <p:rCtr x="1076" y="0"/>
                                    </p:animMotion>
                                  </p:childTnLst>
                                </p:cTn>
                              </p:par>
                              <p:par>
                                <p:cTn id="37" presetID="10" presetClass="entr" presetSubtype="0" fill="hold" grpId="0" nodeType="withEffect">
                                  <p:stCondLst>
                                    <p:cond delay="100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par>
                                <p:cTn id="40" presetID="53" presetClass="entr" presetSubtype="0" fill="hold" nodeType="withEffect">
                                  <p:stCondLst>
                                    <p:cond delay="1250"/>
                                  </p:stCondLst>
                                  <p:childTnLst>
                                    <p:set>
                                      <p:cBhvr>
                                        <p:cTn id="41" dur="1" fill="hold">
                                          <p:stCondLst>
                                            <p:cond delay="0"/>
                                          </p:stCondLst>
                                        </p:cTn>
                                        <p:tgtEl>
                                          <p:spTgt spid="108"/>
                                        </p:tgtEl>
                                        <p:attrNameLst>
                                          <p:attrName>style.visibility</p:attrName>
                                        </p:attrNameLst>
                                      </p:cBhvr>
                                      <p:to>
                                        <p:strVal val="visible"/>
                                      </p:to>
                                    </p:set>
                                    <p:anim calcmode="lin" valueType="num">
                                      <p:cBhvr>
                                        <p:cTn id="42" dur="500" fill="hold"/>
                                        <p:tgtEl>
                                          <p:spTgt spid="108"/>
                                        </p:tgtEl>
                                        <p:attrNameLst>
                                          <p:attrName>ppt_w</p:attrName>
                                        </p:attrNameLst>
                                      </p:cBhvr>
                                      <p:tavLst>
                                        <p:tav tm="0">
                                          <p:val>
                                            <p:fltVal val="0"/>
                                          </p:val>
                                        </p:tav>
                                        <p:tav tm="100000">
                                          <p:val>
                                            <p:strVal val="#ppt_w"/>
                                          </p:val>
                                        </p:tav>
                                      </p:tavLst>
                                    </p:anim>
                                    <p:anim calcmode="lin" valueType="num">
                                      <p:cBhvr>
                                        <p:cTn id="43" dur="500" fill="hold"/>
                                        <p:tgtEl>
                                          <p:spTgt spid="108"/>
                                        </p:tgtEl>
                                        <p:attrNameLst>
                                          <p:attrName>ppt_h</p:attrName>
                                        </p:attrNameLst>
                                      </p:cBhvr>
                                      <p:tavLst>
                                        <p:tav tm="0">
                                          <p:val>
                                            <p:fltVal val="0"/>
                                          </p:val>
                                        </p:tav>
                                        <p:tav tm="100000">
                                          <p:val>
                                            <p:strVal val="#ppt_h"/>
                                          </p:val>
                                        </p:tav>
                                      </p:tavLst>
                                    </p:anim>
                                    <p:animEffect transition="in" filter="fade">
                                      <p:cBhvr>
                                        <p:cTn id="44" dur="500"/>
                                        <p:tgtEl>
                                          <p:spTgt spid="108"/>
                                        </p:tgtEl>
                                      </p:cBhvr>
                                    </p:animEffect>
                                  </p:childTnLst>
                                </p:cTn>
                              </p:par>
                              <p:par>
                                <p:cTn id="45" presetID="10" presetClass="entr" presetSubtype="0" fill="hold" grpId="0" nodeType="withEffect">
                                  <p:stCondLst>
                                    <p:cond delay="125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1250"/>
                                  </p:stCondLst>
                                  <p:childTnLst>
                                    <p:animMotion origin="layout" path="M 8.30834E-07 -0.02603 L 8.30834E-07 3.54657E-06" pathEditMode="relative" rAng="0" ptsTypes="AA">
                                      <p:cBhvr>
                                        <p:cTn id="49" dur="600" fill="hold"/>
                                        <p:tgtEl>
                                          <p:spTgt spid="130"/>
                                        </p:tgtEl>
                                        <p:attrNameLst>
                                          <p:attrName>ppt_x</p:attrName>
                                          <p:attrName>ppt_y</p:attrName>
                                        </p:attrNameLst>
                                      </p:cBhvr>
                                      <p:rCtr x="0" y="1286"/>
                                    </p:animMotion>
                                  </p:childTnLst>
                                </p:cTn>
                              </p:par>
                              <p:par>
                                <p:cTn id="50" presetID="22" presetClass="entr" presetSubtype="4" fill="hold" nodeType="withEffect">
                                  <p:stCondLst>
                                    <p:cond delay="1500"/>
                                  </p:stCondLst>
                                  <p:childTnLst>
                                    <p:set>
                                      <p:cBhvr>
                                        <p:cTn id="51" dur="1" fill="hold">
                                          <p:stCondLst>
                                            <p:cond delay="0"/>
                                          </p:stCondLst>
                                        </p:cTn>
                                        <p:tgtEl>
                                          <p:spTgt spid="87"/>
                                        </p:tgtEl>
                                        <p:attrNameLst>
                                          <p:attrName>style.visibility</p:attrName>
                                        </p:attrNameLst>
                                      </p:cBhvr>
                                      <p:to>
                                        <p:strVal val="visible"/>
                                      </p:to>
                                    </p:set>
                                    <p:animEffect transition="in" filter="wipe(down)">
                                      <p:cBhvr>
                                        <p:cTn id="52" dur="500"/>
                                        <p:tgtEl>
                                          <p:spTgt spid="87"/>
                                        </p:tgtEl>
                                      </p:cBhvr>
                                    </p:animEffect>
                                  </p:childTnLst>
                                </p:cTn>
                              </p:par>
                              <p:par>
                                <p:cTn id="53" presetID="53" presetClass="entr" presetSubtype="0" fill="hold" nodeType="withEffect">
                                  <p:stCondLst>
                                    <p:cond delay="1500"/>
                                  </p:stCondLst>
                                  <p:childTnLst>
                                    <p:set>
                                      <p:cBhvr>
                                        <p:cTn id="54" dur="1" fill="hold">
                                          <p:stCondLst>
                                            <p:cond delay="0"/>
                                          </p:stCondLst>
                                        </p:cTn>
                                        <p:tgtEl>
                                          <p:spTgt spid="63"/>
                                        </p:tgtEl>
                                        <p:attrNameLst>
                                          <p:attrName>style.visibility</p:attrName>
                                        </p:attrNameLst>
                                      </p:cBhvr>
                                      <p:to>
                                        <p:strVal val="visible"/>
                                      </p:to>
                                    </p:set>
                                    <p:anim calcmode="lin" valueType="num">
                                      <p:cBhvr>
                                        <p:cTn id="55" dur="500" fill="hold"/>
                                        <p:tgtEl>
                                          <p:spTgt spid="63"/>
                                        </p:tgtEl>
                                        <p:attrNameLst>
                                          <p:attrName>ppt_w</p:attrName>
                                        </p:attrNameLst>
                                      </p:cBhvr>
                                      <p:tavLst>
                                        <p:tav tm="0">
                                          <p:val>
                                            <p:fltVal val="0"/>
                                          </p:val>
                                        </p:tav>
                                        <p:tav tm="100000">
                                          <p:val>
                                            <p:strVal val="#ppt_w"/>
                                          </p:val>
                                        </p:tav>
                                      </p:tavLst>
                                    </p:anim>
                                    <p:anim calcmode="lin" valueType="num">
                                      <p:cBhvr>
                                        <p:cTn id="56" dur="500" fill="hold"/>
                                        <p:tgtEl>
                                          <p:spTgt spid="63"/>
                                        </p:tgtEl>
                                        <p:attrNameLst>
                                          <p:attrName>ppt_h</p:attrName>
                                        </p:attrNameLst>
                                      </p:cBhvr>
                                      <p:tavLst>
                                        <p:tav tm="0">
                                          <p:val>
                                            <p:fltVal val="0"/>
                                          </p:val>
                                        </p:tav>
                                        <p:tav tm="100000">
                                          <p:val>
                                            <p:strVal val="#ppt_h"/>
                                          </p:val>
                                        </p:tav>
                                      </p:tavLst>
                                    </p:anim>
                                    <p:animEffect transition="in" filter="fade">
                                      <p:cBhvr>
                                        <p:cTn id="57" dur="500"/>
                                        <p:tgtEl>
                                          <p:spTgt spid="63"/>
                                        </p:tgtEl>
                                      </p:cBhvr>
                                    </p:animEffect>
                                  </p:childTnLst>
                                </p:cTn>
                              </p:par>
                              <p:par>
                                <p:cTn id="58" presetID="10" presetClass="entr" presetSubtype="0" fill="hold" grpId="0" nodeType="withEffect">
                                  <p:stCondLst>
                                    <p:cond delay="1500"/>
                                  </p:stCondLst>
                                  <p:childTnLst>
                                    <p:set>
                                      <p:cBhvr>
                                        <p:cTn id="59" dur="1" fill="hold">
                                          <p:stCondLst>
                                            <p:cond delay="0"/>
                                          </p:stCondLst>
                                        </p:cTn>
                                        <p:tgtEl>
                                          <p:spTgt spid="109"/>
                                        </p:tgtEl>
                                        <p:attrNameLst>
                                          <p:attrName>style.visibility</p:attrName>
                                        </p:attrNameLst>
                                      </p:cBhvr>
                                      <p:to>
                                        <p:strVal val="visible"/>
                                      </p:to>
                                    </p:set>
                                    <p:animEffect transition="in" filter="fade">
                                      <p:cBhvr>
                                        <p:cTn id="60" dur="500"/>
                                        <p:tgtEl>
                                          <p:spTgt spid="109"/>
                                        </p:tgtEl>
                                      </p:cBhvr>
                                    </p:animEffect>
                                  </p:childTnLst>
                                </p:cTn>
                              </p:par>
                              <p:par>
                                <p:cTn id="61" presetID="63" presetClass="path" presetSubtype="0" decel="100000" fill="hold" grpId="1" nodeType="withEffect">
                                  <p:stCondLst>
                                    <p:cond delay="1500"/>
                                  </p:stCondLst>
                                  <p:childTnLst>
                                    <p:animMotion origin="layout" path="M -4.61457E-06 0.02916 L -4.61457E-06 -7.11822E-07" pathEditMode="relative" rAng="0" ptsTypes="AA">
                                      <p:cBhvr>
                                        <p:cTn id="62" dur="600" fill="hold"/>
                                        <p:tgtEl>
                                          <p:spTgt spid="109"/>
                                        </p:tgtEl>
                                        <p:attrNameLst>
                                          <p:attrName>ppt_x</p:attrName>
                                          <p:attrName>ppt_y</p:attrName>
                                        </p:attrNameLst>
                                      </p:cBhvr>
                                      <p:rCtr x="0" y="-1474"/>
                                    </p:animMotion>
                                  </p:childTnLst>
                                </p:cTn>
                              </p:par>
                              <p:par>
                                <p:cTn id="63" presetID="53" presetClass="entr" presetSubtype="0" fill="hold" nodeType="withEffect">
                                  <p:stCondLst>
                                    <p:cond delay="1750"/>
                                  </p:stCondLst>
                                  <p:childTnLst>
                                    <p:set>
                                      <p:cBhvr>
                                        <p:cTn id="64" dur="1" fill="hold">
                                          <p:stCondLst>
                                            <p:cond delay="0"/>
                                          </p:stCondLst>
                                        </p:cTn>
                                        <p:tgtEl>
                                          <p:spTgt spid="83"/>
                                        </p:tgtEl>
                                        <p:attrNameLst>
                                          <p:attrName>style.visibility</p:attrName>
                                        </p:attrNameLst>
                                      </p:cBhvr>
                                      <p:to>
                                        <p:strVal val="visible"/>
                                      </p:to>
                                    </p:set>
                                    <p:anim calcmode="lin" valueType="num">
                                      <p:cBhvr>
                                        <p:cTn id="65" dur="500" fill="hold"/>
                                        <p:tgtEl>
                                          <p:spTgt spid="83"/>
                                        </p:tgtEl>
                                        <p:attrNameLst>
                                          <p:attrName>ppt_w</p:attrName>
                                        </p:attrNameLst>
                                      </p:cBhvr>
                                      <p:tavLst>
                                        <p:tav tm="0">
                                          <p:val>
                                            <p:fltVal val="0"/>
                                          </p:val>
                                        </p:tav>
                                        <p:tav tm="100000">
                                          <p:val>
                                            <p:strVal val="#ppt_w"/>
                                          </p:val>
                                        </p:tav>
                                      </p:tavLst>
                                    </p:anim>
                                    <p:anim calcmode="lin" valueType="num">
                                      <p:cBhvr>
                                        <p:cTn id="66" dur="500" fill="hold"/>
                                        <p:tgtEl>
                                          <p:spTgt spid="83"/>
                                        </p:tgtEl>
                                        <p:attrNameLst>
                                          <p:attrName>ppt_h</p:attrName>
                                        </p:attrNameLst>
                                      </p:cBhvr>
                                      <p:tavLst>
                                        <p:tav tm="0">
                                          <p:val>
                                            <p:fltVal val="0"/>
                                          </p:val>
                                        </p:tav>
                                        <p:tav tm="100000">
                                          <p:val>
                                            <p:strVal val="#ppt_h"/>
                                          </p:val>
                                        </p:tav>
                                      </p:tavLst>
                                    </p:anim>
                                    <p:animEffect transition="in" filter="fade">
                                      <p:cBhvr>
                                        <p:cTn id="67" dur="500"/>
                                        <p:tgtEl>
                                          <p:spTgt spid="83"/>
                                        </p:tgtEl>
                                      </p:cBhvr>
                                    </p:animEffect>
                                  </p:childTnLst>
                                </p:cTn>
                              </p:par>
                              <p:par>
                                <p:cTn id="68" presetID="10" presetClass="entr" presetSubtype="0" fill="hold" grpId="0" nodeType="withEffect">
                                  <p:stCondLst>
                                    <p:cond delay="1750"/>
                                  </p:stCondLst>
                                  <p:childTnLst>
                                    <p:set>
                                      <p:cBhvr>
                                        <p:cTn id="69" dur="1" fill="hold">
                                          <p:stCondLst>
                                            <p:cond delay="0"/>
                                          </p:stCondLst>
                                        </p:cTn>
                                        <p:tgtEl>
                                          <p:spTgt spid="139"/>
                                        </p:tgtEl>
                                        <p:attrNameLst>
                                          <p:attrName>style.visibility</p:attrName>
                                        </p:attrNameLst>
                                      </p:cBhvr>
                                      <p:to>
                                        <p:strVal val="visible"/>
                                      </p:to>
                                    </p:set>
                                    <p:animEffect transition="in" filter="fade">
                                      <p:cBhvr>
                                        <p:cTn id="70" dur="500"/>
                                        <p:tgtEl>
                                          <p:spTgt spid="139"/>
                                        </p:tgtEl>
                                      </p:cBhvr>
                                    </p:animEffect>
                                  </p:childTnLst>
                                </p:cTn>
                              </p:par>
                              <p:par>
                                <p:cTn id="71" presetID="63" presetClass="path" presetSubtype="0" decel="100000" fill="hold" grpId="1" nodeType="withEffect">
                                  <p:stCondLst>
                                    <p:cond delay="1750"/>
                                  </p:stCondLst>
                                  <p:childTnLst>
                                    <p:animMotion origin="layout" path="M 8.30834E-07 -0.02603 L 8.30834E-07 3.54657E-06" pathEditMode="relative" rAng="0" ptsTypes="AA">
                                      <p:cBhvr>
                                        <p:cTn id="72" dur="600" fill="hold"/>
                                        <p:tgtEl>
                                          <p:spTgt spid="139"/>
                                        </p:tgtEl>
                                        <p:attrNameLst>
                                          <p:attrName>ppt_x</p:attrName>
                                          <p:attrName>ppt_y</p:attrName>
                                        </p:attrNameLst>
                                      </p:cBhvr>
                                      <p:rCtr x="0" y="1286"/>
                                    </p:animMotion>
                                  </p:childTnLst>
                                </p:cTn>
                              </p:par>
                              <p:par>
                                <p:cTn id="73" presetID="53" presetClass="entr" presetSubtype="0" fill="hold" nodeType="withEffect">
                                  <p:stCondLst>
                                    <p:cond delay="2000"/>
                                  </p:stCondLst>
                                  <p:childTnLst>
                                    <p:set>
                                      <p:cBhvr>
                                        <p:cTn id="74" dur="1" fill="hold">
                                          <p:stCondLst>
                                            <p:cond delay="0"/>
                                          </p:stCondLst>
                                        </p:cTn>
                                        <p:tgtEl>
                                          <p:spTgt spid="98"/>
                                        </p:tgtEl>
                                        <p:attrNameLst>
                                          <p:attrName>style.visibility</p:attrName>
                                        </p:attrNameLst>
                                      </p:cBhvr>
                                      <p:to>
                                        <p:strVal val="visible"/>
                                      </p:to>
                                    </p:set>
                                    <p:anim calcmode="lin" valueType="num">
                                      <p:cBhvr>
                                        <p:cTn id="75" dur="500" fill="hold"/>
                                        <p:tgtEl>
                                          <p:spTgt spid="98"/>
                                        </p:tgtEl>
                                        <p:attrNameLst>
                                          <p:attrName>ppt_w</p:attrName>
                                        </p:attrNameLst>
                                      </p:cBhvr>
                                      <p:tavLst>
                                        <p:tav tm="0">
                                          <p:val>
                                            <p:fltVal val="0"/>
                                          </p:val>
                                        </p:tav>
                                        <p:tav tm="100000">
                                          <p:val>
                                            <p:strVal val="#ppt_w"/>
                                          </p:val>
                                        </p:tav>
                                      </p:tavLst>
                                    </p:anim>
                                    <p:anim calcmode="lin" valueType="num">
                                      <p:cBhvr>
                                        <p:cTn id="76" dur="500" fill="hold"/>
                                        <p:tgtEl>
                                          <p:spTgt spid="98"/>
                                        </p:tgtEl>
                                        <p:attrNameLst>
                                          <p:attrName>ppt_h</p:attrName>
                                        </p:attrNameLst>
                                      </p:cBhvr>
                                      <p:tavLst>
                                        <p:tav tm="0">
                                          <p:val>
                                            <p:fltVal val="0"/>
                                          </p:val>
                                        </p:tav>
                                        <p:tav tm="100000">
                                          <p:val>
                                            <p:strVal val="#ppt_h"/>
                                          </p:val>
                                        </p:tav>
                                      </p:tavLst>
                                    </p:anim>
                                    <p:animEffect transition="in" filter="fade">
                                      <p:cBhvr>
                                        <p:cTn id="77" dur="500"/>
                                        <p:tgtEl>
                                          <p:spTgt spid="98"/>
                                        </p:tgtEl>
                                      </p:cBhvr>
                                    </p:animEffect>
                                  </p:childTnLst>
                                </p:cTn>
                              </p:par>
                              <p:par>
                                <p:cTn id="78" presetID="10" presetClass="entr" presetSubtype="0" fill="hold" grpId="0" nodeType="withEffect">
                                  <p:stCondLst>
                                    <p:cond delay="2000"/>
                                  </p:stCondLst>
                                  <p:childTnLst>
                                    <p:set>
                                      <p:cBhvr>
                                        <p:cTn id="79" dur="1" fill="hold">
                                          <p:stCondLst>
                                            <p:cond delay="0"/>
                                          </p:stCondLst>
                                        </p:cTn>
                                        <p:tgtEl>
                                          <p:spTgt spid="111"/>
                                        </p:tgtEl>
                                        <p:attrNameLst>
                                          <p:attrName>style.visibility</p:attrName>
                                        </p:attrNameLst>
                                      </p:cBhvr>
                                      <p:to>
                                        <p:strVal val="visible"/>
                                      </p:to>
                                    </p:set>
                                    <p:animEffect transition="in" filter="fade">
                                      <p:cBhvr>
                                        <p:cTn id="80" dur="500"/>
                                        <p:tgtEl>
                                          <p:spTgt spid="111"/>
                                        </p:tgtEl>
                                      </p:cBhvr>
                                    </p:animEffect>
                                  </p:childTnLst>
                                </p:cTn>
                              </p:par>
                              <p:par>
                                <p:cTn id="81" presetID="63" presetClass="path" presetSubtype="0" decel="100000" fill="hold" grpId="1" nodeType="withEffect">
                                  <p:stCondLst>
                                    <p:cond delay="2000"/>
                                  </p:stCondLst>
                                  <p:childTnLst>
                                    <p:animMotion origin="layout" path="M 2.70947E-06 0.02916 L 2.70947E-06 -7.11822E-07" pathEditMode="relative" rAng="0" ptsTypes="AA">
                                      <p:cBhvr>
                                        <p:cTn id="82" dur="600" fill="hold"/>
                                        <p:tgtEl>
                                          <p:spTgt spid="111"/>
                                        </p:tgtEl>
                                        <p:attrNameLst>
                                          <p:attrName>ppt_x</p:attrName>
                                          <p:attrName>ppt_y</p:attrName>
                                        </p:attrNameLst>
                                      </p:cBhvr>
                                      <p:rCtr x="0" y="-1474"/>
                                    </p:animMotion>
                                  </p:childTnLst>
                                </p:cTn>
                              </p:par>
                              <p:par>
                                <p:cTn id="83" presetID="53" presetClass="entr" presetSubtype="0" fill="hold" nodeType="withEffect">
                                  <p:stCondLst>
                                    <p:cond delay="2250"/>
                                  </p:stCondLst>
                                  <p:childTnLst>
                                    <p:set>
                                      <p:cBhvr>
                                        <p:cTn id="84" dur="1" fill="hold">
                                          <p:stCondLst>
                                            <p:cond delay="0"/>
                                          </p:stCondLst>
                                        </p:cTn>
                                        <p:tgtEl>
                                          <p:spTgt spid="102"/>
                                        </p:tgtEl>
                                        <p:attrNameLst>
                                          <p:attrName>style.visibility</p:attrName>
                                        </p:attrNameLst>
                                      </p:cBhvr>
                                      <p:to>
                                        <p:strVal val="visible"/>
                                      </p:to>
                                    </p:set>
                                    <p:anim calcmode="lin" valueType="num">
                                      <p:cBhvr>
                                        <p:cTn id="85" dur="500" fill="hold"/>
                                        <p:tgtEl>
                                          <p:spTgt spid="102"/>
                                        </p:tgtEl>
                                        <p:attrNameLst>
                                          <p:attrName>ppt_w</p:attrName>
                                        </p:attrNameLst>
                                      </p:cBhvr>
                                      <p:tavLst>
                                        <p:tav tm="0">
                                          <p:val>
                                            <p:fltVal val="0"/>
                                          </p:val>
                                        </p:tav>
                                        <p:tav tm="100000">
                                          <p:val>
                                            <p:strVal val="#ppt_w"/>
                                          </p:val>
                                        </p:tav>
                                      </p:tavLst>
                                    </p:anim>
                                    <p:anim calcmode="lin" valueType="num">
                                      <p:cBhvr>
                                        <p:cTn id="86" dur="500" fill="hold"/>
                                        <p:tgtEl>
                                          <p:spTgt spid="102"/>
                                        </p:tgtEl>
                                        <p:attrNameLst>
                                          <p:attrName>ppt_h</p:attrName>
                                        </p:attrNameLst>
                                      </p:cBhvr>
                                      <p:tavLst>
                                        <p:tav tm="0">
                                          <p:val>
                                            <p:fltVal val="0"/>
                                          </p:val>
                                        </p:tav>
                                        <p:tav tm="100000">
                                          <p:val>
                                            <p:strVal val="#ppt_h"/>
                                          </p:val>
                                        </p:tav>
                                      </p:tavLst>
                                    </p:anim>
                                    <p:animEffect transition="in" filter="fade">
                                      <p:cBhvr>
                                        <p:cTn id="87" dur="500"/>
                                        <p:tgtEl>
                                          <p:spTgt spid="102"/>
                                        </p:tgtEl>
                                      </p:cBhvr>
                                    </p:animEffect>
                                  </p:childTnLst>
                                </p:cTn>
                              </p:par>
                              <p:par>
                                <p:cTn id="88" presetID="10" presetClass="entr" presetSubtype="0" fill="hold" grpId="0" nodeType="withEffect">
                                  <p:stCondLst>
                                    <p:cond delay="2250"/>
                                  </p:stCondLst>
                                  <p:childTnLst>
                                    <p:set>
                                      <p:cBhvr>
                                        <p:cTn id="89" dur="1" fill="hold">
                                          <p:stCondLst>
                                            <p:cond delay="0"/>
                                          </p:stCondLst>
                                        </p:cTn>
                                        <p:tgtEl>
                                          <p:spTgt spid="140"/>
                                        </p:tgtEl>
                                        <p:attrNameLst>
                                          <p:attrName>style.visibility</p:attrName>
                                        </p:attrNameLst>
                                      </p:cBhvr>
                                      <p:to>
                                        <p:strVal val="visible"/>
                                      </p:to>
                                    </p:set>
                                    <p:animEffect transition="in" filter="fade">
                                      <p:cBhvr>
                                        <p:cTn id="90" dur="500"/>
                                        <p:tgtEl>
                                          <p:spTgt spid="140"/>
                                        </p:tgtEl>
                                      </p:cBhvr>
                                    </p:animEffect>
                                  </p:childTnLst>
                                </p:cTn>
                              </p:par>
                              <p:par>
                                <p:cTn id="91" presetID="63" presetClass="path" presetSubtype="0" decel="100000" fill="hold" grpId="1" nodeType="withEffect">
                                  <p:stCondLst>
                                    <p:cond delay="2250"/>
                                  </p:stCondLst>
                                  <p:childTnLst>
                                    <p:animMotion origin="layout" path="M -3.03052E-06 -0.05613 L -3.03052E-06 3.54657E-06" pathEditMode="relative" rAng="0" ptsTypes="AA">
                                      <p:cBhvr>
                                        <p:cTn id="92" dur="600" fill="hold"/>
                                        <p:tgtEl>
                                          <p:spTgt spid="140"/>
                                        </p:tgtEl>
                                        <p:attrNameLst>
                                          <p:attrName>ppt_x</p:attrName>
                                          <p:attrName>ppt_y</p:attrName>
                                        </p:attrNameLst>
                                      </p:cBhvr>
                                      <p:rCtr x="0" y="2791"/>
                                    </p:animMotion>
                                  </p:childTnLst>
                                </p:cTn>
                              </p:par>
                              <p:par>
                                <p:cTn id="93" presetID="10" presetClass="entr" presetSubtype="0" fill="hold" grpId="0" nodeType="withEffect">
                                  <p:stCondLst>
                                    <p:cond delay="2500"/>
                                  </p:stCondLst>
                                  <p:childTnLst>
                                    <p:set>
                                      <p:cBhvr>
                                        <p:cTn id="94" dur="1" fill="hold">
                                          <p:stCondLst>
                                            <p:cond delay="0"/>
                                          </p:stCondLst>
                                        </p:cTn>
                                        <p:tgtEl>
                                          <p:spTgt spid="118"/>
                                        </p:tgtEl>
                                        <p:attrNameLst>
                                          <p:attrName>style.visibility</p:attrName>
                                        </p:attrNameLst>
                                      </p:cBhvr>
                                      <p:to>
                                        <p:strVal val="visible"/>
                                      </p:to>
                                    </p:set>
                                    <p:animEffect transition="in" filter="fade">
                                      <p:cBhvr>
                                        <p:cTn id="95" dur="500"/>
                                        <p:tgtEl>
                                          <p:spTgt spid="118"/>
                                        </p:tgtEl>
                                      </p:cBhvr>
                                    </p:animEffect>
                                  </p:childTnLst>
                                </p:cTn>
                              </p:par>
                              <p:par>
                                <p:cTn id="96" presetID="63" presetClass="path" presetSubtype="0" decel="100000" fill="hold" grpId="1" nodeType="withEffect">
                                  <p:stCondLst>
                                    <p:cond delay="2500"/>
                                  </p:stCondLst>
                                  <p:childTnLst>
                                    <p:animMotion origin="layout" path="M 2.70947E-06 0.02916 L 2.70947E-06 -7.11822E-07" pathEditMode="relative" rAng="0" ptsTypes="AA">
                                      <p:cBhvr>
                                        <p:cTn id="97" dur="600" fill="hold"/>
                                        <p:tgtEl>
                                          <p:spTgt spid="118"/>
                                        </p:tgtEl>
                                        <p:attrNameLst>
                                          <p:attrName>ppt_x</p:attrName>
                                          <p:attrName>ppt_y</p:attrName>
                                        </p:attrNameLst>
                                      </p:cBhvr>
                                      <p:rCtr x="0" y="-1474"/>
                                    </p:animMotion>
                                  </p:childTnLst>
                                </p:cTn>
                              </p:par>
                              <p:par>
                                <p:cTn id="98" presetID="53" presetClass="entr" presetSubtype="0" fill="hold" nodeType="withEffect">
                                  <p:stCondLst>
                                    <p:cond delay="2500"/>
                                  </p:stCondLst>
                                  <p:childTnLst>
                                    <p:set>
                                      <p:cBhvr>
                                        <p:cTn id="99" dur="1" fill="hold">
                                          <p:stCondLst>
                                            <p:cond delay="0"/>
                                          </p:stCondLst>
                                        </p:cTn>
                                        <p:tgtEl>
                                          <p:spTgt spid="105"/>
                                        </p:tgtEl>
                                        <p:attrNameLst>
                                          <p:attrName>style.visibility</p:attrName>
                                        </p:attrNameLst>
                                      </p:cBhvr>
                                      <p:to>
                                        <p:strVal val="visible"/>
                                      </p:to>
                                    </p:set>
                                    <p:anim calcmode="lin" valueType="num">
                                      <p:cBhvr>
                                        <p:cTn id="100" dur="500" fill="hold"/>
                                        <p:tgtEl>
                                          <p:spTgt spid="105"/>
                                        </p:tgtEl>
                                        <p:attrNameLst>
                                          <p:attrName>ppt_w</p:attrName>
                                        </p:attrNameLst>
                                      </p:cBhvr>
                                      <p:tavLst>
                                        <p:tav tm="0">
                                          <p:val>
                                            <p:fltVal val="0"/>
                                          </p:val>
                                        </p:tav>
                                        <p:tav tm="100000">
                                          <p:val>
                                            <p:strVal val="#ppt_w"/>
                                          </p:val>
                                        </p:tav>
                                      </p:tavLst>
                                    </p:anim>
                                    <p:anim calcmode="lin" valueType="num">
                                      <p:cBhvr>
                                        <p:cTn id="101" dur="500" fill="hold"/>
                                        <p:tgtEl>
                                          <p:spTgt spid="105"/>
                                        </p:tgtEl>
                                        <p:attrNameLst>
                                          <p:attrName>ppt_h</p:attrName>
                                        </p:attrNameLst>
                                      </p:cBhvr>
                                      <p:tavLst>
                                        <p:tav tm="0">
                                          <p:val>
                                            <p:fltVal val="0"/>
                                          </p:val>
                                        </p:tav>
                                        <p:tav tm="100000">
                                          <p:val>
                                            <p:strVal val="#ppt_h"/>
                                          </p:val>
                                        </p:tav>
                                      </p:tavLst>
                                    </p:anim>
                                    <p:animEffect transition="in" filter="fade">
                                      <p:cBhvr>
                                        <p:cTn id="102" dur="500"/>
                                        <p:tgtEl>
                                          <p:spTgt spid="105"/>
                                        </p:tgtEl>
                                      </p:cBhvr>
                                    </p:animEffect>
                                  </p:childTnLst>
                                </p:cTn>
                              </p:par>
                              <p:par>
                                <p:cTn id="103" presetID="10" presetClass="entr" presetSubtype="0" fill="hold" nodeType="withEffect">
                                  <p:stCondLst>
                                    <p:cond delay="2000"/>
                                  </p:stCondLst>
                                  <p:childTnLst>
                                    <p:set>
                                      <p:cBhvr>
                                        <p:cTn id="104" dur="1" fill="hold">
                                          <p:stCondLst>
                                            <p:cond delay="0"/>
                                          </p:stCondLst>
                                        </p:cTn>
                                        <p:tgtEl>
                                          <p:spTgt spid="40"/>
                                        </p:tgtEl>
                                        <p:attrNameLst>
                                          <p:attrName>style.visibility</p:attrName>
                                        </p:attrNameLst>
                                      </p:cBhvr>
                                      <p:to>
                                        <p:strVal val="visible"/>
                                      </p:to>
                                    </p:set>
                                    <p:animEffect transition="in" filter="fade">
                                      <p:cBhvr>
                                        <p:cTn id="105" dur="500"/>
                                        <p:tgtEl>
                                          <p:spTgt spid="40"/>
                                        </p:tgtEl>
                                      </p:cBhvr>
                                    </p:animEffect>
                                  </p:childTnLst>
                                </p:cTn>
                              </p:par>
                              <p:par>
                                <p:cTn id="106" presetID="23" presetClass="entr" presetSubtype="288" fill="hold" nodeType="withEffect">
                                  <p:stCondLst>
                                    <p:cond delay="2000"/>
                                  </p:stCondLst>
                                  <p:childTnLst>
                                    <p:set>
                                      <p:cBhvr>
                                        <p:cTn id="107" dur="1" fill="hold">
                                          <p:stCondLst>
                                            <p:cond delay="0"/>
                                          </p:stCondLst>
                                        </p:cTn>
                                        <p:tgtEl>
                                          <p:spTgt spid="40"/>
                                        </p:tgtEl>
                                        <p:attrNameLst>
                                          <p:attrName>style.visibility</p:attrName>
                                        </p:attrNameLst>
                                      </p:cBhvr>
                                      <p:to>
                                        <p:strVal val="visible"/>
                                      </p:to>
                                    </p:set>
                                    <p:anim calcmode="lin" valueType="num">
                                      <p:cBhvr>
                                        <p:cTn id="108" dur="500" fill="hold"/>
                                        <p:tgtEl>
                                          <p:spTgt spid="40"/>
                                        </p:tgtEl>
                                        <p:attrNameLst>
                                          <p:attrName>ppt_w</p:attrName>
                                        </p:attrNameLst>
                                      </p:cBhvr>
                                      <p:tavLst>
                                        <p:tav tm="0">
                                          <p:val>
                                            <p:strVal val="4/3*#ppt_w"/>
                                          </p:val>
                                        </p:tav>
                                        <p:tav tm="100000">
                                          <p:val>
                                            <p:strVal val="#ppt_w"/>
                                          </p:val>
                                        </p:tav>
                                      </p:tavLst>
                                    </p:anim>
                                    <p:anim calcmode="lin" valueType="num">
                                      <p:cBhvr>
                                        <p:cTn id="109" dur="500" fill="hold"/>
                                        <p:tgtEl>
                                          <p:spTgt spid="40"/>
                                        </p:tgtEl>
                                        <p:attrNameLst>
                                          <p:attrName>ppt_h</p:attrName>
                                        </p:attrNameLst>
                                      </p:cBhvr>
                                      <p:tavLst>
                                        <p:tav tm="0">
                                          <p:val>
                                            <p:strVal val="4/3*#ppt_h"/>
                                          </p:val>
                                        </p:tav>
                                        <p:tav tm="100000">
                                          <p:val>
                                            <p:strVal val="#ppt_h"/>
                                          </p:val>
                                        </p:tav>
                                      </p:tavLst>
                                    </p:anim>
                                  </p:childTnLst>
                                </p:cTn>
                              </p:par>
                              <p:par>
                                <p:cTn id="110" presetID="22" presetClass="entr" presetSubtype="8" fill="hold" grpId="0" nodeType="withEffect">
                                  <p:stCondLst>
                                    <p:cond delay="500"/>
                                  </p:stCondLst>
                                  <p:childTnLst>
                                    <p:set>
                                      <p:cBhvr>
                                        <p:cTn id="111" dur="1" fill="hold">
                                          <p:stCondLst>
                                            <p:cond delay="0"/>
                                          </p:stCondLst>
                                        </p:cTn>
                                        <p:tgtEl>
                                          <p:spTgt spid="16"/>
                                        </p:tgtEl>
                                        <p:attrNameLst>
                                          <p:attrName>style.visibility</p:attrName>
                                        </p:attrNameLst>
                                      </p:cBhvr>
                                      <p:to>
                                        <p:strVal val="visible"/>
                                      </p:to>
                                    </p:set>
                                    <p:animEffect transition="in" filter="wipe(left)">
                                      <p:cBhvr>
                                        <p:cTn id="112" dur="1000"/>
                                        <p:tgtEl>
                                          <p:spTgt spid="16"/>
                                        </p:tgtEl>
                                      </p:cBhvr>
                                    </p:animEffect>
                                  </p:childTnLst>
                                </p:cTn>
                              </p:par>
                              <p:par>
                                <p:cTn id="113" presetID="22" presetClass="entr" presetSubtype="4" fill="hold" nodeType="withEffect">
                                  <p:stCondLst>
                                    <p:cond delay="1500"/>
                                  </p:stCondLst>
                                  <p:childTnLst>
                                    <p:set>
                                      <p:cBhvr>
                                        <p:cTn id="114" dur="1" fill="hold">
                                          <p:stCondLst>
                                            <p:cond delay="0"/>
                                          </p:stCondLst>
                                        </p:cTn>
                                        <p:tgtEl>
                                          <p:spTgt spid="6"/>
                                        </p:tgtEl>
                                        <p:attrNameLst>
                                          <p:attrName>style.visibility</p:attrName>
                                        </p:attrNameLst>
                                      </p:cBhvr>
                                      <p:to>
                                        <p:strVal val="visible"/>
                                      </p:to>
                                    </p:set>
                                    <p:animEffect transition="in" filter="wipe(down)">
                                      <p:cBhvr>
                                        <p:cTn id="115" dur="500"/>
                                        <p:tgtEl>
                                          <p:spTgt spid="6"/>
                                        </p:tgtEl>
                                      </p:cBhvr>
                                    </p:animEffect>
                                  </p:childTnLst>
                                </p:cTn>
                              </p:par>
                              <p:par>
                                <p:cTn id="116" presetID="22" presetClass="entr" presetSubtype="4" fill="hold" nodeType="withEffect">
                                  <p:stCondLst>
                                    <p:cond delay="1500"/>
                                  </p:stCondLst>
                                  <p:childTnLst>
                                    <p:set>
                                      <p:cBhvr>
                                        <p:cTn id="117" dur="1" fill="hold">
                                          <p:stCondLst>
                                            <p:cond delay="0"/>
                                          </p:stCondLst>
                                        </p:cTn>
                                        <p:tgtEl>
                                          <p:spTgt spid="9"/>
                                        </p:tgtEl>
                                        <p:attrNameLst>
                                          <p:attrName>style.visibility</p:attrName>
                                        </p:attrNameLst>
                                      </p:cBhvr>
                                      <p:to>
                                        <p:strVal val="visible"/>
                                      </p:to>
                                    </p:set>
                                    <p:animEffect transition="in" filter="wipe(down)">
                                      <p:cBhvr>
                                        <p:cTn id="118" dur="500"/>
                                        <p:tgtEl>
                                          <p:spTgt spid="9"/>
                                        </p:tgtEl>
                                      </p:cBhvr>
                                    </p:animEffect>
                                  </p:childTnLst>
                                </p:cTn>
                              </p:par>
                              <p:par>
                                <p:cTn id="119" presetID="22" presetClass="entr" presetSubtype="4" fill="hold" nodeType="withEffect">
                                  <p:stCondLst>
                                    <p:cond delay="1500"/>
                                  </p:stCondLst>
                                  <p:childTnLst>
                                    <p:set>
                                      <p:cBhvr>
                                        <p:cTn id="120" dur="1" fill="hold">
                                          <p:stCondLst>
                                            <p:cond delay="0"/>
                                          </p:stCondLst>
                                        </p:cTn>
                                        <p:tgtEl>
                                          <p:spTgt spid="13"/>
                                        </p:tgtEl>
                                        <p:attrNameLst>
                                          <p:attrName>style.visibility</p:attrName>
                                        </p:attrNameLst>
                                      </p:cBhvr>
                                      <p:to>
                                        <p:strVal val="visible"/>
                                      </p:to>
                                    </p:set>
                                    <p:animEffect transition="in" filter="wipe(down)">
                                      <p:cBhvr>
                                        <p:cTn id="121" dur="500"/>
                                        <p:tgtEl>
                                          <p:spTgt spid="13"/>
                                        </p:tgtEl>
                                      </p:cBhvr>
                                    </p:animEffect>
                                  </p:childTnLst>
                                </p:cTn>
                              </p:par>
                              <p:par>
                                <p:cTn id="122" presetID="22" presetClass="entr" presetSubtype="4" fill="hold" nodeType="withEffect">
                                  <p:stCondLst>
                                    <p:cond delay="1500"/>
                                  </p:stCondLst>
                                  <p:childTnLst>
                                    <p:set>
                                      <p:cBhvr>
                                        <p:cTn id="123" dur="1" fill="hold">
                                          <p:stCondLst>
                                            <p:cond delay="0"/>
                                          </p:stCondLst>
                                        </p:cTn>
                                        <p:tgtEl>
                                          <p:spTgt spid="14"/>
                                        </p:tgtEl>
                                        <p:attrNameLst>
                                          <p:attrName>style.visibility</p:attrName>
                                        </p:attrNameLst>
                                      </p:cBhvr>
                                      <p:to>
                                        <p:strVal val="visible"/>
                                      </p:to>
                                    </p:set>
                                    <p:animEffect transition="in" filter="wipe(down)">
                                      <p:cBhvr>
                                        <p:cTn id="124" dur="500"/>
                                        <p:tgtEl>
                                          <p:spTgt spid="14"/>
                                        </p:tgtEl>
                                      </p:cBhvr>
                                    </p:animEffect>
                                  </p:childTnLst>
                                </p:cTn>
                              </p:par>
                              <p:par>
                                <p:cTn id="125" presetID="22" presetClass="entr" presetSubtype="4" fill="hold" nodeType="withEffect">
                                  <p:stCondLst>
                                    <p:cond delay="1500"/>
                                  </p:stCondLst>
                                  <p:childTnLst>
                                    <p:set>
                                      <p:cBhvr>
                                        <p:cTn id="126" dur="1" fill="hold">
                                          <p:stCondLst>
                                            <p:cond delay="0"/>
                                          </p:stCondLst>
                                        </p:cTn>
                                        <p:tgtEl>
                                          <p:spTgt spid="17"/>
                                        </p:tgtEl>
                                        <p:attrNameLst>
                                          <p:attrName>style.visibility</p:attrName>
                                        </p:attrNameLst>
                                      </p:cBhvr>
                                      <p:to>
                                        <p:strVal val="visible"/>
                                      </p:to>
                                    </p:set>
                                    <p:animEffect transition="in" filter="wipe(down)">
                                      <p:cBhvr>
                                        <p:cTn id="127" dur="500"/>
                                        <p:tgtEl>
                                          <p:spTgt spid="17"/>
                                        </p:tgtEl>
                                      </p:cBhvr>
                                    </p:animEffect>
                                  </p:childTnLst>
                                </p:cTn>
                              </p:par>
                              <p:par>
                                <p:cTn id="128" presetID="53" presetClass="entr" presetSubtype="0" fill="hold" nodeType="withEffect">
                                  <p:stCondLst>
                                    <p:cond delay="2000"/>
                                  </p:stCondLst>
                                  <p:childTnLst>
                                    <p:set>
                                      <p:cBhvr>
                                        <p:cTn id="129" dur="1" fill="hold">
                                          <p:stCondLst>
                                            <p:cond delay="0"/>
                                          </p:stCondLst>
                                        </p:cTn>
                                        <p:tgtEl>
                                          <p:spTgt spid="18"/>
                                        </p:tgtEl>
                                        <p:attrNameLst>
                                          <p:attrName>style.visibility</p:attrName>
                                        </p:attrNameLst>
                                      </p:cBhvr>
                                      <p:to>
                                        <p:strVal val="visible"/>
                                      </p:to>
                                    </p:set>
                                    <p:anim calcmode="lin" valueType="num">
                                      <p:cBhvr>
                                        <p:cTn id="130" dur="500" fill="hold"/>
                                        <p:tgtEl>
                                          <p:spTgt spid="18"/>
                                        </p:tgtEl>
                                        <p:attrNameLst>
                                          <p:attrName>ppt_w</p:attrName>
                                        </p:attrNameLst>
                                      </p:cBhvr>
                                      <p:tavLst>
                                        <p:tav tm="0">
                                          <p:val>
                                            <p:fltVal val="0"/>
                                          </p:val>
                                        </p:tav>
                                        <p:tav tm="100000">
                                          <p:val>
                                            <p:strVal val="#ppt_w"/>
                                          </p:val>
                                        </p:tav>
                                      </p:tavLst>
                                    </p:anim>
                                    <p:anim calcmode="lin" valueType="num">
                                      <p:cBhvr>
                                        <p:cTn id="131" dur="500" fill="hold"/>
                                        <p:tgtEl>
                                          <p:spTgt spid="18"/>
                                        </p:tgtEl>
                                        <p:attrNameLst>
                                          <p:attrName>ppt_h</p:attrName>
                                        </p:attrNameLst>
                                      </p:cBhvr>
                                      <p:tavLst>
                                        <p:tav tm="0">
                                          <p:val>
                                            <p:fltVal val="0"/>
                                          </p:val>
                                        </p:tav>
                                        <p:tav tm="100000">
                                          <p:val>
                                            <p:strVal val="#ppt_h"/>
                                          </p:val>
                                        </p:tav>
                                      </p:tavLst>
                                    </p:anim>
                                    <p:animEffect transition="in" filter="fade">
                                      <p:cBhvr>
                                        <p:cTn id="132" dur="500"/>
                                        <p:tgtEl>
                                          <p:spTgt spid="18"/>
                                        </p:tgtEl>
                                      </p:cBhvr>
                                    </p:animEffect>
                                  </p:childTnLst>
                                </p:cTn>
                              </p:par>
                              <p:par>
                                <p:cTn id="133" presetID="10" presetClass="entr" presetSubtype="0" fill="hold" grpId="0" nodeType="withEffect">
                                  <p:stCondLst>
                                    <p:cond delay="2000"/>
                                  </p:stCondLst>
                                  <p:childTnLst>
                                    <p:set>
                                      <p:cBhvr>
                                        <p:cTn id="134" dur="1" fill="hold">
                                          <p:stCondLst>
                                            <p:cond delay="0"/>
                                          </p:stCondLst>
                                        </p:cTn>
                                        <p:tgtEl>
                                          <p:spTgt spid="2"/>
                                        </p:tgtEl>
                                        <p:attrNameLst>
                                          <p:attrName>style.visibility</p:attrName>
                                        </p:attrNameLst>
                                      </p:cBhvr>
                                      <p:to>
                                        <p:strVal val="visible"/>
                                      </p:to>
                                    </p:set>
                                    <p:animEffect transition="in" filter="fade">
                                      <p:cBhvr>
                                        <p:cTn id="135" dur="500"/>
                                        <p:tgtEl>
                                          <p:spTgt spid="2"/>
                                        </p:tgtEl>
                                      </p:cBhvr>
                                    </p:animEffect>
                                  </p:childTnLst>
                                </p:cTn>
                              </p:par>
                              <p:par>
                                <p:cTn id="136" presetID="63" presetClass="path" presetSubtype="0" decel="100000" fill="hold" grpId="1" nodeType="withEffect">
                                  <p:stCondLst>
                                    <p:cond delay="2000"/>
                                  </p:stCondLst>
                                  <p:childTnLst>
                                    <p:animMotion origin="layout" path="M 2.70947E-06 0.02916 L 2.70947E-06 -7.11822E-07" pathEditMode="relative" rAng="0" ptsTypes="AA">
                                      <p:cBhvr>
                                        <p:cTn id="137" dur="600" fill="hold"/>
                                        <p:tgtEl>
                                          <p:spTgt spid="2"/>
                                        </p:tgtEl>
                                        <p:attrNameLst>
                                          <p:attrName>ppt_x</p:attrName>
                                          <p:attrName>ppt_y</p:attrName>
                                        </p:attrNameLst>
                                      </p:cBhvr>
                                      <p:rCtr x="0" y="-1474"/>
                                    </p:animMotion>
                                  </p:childTnLst>
                                </p:cTn>
                              </p:par>
                              <p:par>
                                <p:cTn id="138" presetID="22" presetClass="entr" presetSubtype="4" fill="hold" nodeType="withEffect">
                                  <p:stCondLst>
                                    <p:cond delay="1500"/>
                                  </p:stCondLst>
                                  <p:childTnLst>
                                    <p:set>
                                      <p:cBhvr>
                                        <p:cTn id="139" dur="1" fill="hold">
                                          <p:stCondLst>
                                            <p:cond delay="0"/>
                                          </p:stCondLst>
                                        </p:cTn>
                                        <p:tgtEl>
                                          <p:spTgt spid="22"/>
                                        </p:tgtEl>
                                        <p:attrNameLst>
                                          <p:attrName>style.visibility</p:attrName>
                                        </p:attrNameLst>
                                      </p:cBhvr>
                                      <p:to>
                                        <p:strVal val="visible"/>
                                      </p:to>
                                    </p:set>
                                    <p:animEffect transition="in" filter="wipe(down)">
                                      <p:cBhvr>
                                        <p:cTn id="140"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8" grpId="0"/>
      <p:bldP spid="8" grpId="1"/>
      <p:bldGraphic spid="16" grpId="0">
        <p:bldAsOne/>
      </p:bldGraphic>
      <p:bldP spid="15" grpId="0"/>
      <p:bldP spid="15" grpId="1"/>
      <p:bldP spid="109" grpId="0"/>
      <p:bldP spid="109" grpId="1"/>
      <p:bldP spid="111" grpId="0"/>
      <p:bldP spid="111" grpId="1"/>
      <p:bldP spid="118" grpId="0"/>
      <p:bldP spid="118" grpId="1"/>
      <p:bldP spid="130" grpId="0"/>
      <p:bldP spid="130" grpId="1"/>
      <p:bldP spid="140" grpId="0"/>
      <p:bldP spid="140" grpId="1"/>
      <p:bldP spid="139" grpId="0"/>
      <p:bldP spid="139" grpId="1"/>
      <p:bldP spid="221" grpId="0"/>
      <p:bldP spid="42" grpId="0"/>
      <p:bldP spid="42" grpId="1"/>
      <p:bldP spid="2" grpId="0"/>
      <p:bldP spid="2"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5" name="think-cell data - do not delete" hidden="1">
            <a:extLst>
              <a:ext uri="{FF2B5EF4-FFF2-40B4-BE49-F238E27FC236}">
                <a16:creationId xmlns:a16="http://schemas.microsoft.com/office/drawing/2014/main" id="{02115981-8DB9-89EB-8232-D5C545F9C38D}"/>
              </a:ext>
            </a:extLst>
          </p:cNvPr>
          <p:cNvGraphicFramePr>
            <a:graphicFrameLocks noChangeAspect="1"/>
          </p:cNvGraphicFramePr>
          <p:nvPr>
            <p:custDataLst>
              <p:tags r:id="rId1"/>
            </p:custDataLst>
            <p:extLst>
              <p:ext uri="{D42A27DB-BD31-4B8C-83A1-F6EECF244321}">
                <p14:modId xmlns:p14="http://schemas.microsoft.com/office/powerpoint/2010/main" val="845138492"/>
              </p:ext>
            </p:extLst>
          </p:nvPr>
        </p:nvGraphicFramePr>
        <p:xfrm>
          <a:off x="1173" y="1321"/>
          <a:ext cx="1172" cy="1172"/>
        </p:xfrm>
        <a:graphic>
          <a:graphicData uri="http://schemas.openxmlformats.org/presentationml/2006/ole">
            <mc:AlternateContent xmlns:mc="http://schemas.openxmlformats.org/markup-compatibility/2006">
              <mc:Choice xmlns:v="urn:schemas-microsoft-com:vml" Requires="v">
                <p:oleObj name="Slide do think-cell" r:id="rId40" imgW="0" imgH="0" progId="TCLayout.ActiveDocument.1">
                  <p:embed/>
                </p:oleObj>
              </mc:Choice>
              <mc:Fallback>
                <p:oleObj name="Slide do think-cell" r:id="rId40" imgW="0" imgH="0" progId="TCLayout.ActiveDocument.1">
                  <p:embed/>
                  <p:pic>
                    <p:nvPicPr>
                      <p:cNvPr id="0" name="OLE substitute image"/>
                      <p:cNvPicPr/>
                      <p:nvPr/>
                    </p:nvPicPr>
                    <p:blipFill>
                      <a:blip r:embed="rId41"/>
                      <a:stretch>
                        <a:fillRect/>
                      </a:stretch>
                    </p:blipFill>
                    <p:spPr>
                      <a:xfrm>
                        <a:off x="1173" y="1321"/>
                        <a:ext cx="1172" cy="1172"/>
                      </a:xfrm>
                      <a:prstGeom prst="rect">
                        <a:avLst/>
                      </a:prstGeom>
                    </p:spPr>
                  </p:pic>
                </p:oleObj>
              </mc:Fallback>
            </mc:AlternateContent>
          </a:graphicData>
        </a:graphic>
      </p:graphicFrame>
      <p:pic>
        <p:nvPicPr>
          <p:cNvPr id="3" name="Imagem 2" descr="Imagem em branco e azul&#10;&#10;Descrição gerada automaticamente com confiança média">
            <a:extLst>
              <a:ext uri="{FF2B5EF4-FFF2-40B4-BE49-F238E27FC236}">
                <a16:creationId xmlns:a16="http://schemas.microsoft.com/office/drawing/2014/main" id="{059FA2D4-7BEF-AADF-B60A-AB339B8A6B33}"/>
              </a:ext>
            </a:extLst>
          </p:cNvPr>
          <p:cNvPicPr>
            <a:picLocks noChangeAspect="1"/>
          </p:cNvPicPr>
          <p:nvPr>
            <p:custDataLst>
              <p:tags r:id="rId2"/>
            </p:custDataLst>
          </p:nvPr>
        </p:nvPicPr>
        <p:blipFill>
          <a:blip r:embed="rId42">
            <a:extLst>
              <a:ext uri="{28A0092B-C50C-407E-A947-70E740481C1C}">
                <a14:useLocalDpi xmlns:a14="http://schemas.microsoft.com/office/drawing/2010/main"/>
              </a:ext>
            </a:extLst>
          </a:blip>
          <a:stretch>
            <a:fillRect/>
          </a:stretch>
        </p:blipFill>
        <p:spPr>
          <a:xfrm>
            <a:off x="0" y="149"/>
            <a:ext cx="8999538" cy="5062240"/>
          </a:xfrm>
          <a:prstGeom prst="rect">
            <a:avLst/>
          </a:prstGeom>
        </p:spPr>
      </p:pic>
      <p:sp>
        <p:nvSpPr>
          <p:cNvPr id="23" name="Rectángulo redondeado 1">
            <a:extLst>
              <a:ext uri="{FF2B5EF4-FFF2-40B4-BE49-F238E27FC236}">
                <a16:creationId xmlns:a16="http://schemas.microsoft.com/office/drawing/2014/main" id="{EF880512-DA21-F216-956E-09794805CFAE}"/>
              </a:ext>
            </a:extLst>
          </p:cNvPr>
          <p:cNvSpPr/>
          <p:nvPr/>
        </p:nvSpPr>
        <p:spPr>
          <a:xfrm>
            <a:off x="7021011" y="2274042"/>
            <a:ext cx="1510873" cy="1857228"/>
          </a:xfrm>
          <a:prstGeom prst="roundRect">
            <a:avLst>
              <a:gd name="adj" fmla="val 4355"/>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ángulo redondeado 1">
            <a:extLst>
              <a:ext uri="{FF2B5EF4-FFF2-40B4-BE49-F238E27FC236}">
                <a16:creationId xmlns:a16="http://schemas.microsoft.com/office/drawing/2014/main" id="{8E9677A0-1B74-A104-090F-8B5AE660D88F}"/>
              </a:ext>
            </a:extLst>
          </p:cNvPr>
          <p:cNvSpPr/>
          <p:nvPr/>
        </p:nvSpPr>
        <p:spPr>
          <a:xfrm>
            <a:off x="1490453" y="2543904"/>
            <a:ext cx="1000126" cy="1550461"/>
          </a:xfrm>
          <a:prstGeom prst="roundRect">
            <a:avLst>
              <a:gd name="adj" fmla="val 4355"/>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75" name="Imagem 274" descr="Fundo preto com letras brancas&#10;&#10;Descrição gerada automaticamente com confiança média">
            <a:extLst>
              <a:ext uri="{FF2B5EF4-FFF2-40B4-BE49-F238E27FC236}">
                <a16:creationId xmlns:a16="http://schemas.microsoft.com/office/drawing/2014/main" id="{C7907175-8447-9DB5-5978-C3CC2AD022BD}"/>
              </a:ext>
            </a:extLst>
          </p:cNvPr>
          <p:cNvPicPr>
            <a:picLocks noChangeAspect="1"/>
          </p:cNvPicPr>
          <p:nvPr>
            <p:custDataLst>
              <p:tags r:id="rId3"/>
            </p:custDataLst>
          </p:nvPr>
        </p:nvPicPr>
        <p:blipFill>
          <a:blip r:embed="rId43">
            <a:extLst>
              <a:ext uri="{28A0092B-C50C-407E-A947-70E740481C1C}">
                <a14:useLocalDpi xmlns:a14="http://schemas.microsoft.com/office/drawing/2010/main"/>
              </a:ext>
            </a:extLst>
          </a:blip>
          <a:srcRect l="1" t="53816" r="49890"/>
          <a:stretch>
            <a:fillRect/>
          </a:stretch>
        </p:blipFill>
        <p:spPr>
          <a:xfrm flipV="1">
            <a:off x="5042485" y="1397434"/>
            <a:ext cx="3957053" cy="3665104"/>
          </a:xfrm>
          <a:prstGeom prst="rect">
            <a:avLst/>
          </a:prstGeom>
        </p:spPr>
      </p:pic>
      <p:sp>
        <p:nvSpPr>
          <p:cNvPr id="71" name="Rectángulo redondeado 1">
            <a:extLst>
              <a:ext uri="{FF2B5EF4-FFF2-40B4-BE49-F238E27FC236}">
                <a16:creationId xmlns:a16="http://schemas.microsoft.com/office/drawing/2014/main" id="{47E7F381-BA5A-1F85-F481-DA3FBECABF29}"/>
              </a:ext>
            </a:extLst>
          </p:cNvPr>
          <p:cNvSpPr/>
          <p:nvPr>
            <p:custDataLst>
              <p:tags r:id="rId4"/>
            </p:custDataLst>
          </p:nvPr>
        </p:nvSpPr>
        <p:spPr>
          <a:xfrm>
            <a:off x="208184" y="1756691"/>
            <a:ext cx="8462878" cy="2960696"/>
          </a:xfrm>
          <a:prstGeom prst="roundRect">
            <a:avLst>
              <a:gd name="adj" fmla="val 4355"/>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es-CO"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3" name="CaixaDeTexto 12">
            <a:extLst>
              <a:ext uri="{FF2B5EF4-FFF2-40B4-BE49-F238E27FC236}">
                <a16:creationId xmlns:a16="http://schemas.microsoft.com/office/drawing/2014/main" id="{F0CA03F9-4991-5BF5-AEFE-8E5E7300426D}"/>
              </a:ext>
            </a:extLst>
          </p:cNvPr>
          <p:cNvSpPr txBox="1"/>
          <p:nvPr>
            <p:custDataLst>
              <p:tags r:id="rId5"/>
            </p:custDataLst>
          </p:nvPr>
        </p:nvSpPr>
        <p:spPr>
          <a:xfrm>
            <a:off x="163819" y="763621"/>
            <a:ext cx="8463042" cy="402738"/>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2400" b="0" i="0" u="none" strike="noStrike" cap="none" spc="600" baseline="0" dirty="0">
                <a:solidFill>
                  <a:srgbClr val="002581"/>
                </a:solidFill>
                <a:effectLst/>
                <a:uFillTx/>
                <a:latin typeface="Segoe UI Light"/>
              </a:rPr>
              <a:t>TRACK</a:t>
            </a:r>
            <a:r>
              <a:rPr lang="en-US" sz="2400" b="0" i="0" u="none" strike="noStrike" cap="none" spc="600" dirty="0">
                <a:solidFill>
                  <a:srgbClr val="002581"/>
                </a:solidFill>
                <a:effectLst/>
                <a:uFillTx/>
                <a:latin typeface="Segoe UI Light"/>
              </a:rPr>
              <a:t> RECORD </a:t>
            </a:r>
            <a:r>
              <a:rPr lang="en-US" sz="2400" b="0" i="0" u="none" strike="noStrike" cap="none" spc="600" baseline="0" dirty="0">
                <a:solidFill>
                  <a:srgbClr val="002581"/>
                </a:solidFill>
                <a:effectLst/>
                <a:uFillTx/>
                <a:latin typeface="Segoe UI Light"/>
              </a:rPr>
              <a:t>OF </a:t>
            </a:r>
            <a:r>
              <a:rPr lang="en-US" sz="2400" b="1" i="0" u="none" strike="noStrike" cap="none" spc="600" baseline="0" dirty="0">
                <a:solidFill>
                  <a:srgbClr val="002581"/>
                </a:solidFill>
                <a:effectLst/>
                <a:uFillTx/>
                <a:latin typeface="Segoe UI Light"/>
              </a:rPr>
              <a:t>PROFITABLE</a:t>
            </a:r>
            <a:r>
              <a:rPr lang="en-US" sz="2400" b="0" i="0" u="none" strike="noStrike" cap="none" spc="600" baseline="0" dirty="0">
                <a:solidFill>
                  <a:srgbClr val="002581"/>
                </a:solidFill>
                <a:effectLst/>
                <a:uFillTx/>
                <a:latin typeface="Segoe UI Light"/>
              </a:rPr>
              <a:t> GROWTH</a:t>
            </a:r>
          </a:p>
        </p:txBody>
      </p:sp>
      <p:sp>
        <p:nvSpPr>
          <p:cNvPr id="16" name="CaixaDeTexto 15">
            <a:extLst>
              <a:ext uri="{FF2B5EF4-FFF2-40B4-BE49-F238E27FC236}">
                <a16:creationId xmlns:a16="http://schemas.microsoft.com/office/drawing/2014/main" id="{F9847B34-EFB9-E32E-08D7-BD9A3B8DF01E}"/>
              </a:ext>
            </a:extLst>
          </p:cNvPr>
          <p:cNvSpPr txBox="1"/>
          <p:nvPr>
            <p:custDataLst>
              <p:tags r:id="rId6"/>
            </p:custDataLst>
          </p:nvPr>
        </p:nvSpPr>
        <p:spPr>
          <a:xfrm>
            <a:off x="161028" y="1122379"/>
            <a:ext cx="6733955" cy="289310"/>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marL="0" marR="0" lvl="0" indent="0" algn="l" defTabSz="234364" rtl="0" eaLnBrk="1" fontAlgn="auto" latinLnBrk="0" hangingPunct="1">
              <a:lnSpc>
                <a:spcPct val="80000"/>
              </a:lnSpc>
              <a:spcBef>
                <a:spcPct val="0"/>
              </a:spcBef>
              <a:spcAft>
                <a:spcPct val="0"/>
              </a:spcAft>
              <a:buClrTx/>
              <a:buSzTx/>
              <a:buFontTx/>
              <a:buNone/>
              <a:defRPr/>
            </a:pPr>
            <a:r>
              <a:rPr lang="en-US" sz="1600" b="1" i="0" u="none" strike="noStrike" cap="none" spc="0" baseline="0" dirty="0">
                <a:solidFill>
                  <a:srgbClr val="005FD7"/>
                </a:solidFill>
                <a:effectLst/>
                <a:uFillTx/>
                <a:latin typeface="Segoe UI"/>
              </a:rPr>
              <a:t>Balanced mix of revenue from renewed and bidded agreements</a:t>
            </a:r>
          </a:p>
        </p:txBody>
      </p:sp>
      <p:sp>
        <p:nvSpPr>
          <p:cNvPr id="18" name="CaixaDeTexto 17">
            <a:extLst>
              <a:ext uri="{FF2B5EF4-FFF2-40B4-BE49-F238E27FC236}">
                <a16:creationId xmlns:a16="http://schemas.microsoft.com/office/drawing/2014/main" id="{C449809C-219C-90B6-8D23-4C1A45329F08}"/>
              </a:ext>
            </a:extLst>
          </p:cNvPr>
          <p:cNvSpPr txBox="1"/>
          <p:nvPr>
            <p:custDataLst>
              <p:tags r:id="rId7"/>
            </p:custDataLst>
          </p:nvPr>
        </p:nvSpPr>
        <p:spPr>
          <a:xfrm>
            <a:off x="4850403" y="2177011"/>
            <a:ext cx="3681481" cy="1640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algn="ctr">
              <a:defRPr sz="1600">
                <a:solidFill>
                  <a:schemeClr val="lt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003087"/>
                </a:solidFill>
                <a:effectLst/>
                <a:uFillTx/>
                <a:latin typeface="Segoe UI"/>
              </a:rPr>
              <a:t>Diversification by type of agreement</a:t>
            </a:r>
          </a:p>
          <a:p>
            <a:pPr marL="0" marR="0" lvl="0" indent="0" algn="ctr" defTabSz="457200" rtl="0" eaLnBrk="1" fontAlgn="auto" latinLnBrk="0" hangingPunct="1">
              <a:lnSpc>
                <a:spcPct val="100000"/>
              </a:lnSpc>
              <a:spcBef>
                <a:spcPct val="0"/>
              </a:spcBef>
              <a:spcAft>
                <a:spcPct val="0"/>
              </a:spcAft>
              <a:buClrTx/>
              <a:buSzTx/>
              <a:buFontTx/>
              <a:buNone/>
              <a:defRPr/>
            </a:pPr>
            <a:endParaRPr kumimoji="0" lang="pt-BR" sz="1400" b="0" i="0" u="none" strike="noStrike" kern="1200" cap="none" normalizeH="0" baseline="0" noProof="0" dirty="0">
              <a:ln>
                <a:noFill/>
              </a:ln>
              <a:solidFill>
                <a:srgbClr val="FFFFFF"/>
              </a:solidFill>
              <a:effectLst/>
              <a:uLnTx/>
              <a:uFillTx/>
              <a:latin typeface="Segoe UI" panose="020B0502040204020203" pitchFamily="34" charset="0"/>
              <a:cs typeface="Segoe UI" panose="020B0502040204020203" pitchFamily="34" charset="0"/>
            </a:endParaRPr>
          </a:p>
        </p:txBody>
      </p:sp>
      <p:graphicFrame>
        <p:nvGraphicFramePr>
          <p:cNvPr id="19" name="Chart 3">
            <a:extLst>
              <a:ext uri="{FF2B5EF4-FFF2-40B4-BE49-F238E27FC236}">
                <a16:creationId xmlns:a16="http://schemas.microsoft.com/office/drawing/2014/main" id="{1E72239B-C797-8738-5D26-27BFEC3386E3}"/>
              </a:ext>
            </a:extLst>
          </p:cNvPr>
          <p:cNvGraphicFramePr/>
          <p:nvPr>
            <p:custDataLst>
              <p:tags r:id="rId8"/>
            </p:custDataLst>
            <p:extLst>
              <p:ext uri="{D42A27DB-BD31-4B8C-83A1-F6EECF244321}">
                <p14:modId xmlns:p14="http://schemas.microsoft.com/office/powerpoint/2010/main" val="3871115793"/>
              </p:ext>
            </p:extLst>
          </p:nvPr>
        </p:nvGraphicFramePr>
        <p:xfrm>
          <a:off x="6615211" y="2507392"/>
          <a:ext cx="2003198" cy="1568180"/>
        </p:xfrm>
        <a:graphic>
          <a:graphicData uri="http://schemas.openxmlformats.org/drawingml/2006/chart">
            <c:chart xmlns:c="http://schemas.openxmlformats.org/drawingml/2006/chart" xmlns:r="http://schemas.openxmlformats.org/officeDocument/2006/relationships" r:id="rId44"/>
          </a:graphicData>
        </a:graphic>
      </p:graphicFrame>
      <p:graphicFrame>
        <p:nvGraphicFramePr>
          <p:cNvPr id="25" name="Gráfico 24">
            <a:extLst>
              <a:ext uri="{FF2B5EF4-FFF2-40B4-BE49-F238E27FC236}">
                <a16:creationId xmlns:a16="http://schemas.microsoft.com/office/drawing/2014/main" id="{F1EF9D64-C860-057A-0173-1A8312BE4734}"/>
              </a:ext>
            </a:extLst>
          </p:cNvPr>
          <p:cNvGraphicFramePr/>
          <p:nvPr>
            <p:custDataLst>
              <p:tags r:id="rId9"/>
            </p:custDataLst>
            <p:extLst>
              <p:ext uri="{D42A27DB-BD31-4B8C-83A1-F6EECF244321}">
                <p14:modId xmlns:p14="http://schemas.microsoft.com/office/powerpoint/2010/main" val="3568618751"/>
              </p:ext>
            </p:extLst>
          </p:nvPr>
        </p:nvGraphicFramePr>
        <p:xfrm>
          <a:off x="274630" y="2654866"/>
          <a:ext cx="2321849" cy="1396774"/>
        </p:xfrm>
        <a:graphic>
          <a:graphicData uri="http://schemas.openxmlformats.org/drawingml/2006/chart">
            <c:chart xmlns:c="http://schemas.openxmlformats.org/drawingml/2006/chart" xmlns:r="http://schemas.openxmlformats.org/officeDocument/2006/relationships" r:id="rId45"/>
          </a:graphicData>
        </a:graphic>
      </p:graphicFrame>
      <p:cxnSp>
        <p:nvCxnSpPr>
          <p:cNvPr id="37" name="Conector: Angulado 36">
            <a:extLst>
              <a:ext uri="{FF2B5EF4-FFF2-40B4-BE49-F238E27FC236}">
                <a16:creationId xmlns:a16="http://schemas.microsoft.com/office/drawing/2014/main" id="{6AACA3D9-D1FF-1263-63EC-216ECF2D02DA}"/>
              </a:ext>
            </a:extLst>
          </p:cNvPr>
          <p:cNvCxnSpPr/>
          <p:nvPr>
            <p:custDataLst>
              <p:tags r:id="rId10"/>
            </p:custDataLst>
          </p:nvPr>
        </p:nvCxnSpPr>
        <p:spPr>
          <a:xfrm flipV="1">
            <a:off x="1004333" y="2715360"/>
            <a:ext cx="684000" cy="720000"/>
          </a:xfrm>
          <a:prstGeom prst="bentConnector3">
            <a:avLst>
              <a:gd name="adj1" fmla="val -2033"/>
            </a:avLst>
          </a:prstGeom>
          <a:noFill/>
          <a:ln w="19050">
            <a:gradFill>
              <a:gsLst>
                <a:gs pos="0">
                  <a:srgbClr val="005FD7">
                    <a:alpha val="0"/>
                  </a:srgbClr>
                </a:gs>
                <a:gs pos="50000">
                  <a:srgbClr val="005FD7"/>
                </a:gs>
                <a:gs pos="100000">
                  <a:srgbClr val="005FD7">
                    <a:alpha val="0"/>
                  </a:srgbClr>
                </a:gs>
              </a:gsLst>
              <a:lin ang="27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graphicFrame>
        <p:nvGraphicFramePr>
          <p:cNvPr id="38" name="Chart 3">
            <a:extLst>
              <a:ext uri="{FF2B5EF4-FFF2-40B4-BE49-F238E27FC236}">
                <a16:creationId xmlns:a16="http://schemas.microsoft.com/office/drawing/2014/main" id="{4B225C6F-0B75-15B7-AE14-BDECC6295D5A}"/>
              </a:ext>
            </a:extLst>
          </p:cNvPr>
          <p:cNvGraphicFramePr/>
          <p:nvPr>
            <p:custDataLst>
              <p:tags r:id="rId11"/>
            </p:custDataLst>
            <p:extLst>
              <p:ext uri="{D42A27DB-BD31-4B8C-83A1-F6EECF244321}">
                <p14:modId xmlns:p14="http://schemas.microsoft.com/office/powerpoint/2010/main" val="3182326279"/>
              </p:ext>
            </p:extLst>
          </p:nvPr>
        </p:nvGraphicFramePr>
        <p:xfrm>
          <a:off x="4674301" y="2639781"/>
          <a:ext cx="1794746" cy="1368134"/>
        </p:xfrm>
        <a:graphic>
          <a:graphicData uri="http://schemas.openxmlformats.org/drawingml/2006/chart">
            <c:chart xmlns:c="http://schemas.openxmlformats.org/drawingml/2006/chart" xmlns:r="http://schemas.openxmlformats.org/officeDocument/2006/relationships" r:id="rId46"/>
          </a:graphicData>
        </a:graphic>
      </p:graphicFrame>
      <p:sp>
        <p:nvSpPr>
          <p:cNvPr id="40" name="CaixaDeTexto 39">
            <a:extLst>
              <a:ext uri="{FF2B5EF4-FFF2-40B4-BE49-F238E27FC236}">
                <a16:creationId xmlns:a16="http://schemas.microsoft.com/office/drawing/2014/main" id="{08942B7C-D254-EA47-EB0A-98D73B5F74EB}"/>
              </a:ext>
            </a:extLst>
          </p:cNvPr>
          <p:cNvSpPr txBox="1"/>
          <p:nvPr>
            <p:custDataLst>
              <p:tags r:id="rId12"/>
            </p:custDataLst>
          </p:nvPr>
        </p:nvSpPr>
        <p:spPr>
          <a:xfrm>
            <a:off x="2540822" y="2588643"/>
            <a:ext cx="882299" cy="327782"/>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defRPr/>
            </a:pPr>
            <a:r>
              <a:rPr lang="en-US" sz="800" b="1" i="0" u="none" strike="noStrike" cap="none" baseline="0" dirty="0">
                <a:solidFill>
                  <a:srgbClr val="005FD7"/>
                </a:solidFill>
                <a:effectLst/>
                <a:uFillTx/>
                <a:latin typeface="Segoe UI"/>
              </a:rPr>
              <a:t>CAGR²</a:t>
            </a:r>
            <a:r>
              <a:rPr lang="en-US" sz="800" b="1" i="0" u="none" strike="noStrike" cap="none" baseline="0">
                <a:solidFill>
                  <a:srgbClr val="005FD7"/>
                </a:solidFill>
                <a:effectLst/>
                <a:uFillTx/>
                <a:latin typeface="Segoe UI"/>
              </a:rPr>
              <a:t>: </a:t>
            </a:r>
            <a:r>
              <a:rPr lang="en-US" sz="1000" b="1" i="0" u="none" strike="noStrike" cap="none" baseline="0">
                <a:solidFill>
                  <a:srgbClr val="005FD7"/>
                </a:solidFill>
                <a:effectLst/>
                <a:uFillTx/>
                <a:latin typeface="Segoe UI"/>
              </a:rPr>
              <a:t>17.0%</a:t>
            </a:r>
            <a:endParaRPr lang="en-US" sz="1000" b="1" i="0" u="none" strike="noStrike" cap="none" baseline="0" dirty="0">
              <a:solidFill>
                <a:srgbClr val="005FD7"/>
              </a:solidFill>
              <a:effectLst/>
              <a:uFillTx/>
              <a:latin typeface="Segoe UI"/>
            </a:endParaRPr>
          </a:p>
        </p:txBody>
      </p:sp>
      <p:sp>
        <p:nvSpPr>
          <p:cNvPr id="42" name="CaixaDeTexto 41">
            <a:extLst>
              <a:ext uri="{FF2B5EF4-FFF2-40B4-BE49-F238E27FC236}">
                <a16:creationId xmlns:a16="http://schemas.microsoft.com/office/drawing/2014/main" id="{E6AC42DB-A086-4029-F351-C0E22B5D5474}"/>
              </a:ext>
            </a:extLst>
          </p:cNvPr>
          <p:cNvSpPr txBox="1"/>
          <p:nvPr>
            <p:custDataLst>
              <p:tags r:id="rId13"/>
            </p:custDataLst>
          </p:nvPr>
        </p:nvSpPr>
        <p:spPr>
          <a:xfrm>
            <a:off x="467654" y="2492248"/>
            <a:ext cx="663727" cy="324937"/>
          </a:xfrm>
          <a:prstGeom prst="rect">
            <a:avLst/>
          </a:prstGeom>
          <a:noFill/>
        </p:spPr>
        <p:txBody>
          <a:bodyPr wrap="square" rtlCol="0">
            <a:spAutoFit/>
          </a:bodyPr>
          <a:lstStyle>
            <a:defPPr>
              <a:defRPr lang="pt-BR"/>
            </a:defPPr>
            <a:lvl1pPr algn="ctr">
              <a:lnSpc>
                <a:spcPct val="85000"/>
              </a:lnSpc>
              <a:spcBef>
                <a:spcPts val="1200"/>
              </a:spcBef>
              <a:spcAft>
                <a:spcPts val="200"/>
              </a:spcAft>
              <a:buClr>
                <a:srgbClr val="FE5000"/>
              </a:buClr>
              <a:defRPr sz="1200" b="1" i="0" u="none" strike="noStrike" cap="none" baseline="0">
                <a:solidFill>
                  <a:srgbClr val="5D5D5D"/>
                </a:solidFill>
                <a:effectLst/>
                <a:uFillTx/>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85000"/>
              </a:lnSpc>
              <a:spcBef>
                <a:spcPts val="1200"/>
              </a:spcBef>
              <a:spcAft>
                <a:spcPts val="200"/>
              </a:spcAft>
              <a:buClr>
                <a:srgbClr val="FE5000"/>
              </a:buClr>
              <a:buSzTx/>
              <a:buFontTx/>
              <a:buNone/>
              <a:defRPr/>
            </a:pPr>
            <a:r>
              <a:rPr lang="en-US" sz="800" b="1" i="0" u="none" strike="noStrike" cap="none" baseline="0" dirty="0">
                <a:solidFill>
                  <a:srgbClr val="005FD7"/>
                </a:solidFill>
                <a:effectLst/>
                <a:uFillTx/>
                <a:latin typeface="Segoe UI"/>
              </a:rPr>
              <a:t>CAGR²</a:t>
            </a:r>
            <a:r>
              <a:rPr lang="en-US" sz="800" b="1" i="0" u="none" strike="noStrike" cap="none" baseline="0">
                <a:solidFill>
                  <a:srgbClr val="005FD7"/>
                </a:solidFill>
                <a:effectLst/>
                <a:uFillTx/>
                <a:latin typeface="Segoe UI"/>
              </a:rPr>
              <a:t>: </a:t>
            </a:r>
            <a:r>
              <a:rPr lang="en-US" sz="1000" b="1" i="0" u="none" strike="noStrike" cap="none" baseline="0">
                <a:solidFill>
                  <a:srgbClr val="005FD7"/>
                </a:solidFill>
                <a:effectLst/>
                <a:uFillTx/>
                <a:latin typeface="Segoe UI"/>
              </a:rPr>
              <a:t>9.2%</a:t>
            </a:r>
            <a:endParaRPr lang="en-US" sz="1000" b="1" i="0" u="none" strike="noStrike" cap="none" baseline="0" dirty="0">
              <a:solidFill>
                <a:srgbClr val="005FD7"/>
              </a:solidFill>
              <a:effectLst/>
              <a:uFillTx/>
              <a:latin typeface="Segoe UI"/>
            </a:endParaRPr>
          </a:p>
        </p:txBody>
      </p:sp>
      <p:sp>
        <p:nvSpPr>
          <p:cNvPr id="45" name="CaixaDeTexto 44">
            <a:extLst>
              <a:ext uri="{FF2B5EF4-FFF2-40B4-BE49-F238E27FC236}">
                <a16:creationId xmlns:a16="http://schemas.microsoft.com/office/drawing/2014/main" id="{F2C3A1BA-531E-E8C3-9E90-70BB9A8F67D3}"/>
              </a:ext>
            </a:extLst>
          </p:cNvPr>
          <p:cNvSpPr txBox="1"/>
          <p:nvPr>
            <p:custDataLst>
              <p:tags r:id="rId14"/>
            </p:custDataLst>
          </p:nvPr>
        </p:nvSpPr>
        <p:spPr>
          <a:xfrm>
            <a:off x="4900437" y="2393256"/>
            <a:ext cx="1329799" cy="261610"/>
          </a:xfrm>
          <a:prstGeom prst="rect">
            <a:avLst/>
          </a:prstGeom>
          <a:noFill/>
        </p:spPr>
        <p:txBody>
          <a:bodyPr wrap="square" rtlCol="0">
            <a:spAutoFit/>
          </a:bodyPr>
          <a:lstStyle>
            <a:defPPr>
              <a:defRPr lang="pt-BR"/>
            </a:defPPr>
            <a:lvl1pPr algn="ctr">
              <a:spcBef>
                <a:spcPts val="600"/>
              </a:spcBef>
              <a:buClr>
                <a:srgbClr val="FE5000"/>
              </a:buClr>
              <a:defRPr sz="1600" b="1" i="0" u="none" strike="noStrike" cap="none" baseline="0">
                <a:solidFill>
                  <a:srgbClr val="5D5D5D"/>
                </a:solidFill>
                <a:effectLst/>
                <a:uFillTx/>
                <a:latin typeface="Arial" panose="020B0604020202020204" pitchFamily="34" charset="0"/>
                <a:cs typeface="Arial" panose="020B0604020202020204" pitchFamily="34" charset="0"/>
              </a:defRPr>
            </a:lvl1pPr>
          </a:lstStyle>
          <a:p>
            <a:pPr marL="0" marR="0" lvl="0" indent="0" algn="ctr" defTabSz="457200" rtl="0" eaLnBrk="1" fontAlgn="auto" latinLnBrk="0" hangingPunct="1">
              <a:lnSpc>
                <a:spcPct val="100000"/>
              </a:lnSpc>
              <a:spcBef>
                <a:spcPts val="100"/>
              </a:spcBef>
              <a:spcAft>
                <a:spcPct val="0"/>
              </a:spcAft>
              <a:buClr>
                <a:srgbClr val="FE5000"/>
              </a:buClr>
              <a:buSzTx/>
              <a:buFontTx/>
              <a:buNone/>
              <a:defRPr/>
            </a:pPr>
            <a:r>
              <a:rPr lang="en-US" sz="1100" b="1" i="0" u="none" strike="noStrike" cap="none" baseline="0" dirty="0">
                <a:solidFill>
                  <a:srgbClr val="002581"/>
                </a:solidFill>
                <a:effectLst/>
                <a:uFillTx/>
                <a:latin typeface="Segoe UI"/>
              </a:rPr>
              <a:t>2013/2014 Cycle </a:t>
            </a:r>
          </a:p>
        </p:txBody>
      </p:sp>
      <p:grpSp>
        <p:nvGrpSpPr>
          <p:cNvPr id="271" name="Agrupar 270">
            <a:extLst>
              <a:ext uri="{FF2B5EF4-FFF2-40B4-BE49-F238E27FC236}">
                <a16:creationId xmlns:a16="http://schemas.microsoft.com/office/drawing/2014/main" id="{FBCFAFC7-53AD-D9D7-4207-1C5195749C5C}"/>
              </a:ext>
            </a:extLst>
          </p:cNvPr>
          <p:cNvGrpSpPr/>
          <p:nvPr>
            <p:custDataLst>
              <p:tags r:id="rId15"/>
            </p:custDataLst>
          </p:nvPr>
        </p:nvGrpSpPr>
        <p:grpSpPr>
          <a:xfrm>
            <a:off x="4919979" y="2687115"/>
            <a:ext cx="3766812" cy="821270"/>
            <a:chOff x="5032778" y="1212825"/>
            <a:chExt cx="3766812" cy="821270"/>
          </a:xfrm>
        </p:grpSpPr>
        <p:sp>
          <p:nvSpPr>
            <p:cNvPr id="20" name="CaixaDeTexto 19">
              <a:extLst>
                <a:ext uri="{FF2B5EF4-FFF2-40B4-BE49-F238E27FC236}">
                  <a16:creationId xmlns:a16="http://schemas.microsoft.com/office/drawing/2014/main" id="{C2C9D011-2A60-18BE-5F21-99A04BC4B225}"/>
                </a:ext>
              </a:extLst>
            </p:cNvPr>
            <p:cNvSpPr txBox="1"/>
            <p:nvPr>
              <p:custDataLst>
                <p:tags r:id="rId34"/>
              </p:custDataLst>
            </p:nvPr>
          </p:nvSpPr>
          <p:spPr>
            <a:xfrm>
              <a:off x="7108425" y="1656299"/>
              <a:ext cx="1691165" cy="377796"/>
            </a:xfrm>
            <a:prstGeom prst="rect">
              <a:avLst/>
            </a:prstGeom>
            <a:noFill/>
          </p:spPr>
          <p:txBody>
            <a:bodyPr wrap="square" rtlCol="0">
              <a:spAutoFit/>
            </a:bodyPr>
            <a:lstStyle/>
            <a:p>
              <a:pPr marL="0" marR="0" lvl="0" indent="0" algn="ctr" defTabSz="457200" rtl="0" eaLnBrk="1" fontAlgn="auto" latinLnBrk="0" hangingPunct="1">
                <a:spcAft>
                  <a:spcPts val="148"/>
                </a:spcAft>
                <a:buClr>
                  <a:srgbClr val="FE5000"/>
                </a:buClr>
                <a:buSzTx/>
                <a:buFontTx/>
                <a:buNone/>
                <a:defRPr/>
              </a:pPr>
              <a:r>
                <a:rPr lang="en-US" sz="886" b="1" i="0" u="none" strike="noStrike" cap="none" baseline="0" dirty="0">
                  <a:solidFill>
                    <a:srgbClr val="002581"/>
                  </a:solidFill>
                  <a:effectLst/>
                  <a:uFillTx/>
                  <a:latin typeface="Segoe UI"/>
                </a:rPr>
                <a:t>R</a:t>
              </a:r>
              <a:r>
                <a:rPr lang="en-US" sz="886" b="1" i="0" u="none" strike="noStrike" cap="none" baseline="0">
                  <a:solidFill>
                    <a:srgbClr val="002581"/>
                  </a:solidFill>
                  <a:effectLst/>
                  <a:uFillTx/>
                  <a:latin typeface="Segoe UI"/>
                </a:rPr>
                <a:t>$2,866 </a:t>
              </a:r>
              <a:endParaRPr lang="en-US" sz="886" b="1">
                <a:solidFill>
                  <a:srgbClr val="002581"/>
                </a:solidFill>
                <a:latin typeface="Segoe UI"/>
              </a:endParaRPr>
            </a:p>
            <a:p>
              <a:pPr marL="0" marR="0" lvl="0" indent="0" algn="ctr" defTabSz="457200" rtl="0" eaLnBrk="1" fontAlgn="auto" latinLnBrk="0" hangingPunct="1">
                <a:spcAft>
                  <a:spcPts val="148"/>
                </a:spcAft>
                <a:buClr>
                  <a:srgbClr val="FE5000"/>
                </a:buClr>
                <a:buSzTx/>
                <a:buFontTx/>
                <a:buNone/>
                <a:defRPr/>
              </a:pPr>
              <a:r>
                <a:rPr lang="en-US" sz="886" b="1" i="0" u="none" strike="noStrike" cap="none" baseline="0">
                  <a:solidFill>
                    <a:srgbClr val="002581"/>
                  </a:solidFill>
                  <a:effectLst/>
                  <a:uFillTx/>
                  <a:latin typeface="Segoe UI"/>
                </a:rPr>
                <a:t>million</a:t>
              </a:r>
              <a:endParaRPr lang="en-US" sz="886" b="1" i="0" u="none" strike="noStrike" cap="none" baseline="0" dirty="0">
                <a:solidFill>
                  <a:srgbClr val="002581"/>
                </a:solidFill>
                <a:effectLst/>
                <a:uFillTx/>
                <a:latin typeface="Segoe UI"/>
              </a:endParaRPr>
            </a:p>
          </p:txBody>
        </p:sp>
        <p:sp>
          <p:nvSpPr>
            <p:cNvPr id="22" name="CaixaDeTexto 21">
              <a:extLst>
                <a:ext uri="{FF2B5EF4-FFF2-40B4-BE49-F238E27FC236}">
                  <a16:creationId xmlns:a16="http://schemas.microsoft.com/office/drawing/2014/main" id="{24C93189-4A29-7169-0ABE-A2429A49C9E8}"/>
                </a:ext>
              </a:extLst>
            </p:cNvPr>
            <p:cNvSpPr txBox="1"/>
            <p:nvPr>
              <p:custDataLst>
                <p:tags r:id="rId35"/>
              </p:custDataLst>
            </p:nvPr>
          </p:nvSpPr>
          <p:spPr>
            <a:xfrm>
              <a:off x="5032778" y="1619674"/>
              <a:ext cx="1155063" cy="377796"/>
            </a:xfrm>
            <a:prstGeom prst="rect">
              <a:avLst/>
            </a:prstGeom>
            <a:noFill/>
          </p:spPr>
          <p:txBody>
            <a:bodyPr wrap="square" rtlCol="0">
              <a:spAutoFit/>
            </a:bodyPr>
            <a:lstStyle/>
            <a:p>
              <a:pPr marL="0" marR="0" lvl="0" indent="0" algn="ctr" defTabSz="457200" rtl="0" eaLnBrk="1" fontAlgn="auto" latinLnBrk="0" hangingPunct="1">
                <a:spcAft>
                  <a:spcPts val="148"/>
                </a:spcAft>
                <a:buClr>
                  <a:srgbClr val="FE5000"/>
                </a:buClr>
                <a:buSzTx/>
                <a:buFontTx/>
                <a:buNone/>
                <a:defRPr/>
              </a:pPr>
              <a:r>
                <a:rPr lang="en-US" sz="886" b="1" i="0" u="none" strike="noStrike" cap="none" baseline="0">
                  <a:solidFill>
                    <a:srgbClr val="002581"/>
                  </a:solidFill>
                  <a:effectLst/>
                  <a:uFillTx/>
                  <a:latin typeface="Segoe UI"/>
                </a:rPr>
                <a:t>R$866</a:t>
              </a:r>
            </a:p>
            <a:p>
              <a:pPr marL="0" marR="0" lvl="0" indent="0" algn="ctr" defTabSz="457200" rtl="0" eaLnBrk="1" fontAlgn="auto" latinLnBrk="0" hangingPunct="1">
                <a:spcAft>
                  <a:spcPts val="148"/>
                </a:spcAft>
                <a:buClr>
                  <a:srgbClr val="FE5000"/>
                </a:buClr>
                <a:buSzTx/>
                <a:buFontTx/>
                <a:buNone/>
                <a:defRPr/>
              </a:pPr>
              <a:r>
                <a:rPr lang="en-US" sz="886" b="1" i="0" u="none" strike="noStrike" cap="none" baseline="0">
                  <a:solidFill>
                    <a:srgbClr val="002581"/>
                  </a:solidFill>
                  <a:effectLst/>
                  <a:uFillTx/>
                  <a:latin typeface="Segoe UI"/>
                </a:rPr>
                <a:t>million</a:t>
              </a:r>
              <a:endParaRPr lang="en-US" sz="886" b="1" i="0" u="none" strike="noStrike" cap="none" baseline="0" dirty="0">
                <a:solidFill>
                  <a:srgbClr val="002581"/>
                </a:solidFill>
                <a:effectLst/>
                <a:uFillTx/>
                <a:latin typeface="Segoe UI"/>
              </a:endParaRPr>
            </a:p>
          </p:txBody>
        </p:sp>
        <p:cxnSp>
          <p:nvCxnSpPr>
            <p:cNvPr id="46" name="Conector: Angulado 45">
              <a:extLst>
                <a:ext uri="{FF2B5EF4-FFF2-40B4-BE49-F238E27FC236}">
                  <a16:creationId xmlns:a16="http://schemas.microsoft.com/office/drawing/2014/main" id="{3AEE976D-D317-B9D1-04C6-762381B46251}"/>
                </a:ext>
              </a:extLst>
            </p:cNvPr>
            <p:cNvCxnSpPr/>
            <p:nvPr>
              <p:custDataLst>
                <p:tags r:id="rId36"/>
              </p:custDataLst>
            </p:nvPr>
          </p:nvCxnSpPr>
          <p:spPr>
            <a:xfrm flipV="1">
              <a:off x="6892425" y="1644553"/>
              <a:ext cx="216000" cy="0"/>
            </a:xfrm>
            <a:prstGeom prst="bentConnector2">
              <a:avLst/>
            </a:prstGeom>
            <a:noFill/>
            <a:ln w="19050">
              <a:gradFill>
                <a:gsLst>
                  <a:gs pos="0">
                    <a:srgbClr val="005FD7">
                      <a:alpha val="0"/>
                    </a:srgbClr>
                  </a:gs>
                  <a:gs pos="50000">
                    <a:srgbClr val="005FD7"/>
                  </a:gs>
                  <a:gs pos="100000">
                    <a:srgbClr val="005FD7">
                      <a:alpha val="0"/>
                    </a:srgbClr>
                  </a:gs>
                </a:gsLst>
                <a:lin ang="27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sp>
          <p:nvSpPr>
            <p:cNvPr id="49" name="CaixaDeTexto 48">
              <a:extLst>
                <a:ext uri="{FF2B5EF4-FFF2-40B4-BE49-F238E27FC236}">
                  <a16:creationId xmlns:a16="http://schemas.microsoft.com/office/drawing/2014/main" id="{58C07654-F1C5-5E7E-969A-72C649ED340B}"/>
                </a:ext>
              </a:extLst>
            </p:cNvPr>
            <p:cNvSpPr txBox="1"/>
            <p:nvPr>
              <p:custDataLst>
                <p:tags r:id="rId37"/>
              </p:custDataLst>
            </p:nvPr>
          </p:nvSpPr>
          <p:spPr>
            <a:xfrm>
              <a:off x="6385272" y="1212825"/>
              <a:ext cx="748538" cy="367024"/>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defRPr/>
              </a:pPr>
              <a:r>
                <a:rPr lang="en-US" sz="1050" b="0" i="0" u="none" strike="noStrike" cap="none" baseline="0" dirty="0">
                  <a:solidFill>
                    <a:srgbClr val="005FD7"/>
                  </a:solidFill>
                  <a:effectLst/>
                  <a:uFillTx/>
                  <a:latin typeface="Segoe UI"/>
                </a:rPr>
                <a:t>CAGR²</a:t>
              </a:r>
              <a:r>
                <a:rPr lang="en-US" sz="1050" b="0" i="0" u="none" strike="noStrike" cap="none" baseline="0">
                  <a:solidFill>
                    <a:srgbClr val="005FD7"/>
                  </a:solidFill>
                  <a:effectLst/>
                  <a:uFillTx/>
                  <a:latin typeface="Segoe UI"/>
                </a:rPr>
                <a:t>: </a:t>
              </a:r>
              <a:r>
                <a:rPr lang="en-US" sz="1050" b="1" i="0" u="none" strike="noStrike" cap="none" baseline="0">
                  <a:solidFill>
                    <a:srgbClr val="005FD7"/>
                  </a:solidFill>
                  <a:effectLst/>
                  <a:uFillTx/>
                  <a:latin typeface="Segoe UI"/>
                </a:rPr>
                <a:t>12.7%</a:t>
              </a:r>
              <a:endParaRPr lang="en-US" sz="1050" b="1" i="0" u="none" strike="noStrike" cap="none" baseline="0" dirty="0">
                <a:solidFill>
                  <a:srgbClr val="005FD7"/>
                </a:solidFill>
                <a:effectLst/>
                <a:uFillTx/>
                <a:latin typeface="Segoe UI"/>
              </a:endParaRPr>
            </a:p>
          </p:txBody>
        </p:sp>
      </p:grpSp>
      <p:sp>
        <p:nvSpPr>
          <p:cNvPr id="51" name="Caixa de Texto 2">
            <a:extLst>
              <a:ext uri="{FF2B5EF4-FFF2-40B4-BE49-F238E27FC236}">
                <a16:creationId xmlns:a16="http://schemas.microsoft.com/office/drawing/2014/main" id="{0C8D238B-4269-D7B4-9898-10554453EE0B}"/>
              </a:ext>
            </a:extLst>
          </p:cNvPr>
          <p:cNvSpPr txBox="1">
            <a:spLocks noChangeArrowheads="1"/>
          </p:cNvSpPr>
          <p:nvPr>
            <p:custDataLst>
              <p:tags r:id="rId16"/>
            </p:custDataLst>
          </p:nvPr>
        </p:nvSpPr>
        <p:spPr bwMode="auto">
          <a:xfrm>
            <a:off x="3220795" y="2073111"/>
            <a:ext cx="851601" cy="1857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67497" tIns="33748" rIns="67497" bIns="33748" anchor="t" anchorCtr="0" upright="1">
            <a:spAutoFit/>
          </a:bodyPr>
          <a:lstStyle/>
          <a:p>
            <a:pPr marL="0" marR="0" lvl="0" indent="0" algn="ctr" defTabSz="457200" rtl="0" eaLnBrk="1" fontAlgn="auto" latinLnBrk="0" hangingPunct="1">
              <a:lnSpc>
                <a:spcPct val="100000"/>
              </a:lnSpc>
              <a:spcBef>
                <a:spcPct val="0"/>
              </a:spcBef>
              <a:spcAft>
                <a:spcPct val="0"/>
              </a:spcAft>
              <a:buClrTx/>
              <a:buSzTx/>
              <a:buFontTx/>
              <a:buNone/>
              <a:defRPr/>
            </a:pPr>
            <a:r>
              <a:rPr lang="en-US" sz="775" b="0" i="0" u="none" strike="noStrike" cap="none" baseline="0" dirty="0">
                <a:solidFill>
                  <a:srgbClr val="5D5D5D"/>
                </a:solidFill>
                <a:effectLst/>
                <a:uFillTx/>
                <a:latin typeface="Segoe UI"/>
              </a:rPr>
              <a:t>R$ million</a:t>
            </a:r>
          </a:p>
        </p:txBody>
      </p:sp>
      <p:sp>
        <p:nvSpPr>
          <p:cNvPr id="52" name="CaixaDeTexto 51">
            <a:extLst>
              <a:ext uri="{FF2B5EF4-FFF2-40B4-BE49-F238E27FC236}">
                <a16:creationId xmlns:a16="http://schemas.microsoft.com/office/drawing/2014/main" id="{A96F4EEB-942A-650D-B36F-65B694EE8036}"/>
              </a:ext>
            </a:extLst>
          </p:cNvPr>
          <p:cNvSpPr txBox="1"/>
          <p:nvPr>
            <p:custDataLst>
              <p:tags r:id="rId17"/>
            </p:custDataLst>
          </p:nvPr>
        </p:nvSpPr>
        <p:spPr>
          <a:xfrm>
            <a:off x="7098157" y="2399923"/>
            <a:ext cx="1311880" cy="2616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443"/>
              </a:spcBef>
              <a:spcAft>
                <a:spcPct val="0"/>
              </a:spcAft>
              <a:buClr>
                <a:srgbClr val="FE5000"/>
              </a:buClr>
              <a:buSzTx/>
              <a:buFontTx/>
              <a:buNone/>
              <a:defRPr/>
            </a:pPr>
            <a:r>
              <a:rPr lang="en-US" sz="1100" b="1" i="0" u="none" strike="noStrike" cap="none" baseline="0" dirty="0">
                <a:solidFill>
                  <a:srgbClr val="002581"/>
                </a:solidFill>
                <a:effectLst/>
                <a:uFillTx/>
                <a:latin typeface="Segoe UI"/>
              </a:rPr>
              <a:t>2023/2024 Cycle</a:t>
            </a:r>
          </a:p>
        </p:txBody>
      </p:sp>
      <p:sp>
        <p:nvSpPr>
          <p:cNvPr id="53" name="Retângulo 52">
            <a:extLst>
              <a:ext uri="{FF2B5EF4-FFF2-40B4-BE49-F238E27FC236}">
                <a16:creationId xmlns:a16="http://schemas.microsoft.com/office/drawing/2014/main" id="{0BFB62C8-1CF2-FC30-C610-1415945535E4}"/>
              </a:ext>
            </a:extLst>
          </p:cNvPr>
          <p:cNvSpPr/>
          <p:nvPr>
            <p:custDataLst>
              <p:tags r:id="rId18"/>
            </p:custDataLst>
          </p:nvPr>
        </p:nvSpPr>
        <p:spPr bwMode="auto">
          <a:xfrm>
            <a:off x="2617359" y="4450943"/>
            <a:ext cx="138274" cy="103120"/>
          </a:xfrm>
          <a:prstGeom prst="rect">
            <a:avLst/>
          </a:prstGeom>
          <a:solidFill>
            <a:srgbClr val="0098F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600" b="0" i="0" u="none" strike="noStrike" kern="1200" cap="none" normalizeH="0" baseline="0" noProof="0" dirty="0">
              <a:ln>
                <a:noFill/>
              </a:ln>
              <a:solidFill>
                <a:srgbClr val="001C6A"/>
              </a:solidFill>
              <a:effectLst/>
              <a:uLnTx/>
              <a:uFillTx/>
              <a:latin typeface="Segoe UI" panose="020B0502040204020203" pitchFamily="34" charset="0"/>
              <a:ea typeface="+mn-ea"/>
              <a:cs typeface="Segoe UI" panose="020B0502040204020203" pitchFamily="34" charset="0"/>
            </a:endParaRPr>
          </a:p>
        </p:txBody>
      </p:sp>
      <p:sp>
        <p:nvSpPr>
          <p:cNvPr id="54" name="Text Placeholder 2">
            <a:extLst>
              <a:ext uri="{FF2B5EF4-FFF2-40B4-BE49-F238E27FC236}">
                <a16:creationId xmlns:a16="http://schemas.microsoft.com/office/drawing/2014/main" id="{2ADEE777-4387-C4B2-F8A7-15677E294B91}"/>
              </a:ext>
            </a:extLst>
          </p:cNvPr>
          <p:cNvSpPr>
            <a:spLocks noGrp="1"/>
          </p:cNvSpPr>
          <p:nvPr>
            <p:custDataLst>
              <p:tags r:id="rId19"/>
            </p:custDataLst>
          </p:nvPr>
        </p:nvSpPr>
        <p:spPr bwMode="auto">
          <a:xfrm>
            <a:off x="2793131" y="4456802"/>
            <a:ext cx="854253" cy="10663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Clr>
                <a:schemeClr val="accent5"/>
              </a:buClr>
              <a:buFont typeface="Arial" panose="020B0604020202020204" pitchFamily="34" charset="0"/>
              <a:buChar char="•"/>
              <a:defRPr sz="1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06258" rtl="0" eaLnBrk="1" fontAlgn="auto" latinLnBrk="0" hangingPunct="1">
              <a:lnSpc>
                <a:spcPct val="90000"/>
              </a:lnSpc>
              <a:spcBef>
                <a:spcPct val="0"/>
              </a:spcBef>
              <a:spcAft>
                <a:spcPct val="0"/>
              </a:spcAft>
              <a:buClr>
                <a:srgbClr val="FE5000"/>
              </a:buClr>
              <a:buSzTx/>
              <a:buFont typeface="Arial" panose="020B0604020202020204" pitchFamily="34" charset="0"/>
              <a:buNone/>
              <a:defRPr/>
            </a:pPr>
            <a:r>
              <a:rPr lang="en-US" sz="900" b="0" i="0" u="none" strike="noStrike" cap="none" baseline="0" dirty="0">
                <a:solidFill>
                  <a:srgbClr val="001C6A"/>
                </a:solidFill>
                <a:effectLst/>
                <a:uFillTx/>
                <a:latin typeface="Segoe UI"/>
              </a:rPr>
              <a:t>Agreement renewed (059)</a:t>
            </a:r>
          </a:p>
        </p:txBody>
      </p:sp>
      <p:sp>
        <p:nvSpPr>
          <p:cNvPr id="55" name="Retângulo 54">
            <a:extLst>
              <a:ext uri="{FF2B5EF4-FFF2-40B4-BE49-F238E27FC236}">
                <a16:creationId xmlns:a16="http://schemas.microsoft.com/office/drawing/2014/main" id="{83D86111-B380-403C-9A1F-DA8EFA2C3BE2}"/>
              </a:ext>
            </a:extLst>
          </p:cNvPr>
          <p:cNvSpPr/>
          <p:nvPr>
            <p:custDataLst>
              <p:tags r:id="rId20"/>
            </p:custDataLst>
          </p:nvPr>
        </p:nvSpPr>
        <p:spPr bwMode="auto">
          <a:xfrm>
            <a:off x="4241680" y="4461027"/>
            <a:ext cx="138274" cy="103120"/>
          </a:xfrm>
          <a:prstGeom prst="rect">
            <a:avLst/>
          </a:prstGeom>
          <a:solidFill>
            <a:srgbClr val="F8681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600" b="0" i="0" u="none" strike="noStrike" kern="1200" cap="none" normalizeH="0" baseline="0" noProof="0" dirty="0">
              <a:ln>
                <a:noFill/>
              </a:ln>
              <a:solidFill>
                <a:srgbClr val="001C6A"/>
              </a:solidFill>
              <a:effectLst/>
              <a:uLnTx/>
              <a:uFillTx/>
              <a:latin typeface="Segoe UI" panose="020B0502040204020203" pitchFamily="34" charset="0"/>
              <a:ea typeface="+mn-ea"/>
              <a:cs typeface="Segoe UI" panose="020B0502040204020203" pitchFamily="34" charset="0"/>
            </a:endParaRPr>
          </a:p>
        </p:txBody>
      </p:sp>
      <p:sp>
        <p:nvSpPr>
          <p:cNvPr id="56" name="Text Placeholder 2">
            <a:extLst>
              <a:ext uri="{FF2B5EF4-FFF2-40B4-BE49-F238E27FC236}">
                <a16:creationId xmlns:a16="http://schemas.microsoft.com/office/drawing/2014/main" id="{285CDA63-F4EB-0C93-D7FA-7F93D6F5C9AF}"/>
              </a:ext>
            </a:extLst>
          </p:cNvPr>
          <p:cNvSpPr>
            <a:spLocks noGrp="1"/>
          </p:cNvSpPr>
          <p:nvPr>
            <p:custDataLst>
              <p:tags r:id="rId21"/>
            </p:custDataLst>
          </p:nvPr>
        </p:nvSpPr>
        <p:spPr bwMode="auto">
          <a:xfrm>
            <a:off x="4417452" y="4466886"/>
            <a:ext cx="781601" cy="10663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71450" indent="-171450" algn="l" defTabSz="685800" rtl="0" eaLnBrk="1" latinLnBrk="0" hangingPunct="1">
              <a:lnSpc>
                <a:spcPct val="90000"/>
              </a:lnSpc>
              <a:spcBef>
                <a:spcPts val="750"/>
              </a:spcBef>
              <a:buClr>
                <a:schemeClr val="accent5"/>
              </a:buClr>
              <a:buFont typeface="Arial" panose="020B0604020202020204" pitchFamily="34" charset="0"/>
              <a:buChar char="•"/>
              <a:defRPr sz="1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5"/>
              </a:buClr>
              <a:buFont typeface="Arial" panose="020B0604020202020204" pitchFamily="34" charset="0"/>
              <a:buChar char="•"/>
              <a:defRPr sz="11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506258" rtl="0" eaLnBrk="1" fontAlgn="auto" latinLnBrk="0" hangingPunct="1">
              <a:lnSpc>
                <a:spcPct val="90000"/>
              </a:lnSpc>
              <a:spcBef>
                <a:spcPct val="0"/>
              </a:spcBef>
              <a:spcAft>
                <a:spcPct val="0"/>
              </a:spcAft>
              <a:buClr>
                <a:srgbClr val="FE5000"/>
              </a:buClr>
              <a:buSzTx/>
              <a:buFont typeface="Arial" panose="020B0604020202020204" pitchFamily="34" charset="0"/>
              <a:buNone/>
              <a:defRPr/>
            </a:pPr>
            <a:r>
              <a:rPr lang="en-US" sz="900" b="0" i="0" u="none" strike="noStrike" cap="none" baseline="0" dirty="0">
                <a:solidFill>
                  <a:srgbClr val="001C6A"/>
                </a:solidFill>
                <a:effectLst/>
                <a:uFillTx/>
                <a:latin typeface="Segoe UI"/>
              </a:rPr>
              <a:t>Bidded agreements in operation</a:t>
            </a:r>
          </a:p>
        </p:txBody>
      </p:sp>
      <p:cxnSp>
        <p:nvCxnSpPr>
          <p:cNvPr id="57" name="Conector: Angulado 56">
            <a:extLst>
              <a:ext uri="{FF2B5EF4-FFF2-40B4-BE49-F238E27FC236}">
                <a16:creationId xmlns:a16="http://schemas.microsoft.com/office/drawing/2014/main" id="{7647C311-F78C-BFE5-5538-237ED987E6E7}"/>
              </a:ext>
            </a:extLst>
          </p:cNvPr>
          <p:cNvCxnSpPr/>
          <p:nvPr>
            <p:custDataLst>
              <p:tags r:id="rId22"/>
            </p:custDataLst>
          </p:nvPr>
        </p:nvCxnSpPr>
        <p:spPr>
          <a:xfrm rot="5400000" flipH="1" flipV="1">
            <a:off x="3306035" y="2882854"/>
            <a:ext cx="252000" cy="612000"/>
          </a:xfrm>
          <a:prstGeom prst="bentConnector3">
            <a:avLst>
              <a:gd name="adj1" fmla="val 99893"/>
            </a:avLst>
          </a:prstGeom>
          <a:noFill/>
          <a:ln w="19050">
            <a:gradFill>
              <a:gsLst>
                <a:gs pos="0">
                  <a:srgbClr val="005FD7">
                    <a:alpha val="0"/>
                  </a:srgbClr>
                </a:gs>
                <a:gs pos="50000">
                  <a:srgbClr val="005FD7"/>
                </a:gs>
                <a:gs pos="100000">
                  <a:srgbClr val="005FD7">
                    <a:alpha val="0"/>
                  </a:srgbClr>
                </a:gs>
              </a:gsLst>
              <a:lin ang="27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grpSp>
        <p:nvGrpSpPr>
          <p:cNvPr id="190" name="Agrupar 189">
            <a:extLst>
              <a:ext uri="{FF2B5EF4-FFF2-40B4-BE49-F238E27FC236}">
                <a16:creationId xmlns:a16="http://schemas.microsoft.com/office/drawing/2014/main" id="{6F9209F8-C3A2-AD25-7D35-89A57AFA9FC8}"/>
              </a:ext>
            </a:extLst>
          </p:cNvPr>
          <p:cNvGrpSpPr/>
          <p:nvPr>
            <p:custDataLst>
              <p:tags r:id="rId23"/>
            </p:custDataLst>
          </p:nvPr>
        </p:nvGrpSpPr>
        <p:grpSpPr>
          <a:xfrm>
            <a:off x="1069936" y="1606365"/>
            <a:ext cx="6642354" cy="309104"/>
            <a:chOff x="2404093" y="774968"/>
            <a:chExt cx="3942714" cy="207437"/>
          </a:xfrm>
        </p:grpSpPr>
        <p:sp>
          <p:nvSpPr>
            <p:cNvPr id="173" name="Retângulo: Cantos Arredondados 172">
              <a:extLst>
                <a:ext uri="{FF2B5EF4-FFF2-40B4-BE49-F238E27FC236}">
                  <a16:creationId xmlns:a16="http://schemas.microsoft.com/office/drawing/2014/main" id="{14B250BE-0773-C5FB-C7FA-4932B5AF3CBB}"/>
                </a:ext>
              </a:extLst>
            </p:cNvPr>
            <p:cNvSpPr/>
            <p:nvPr>
              <p:custDataLst>
                <p:tags r:id="rId32"/>
              </p:custDataLst>
            </p:nvPr>
          </p:nvSpPr>
          <p:spPr>
            <a:xfrm>
              <a:off x="2420661" y="789688"/>
              <a:ext cx="3906506" cy="192262"/>
            </a:xfrm>
            <a:prstGeom prst="roundRect">
              <a:avLst>
                <a:gd name="adj" fmla="val 50000"/>
              </a:avLst>
            </a:prstGeom>
            <a:gradFill>
              <a:gsLst>
                <a:gs pos="0">
                  <a:srgbClr val="006BEF">
                    <a:alpha val="50000"/>
                  </a:srgbClr>
                </a:gs>
                <a:gs pos="100000">
                  <a:srgbClr val="0067EE"/>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329" b="0" i="0" u="none" strike="noStrike" kern="1200" cap="none" normalizeH="0" baseline="0" noProof="0" dirty="0">
                <a:ln>
                  <a:noFill/>
                </a:ln>
                <a:solidFill>
                  <a:prstClr val="white"/>
                </a:solidFill>
                <a:effectLst/>
                <a:uLnTx/>
                <a:uFillTx/>
                <a:latin typeface="Calibri" panose="020F0502020204030204"/>
                <a:ea typeface="+mn-ea"/>
                <a:cs typeface="+mn-cs"/>
              </a:endParaRPr>
            </a:p>
          </p:txBody>
        </p:sp>
        <p:sp>
          <p:nvSpPr>
            <p:cNvPr id="174" name="CaixaDeTexto 173">
              <a:extLst>
                <a:ext uri="{FF2B5EF4-FFF2-40B4-BE49-F238E27FC236}">
                  <a16:creationId xmlns:a16="http://schemas.microsoft.com/office/drawing/2014/main" id="{09CB2523-A9AC-8730-9AE6-F895A15B2231}"/>
                </a:ext>
              </a:extLst>
            </p:cNvPr>
            <p:cNvSpPr txBox="1"/>
            <p:nvPr>
              <p:custDataLst>
                <p:tags r:id="rId33"/>
              </p:custDataLst>
            </p:nvPr>
          </p:nvSpPr>
          <p:spPr>
            <a:xfrm>
              <a:off x="2404093" y="774968"/>
              <a:ext cx="3942714" cy="2074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algn="ctr">
                <a:defRPr sz="1600">
                  <a:solidFill>
                    <a:schemeClr val="lt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400" b="0" i="0" u="none" strike="noStrike" cap="none" spc="300" baseline="0">
                  <a:effectLst/>
                  <a:uFillTx/>
                  <a:latin typeface="Segoe UI Light" panose="020B0502040204020203" pitchFamily="34" charset="0"/>
                  <a:ea typeface="Segoe UI" panose="020B0502040204020203" pitchFamily="34" charset="0"/>
                  <a:cs typeface="Segoe UI" panose="020B0502040204020203" pitchFamily="34" charset="0"/>
                </a:rPr>
                <a:t>RAP ASSETS UNDER OPERATION </a:t>
              </a:r>
              <a:r>
                <a:rPr lang="en-US" sz="1400" b="0" i="0" u="none" strike="noStrike" cap="none" spc="300" baseline="0">
                  <a:solidFill>
                    <a:srgbClr val="FFFFFF"/>
                  </a:solidFill>
                  <a:effectLst/>
                  <a:uFillTx/>
                  <a:latin typeface="Segoe UI Light" panose="020B0502040204020203" pitchFamily="34" charset="0"/>
                  <a:ea typeface="Segoe UI" panose="020B0502040204020203" pitchFamily="34" charset="0"/>
                  <a:cs typeface="Segoe UI" panose="020B0502040204020203" pitchFamily="34" charset="0"/>
                </a:rPr>
                <a:t>(</a:t>
              </a:r>
              <a:r>
                <a:rPr lang="en-US" sz="1400" b="0" i="0" u="none" strike="noStrike" cap="none" spc="300" baseline="0" dirty="0">
                  <a:solidFill>
                    <a:srgbClr val="FFFFFF"/>
                  </a:solidFill>
                  <a:effectLst/>
                  <a:uFillTx/>
                  <a:latin typeface="Segoe UI Light" panose="020B0502040204020203" pitchFamily="34" charset="0"/>
                  <a:ea typeface="Segoe UI" panose="020B0502040204020203" pitchFamily="34" charset="0"/>
                  <a:cs typeface="Segoe UI" panose="020B0502040204020203" pitchFamily="34" charset="0"/>
                </a:rPr>
                <a:t>ex-</a:t>
              </a:r>
              <a:r>
                <a:rPr lang="en-US" sz="1200" b="0" i="0" u="none" strike="noStrike" cap="none" spc="300" baseline="0" dirty="0">
                  <a:solidFill>
                    <a:srgbClr val="FFFFFF"/>
                  </a:solidFill>
                  <a:effectLst/>
                  <a:uFillTx/>
                  <a:latin typeface="Segoe UI Light" panose="020B0502040204020203" pitchFamily="34" charset="0"/>
                  <a:ea typeface="Segoe UI" panose="020B0502040204020203" pitchFamily="34" charset="0"/>
                  <a:cs typeface="Segoe UI" panose="020B0502040204020203" pitchFamily="34" charset="0"/>
                </a:rPr>
                <a:t>RBSE</a:t>
              </a:r>
              <a:r>
                <a:rPr lang="en-US" sz="1400" b="0" i="0" u="none" strike="noStrike" cap="none" spc="300" baseline="0" dirty="0">
                  <a:solidFill>
                    <a:srgbClr val="FFFFFF"/>
                  </a:solidFill>
                  <a:effectLst/>
                  <a:uFillTx/>
                  <a:latin typeface="Segoe UI Light" panose="020B0502040204020203" pitchFamily="34" charset="0"/>
                  <a:ea typeface="Segoe UI" panose="020B0502040204020203" pitchFamily="34" charset="0"/>
                  <a:cs typeface="Segoe UI" panose="020B0502040204020203" pitchFamily="34" charset="0"/>
                </a:rPr>
                <a:t>)¹</a:t>
              </a:r>
            </a:p>
          </p:txBody>
        </p:sp>
      </p:grpSp>
      <p:sp>
        <p:nvSpPr>
          <p:cNvPr id="175" name="CaixaDeTexto 174">
            <a:extLst>
              <a:ext uri="{FF2B5EF4-FFF2-40B4-BE49-F238E27FC236}">
                <a16:creationId xmlns:a16="http://schemas.microsoft.com/office/drawing/2014/main" id="{7846C09C-81E4-264E-B72B-FDD6C96CA21D}"/>
              </a:ext>
            </a:extLst>
          </p:cNvPr>
          <p:cNvSpPr txBox="1"/>
          <p:nvPr>
            <p:custDataLst>
              <p:tags r:id="rId24"/>
            </p:custDataLst>
          </p:nvPr>
        </p:nvSpPr>
        <p:spPr>
          <a:xfrm>
            <a:off x="399492" y="2066093"/>
            <a:ext cx="3681481" cy="1611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pt-BR"/>
            </a:defPPr>
            <a:lvl1pPr algn="ctr">
              <a:defRPr sz="1600">
                <a:solidFill>
                  <a:schemeClr val="lt1"/>
                </a:solidFill>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457200" rtl="0" eaLnBrk="1" fontAlgn="auto" latinLnBrk="0" hangingPunct="1">
              <a:lnSpc>
                <a:spcPct val="100000"/>
              </a:lnSpc>
              <a:spcBef>
                <a:spcPct val="0"/>
              </a:spcBef>
              <a:spcAft>
                <a:spcPct val="0"/>
              </a:spcAft>
              <a:buClrTx/>
              <a:buSzTx/>
              <a:buFontTx/>
              <a:buNone/>
              <a:defRPr/>
            </a:pPr>
            <a:r>
              <a:rPr lang="en-US" sz="1200" b="1" i="0" u="none" strike="noStrike" cap="none" baseline="0" dirty="0">
                <a:solidFill>
                  <a:srgbClr val="003087"/>
                </a:solidFill>
                <a:effectLst/>
                <a:uFillTx/>
                <a:latin typeface="Segoe UI"/>
              </a:rPr>
              <a:t>Revenue by type of agreement  </a:t>
            </a:r>
          </a:p>
        </p:txBody>
      </p:sp>
      <p:sp>
        <p:nvSpPr>
          <p:cNvPr id="8" name="CaixaDeTexto 7">
            <a:extLst>
              <a:ext uri="{FF2B5EF4-FFF2-40B4-BE49-F238E27FC236}">
                <a16:creationId xmlns:a16="http://schemas.microsoft.com/office/drawing/2014/main" id="{71265331-20CC-7017-CF9B-8990797A97DD}"/>
              </a:ext>
            </a:extLst>
          </p:cNvPr>
          <p:cNvSpPr txBox="1"/>
          <p:nvPr>
            <p:custDataLst>
              <p:tags r:id="rId25"/>
            </p:custDataLst>
          </p:nvPr>
        </p:nvSpPr>
        <p:spPr>
          <a:xfrm>
            <a:off x="163820" y="4820225"/>
            <a:ext cx="5735406" cy="169333"/>
          </a:xfrm>
          <a:prstGeom prst="rect">
            <a:avLst/>
          </a:prstGeom>
          <a:noFill/>
        </p:spPr>
        <p:txBody>
          <a:bodyPr wrap="square" rtlCol="0">
            <a:spAutoFit/>
          </a:bodyPr>
          <a:lstStyle/>
          <a:p>
            <a:pPr marL="0" marR="0" lvl="0" indent="0" algn="l" defTabSz="675010" rtl="0" eaLnBrk="1" fontAlgn="auto" latinLnBrk="0" hangingPunct="1">
              <a:lnSpc>
                <a:spcPct val="85000"/>
              </a:lnSpc>
              <a:spcBef>
                <a:spcPts val="148"/>
              </a:spcBef>
              <a:spcAft>
                <a:spcPts val="148"/>
              </a:spcAft>
              <a:buClrTx/>
              <a:buSzTx/>
              <a:buFontTx/>
              <a:buNone/>
              <a:defRPr/>
            </a:pPr>
            <a:r>
              <a:rPr lang="en-US" sz="600" b="0" i="0" u="none" strike="noStrike" cap="none" baseline="0">
                <a:solidFill>
                  <a:srgbClr val="203864"/>
                </a:solidFill>
                <a:effectLst/>
                <a:uFillTx/>
                <a:latin typeface="Segoe UI"/>
              </a:rPr>
              <a:t>¹ </a:t>
            </a:r>
            <a:r>
              <a:rPr lang="en-US" sz="600">
                <a:solidFill>
                  <a:srgbClr val="203864"/>
                </a:solidFill>
                <a:latin typeface="Segoe UI"/>
              </a:rPr>
              <a:t>Considers </a:t>
            </a:r>
            <a:r>
              <a:rPr lang="en-US" sz="600" b="0" i="0" u="none" strike="noStrike" cap="none" baseline="0">
                <a:solidFill>
                  <a:srgbClr val="203864"/>
                </a:solidFill>
                <a:effectLst/>
                <a:uFillTx/>
                <a:latin typeface="Segoe UI"/>
              </a:rPr>
              <a:t>Adjustment </a:t>
            </a:r>
            <a:r>
              <a:rPr lang="en-US" sz="600" b="0" i="0" u="none" strike="noStrike" cap="none" baseline="0" dirty="0">
                <a:solidFill>
                  <a:srgbClr val="203864"/>
                </a:solidFill>
                <a:effectLst/>
                <a:uFillTx/>
                <a:latin typeface="Segoe UI"/>
              </a:rPr>
              <a:t>Portion (PA) | ² CAGR: Compound Annual Growth Rate </a:t>
            </a:r>
          </a:p>
        </p:txBody>
      </p:sp>
      <p:grpSp>
        <p:nvGrpSpPr>
          <p:cNvPr id="10" name="Agrupar 9">
            <a:extLst>
              <a:ext uri="{FF2B5EF4-FFF2-40B4-BE49-F238E27FC236}">
                <a16:creationId xmlns:a16="http://schemas.microsoft.com/office/drawing/2014/main" id="{976AB6D1-3D1A-D3F1-CA0B-5D533910E2CB}"/>
              </a:ext>
            </a:extLst>
          </p:cNvPr>
          <p:cNvGrpSpPr/>
          <p:nvPr>
            <p:custDataLst>
              <p:tags r:id="rId26"/>
            </p:custDataLst>
          </p:nvPr>
        </p:nvGrpSpPr>
        <p:grpSpPr>
          <a:xfrm>
            <a:off x="208791" y="177269"/>
            <a:ext cx="2334463" cy="376891"/>
            <a:chOff x="6363775" y="1438430"/>
            <a:chExt cx="3398692" cy="548707"/>
          </a:xfrm>
        </p:grpSpPr>
        <p:sp>
          <p:nvSpPr>
            <p:cNvPr id="15" name="Elipse 14">
              <a:extLst>
                <a:ext uri="{FF2B5EF4-FFF2-40B4-BE49-F238E27FC236}">
                  <a16:creationId xmlns:a16="http://schemas.microsoft.com/office/drawing/2014/main" id="{F9CE1162-647A-03C7-7C20-A5E6280BB422}"/>
                </a:ext>
              </a:extLst>
            </p:cNvPr>
            <p:cNvSpPr/>
            <p:nvPr>
              <p:custDataLst>
                <p:tags r:id="rId30"/>
              </p:custDataLst>
            </p:nvPr>
          </p:nvSpPr>
          <p:spPr>
            <a:xfrm>
              <a:off x="6363775" y="1438430"/>
              <a:ext cx="201848" cy="201848"/>
            </a:xfrm>
            <a:prstGeom prst="ellipse">
              <a:avLst/>
            </a:prstGeom>
            <a:gradFill>
              <a:gsLst>
                <a:gs pos="0">
                  <a:srgbClr val="00FFFF">
                    <a:alpha val="0"/>
                  </a:srgbClr>
                </a:gs>
                <a:gs pos="100000">
                  <a:srgbClr val="00FFFF"/>
                </a:gs>
              </a:gsLst>
              <a:lin ang="2700000" scaled="0"/>
            </a:gradFill>
            <a:ln w="19050">
              <a:gradFill>
                <a:gsLst>
                  <a:gs pos="0">
                    <a:srgbClr val="00FFFF"/>
                  </a:gs>
                  <a:gs pos="50000">
                    <a:srgbClr val="00FFFF">
                      <a:alpha val="0"/>
                    </a:srgbClr>
                  </a:gs>
                  <a:gs pos="100000">
                    <a:srgbClr val="00FFFF"/>
                  </a:gs>
                </a:gsLst>
                <a:lin ang="2700000" scaled="0"/>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ct val="0"/>
                </a:spcBef>
                <a:spcAft>
                  <a:spcPct val="0"/>
                </a:spcAft>
                <a:buClrTx/>
                <a:buSzTx/>
                <a:buFontTx/>
                <a:buNone/>
                <a:defRPr/>
              </a:pPr>
              <a:endParaRPr kumimoji="0" lang="pt-BR" sz="1050" b="0" i="0" u="none" strike="noStrike" kern="1200" cap="none" normalizeH="0" baseline="0" noProof="0" dirty="0">
                <a:ln>
                  <a:noFill/>
                </a:ln>
                <a:solidFill>
                  <a:srgbClr val="011F57"/>
                </a:solidFill>
                <a:effectLst/>
                <a:uLnTx/>
                <a:uFillTx/>
                <a:latin typeface="Calibri" panose="020F0502020204030204"/>
                <a:ea typeface="+mn-ea"/>
                <a:cs typeface="+mn-cs"/>
              </a:endParaRPr>
            </a:p>
          </p:txBody>
        </p:sp>
        <p:sp>
          <p:nvSpPr>
            <p:cNvPr id="21" name="CaixaDeTexto 20">
              <a:extLst>
                <a:ext uri="{FF2B5EF4-FFF2-40B4-BE49-F238E27FC236}">
                  <a16:creationId xmlns:a16="http://schemas.microsoft.com/office/drawing/2014/main" id="{097C4A97-938E-C531-EB98-5BA4AAAB14B1}"/>
                </a:ext>
              </a:extLst>
            </p:cNvPr>
            <p:cNvSpPr txBox="1"/>
            <p:nvPr>
              <p:custDataLst>
                <p:tags r:id="rId31"/>
              </p:custDataLst>
            </p:nvPr>
          </p:nvSpPr>
          <p:spPr>
            <a:xfrm>
              <a:off x="7001625" y="1494243"/>
              <a:ext cx="2760842" cy="492894"/>
            </a:xfrm>
            <a:prstGeom prst="rect">
              <a:avLst/>
            </a:prstGeom>
            <a:noFill/>
          </p:spPr>
          <p:txBody>
            <a:bodyPr wrap="square" rtlCol="0" anchor="ctr">
              <a:spAutoFit/>
            </a:bodyPr>
            <a:lstStyle>
              <a:defPPr>
                <a:defRPr lang="pt-BR"/>
              </a:defPPr>
              <a:lvl1pPr defTabSz="317480">
                <a:lnSpc>
                  <a:spcPct val="80000"/>
                </a:lnSpc>
                <a:defRPr sz="2200" spc="400">
                  <a:solidFill>
                    <a:schemeClr val="bg1"/>
                  </a:solidFill>
                  <a:latin typeface="Segoe UI Light" panose="020B0502040204020203" pitchFamily="34" charset="0"/>
                  <a:ea typeface="Tahoma" panose="020B0604030504040204" pitchFamily="34" charset="0"/>
                  <a:cs typeface="Segoe UI Light" panose="020B0502040204020203" pitchFamily="34" charset="0"/>
                </a:defRPr>
              </a:lvl1pPr>
            </a:lstStyle>
            <a:p>
              <a:pPr lvl="0" defTabSz="234364"/>
              <a:r>
                <a:rPr lang="en-US" sz="1000" b="1" i="0" u="none" strike="noStrike" cap="none" spc="0" baseline="0" dirty="0">
                  <a:solidFill>
                    <a:srgbClr val="011F57"/>
                  </a:solidFill>
                  <a:effectLst/>
                  <a:uFillTx/>
                  <a:latin typeface="Segoe UI"/>
                </a:rPr>
                <a:t>GROWTH</a:t>
              </a:r>
            </a:p>
            <a:p>
              <a:pPr lvl="0" defTabSz="234364"/>
              <a:r>
                <a:rPr lang="en-US" sz="1000" b="0" i="0" u="none" strike="noStrike" cap="none" spc="0" baseline="0" dirty="0">
                  <a:solidFill>
                    <a:srgbClr val="011F57"/>
                  </a:solidFill>
                  <a:effectLst/>
                  <a:uFillTx/>
                  <a:latin typeface="Segoe UI"/>
                </a:rPr>
                <a:t>Consistent and profitable </a:t>
              </a:r>
            </a:p>
          </p:txBody>
        </p:sp>
      </p:grpSp>
      <p:sp>
        <p:nvSpPr>
          <p:cNvPr id="2" name="CaixaDeTexto 1">
            <a:extLst>
              <a:ext uri="{FF2B5EF4-FFF2-40B4-BE49-F238E27FC236}">
                <a16:creationId xmlns:a16="http://schemas.microsoft.com/office/drawing/2014/main" id="{FACC252A-A1A4-F109-B06B-7C80D6D4397A}"/>
              </a:ext>
            </a:extLst>
          </p:cNvPr>
          <p:cNvSpPr txBox="1"/>
          <p:nvPr>
            <p:custDataLst>
              <p:tags r:id="rId27"/>
            </p:custDataLst>
          </p:nvPr>
        </p:nvSpPr>
        <p:spPr>
          <a:xfrm>
            <a:off x="6075042" y="4094365"/>
            <a:ext cx="2114250" cy="227684"/>
          </a:xfrm>
          <a:prstGeom prst="rect">
            <a:avLst/>
          </a:prstGeom>
          <a:noFill/>
        </p:spPr>
        <p:txBody>
          <a:bodyPr wrap="square" rtlCol="0">
            <a:spAutoFit/>
          </a:bodyPr>
          <a:lstStyle/>
          <a:p>
            <a:pPr marL="0" marR="0" lvl="0" indent="0" algn="ctr" defTabSz="457200" rtl="0" eaLnBrk="1" fontAlgn="auto" latinLnBrk="0" hangingPunct="1">
              <a:lnSpc>
                <a:spcPct val="85000"/>
              </a:lnSpc>
              <a:spcBef>
                <a:spcPts val="886"/>
              </a:spcBef>
              <a:spcAft>
                <a:spcPts val="148"/>
              </a:spcAft>
              <a:buClr>
                <a:srgbClr val="FE5000"/>
              </a:buClr>
              <a:buSzTx/>
              <a:buFontTx/>
              <a:buNone/>
              <a:defRPr/>
            </a:pPr>
            <a:r>
              <a:rPr lang="en-US" sz="1050" b="0" i="0" u="none" strike="noStrike" cap="none" baseline="0" dirty="0">
                <a:solidFill>
                  <a:srgbClr val="005FD7"/>
                </a:solidFill>
                <a:effectLst/>
                <a:uFillTx/>
                <a:latin typeface="Segoe UI"/>
              </a:rPr>
              <a:t>CAGR² IPCA in the period: </a:t>
            </a:r>
            <a:r>
              <a:rPr lang="en-US" sz="1050" b="1" i="0" u="none" strike="noStrike" cap="none" baseline="0" dirty="0">
                <a:solidFill>
                  <a:srgbClr val="005FD7"/>
                </a:solidFill>
                <a:effectLst/>
                <a:uFillTx/>
                <a:latin typeface="Segoe UI"/>
              </a:rPr>
              <a:t>6.1%</a:t>
            </a:r>
          </a:p>
        </p:txBody>
      </p:sp>
      <p:grpSp>
        <p:nvGrpSpPr>
          <p:cNvPr id="6" name="Agrupar 5">
            <a:extLst>
              <a:ext uri="{FF2B5EF4-FFF2-40B4-BE49-F238E27FC236}">
                <a16:creationId xmlns:a16="http://schemas.microsoft.com/office/drawing/2014/main" id="{5954835E-4C54-2347-566E-660518E87D17}"/>
              </a:ext>
            </a:extLst>
          </p:cNvPr>
          <p:cNvGrpSpPr/>
          <p:nvPr/>
        </p:nvGrpSpPr>
        <p:grpSpPr>
          <a:xfrm>
            <a:off x="161028" y="155986"/>
            <a:ext cx="417958" cy="292656"/>
            <a:chOff x="161028" y="155986"/>
            <a:chExt cx="417958" cy="292656"/>
          </a:xfrm>
        </p:grpSpPr>
        <p:sp>
          <p:nvSpPr>
            <p:cNvPr id="4" name="Forma Livre: Forma 3">
              <a:extLst>
                <a:ext uri="{FF2B5EF4-FFF2-40B4-BE49-F238E27FC236}">
                  <a16:creationId xmlns:a16="http://schemas.microsoft.com/office/drawing/2014/main" id="{BB5BE3E2-F770-65AD-0576-67C5CA661FDD}"/>
                </a:ext>
              </a:extLst>
            </p:cNvPr>
            <p:cNvSpPr/>
            <p:nvPr/>
          </p:nvSpPr>
          <p:spPr>
            <a:xfrm>
              <a:off x="161028" y="155986"/>
              <a:ext cx="417958" cy="292656"/>
            </a:xfrm>
            <a:custGeom>
              <a:avLst/>
              <a:gdLst>
                <a:gd name="connsiteX0" fmla="*/ 830876 w 1661751"/>
                <a:gd name="connsiteY0" fmla="*/ 0 h 1163565"/>
                <a:gd name="connsiteX1" fmla="*/ 0 w 1661751"/>
                <a:gd name="connsiteY1" fmla="*/ 215034 h 1163565"/>
                <a:gd name="connsiteX2" fmla="*/ 406055 w 1661751"/>
                <a:gd name="connsiteY2" fmla="*/ 918316 h 1163565"/>
                <a:gd name="connsiteX3" fmla="*/ 1255697 w 1661751"/>
                <a:gd name="connsiteY3" fmla="*/ 918316 h 1163565"/>
                <a:gd name="connsiteX4" fmla="*/ 1661752 w 1661751"/>
                <a:gd name="connsiteY4" fmla="*/ 215034 h 1163565"/>
                <a:gd name="connsiteX5" fmla="*/ 830876 w 1661751"/>
                <a:gd name="connsiteY5" fmla="*/ 0 h 116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1751" h="1163565">
                  <a:moveTo>
                    <a:pt x="830876" y="0"/>
                  </a:moveTo>
                  <a:cubicBezTo>
                    <a:pt x="529315" y="0"/>
                    <a:pt x="246063" y="78085"/>
                    <a:pt x="0" y="215034"/>
                  </a:cubicBezTo>
                  <a:lnTo>
                    <a:pt x="406055" y="918316"/>
                  </a:lnTo>
                  <a:cubicBezTo>
                    <a:pt x="594852" y="1245316"/>
                    <a:pt x="1066843" y="1245316"/>
                    <a:pt x="1255697" y="918316"/>
                  </a:cubicBezTo>
                  <a:lnTo>
                    <a:pt x="1661752" y="215034"/>
                  </a:lnTo>
                  <a:cubicBezTo>
                    <a:pt x="1415689" y="78085"/>
                    <a:pt x="1132437" y="0"/>
                    <a:pt x="830876" y="0"/>
                  </a:cubicBezTo>
                  <a:close/>
                </a:path>
              </a:pathLst>
            </a:custGeom>
            <a:solidFill>
              <a:srgbClr val="A6A6A6"/>
            </a:solidFill>
            <a:ln w="0" cap="flat">
              <a:noFill/>
              <a:prstDash val="solid"/>
              <a:miter/>
            </a:ln>
          </p:spPr>
          <p:txBody>
            <a:bodyPr rtlCol="0" anchor="ctr"/>
            <a:lstStyle/>
            <a:p>
              <a:endParaRPr lang="pt-BR" sz="1000"/>
            </a:p>
          </p:txBody>
        </p:sp>
        <p:sp>
          <p:nvSpPr>
            <p:cNvPr id="5" name="CaixaDeTexto 4">
              <a:extLst>
                <a:ext uri="{FF2B5EF4-FFF2-40B4-BE49-F238E27FC236}">
                  <a16:creationId xmlns:a16="http://schemas.microsoft.com/office/drawing/2014/main" id="{198056A9-1A44-4493-0BAC-3FFCE37AC431}"/>
                </a:ext>
              </a:extLst>
            </p:cNvPr>
            <p:cNvSpPr txBox="1"/>
            <p:nvPr/>
          </p:nvSpPr>
          <p:spPr>
            <a:xfrm>
              <a:off x="323691" y="171902"/>
              <a:ext cx="82296" cy="275460"/>
            </a:xfrm>
            <a:prstGeom prst="rect">
              <a:avLst/>
            </a:prstGeom>
            <a:noFill/>
          </p:spPr>
          <p:txBody>
            <a:bodyPr wrap="square" rtlCol="0">
              <a:spAutoFit/>
            </a:bodyPr>
            <a:lstStyle>
              <a:defPPr>
                <a:defRPr lang="en-US"/>
              </a:defPPr>
              <a:lvl1pPr algn="ctr" defTabSz="675010">
                <a:lnSpc>
                  <a:spcPct val="85000"/>
                </a:lnSpc>
                <a:spcBef>
                  <a:spcPts val="148"/>
                </a:spcBef>
                <a:spcAft>
                  <a:spcPts val="148"/>
                </a:spcAft>
                <a:defRPr sz="3986" spc="591">
                  <a:solidFill>
                    <a:srgbClr val="002581"/>
                  </a:solidFill>
                  <a:latin typeface="Segoe UI Light" panose="020B0502040204020203" pitchFamily="34" charset="0"/>
                  <a:ea typeface="Tahoma" panose="020B0604030504040204" pitchFamily="34" charset="0"/>
                  <a:cs typeface="Segoe UI Light" panose="020B0502040204020203" pitchFamily="34" charset="0"/>
                </a:defRPr>
              </a:lvl1pPr>
            </a:lstStyle>
            <a:p>
              <a:pPr lvl="0"/>
              <a:r>
                <a:rPr lang="pt-BR" sz="1400" spc="0">
                  <a:solidFill>
                    <a:schemeClr val="bg1"/>
                  </a:solidFill>
                  <a:latin typeface="Segoe UI Black" panose="020B0A02040204020203" pitchFamily="34" charset="0"/>
                  <a:ea typeface="Segoe UI Black" panose="020B0A02040204020203" pitchFamily="34" charset="0"/>
                </a:rPr>
                <a:t>1</a:t>
              </a:r>
            </a:p>
          </p:txBody>
        </p:sp>
      </p:grpSp>
      <p:cxnSp>
        <p:nvCxnSpPr>
          <p:cNvPr id="7" name="Conector: Angulado 6">
            <a:extLst>
              <a:ext uri="{FF2B5EF4-FFF2-40B4-BE49-F238E27FC236}">
                <a16:creationId xmlns:a16="http://schemas.microsoft.com/office/drawing/2014/main" id="{90157A67-560A-A8A2-DB80-5BD967BC6230}"/>
              </a:ext>
            </a:extLst>
          </p:cNvPr>
          <p:cNvCxnSpPr>
            <a:cxnSpLocks/>
          </p:cNvCxnSpPr>
          <p:nvPr>
            <p:custDataLst>
              <p:tags r:id="rId28"/>
            </p:custDataLst>
          </p:nvPr>
        </p:nvCxnSpPr>
        <p:spPr>
          <a:xfrm rot="10800000">
            <a:off x="6182748" y="3118521"/>
            <a:ext cx="241141" cy="28005"/>
          </a:xfrm>
          <a:prstGeom prst="bentConnector3">
            <a:avLst>
              <a:gd name="adj1" fmla="val -83"/>
            </a:avLst>
          </a:prstGeom>
          <a:noFill/>
          <a:ln w="19050">
            <a:gradFill>
              <a:gsLst>
                <a:gs pos="0">
                  <a:srgbClr val="005FD7">
                    <a:alpha val="0"/>
                  </a:srgbClr>
                </a:gs>
                <a:gs pos="50000">
                  <a:srgbClr val="005FD7"/>
                </a:gs>
                <a:gs pos="100000">
                  <a:srgbClr val="005FD7">
                    <a:alpha val="0"/>
                  </a:srgbClr>
                </a:gs>
              </a:gsLst>
              <a:lin ang="2700000" scaled="0"/>
            </a:gradFill>
            <a:tailEnd type="arrow"/>
          </a:ln>
          <a:effectLst/>
        </p:spPr>
        <p:style>
          <a:lnRef idx="2">
            <a:schemeClr val="accent1">
              <a:shade val="15000"/>
            </a:schemeClr>
          </a:lnRef>
          <a:fillRef idx="1">
            <a:schemeClr val="accent1"/>
          </a:fillRef>
          <a:effectRef idx="0">
            <a:schemeClr val="accent1"/>
          </a:effectRef>
          <a:fontRef idx="minor">
            <a:schemeClr val="lt1"/>
          </a:fontRef>
        </p:style>
      </p:cxnSp>
      <p:pic>
        <p:nvPicPr>
          <p:cNvPr id="9" name="Imagem 8" descr="Uma imagem contendo Interface gráfica do usuário&#10;&#10;Descrição gerada automaticamente">
            <a:extLst>
              <a:ext uri="{FF2B5EF4-FFF2-40B4-BE49-F238E27FC236}">
                <a16:creationId xmlns:a16="http://schemas.microsoft.com/office/drawing/2014/main" id="{0CD68DFA-29A6-D6B8-7E69-E8919B27F08C}"/>
              </a:ext>
            </a:extLst>
          </p:cNvPr>
          <p:cNvPicPr>
            <a:picLocks noChangeAspect="1"/>
          </p:cNvPicPr>
          <p:nvPr/>
        </p:nvPicPr>
        <p:blipFill>
          <a:blip r:embed="rId47"/>
          <a:stretch>
            <a:fillRect/>
          </a:stretch>
        </p:blipFill>
        <p:spPr>
          <a:xfrm>
            <a:off x="8039840" y="60434"/>
            <a:ext cx="920231" cy="509571"/>
          </a:xfrm>
          <a:prstGeom prst="rect">
            <a:avLst/>
          </a:prstGeom>
        </p:spPr>
      </p:pic>
      <p:sp>
        <p:nvSpPr>
          <p:cNvPr id="24" name="Rectángulo redondeado 1">
            <a:extLst>
              <a:ext uri="{FF2B5EF4-FFF2-40B4-BE49-F238E27FC236}">
                <a16:creationId xmlns:a16="http://schemas.microsoft.com/office/drawing/2014/main" id="{AC7712AF-2A92-F5FB-6CA9-47C6D1CB1DD5}"/>
              </a:ext>
            </a:extLst>
          </p:cNvPr>
          <p:cNvSpPr/>
          <p:nvPr/>
        </p:nvSpPr>
        <p:spPr>
          <a:xfrm>
            <a:off x="3600541" y="2553638"/>
            <a:ext cx="1000126" cy="1530818"/>
          </a:xfrm>
          <a:prstGeom prst="roundRect">
            <a:avLst>
              <a:gd name="adj" fmla="val 4355"/>
            </a:avLst>
          </a:prstGeom>
          <a:gradFill>
            <a:gsLst>
              <a:gs pos="0">
                <a:schemeClr val="bg1">
                  <a:alpha val="0"/>
                </a:schemeClr>
              </a:gs>
              <a:gs pos="100000">
                <a:schemeClr val="bg1">
                  <a:alpha val="80000"/>
                </a:schemeClr>
              </a:gs>
            </a:gsLst>
            <a:lin ang="0" scaled="0"/>
          </a:gradFill>
          <a:ln w="19050">
            <a:gradFill flip="none" rotWithShape="1">
              <a:gsLst>
                <a:gs pos="0">
                  <a:srgbClr val="00FFFF"/>
                </a:gs>
                <a:gs pos="100000">
                  <a:srgbClr val="00FFFF">
                    <a:alpha val="0"/>
                  </a:srgbClr>
                </a:gs>
              </a:gsLst>
              <a:lin ang="8100000" scaled="1"/>
              <a:tileRect/>
            </a:gra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675010" rtl="0" eaLnBrk="1" fontAlgn="auto" latinLnBrk="0" hangingPunct="1">
              <a:lnSpc>
                <a:spcPct val="100000"/>
              </a:lnSpc>
              <a:spcBef>
                <a:spcPts val="0"/>
              </a:spcBef>
              <a:spcAft>
                <a:spcPts val="0"/>
              </a:spcAft>
              <a:buClrTx/>
              <a:buSzTx/>
              <a:buFontTx/>
              <a:buNone/>
              <a:tabLst/>
              <a:defRPr/>
            </a:pPr>
            <a:endParaRPr kumimoji="0" lang="es-CO" sz="1329"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35" name="Gráfico 34">
            <a:extLst>
              <a:ext uri="{FF2B5EF4-FFF2-40B4-BE49-F238E27FC236}">
                <a16:creationId xmlns:a16="http://schemas.microsoft.com/office/drawing/2014/main" id="{8980F15C-E756-6675-2919-AC8915B2705A}"/>
              </a:ext>
            </a:extLst>
          </p:cNvPr>
          <p:cNvGraphicFramePr/>
          <p:nvPr>
            <p:custDataLst>
              <p:tags r:id="rId29"/>
            </p:custDataLst>
            <p:extLst>
              <p:ext uri="{D42A27DB-BD31-4B8C-83A1-F6EECF244321}">
                <p14:modId xmlns:p14="http://schemas.microsoft.com/office/powerpoint/2010/main" val="4006815218"/>
              </p:ext>
            </p:extLst>
          </p:nvPr>
        </p:nvGraphicFramePr>
        <p:xfrm>
          <a:off x="2442169" y="2626120"/>
          <a:ext cx="2385228" cy="1705956"/>
        </p:xfrm>
        <a:graphic>
          <a:graphicData uri="http://schemas.openxmlformats.org/drawingml/2006/chart">
            <c:chart xmlns:c="http://schemas.openxmlformats.org/drawingml/2006/chart" xmlns:r="http://schemas.openxmlformats.org/officeDocument/2006/relationships" r:id="rId48"/>
          </a:graphicData>
        </a:graphic>
      </p:graphicFrame>
    </p:spTree>
    <p:extLst>
      <p:ext uri="{BB962C8B-B14F-4D97-AF65-F5344CB8AC3E}">
        <p14:creationId xmlns:p14="http://schemas.microsoft.com/office/powerpoint/2010/main" val="2553963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35" presetClass="path" presetSubtype="0" accel="17000" decel="83000" fill="hold" grpId="1" nodeType="withEffect">
                                  <p:stCondLst>
                                    <p:cond delay="0"/>
                                  </p:stCondLst>
                                  <p:childTnLst>
                                    <p:animMotion origin="layout" path="M -0.02152 4.81656E-06 L -3.4574E-06 4.81656E-06" pathEditMode="relative" rAng="0" ptsTypes="AA">
                                      <p:cBhvr>
                                        <p:cTn id="9" dur="1100" fill="hold"/>
                                        <p:tgtEl>
                                          <p:spTgt spid="16"/>
                                        </p:tgtEl>
                                        <p:attrNameLst>
                                          <p:attrName>ppt_x</p:attrName>
                                          <p:attrName>ppt_y</p:attrName>
                                        </p:attrNameLst>
                                      </p:cBhvr>
                                      <p:rCtr x="1076" y="0"/>
                                    </p:animMotion>
                                  </p:childTnLst>
                                </p:cTn>
                              </p:par>
                              <p:par>
                                <p:cTn id="10" presetID="10" presetClass="entr" presetSubtype="0" fill="hold" nodeType="withEffect">
                                  <p:stCondLst>
                                    <p:cond delay="500"/>
                                  </p:stCondLst>
                                  <p:childTnLst>
                                    <p:set>
                                      <p:cBhvr>
                                        <p:cTn id="11" dur="1" fill="hold">
                                          <p:stCondLst>
                                            <p:cond delay="0"/>
                                          </p:stCondLst>
                                        </p:cTn>
                                        <p:tgtEl>
                                          <p:spTgt spid="190"/>
                                        </p:tgtEl>
                                        <p:attrNameLst>
                                          <p:attrName>style.visibility</p:attrName>
                                        </p:attrNameLst>
                                      </p:cBhvr>
                                      <p:to>
                                        <p:strVal val="visible"/>
                                      </p:to>
                                    </p:set>
                                    <p:animEffect transition="in" filter="fade">
                                      <p:cBhvr>
                                        <p:cTn id="12" dur="500"/>
                                        <p:tgtEl>
                                          <p:spTgt spid="190"/>
                                        </p:tgtEl>
                                      </p:cBhvr>
                                    </p:animEffect>
                                  </p:childTnLst>
                                </p:cTn>
                              </p:par>
                              <p:par>
                                <p:cTn id="13" presetID="23" presetClass="entr" presetSubtype="288" fill="hold" nodeType="withEffect">
                                  <p:stCondLst>
                                    <p:cond delay="500"/>
                                  </p:stCondLst>
                                  <p:childTnLst>
                                    <p:set>
                                      <p:cBhvr>
                                        <p:cTn id="14" dur="1" fill="hold">
                                          <p:stCondLst>
                                            <p:cond delay="0"/>
                                          </p:stCondLst>
                                        </p:cTn>
                                        <p:tgtEl>
                                          <p:spTgt spid="190"/>
                                        </p:tgtEl>
                                        <p:attrNameLst>
                                          <p:attrName>style.visibility</p:attrName>
                                        </p:attrNameLst>
                                      </p:cBhvr>
                                      <p:to>
                                        <p:strVal val="visible"/>
                                      </p:to>
                                    </p:set>
                                    <p:anim calcmode="lin" valueType="num">
                                      <p:cBhvr>
                                        <p:cTn id="15" dur="500" fill="hold"/>
                                        <p:tgtEl>
                                          <p:spTgt spid="190"/>
                                        </p:tgtEl>
                                        <p:attrNameLst>
                                          <p:attrName>ppt_w</p:attrName>
                                        </p:attrNameLst>
                                      </p:cBhvr>
                                      <p:tavLst>
                                        <p:tav tm="0">
                                          <p:val>
                                            <p:strVal val="4/3*#ppt_w"/>
                                          </p:val>
                                        </p:tav>
                                        <p:tav tm="100000">
                                          <p:val>
                                            <p:strVal val="#ppt_w"/>
                                          </p:val>
                                        </p:tav>
                                      </p:tavLst>
                                    </p:anim>
                                    <p:anim calcmode="lin" valueType="num">
                                      <p:cBhvr>
                                        <p:cTn id="16" dur="500" fill="hold"/>
                                        <p:tgtEl>
                                          <p:spTgt spid="190"/>
                                        </p:tgtEl>
                                        <p:attrNameLst>
                                          <p:attrName>ppt_h</p:attrName>
                                        </p:attrNameLst>
                                      </p:cBhvr>
                                      <p:tavLst>
                                        <p:tav tm="0">
                                          <p:val>
                                            <p:strVal val="4/3*#ppt_h"/>
                                          </p:val>
                                        </p:tav>
                                        <p:tav tm="100000">
                                          <p:val>
                                            <p:strVal val="#ppt_h"/>
                                          </p:val>
                                        </p:tav>
                                      </p:tavLst>
                                    </p:anim>
                                  </p:childTnLst>
                                </p:cTn>
                              </p:par>
                              <p:par>
                                <p:cTn id="17" presetID="22" presetClass="entr" presetSubtype="1" fill="hold" grpId="0" nodeType="withEffect">
                                  <p:stCondLst>
                                    <p:cond delay="500"/>
                                  </p:stCondLst>
                                  <p:childTnLst>
                                    <p:set>
                                      <p:cBhvr>
                                        <p:cTn id="18" dur="1" fill="hold">
                                          <p:stCondLst>
                                            <p:cond delay="0"/>
                                          </p:stCondLst>
                                        </p:cTn>
                                        <p:tgtEl>
                                          <p:spTgt spid="71"/>
                                        </p:tgtEl>
                                        <p:attrNameLst>
                                          <p:attrName>style.visibility</p:attrName>
                                        </p:attrNameLst>
                                      </p:cBhvr>
                                      <p:to>
                                        <p:strVal val="visible"/>
                                      </p:to>
                                    </p:set>
                                    <p:animEffect transition="in" filter="wipe(up)">
                                      <p:cBhvr>
                                        <p:cTn id="19" dur="500"/>
                                        <p:tgtEl>
                                          <p:spTgt spid="71"/>
                                        </p:tgtEl>
                                      </p:cBhvr>
                                    </p:animEffect>
                                  </p:childTnLst>
                                </p:cTn>
                              </p:par>
                              <p:par>
                                <p:cTn id="20" presetID="10" presetClass="entr" presetSubtype="0" fill="hold" grpId="0" nodeType="withEffect">
                                  <p:stCondLst>
                                    <p:cond delay="75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500"/>
                                        <p:tgtEl>
                                          <p:spTgt spid="18"/>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10" presetClass="entr" presetSubtype="0" fill="hold" grpId="0" nodeType="withEffect">
                                  <p:stCondLst>
                                    <p:cond delay="1000"/>
                                  </p:stCondLst>
                                  <p:childTnLst>
                                    <p:set>
                                      <p:cBhvr>
                                        <p:cTn id="27" dur="1" fill="hold">
                                          <p:stCondLst>
                                            <p:cond delay="0"/>
                                          </p:stCondLst>
                                        </p:cTn>
                                        <p:tgtEl>
                                          <p:spTgt spid="25"/>
                                        </p:tgtEl>
                                        <p:attrNameLst>
                                          <p:attrName>style.visibility</p:attrName>
                                        </p:attrNameLst>
                                      </p:cBhvr>
                                      <p:to>
                                        <p:strVal val="visible"/>
                                      </p:to>
                                    </p:set>
                                    <p:animEffect transition="in" filter="fade">
                                      <p:cBhvr>
                                        <p:cTn id="28" dur="500"/>
                                        <p:tgtEl>
                                          <p:spTgt spid="25"/>
                                        </p:tgtEl>
                                      </p:cBhvr>
                                    </p:animEffect>
                                  </p:childTnLst>
                                </p:cTn>
                              </p:par>
                              <p:par>
                                <p:cTn id="29" presetID="10" presetClass="entr" presetSubtype="0" fill="hold" nodeType="withEffect">
                                  <p:stCondLst>
                                    <p:cond delay="1000"/>
                                  </p:stCondLst>
                                  <p:childTnLst>
                                    <p:set>
                                      <p:cBhvr>
                                        <p:cTn id="30" dur="1" fill="hold">
                                          <p:stCondLst>
                                            <p:cond delay="0"/>
                                          </p:stCondLst>
                                        </p:cTn>
                                        <p:tgtEl>
                                          <p:spTgt spid="37"/>
                                        </p:tgtEl>
                                        <p:attrNameLst>
                                          <p:attrName>style.visibility</p:attrName>
                                        </p:attrNameLst>
                                      </p:cBhvr>
                                      <p:to>
                                        <p:strVal val="visible"/>
                                      </p:to>
                                    </p:set>
                                    <p:animEffect transition="in" filter="fade">
                                      <p:cBhvr>
                                        <p:cTn id="31" dur="500"/>
                                        <p:tgtEl>
                                          <p:spTgt spid="37"/>
                                        </p:tgtEl>
                                      </p:cBhvr>
                                    </p:animEffect>
                                  </p:childTnLst>
                                </p:cTn>
                              </p:par>
                              <p:par>
                                <p:cTn id="32" presetID="10" presetClass="entr" presetSubtype="0" fill="hold" grpId="0" nodeType="withEffect">
                                  <p:stCondLst>
                                    <p:cond delay="100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par>
                                <p:cTn id="38" presetID="10" presetClass="entr" presetSubtype="0" fill="hold" grpId="0" nodeType="withEffect">
                                  <p:stCondLst>
                                    <p:cond delay="1000"/>
                                  </p:stCondLst>
                                  <p:childTnLst>
                                    <p:set>
                                      <p:cBhvr>
                                        <p:cTn id="39" dur="1" fill="hold">
                                          <p:stCondLst>
                                            <p:cond delay="0"/>
                                          </p:stCondLst>
                                        </p:cTn>
                                        <p:tgtEl>
                                          <p:spTgt spid="42"/>
                                        </p:tgtEl>
                                        <p:attrNameLst>
                                          <p:attrName>style.visibility</p:attrName>
                                        </p:attrNameLst>
                                      </p:cBhvr>
                                      <p:to>
                                        <p:strVal val="visible"/>
                                      </p:to>
                                    </p:set>
                                    <p:animEffect transition="in" filter="fade">
                                      <p:cBhvr>
                                        <p:cTn id="40" dur="500"/>
                                        <p:tgtEl>
                                          <p:spTgt spid="42"/>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45"/>
                                        </p:tgtEl>
                                        <p:attrNameLst>
                                          <p:attrName>style.visibility</p:attrName>
                                        </p:attrNameLst>
                                      </p:cBhvr>
                                      <p:to>
                                        <p:strVal val="visible"/>
                                      </p:to>
                                    </p:set>
                                    <p:animEffect transition="in" filter="fade">
                                      <p:cBhvr>
                                        <p:cTn id="43" dur="500"/>
                                        <p:tgtEl>
                                          <p:spTgt spid="45"/>
                                        </p:tgtEl>
                                      </p:cBhvr>
                                    </p:animEffect>
                                  </p:childTnLst>
                                </p:cTn>
                              </p:par>
                              <p:par>
                                <p:cTn id="44" presetID="10" presetClass="entr" presetSubtype="0" fill="hold" grpId="0" nodeType="withEffect">
                                  <p:stCondLst>
                                    <p:cond delay="75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100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100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par>
                                <p:cTn id="53" presetID="10" presetClass="entr" presetSubtype="0" fill="hold" grpId="0" nodeType="withEffect">
                                  <p:stCondLst>
                                    <p:cond delay="1000"/>
                                  </p:stCondLst>
                                  <p:childTnLst>
                                    <p:set>
                                      <p:cBhvr>
                                        <p:cTn id="54" dur="1" fill="hold">
                                          <p:stCondLst>
                                            <p:cond delay="0"/>
                                          </p:stCondLst>
                                        </p:cTn>
                                        <p:tgtEl>
                                          <p:spTgt spid="54"/>
                                        </p:tgtEl>
                                        <p:attrNameLst>
                                          <p:attrName>style.visibility</p:attrName>
                                        </p:attrNameLst>
                                      </p:cBhvr>
                                      <p:to>
                                        <p:strVal val="visible"/>
                                      </p:to>
                                    </p:set>
                                    <p:animEffect transition="in" filter="fade">
                                      <p:cBhvr>
                                        <p:cTn id="55" dur="500"/>
                                        <p:tgtEl>
                                          <p:spTgt spid="54"/>
                                        </p:tgtEl>
                                      </p:cBhvr>
                                    </p:animEffect>
                                  </p:childTnLst>
                                </p:cTn>
                              </p:par>
                              <p:par>
                                <p:cTn id="56" presetID="10" presetClass="entr" presetSubtype="0" fill="hold" grpId="0" nodeType="withEffect">
                                  <p:stCondLst>
                                    <p:cond delay="1000"/>
                                  </p:stCondLst>
                                  <p:childTnLst>
                                    <p:set>
                                      <p:cBhvr>
                                        <p:cTn id="57" dur="1" fill="hold">
                                          <p:stCondLst>
                                            <p:cond delay="0"/>
                                          </p:stCondLst>
                                        </p:cTn>
                                        <p:tgtEl>
                                          <p:spTgt spid="55"/>
                                        </p:tgtEl>
                                        <p:attrNameLst>
                                          <p:attrName>style.visibility</p:attrName>
                                        </p:attrNameLst>
                                      </p:cBhvr>
                                      <p:to>
                                        <p:strVal val="visible"/>
                                      </p:to>
                                    </p:set>
                                    <p:animEffect transition="in" filter="fade">
                                      <p:cBhvr>
                                        <p:cTn id="58" dur="500"/>
                                        <p:tgtEl>
                                          <p:spTgt spid="55"/>
                                        </p:tgtEl>
                                      </p:cBhvr>
                                    </p:animEffect>
                                  </p:childTnLst>
                                </p:cTn>
                              </p:par>
                              <p:par>
                                <p:cTn id="59" presetID="10" presetClass="entr" presetSubtype="0" fill="hold" grpId="0" nodeType="withEffect">
                                  <p:stCondLst>
                                    <p:cond delay="1000"/>
                                  </p:stCondLst>
                                  <p:childTnLst>
                                    <p:set>
                                      <p:cBhvr>
                                        <p:cTn id="60" dur="1" fill="hold">
                                          <p:stCondLst>
                                            <p:cond delay="0"/>
                                          </p:stCondLst>
                                        </p:cTn>
                                        <p:tgtEl>
                                          <p:spTgt spid="56"/>
                                        </p:tgtEl>
                                        <p:attrNameLst>
                                          <p:attrName>style.visibility</p:attrName>
                                        </p:attrNameLst>
                                      </p:cBhvr>
                                      <p:to>
                                        <p:strVal val="visible"/>
                                      </p:to>
                                    </p:set>
                                    <p:animEffect transition="in" filter="fade">
                                      <p:cBhvr>
                                        <p:cTn id="61" dur="500"/>
                                        <p:tgtEl>
                                          <p:spTgt spid="56"/>
                                        </p:tgtEl>
                                      </p:cBhvr>
                                    </p:animEffect>
                                  </p:childTnLst>
                                </p:cTn>
                              </p:par>
                              <p:par>
                                <p:cTn id="62" presetID="10" presetClass="entr" presetSubtype="0" fill="hold" nodeType="withEffect">
                                  <p:stCondLst>
                                    <p:cond delay="1000"/>
                                  </p:stCondLst>
                                  <p:childTnLst>
                                    <p:set>
                                      <p:cBhvr>
                                        <p:cTn id="63" dur="1" fill="hold">
                                          <p:stCondLst>
                                            <p:cond delay="0"/>
                                          </p:stCondLst>
                                        </p:cTn>
                                        <p:tgtEl>
                                          <p:spTgt spid="57"/>
                                        </p:tgtEl>
                                        <p:attrNameLst>
                                          <p:attrName>style.visibility</p:attrName>
                                        </p:attrNameLst>
                                      </p:cBhvr>
                                      <p:to>
                                        <p:strVal val="visible"/>
                                      </p:to>
                                    </p:set>
                                    <p:animEffect transition="in" filter="fade">
                                      <p:cBhvr>
                                        <p:cTn id="64" dur="500"/>
                                        <p:tgtEl>
                                          <p:spTgt spid="57"/>
                                        </p:tgtEl>
                                      </p:cBhvr>
                                    </p:animEffect>
                                  </p:childTnLst>
                                </p:cTn>
                              </p:par>
                              <p:par>
                                <p:cTn id="65" presetID="10" presetClass="entr" presetSubtype="0" fill="hold" grpId="0" nodeType="withEffect">
                                  <p:stCondLst>
                                    <p:cond delay="750"/>
                                  </p:stCondLst>
                                  <p:childTnLst>
                                    <p:set>
                                      <p:cBhvr>
                                        <p:cTn id="66" dur="1" fill="hold">
                                          <p:stCondLst>
                                            <p:cond delay="0"/>
                                          </p:stCondLst>
                                        </p:cTn>
                                        <p:tgtEl>
                                          <p:spTgt spid="175"/>
                                        </p:tgtEl>
                                        <p:attrNameLst>
                                          <p:attrName>style.visibility</p:attrName>
                                        </p:attrNameLst>
                                      </p:cBhvr>
                                      <p:to>
                                        <p:strVal val="visible"/>
                                      </p:to>
                                    </p:set>
                                    <p:animEffect transition="in" filter="fade">
                                      <p:cBhvr>
                                        <p:cTn id="67" dur="500"/>
                                        <p:tgtEl>
                                          <p:spTgt spid="175"/>
                                        </p:tgtEl>
                                      </p:cBhvr>
                                    </p:animEffect>
                                  </p:childTnLst>
                                </p:cTn>
                              </p:par>
                              <p:par>
                                <p:cTn id="68" presetID="10" presetClass="entr" presetSubtype="0" fill="hold" grpId="0" nodeType="withEffect">
                                  <p:stCondLst>
                                    <p:cond delay="10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500"/>
                                        <p:tgtEl>
                                          <p:spTgt spid="35"/>
                                        </p:tgtEl>
                                      </p:cBhvr>
                                    </p:animEffect>
                                  </p:childTnLst>
                                </p:cTn>
                              </p:par>
                              <p:par>
                                <p:cTn id="71" presetID="10" presetClass="entr" presetSubtype="0" fill="hold" nodeType="withEffect">
                                  <p:stCondLst>
                                    <p:cond delay="1000"/>
                                  </p:stCondLst>
                                  <p:childTnLst>
                                    <p:set>
                                      <p:cBhvr>
                                        <p:cTn id="72" dur="1" fill="hold">
                                          <p:stCondLst>
                                            <p:cond delay="0"/>
                                          </p:stCondLst>
                                        </p:cTn>
                                        <p:tgtEl>
                                          <p:spTgt spid="271"/>
                                        </p:tgtEl>
                                        <p:attrNameLst>
                                          <p:attrName>style.visibility</p:attrName>
                                        </p:attrNameLst>
                                      </p:cBhvr>
                                      <p:to>
                                        <p:strVal val="visible"/>
                                      </p:to>
                                    </p:set>
                                    <p:animEffect transition="in" filter="fade">
                                      <p:cBhvr>
                                        <p:cTn id="73" dur="500"/>
                                        <p:tgtEl>
                                          <p:spTgt spid="2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13"/>
                                        </p:tgtEl>
                                        <p:attrNameLst>
                                          <p:attrName>style.visibility</p:attrName>
                                        </p:attrNameLst>
                                      </p:cBhvr>
                                      <p:to>
                                        <p:strVal val="visible"/>
                                      </p:to>
                                    </p:set>
                                    <p:animEffect transition="in" filter="fade">
                                      <p:cBhvr>
                                        <p:cTn id="76" dur="500"/>
                                        <p:tgtEl>
                                          <p:spTgt spid="13"/>
                                        </p:tgtEl>
                                      </p:cBhvr>
                                    </p:animEffect>
                                  </p:childTnLst>
                                </p:cTn>
                              </p:par>
                              <p:par>
                                <p:cTn id="77" presetID="35" presetClass="path" presetSubtype="0" accel="17000" decel="83000" fill="hold" grpId="1" nodeType="withEffect">
                                  <p:stCondLst>
                                    <p:cond delay="0"/>
                                  </p:stCondLst>
                                  <p:childTnLst>
                                    <p:animMotion origin="layout" path="M 0.02046 1.04421E-06 L 3.25983E-06 1.04421E-06" pathEditMode="relative" rAng="0" ptsTypes="AA">
                                      <p:cBhvr>
                                        <p:cTn id="78" dur="1100" fill="hold"/>
                                        <p:tgtEl>
                                          <p:spTgt spid="13"/>
                                        </p:tgtEl>
                                        <p:attrNameLst>
                                          <p:attrName>ppt_x</p:attrName>
                                          <p:attrName>ppt_y</p:attrName>
                                        </p:attrNameLst>
                                      </p:cBhvr>
                                      <p:rCtr x="-1023" y="0"/>
                                    </p:animMotion>
                                  </p:childTnLst>
                                </p:cTn>
                              </p:par>
                              <p:par>
                                <p:cTn id="79" presetID="10" presetClass="entr" presetSubtype="0" fill="hold" grpId="0" nodeType="withEffect">
                                  <p:stCondLst>
                                    <p:cond delay="0"/>
                                  </p:stCondLst>
                                  <p:childTnLst>
                                    <p:set>
                                      <p:cBhvr>
                                        <p:cTn id="80" dur="1" fill="hold">
                                          <p:stCondLst>
                                            <p:cond delay="0"/>
                                          </p:stCondLst>
                                        </p:cTn>
                                        <p:tgtEl>
                                          <p:spTgt spid="8"/>
                                        </p:tgtEl>
                                        <p:attrNameLst>
                                          <p:attrName>style.visibility</p:attrName>
                                        </p:attrNameLst>
                                      </p:cBhvr>
                                      <p:to>
                                        <p:strVal val="visible"/>
                                      </p:to>
                                    </p:set>
                                    <p:animEffect transition="in" filter="fade">
                                      <p:cBhvr>
                                        <p:cTn id="81" dur="500"/>
                                        <p:tgtEl>
                                          <p:spTgt spid="8"/>
                                        </p:tgtEl>
                                      </p:cBhvr>
                                    </p:animEffect>
                                  </p:childTnLst>
                                </p:cTn>
                              </p:par>
                              <p:par>
                                <p:cTn id="82" presetID="22" presetClass="entr" presetSubtype="1" fill="hold" grpId="0" nodeType="withEffect">
                                  <p:stCondLst>
                                    <p:cond delay="500"/>
                                  </p:stCondLst>
                                  <p:childTnLst>
                                    <p:set>
                                      <p:cBhvr>
                                        <p:cTn id="83" dur="1" fill="hold">
                                          <p:stCondLst>
                                            <p:cond delay="0"/>
                                          </p:stCondLst>
                                        </p:cTn>
                                        <p:tgtEl>
                                          <p:spTgt spid="23"/>
                                        </p:tgtEl>
                                        <p:attrNameLst>
                                          <p:attrName>style.visibility</p:attrName>
                                        </p:attrNameLst>
                                      </p:cBhvr>
                                      <p:to>
                                        <p:strVal val="visible"/>
                                      </p:to>
                                    </p:set>
                                    <p:animEffect transition="in" filter="wipe(up)">
                                      <p:cBhvr>
                                        <p:cTn id="84" dur="500"/>
                                        <p:tgtEl>
                                          <p:spTgt spid="23"/>
                                        </p:tgtEl>
                                      </p:cBhvr>
                                    </p:animEffect>
                                  </p:childTnLst>
                                </p:cTn>
                              </p:par>
                              <p:par>
                                <p:cTn id="85" presetID="22" presetClass="entr" presetSubtype="1" fill="hold" grpId="0" nodeType="withEffect">
                                  <p:stCondLst>
                                    <p:cond delay="500"/>
                                  </p:stCondLst>
                                  <p:childTnLst>
                                    <p:set>
                                      <p:cBhvr>
                                        <p:cTn id="86" dur="1" fill="hold">
                                          <p:stCondLst>
                                            <p:cond delay="0"/>
                                          </p:stCondLst>
                                        </p:cTn>
                                        <p:tgtEl>
                                          <p:spTgt spid="24"/>
                                        </p:tgtEl>
                                        <p:attrNameLst>
                                          <p:attrName>style.visibility</p:attrName>
                                        </p:attrNameLst>
                                      </p:cBhvr>
                                      <p:to>
                                        <p:strVal val="visible"/>
                                      </p:to>
                                    </p:set>
                                    <p:animEffect transition="in" filter="wipe(up)">
                                      <p:cBhvr>
                                        <p:cTn id="87" dur="500"/>
                                        <p:tgtEl>
                                          <p:spTgt spid="24"/>
                                        </p:tgtEl>
                                      </p:cBhvr>
                                    </p:animEffect>
                                  </p:childTnLst>
                                </p:cTn>
                              </p:par>
                              <p:par>
                                <p:cTn id="88" presetID="22" presetClass="entr" presetSubtype="1" fill="hold" grpId="0" nodeType="withEffect">
                                  <p:stCondLst>
                                    <p:cond delay="500"/>
                                  </p:stCondLst>
                                  <p:childTnLst>
                                    <p:set>
                                      <p:cBhvr>
                                        <p:cTn id="89" dur="1" fill="hold">
                                          <p:stCondLst>
                                            <p:cond delay="0"/>
                                          </p:stCondLst>
                                        </p:cTn>
                                        <p:tgtEl>
                                          <p:spTgt spid="26"/>
                                        </p:tgtEl>
                                        <p:attrNameLst>
                                          <p:attrName>style.visibility</p:attrName>
                                        </p:attrNameLst>
                                      </p:cBhvr>
                                      <p:to>
                                        <p:strVal val="visible"/>
                                      </p:to>
                                    </p:set>
                                    <p:animEffect transition="in" filter="wipe(up)">
                                      <p:cBhvr>
                                        <p:cTn id="9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6" grpId="0" animBg="1"/>
      <p:bldP spid="71" grpId="0" animBg="1"/>
      <p:bldP spid="13" grpId="0"/>
      <p:bldP spid="13" grpId="1"/>
      <p:bldP spid="16" grpId="0"/>
      <p:bldP spid="16" grpId="1"/>
      <p:bldP spid="18" grpId="0"/>
      <p:bldGraphic spid="19" grpId="0">
        <p:bldAsOne/>
      </p:bldGraphic>
      <p:bldGraphic spid="25" grpId="0">
        <p:bldAsOne/>
      </p:bldGraphic>
      <p:bldGraphic spid="38" grpId="0">
        <p:bldAsOne/>
      </p:bldGraphic>
      <p:bldP spid="40" grpId="0"/>
      <p:bldP spid="42" grpId="0"/>
      <p:bldP spid="45" grpId="0"/>
      <p:bldP spid="51" grpId="0"/>
      <p:bldP spid="52" grpId="0"/>
      <p:bldP spid="53" grpId="0" animBg="1"/>
      <p:bldP spid="54" grpId="0"/>
      <p:bldP spid="55" grpId="0" animBg="1"/>
      <p:bldP spid="56" grpId="0"/>
      <p:bldP spid="175" grpId="0"/>
      <p:bldP spid="8" grpId="0"/>
      <p:bldP spid="24" grpId="0" animBg="1"/>
      <p:bldGraphic spid="35" grpId="0">
        <p:bldAsOne/>
      </p:bldGraphic>
    </p:bldLst>
  </p:timing>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6.1 Service Pack 1"/>
  <p:tag name="AS_RELEASE_DATE" val="2017.10.31"/>
  <p:tag name="AS_TITLE" val="Aspose.Slides for Java"/>
  <p:tag name="AS_VERSION" val="17.10"/>
  <p:tag name="THINKCELLPRESENTATIONDONOTDELETE" val="&lt;?xml version=&quot;1.0&quot; encoding=&quot;UTF-16&quot; standalone=&quot;yes&quot;?&gt;&lt;root reqver=&quot;27037&quot;&gt;&lt;version val=&quot;3310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9&quot;&gt;&lt;elem m_fUsage=&quot;2.02779464821681543185E+00&quot;&gt;&lt;m_msothmcolidx val=&quot;0&quot;/&gt;&lt;m_rgb r=&quot;00&quot; g=&quot;99&quot; b=&quot;FF&quot;/&gt;&lt;/elem&gt;&lt;elem m_fUsage=&quot;1.84937326004699764681E+00&quot;&gt;&lt;m_msothmcolidx val=&quot;0&quot;/&gt;&lt;m_rgb r=&quot;00&quot; g=&quot;30&quot; b=&quot;87&quot;/&gt;&lt;/elem&gt;&lt;elem m_fUsage=&quot;1.81973790000000046341E+00&quot;&gt;&lt;m_msothmcolidx val=&quot;0&quot;/&gt;&lt;m_rgb r=&quot;FF&quot; g=&quot;76&quot; b=&quot;3C&quot;/&gt;&lt;/elem&gt;&lt;elem m_fUsage=&quot;1.07999936960902642724E+00&quot;&gt;&lt;m_msothmcolidx val=&quot;0&quot;/&gt;&lt;m_rgb r=&quot;FE&quot; g=&quot;50&quot; b=&quot;00&quot;/&gt;&lt;/elem&gt;&lt;elem m_fUsage=&quot;6.76375559590445263325E-01&quot;&gt;&lt;m_msothmcolidx val=&quot;0&quot;/&gt;&lt;m_rgb r=&quot;FE&quot; g=&quot;59&quot; b=&quot;30&quot;/&gt;&lt;/elem&gt;&lt;elem m_fUsage=&quot;4.30626477910885263611E-01&quot;&gt;&lt;m_msothmcolidx val=&quot;0&quot;/&gt;&lt;m_rgb r=&quot;DD&quot; g=&quot;72&quot; b=&quot;5E&quot;/&gt;&lt;/elem&gt;&lt;elem m_fUsage=&quot;3.89271754600199360041E-01&quot;&gt;&lt;m_msothmcolidx val=&quot;0&quot;/&gt;&lt;m_rgb r=&quot;E6&quot; g=&quot;E6&quot; b=&quot;E6&quot;/&gt;&lt;/elem&gt;&lt;elem m_fUsage=&quot;3.85931641487289756043E-01&quot;&gt;&lt;m_msothmcolidx val=&quot;0&quot;/&gt;&lt;m_rgb r=&quot;0D&quot; g=&quot;18&quot; b=&quot;80&quot;/&gt;&lt;/elem&gt;&lt;elem m_fUsage=&quot;3.61073366936999207155E-01&quot;&gt;&lt;m_msothmcolidx val=&quot;0&quot;/&gt;&lt;m_rgb r=&quot;33&quot; g=&quot;AD&quot; b=&quot;FF&quot;/&gt;&lt;/elem&gt;&lt;elem m_fUsage=&quot;3.48678440100000153201E-01&quot;&gt;&lt;m_msothmcolidx val=&quot;0&quot;/&gt;&lt;m_rgb r=&quot;FD&quot; g=&quot;86&quot; b=&quot;3E&quot;/&gt;&lt;/elem&gt;&lt;elem m_fUsage=&quot;2.87479135942233898771E-01&quot;&gt;&lt;m_msothmcolidx val=&quot;0&quot;/&gt;&lt;m_rgb r=&quot;05&quot; g=&quot;16&quot; b=&quot;AD&quot;/&gt;&lt;/elem&gt;&lt;elem m_fUsage=&quot;1.85302018885184188735E-01&quot;&gt;&lt;m_msothmcolidx val=&quot;0&quot;/&gt;&lt;m_rgb r=&quot;EA&quot; g=&quot;EA&quot; b=&quot;EA&quot;/&gt;&lt;/elem&gt;&lt;elem m_fUsage=&quot;7.25596925553213950577E-02&quot;&gt;&lt;m_msothmcolidx val=&quot;0&quot;/&gt;&lt;m_rgb r=&quot;FF&quot; g=&quot;4B&quot; b=&quot;00&quot;/&gt;&lt;/elem&gt;&lt;elem m_fUsage=&quot;6.29778740269463788159E-02&quot;&gt;&lt;m_msothmcolidx val=&quot;0&quot;/&gt;&lt;m_rgb r=&quot;00&quot; g=&quot;1C&quot; b=&quot;6A&quot;/&gt;&lt;/elem&gt;&lt;elem m_fUsage=&quot;1.96779798259250279790E-02&quot;&gt;&lt;m_msothmcolidx val=&quot;0&quot;/&gt;&lt;m_rgb r=&quot;23&quot; g=&quot;A0&quot; b=&quot;FE&quot;/&gt;&lt;/elem&gt;&lt;elem m_fUsage=&quot;1.45557834293069112905E-03&quot;&gt;&lt;m_msothmcolidx val=&quot;0&quot;/&gt;&lt;m_rgb r=&quot;A4&quot; g=&quot;CE&quot; b=&quot;F6&quot;/&gt;&lt;/elem&gt;&lt;elem m_fUsage=&quot;1.31002050863762210288E-03&quot;&gt;&lt;m_msothmcolidx val=&quot;0&quot;/&gt;&lt;m_rgb r=&quot;A4&quot; g=&quot;C0&quot; b=&quot;F6&quot;/&gt;&lt;/elem&gt;&lt;elem m_fUsage=&quot;1.96627050475553261533E-04&quot;&gt;&lt;m_msothmcolidx val=&quot;0&quot;/&gt;&lt;m_rgb r=&quot;B8&quot; g=&quot;3B&quot; b=&quot;27&quot;/&gt;&lt;/elem&gt;&lt;elem m_fUsage=&quot;1.76964345427997940801E-04&quot;&gt;&lt;m_msothmcolidx val=&quot;0&quot;/&gt;&lt;m_rgb r=&quot;F2&quot; g=&quot;4E&quot; b=&quot;3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S_UNIQUEID" val="1712"/>
</p:tagLst>
</file>

<file path=ppt/tags/tag100.xml><?xml version="1.0" encoding="utf-8"?>
<p:tagLst xmlns:a="http://schemas.openxmlformats.org/drawingml/2006/main" xmlns:r="http://schemas.openxmlformats.org/officeDocument/2006/relationships" xmlns:p="http://schemas.openxmlformats.org/presentationml/2006/main">
  <p:tag name="AS_UNIQUEID" val="1820"/>
</p:tagLst>
</file>

<file path=ppt/tags/tag1000.xml><?xml version="1.0" encoding="utf-8"?>
<p:tagLst xmlns:a="http://schemas.openxmlformats.org/drawingml/2006/main" xmlns:r="http://schemas.openxmlformats.org/officeDocument/2006/relationships" xmlns:p="http://schemas.openxmlformats.org/presentationml/2006/main">
  <p:tag name="AS_UNIQUEID" val="2676"/>
</p:tagLst>
</file>

<file path=ppt/tags/tag1001.xml><?xml version="1.0" encoding="utf-8"?>
<p:tagLst xmlns:a="http://schemas.openxmlformats.org/drawingml/2006/main" xmlns:r="http://schemas.openxmlformats.org/officeDocument/2006/relationships" xmlns:p="http://schemas.openxmlformats.org/presentationml/2006/main">
  <p:tag name="AS_UNIQUEID" val="2677"/>
</p:tagLst>
</file>

<file path=ppt/tags/tag1002.xml><?xml version="1.0" encoding="utf-8"?>
<p:tagLst xmlns:a="http://schemas.openxmlformats.org/drawingml/2006/main" xmlns:r="http://schemas.openxmlformats.org/officeDocument/2006/relationships" xmlns:p="http://schemas.openxmlformats.org/presentationml/2006/main">
  <p:tag name="AS_UNIQUEID" val="2678"/>
</p:tagLst>
</file>

<file path=ppt/tags/tag1003.xml><?xml version="1.0" encoding="utf-8"?>
<p:tagLst xmlns:a="http://schemas.openxmlformats.org/drawingml/2006/main" xmlns:r="http://schemas.openxmlformats.org/officeDocument/2006/relationships" xmlns:p="http://schemas.openxmlformats.org/presentationml/2006/main">
  <p:tag name="AS_UNIQUEID" val="2686"/>
</p:tagLst>
</file>

<file path=ppt/tags/tag1004.xml><?xml version="1.0" encoding="utf-8"?>
<p:tagLst xmlns:a="http://schemas.openxmlformats.org/drawingml/2006/main" xmlns:r="http://schemas.openxmlformats.org/officeDocument/2006/relationships" xmlns:p="http://schemas.openxmlformats.org/presentationml/2006/main">
  <p:tag name="AS_UNIQUEID" val="2679"/>
</p:tagLst>
</file>

<file path=ppt/tags/tag1005.xml><?xml version="1.0" encoding="utf-8"?>
<p:tagLst xmlns:a="http://schemas.openxmlformats.org/drawingml/2006/main" xmlns:r="http://schemas.openxmlformats.org/officeDocument/2006/relationships" xmlns:p="http://schemas.openxmlformats.org/presentationml/2006/main">
  <p:tag name="AS_UNIQUEID" val="2680"/>
</p:tagLst>
</file>

<file path=ppt/tags/tag1006.xml><?xml version="1.0" encoding="utf-8"?>
<p:tagLst xmlns:a="http://schemas.openxmlformats.org/drawingml/2006/main" xmlns:r="http://schemas.openxmlformats.org/officeDocument/2006/relationships" xmlns:p="http://schemas.openxmlformats.org/presentationml/2006/main">
  <p:tag name="AS_UNIQUEID" val="2673"/>
</p:tagLst>
</file>

<file path=ppt/tags/tag1007.xml><?xml version="1.0" encoding="utf-8"?>
<p:tagLst xmlns:a="http://schemas.openxmlformats.org/drawingml/2006/main" xmlns:r="http://schemas.openxmlformats.org/officeDocument/2006/relationships" xmlns:p="http://schemas.openxmlformats.org/presentationml/2006/main">
  <p:tag name="AS_UNIQUEID" val="2674"/>
</p:tagLst>
</file>

<file path=ppt/tags/tag1008.xml><?xml version="1.0" encoding="utf-8"?>
<p:tagLst xmlns:a="http://schemas.openxmlformats.org/drawingml/2006/main" xmlns:r="http://schemas.openxmlformats.org/officeDocument/2006/relationships" xmlns:p="http://schemas.openxmlformats.org/presentationml/2006/main">
  <p:tag name="AS_UNIQUEID" val="2670"/>
</p:tagLst>
</file>

<file path=ppt/tags/tag1009.xml><?xml version="1.0" encoding="utf-8"?>
<p:tagLst xmlns:a="http://schemas.openxmlformats.org/drawingml/2006/main" xmlns:r="http://schemas.openxmlformats.org/officeDocument/2006/relationships" xmlns:p="http://schemas.openxmlformats.org/presentationml/2006/main">
  <p:tag name="AS_UNIQUEID" val="2671"/>
</p:tagLst>
</file>

<file path=ppt/tags/tag101.xml><?xml version="1.0" encoding="utf-8"?>
<p:tagLst xmlns:a="http://schemas.openxmlformats.org/drawingml/2006/main" xmlns:r="http://schemas.openxmlformats.org/officeDocument/2006/relationships" xmlns:p="http://schemas.openxmlformats.org/presentationml/2006/main">
  <p:tag name="AS_UNIQUEID" val="1821"/>
</p:tagLst>
</file>

<file path=ppt/tags/tag1010.xml><?xml version="1.0" encoding="utf-8"?>
<p:tagLst xmlns:a="http://schemas.openxmlformats.org/drawingml/2006/main" xmlns:r="http://schemas.openxmlformats.org/officeDocument/2006/relationships" xmlns:p="http://schemas.openxmlformats.org/presentationml/2006/main">
  <p:tag name="AS_UNIQUEID" val="2666"/>
</p:tagLst>
</file>

<file path=ppt/tags/tag1011.xml><?xml version="1.0" encoding="utf-8"?>
<p:tagLst xmlns:a="http://schemas.openxmlformats.org/drawingml/2006/main" xmlns:r="http://schemas.openxmlformats.org/officeDocument/2006/relationships" xmlns:p="http://schemas.openxmlformats.org/presentationml/2006/main">
  <p:tag name="AS_UNIQUEID" val="2667"/>
</p:tagLst>
</file>

<file path=ppt/tags/tag1012.xml><?xml version="1.0" encoding="utf-8"?>
<p:tagLst xmlns:a="http://schemas.openxmlformats.org/drawingml/2006/main" xmlns:r="http://schemas.openxmlformats.org/officeDocument/2006/relationships" xmlns:p="http://schemas.openxmlformats.org/presentationml/2006/main">
  <p:tag name="AS_UNIQUEID" val="2662"/>
</p:tagLst>
</file>

<file path=ppt/tags/tag1013.xml><?xml version="1.0" encoding="utf-8"?>
<p:tagLst xmlns:a="http://schemas.openxmlformats.org/drawingml/2006/main" xmlns:r="http://schemas.openxmlformats.org/officeDocument/2006/relationships" xmlns:p="http://schemas.openxmlformats.org/presentationml/2006/main">
  <p:tag name="AS_UNIQUEID" val="2663"/>
</p:tagLst>
</file>

<file path=ppt/tags/tag1014.xml><?xml version="1.0" encoding="utf-8"?>
<p:tagLst xmlns:a="http://schemas.openxmlformats.org/drawingml/2006/main" xmlns:r="http://schemas.openxmlformats.org/officeDocument/2006/relationships" xmlns:p="http://schemas.openxmlformats.org/presentationml/2006/main">
  <p:tag name="AS_UNIQUEID" val="2630"/>
</p:tagLst>
</file>

<file path=ppt/tags/tag1015.xml><?xml version="1.0" encoding="utf-8"?>
<p:tagLst xmlns:a="http://schemas.openxmlformats.org/drawingml/2006/main" xmlns:r="http://schemas.openxmlformats.org/officeDocument/2006/relationships" xmlns:p="http://schemas.openxmlformats.org/presentationml/2006/main">
  <p:tag name="AS_UNIQUEID" val="2633"/>
</p:tagLst>
</file>

<file path=ppt/tags/tag1016.xml><?xml version="1.0" encoding="utf-8"?>
<p:tagLst xmlns:a="http://schemas.openxmlformats.org/drawingml/2006/main" xmlns:r="http://schemas.openxmlformats.org/officeDocument/2006/relationships" xmlns:p="http://schemas.openxmlformats.org/presentationml/2006/main">
  <p:tag name="AS_UNIQUEID" val="2634"/>
</p:tagLst>
</file>

<file path=ppt/tags/tag1017.xml><?xml version="1.0" encoding="utf-8"?>
<p:tagLst xmlns:a="http://schemas.openxmlformats.org/drawingml/2006/main" xmlns:r="http://schemas.openxmlformats.org/officeDocument/2006/relationships" xmlns:p="http://schemas.openxmlformats.org/presentationml/2006/main">
  <p:tag name="AS_UNIQUEID" val="2639"/>
</p:tagLst>
</file>

<file path=ppt/tags/tag1018.xml><?xml version="1.0" encoding="utf-8"?>
<p:tagLst xmlns:a="http://schemas.openxmlformats.org/drawingml/2006/main" xmlns:r="http://schemas.openxmlformats.org/officeDocument/2006/relationships" xmlns:p="http://schemas.openxmlformats.org/presentationml/2006/main">
  <p:tag name="AS_UNIQUEID" val="2643"/>
</p:tagLst>
</file>

<file path=ppt/tags/tag1019.xml><?xml version="1.0" encoding="utf-8"?>
<p:tagLst xmlns:a="http://schemas.openxmlformats.org/drawingml/2006/main" xmlns:r="http://schemas.openxmlformats.org/officeDocument/2006/relationships" xmlns:p="http://schemas.openxmlformats.org/presentationml/2006/main">
  <p:tag name="AS_UNIQUEID" val="2647"/>
</p:tagLst>
</file>

<file path=ppt/tags/tag102.xml><?xml version="1.0" encoding="utf-8"?>
<p:tagLst xmlns:a="http://schemas.openxmlformats.org/drawingml/2006/main" xmlns:r="http://schemas.openxmlformats.org/officeDocument/2006/relationships" xmlns:p="http://schemas.openxmlformats.org/presentationml/2006/main">
  <p:tag name="AS_UNIQUEID" val="1822"/>
</p:tagLst>
</file>

<file path=ppt/tags/tag1020.xml><?xml version="1.0" encoding="utf-8"?>
<p:tagLst xmlns:a="http://schemas.openxmlformats.org/drawingml/2006/main" xmlns:r="http://schemas.openxmlformats.org/officeDocument/2006/relationships" xmlns:p="http://schemas.openxmlformats.org/presentationml/2006/main">
  <p:tag name="AS_UNIQUEID" val="2652"/>
</p:tagLst>
</file>

<file path=ppt/tags/tag1021.xml><?xml version="1.0" encoding="utf-8"?>
<p:tagLst xmlns:a="http://schemas.openxmlformats.org/drawingml/2006/main" xmlns:r="http://schemas.openxmlformats.org/officeDocument/2006/relationships" xmlns:p="http://schemas.openxmlformats.org/presentationml/2006/main">
  <p:tag name="AS_UNIQUEID" val="2656"/>
</p:tagLst>
</file>

<file path=ppt/tags/tag1022.xml><?xml version="1.0" encoding="utf-8"?>
<p:tagLst xmlns:a="http://schemas.openxmlformats.org/drawingml/2006/main" xmlns:r="http://schemas.openxmlformats.org/officeDocument/2006/relationships" xmlns:p="http://schemas.openxmlformats.org/presentationml/2006/main">
  <p:tag name="AS_UNIQUEID" val="2657"/>
</p:tagLst>
</file>

<file path=ppt/tags/tag1023.xml><?xml version="1.0" encoding="utf-8"?>
<p:tagLst xmlns:a="http://schemas.openxmlformats.org/drawingml/2006/main" xmlns:r="http://schemas.openxmlformats.org/officeDocument/2006/relationships" xmlns:p="http://schemas.openxmlformats.org/presentationml/2006/main">
  <p:tag name="AS_UNIQUEID" val="2660"/>
</p:tagLst>
</file>

<file path=ppt/tags/tag1024.xml><?xml version="1.0" encoding="utf-8"?>
<p:tagLst xmlns:a="http://schemas.openxmlformats.org/drawingml/2006/main" xmlns:r="http://schemas.openxmlformats.org/officeDocument/2006/relationships" xmlns:p="http://schemas.openxmlformats.org/presentationml/2006/main">
  <p:tag name="AS_UNIQUEID" val="2658"/>
</p:tagLst>
</file>

<file path=ppt/tags/tag1025.xml><?xml version="1.0" encoding="utf-8"?>
<p:tagLst xmlns:a="http://schemas.openxmlformats.org/drawingml/2006/main" xmlns:r="http://schemas.openxmlformats.org/officeDocument/2006/relationships" xmlns:p="http://schemas.openxmlformats.org/presentationml/2006/main">
  <p:tag name="AS_UNIQUEID" val="2659"/>
</p:tagLst>
</file>

<file path=ppt/tags/tag1026.xml><?xml version="1.0" encoding="utf-8"?>
<p:tagLst xmlns:a="http://schemas.openxmlformats.org/drawingml/2006/main" xmlns:r="http://schemas.openxmlformats.org/officeDocument/2006/relationships" xmlns:p="http://schemas.openxmlformats.org/presentationml/2006/main">
  <p:tag name="AS_UNIQUEID" val="2653"/>
</p:tagLst>
</file>

<file path=ppt/tags/tag1027.xml><?xml version="1.0" encoding="utf-8"?>
<p:tagLst xmlns:a="http://schemas.openxmlformats.org/drawingml/2006/main" xmlns:r="http://schemas.openxmlformats.org/officeDocument/2006/relationships" xmlns:p="http://schemas.openxmlformats.org/presentationml/2006/main">
  <p:tag name="AS_UNIQUEID" val="2654"/>
</p:tagLst>
</file>

<file path=ppt/tags/tag1028.xml><?xml version="1.0" encoding="utf-8"?>
<p:tagLst xmlns:a="http://schemas.openxmlformats.org/drawingml/2006/main" xmlns:r="http://schemas.openxmlformats.org/officeDocument/2006/relationships" xmlns:p="http://schemas.openxmlformats.org/presentationml/2006/main">
  <p:tag name="AS_UNIQUEID" val="2655"/>
</p:tagLst>
</file>

<file path=ppt/tags/tag1029.xml><?xml version="1.0" encoding="utf-8"?>
<p:tagLst xmlns:a="http://schemas.openxmlformats.org/drawingml/2006/main" xmlns:r="http://schemas.openxmlformats.org/officeDocument/2006/relationships" xmlns:p="http://schemas.openxmlformats.org/presentationml/2006/main">
  <p:tag name="AS_UNIQUEID" val="2648"/>
</p:tagLst>
</file>

<file path=ppt/tags/tag103.xml><?xml version="1.0" encoding="utf-8"?>
<p:tagLst xmlns:a="http://schemas.openxmlformats.org/drawingml/2006/main" xmlns:r="http://schemas.openxmlformats.org/officeDocument/2006/relationships" xmlns:p="http://schemas.openxmlformats.org/presentationml/2006/main">
  <p:tag name="AS_UNIQUEID" val="1824"/>
</p:tagLst>
</file>

<file path=ppt/tags/tag1030.xml><?xml version="1.0" encoding="utf-8"?>
<p:tagLst xmlns:a="http://schemas.openxmlformats.org/drawingml/2006/main" xmlns:r="http://schemas.openxmlformats.org/officeDocument/2006/relationships" xmlns:p="http://schemas.openxmlformats.org/presentationml/2006/main">
  <p:tag name="AS_UNIQUEID" val="2651"/>
</p:tagLst>
</file>

<file path=ppt/tags/tag1031.xml><?xml version="1.0" encoding="utf-8"?>
<p:tagLst xmlns:a="http://schemas.openxmlformats.org/drawingml/2006/main" xmlns:r="http://schemas.openxmlformats.org/officeDocument/2006/relationships" xmlns:p="http://schemas.openxmlformats.org/presentationml/2006/main">
  <p:tag name="AS_UNIQUEID" val="2649"/>
</p:tagLst>
</file>

<file path=ppt/tags/tag1032.xml><?xml version="1.0" encoding="utf-8"?>
<p:tagLst xmlns:a="http://schemas.openxmlformats.org/drawingml/2006/main" xmlns:r="http://schemas.openxmlformats.org/officeDocument/2006/relationships" xmlns:p="http://schemas.openxmlformats.org/presentationml/2006/main">
  <p:tag name="AS_UNIQUEID" val="2650"/>
</p:tagLst>
</file>

<file path=ppt/tags/tag1033.xml><?xml version="1.0" encoding="utf-8"?>
<p:tagLst xmlns:a="http://schemas.openxmlformats.org/drawingml/2006/main" xmlns:r="http://schemas.openxmlformats.org/officeDocument/2006/relationships" xmlns:p="http://schemas.openxmlformats.org/presentationml/2006/main">
  <p:tag name="AS_UNIQUEID" val="2644"/>
</p:tagLst>
</file>

<file path=ppt/tags/tag1034.xml><?xml version="1.0" encoding="utf-8"?>
<p:tagLst xmlns:a="http://schemas.openxmlformats.org/drawingml/2006/main" xmlns:r="http://schemas.openxmlformats.org/officeDocument/2006/relationships" xmlns:p="http://schemas.openxmlformats.org/presentationml/2006/main">
  <p:tag name="AS_UNIQUEID" val="2645"/>
</p:tagLst>
</file>

<file path=ppt/tags/tag1035.xml><?xml version="1.0" encoding="utf-8"?>
<p:tagLst xmlns:a="http://schemas.openxmlformats.org/drawingml/2006/main" xmlns:r="http://schemas.openxmlformats.org/officeDocument/2006/relationships" xmlns:p="http://schemas.openxmlformats.org/presentationml/2006/main">
  <p:tag name="AS_UNIQUEID" val="2646"/>
</p:tagLst>
</file>

<file path=ppt/tags/tag1036.xml><?xml version="1.0" encoding="utf-8"?>
<p:tagLst xmlns:a="http://schemas.openxmlformats.org/drawingml/2006/main" xmlns:r="http://schemas.openxmlformats.org/officeDocument/2006/relationships" xmlns:p="http://schemas.openxmlformats.org/presentationml/2006/main">
  <p:tag name="AS_UNIQUEID" val="2640"/>
</p:tagLst>
</file>

<file path=ppt/tags/tag1037.xml><?xml version="1.0" encoding="utf-8"?>
<p:tagLst xmlns:a="http://schemas.openxmlformats.org/drawingml/2006/main" xmlns:r="http://schemas.openxmlformats.org/officeDocument/2006/relationships" xmlns:p="http://schemas.openxmlformats.org/presentationml/2006/main">
  <p:tag name="AS_UNIQUEID" val="2641"/>
</p:tagLst>
</file>

<file path=ppt/tags/tag1038.xml><?xml version="1.0" encoding="utf-8"?>
<p:tagLst xmlns:a="http://schemas.openxmlformats.org/drawingml/2006/main" xmlns:r="http://schemas.openxmlformats.org/officeDocument/2006/relationships" xmlns:p="http://schemas.openxmlformats.org/presentationml/2006/main">
  <p:tag name="AS_UNIQUEID" val="2642"/>
</p:tagLst>
</file>

<file path=ppt/tags/tag1039.xml><?xml version="1.0" encoding="utf-8"?>
<p:tagLst xmlns:a="http://schemas.openxmlformats.org/drawingml/2006/main" xmlns:r="http://schemas.openxmlformats.org/officeDocument/2006/relationships" xmlns:p="http://schemas.openxmlformats.org/presentationml/2006/main">
  <p:tag name="AS_UNIQUEID" val="2635"/>
</p:tagLst>
</file>

<file path=ppt/tags/tag104.xml><?xml version="1.0" encoding="utf-8"?>
<p:tagLst xmlns:a="http://schemas.openxmlformats.org/drawingml/2006/main" xmlns:r="http://schemas.openxmlformats.org/officeDocument/2006/relationships" xmlns:p="http://schemas.openxmlformats.org/presentationml/2006/main">
  <p:tag name="AS_UNIQUEID" val="1825"/>
</p:tagLst>
</file>

<file path=ppt/tags/tag1040.xml><?xml version="1.0" encoding="utf-8"?>
<p:tagLst xmlns:a="http://schemas.openxmlformats.org/drawingml/2006/main" xmlns:r="http://schemas.openxmlformats.org/officeDocument/2006/relationships" xmlns:p="http://schemas.openxmlformats.org/presentationml/2006/main">
  <p:tag name="AS_UNIQUEID" val="2638"/>
</p:tagLst>
</file>

<file path=ppt/tags/tag1041.xml><?xml version="1.0" encoding="utf-8"?>
<p:tagLst xmlns:a="http://schemas.openxmlformats.org/drawingml/2006/main" xmlns:r="http://schemas.openxmlformats.org/officeDocument/2006/relationships" xmlns:p="http://schemas.openxmlformats.org/presentationml/2006/main">
  <p:tag name="AS_UNIQUEID" val="2636"/>
</p:tagLst>
</file>

<file path=ppt/tags/tag1042.xml><?xml version="1.0" encoding="utf-8"?>
<p:tagLst xmlns:a="http://schemas.openxmlformats.org/drawingml/2006/main" xmlns:r="http://schemas.openxmlformats.org/officeDocument/2006/relationships" xmlns:p="http://schemas.openxmlformats.org/presentationml/2006/main">
  <p:tag name="AS_UNIQUEID" val="2637"/>
</p:tagLst>
</file>

<file path=ppt/tags/tag1043.xml><?xml version="1.0" encoding="utf-8"?>
<p:tagLst xmlns:a="http://schemas.openxmlformats.org/drawingml/2006/main" xmlns:r="http://schemas.openxmlformats.org/officeDocument/2006/relationships" xmlns:p="http://schemas.openxmlformats.org/presentationml/2006/main">
  <p:tag name="AS_UNIQUEID" val="2631"/>
</p:tagLst>
</file>

<file path=ppt/tags/tag1044.xml><?xml version="1.0" encoding="utf-8"?>
<p:tagLst xmlns:a="http://schemas.openxmlformats.org/drawingml/2006/main" xmlns:r="http://schemas.openxmlformats.org/officeDocument/2006/relationships" xmlns:p="http://schemas.openxmlformats.org/presentationml/2006/main">
  <p:tag name="AS_UNIQUEID" val="2632"/>
</p:tagLst>
</file>

<file path=ppt/tags/tag1045.xml><?xml version="1.0" encoding="utf-8"?>
<p:tagLst xmlns:a="http://schemas.openxmlformats.org/drawingml/2006/main" xmlns:r="http://schemas.openxmlformats.org/officeDocument/2006/relationships" xmlns:p="http://schemas.openxmlformats.org/presentationml/2006/main">
  <p:tag name="AS_UNIQUEID" val="2603"/>
</p:tagLst>
</file>

<file path=ppt/tags/tag1046.xml><?xml version="1.0" encoding="utf-8"?>
<p:tagLst xmlns:a="http://schemas.openxmlformats.org/drawingml/2006/main" xmlns:r="http://schemas.openxmlformats.org/officeDocument/2006/relationships" xmlns:p="http://schemas.openxmlformats.org/presentationml/2006/main">
  <p:tag name="AS_UNIQUEID" val="2615"/>
</p:tagLst>
</file>

<file path=ppt/tags/tag1047.xml><?xml version="1.0" encoding="utf-8"?>
<p:tagLst xmlns:a="http://schemas.openxmlformats.org/drawingml/2006/main" xmlns:r="http://schemas.openxmlformats.org/officeDocument/2006/relationships" xmlns:p="http://schemas.openxmlformats.org/presentationml/2006/main">
  <p:tag name="AS_UNIQUEID" val="2625"/>
</p:tagLst>
</file>

<file path=ppt/tags/tag1048.xml><?xml version="1.0" encoding="utf-8"?>
<p:tagLst xmlns:a="http://schemas.openxmlformats.org/drawingml/2006/main" xmlns:r="http://schemas.openxmlformats.org/officeDocument/2006/relationships" xmlns:p="http://schemas.openxmlformats.org/presentationml/2006/main">
  <p:tag name="AS_UNIQUEID" val="2626"/>
</p:tagLst>
</file>

<file path=ppt/tags/tag1049.xml><?xml version="1.0" encoding="utf-8"?>
<p:tagLst xmlns:a="http://schemas.openxmlformats.org/drawingml/2006/main" xmlns:r="http://schemas.openxmlformats.org/officeDocument/2006/relationships" xmlns:p="http://schemas.openxmlformats.org/presentationml/2006/main">
  <p:tag name="AS_UNIQUEID" val="2617"/>
</p:tagLst>
</file>

<file path=ppt/tags/tag105.xml><?xml version="1.0" encoding="utf-8"?>
<p:tagLst xmlns:a="http://schemas.openxmlformats.org/drawingml/2006/main" xmlns:r="http://schemas.openxmlformats.org/officeDocument/2006/relationships" xmlns:p="http://schemas.openxmlformats.org/presentationml/2006/main">
  <p:tag name="AS_UNIQUEID" val="1826"/>
</p:tagLst>
</file>

<file path=ppt/tags/tag1050.xml><?xml version="1.0" encoding="utf-8"?>
<p:tagLst xmlns:a="http://schemas.openxmlformats.org/drawingml/2006/main" xmlns:r="http://schemas.openxmlformats.org/officeDocument/2006/relationships" xmlns:p="http://schemas.openxmlformats.org/presentationml/2006/main">
  <p:tag name="AS_UNIQUEID" val="2618"/>
</p:tagLst>
</file>

<file path=ppt/tags/tag1051.xml><?xml version="1.0" encoding="utf-8"?>
<p:tagLst xmlns:a="http://schemas.openxmlformats.org/drawingml/2006/main" xmlns:r="http://schemas.openxmlformats.org/officeDocument/2006/relationships" xmlns:p="http://schemas.openxmlformats.org/presentationml/2006/main">
  <p:tag name="AS_UNIQUEID" val="2619"/>
</p:tagLst>
</file>

<file path=ppt/tags/tag1052.xml><?xml version="1.0" encoding="utf-8"?>
<p:tagLst xmlns:a="http://schemas.openxmlformats.org/drawingml/2006/main" xmlns:r="http://schemas.openxmlformats.org/officeDocument/2006/relationships" xmlns:p="http://schemas.openxmlformats.org/presentationml/2006/main">
  <p:tag name="AS_UNIQUEID" val="2620"/>
</p:tagLst>
</file>

<file path=ppt/tags/tag1053.xml><?xml version="1.0" encoding="utf-8"?>
<p:tagLst xmlns:a="http://schemas.openxmlformats.org/drawingml/2006/main" xmlns:r="http://schemas.openxmlformats.org/officeDocument/2006/relationships" xmlns:p="http://schemas.openxmlformats.org/presentationml/2006/main">
  <p:tag name="AS_UNIQUEID" val="2621"/>
</p:tagLst>
</file>

<file path=ppt/tags/tag1054.xml><?xml version="1.0" encoding="utf-8"?>
<p:tagLst xmlns:a="http://schemas.openxmlformats.org/drawingml/2006/main" xmlns:r="http://schemas.openxmlformats.org/officeDocument/2006/relationships" xmlns:p="http://schemas.openxmlformats.org/presentationml/2006/main">
  <p:tag name="AS_UNIQUEID" val="2622"/>
</p:tagLst>
</file>

<file path=ppt/tags/tag1055.xml><?xml version="1.0" encoding="utf-8"?>
<p:tagLst xmlns:a="http://schemas.openxmlformats.org/drawingml/2006/main" xmlns:r="http://schemas.openxmlformats.org/officeDocument/2006/relationships" xmlns:p="http://schemas.openxmlformats.org/presentationml/2006/main">
  <p:tag name="AS_UNIQUEID" val="2623"/>
</p:tagLst>
</file>

<file path=ppt/tags/tag1056.xml><?xml version="1.0" encoding="utf-8"?>
<p:tagLst xmlns:a="http://schemas.openxmlformats.org/drawingml/2006/main" xmlns:r="http://schemas.openxmlformats.org/officeDocument/2006/relationships" xmlns:p="http://schemas.openxmlformats.org/presentationml/2006/main">
  <p:tag name="AS_UNIQUEID" val="2624"/>
</p:tagLst>
</file>

<file path=ppt/tags/tag1057.xml><?xml version="1.0" encoding="utf-8"?>
<p:tagLst xmlns:a="http://schemas.openxmlformats.org/drawingml/2006/main" xmlns:r="http://schemas.openxmlformats.org/officeDocument/2006/relationships" xmlns:p="http://schemas.openxmlformats.org/presentationml/2006/main">
  <p:tag name="AS_UNIQUEID" val="2604"/>
</p:tagLst>
</file>

<file path=ppt/tags/tag1058.xml><?xml version="1.0" encoding="utf-8"?>
<p:tagLst xmlns:a="http://schemas.openxmlformats.org/drawingml/2006/main" xmlns:r="http://schemas.openxmlformats.org/officeDocument/2006/relationships" xmlns:p="http://schemas.openxmlformats.org/presentationml/2006/main">
  <p:tag name="AS_UNIQUEID" val="2605"/>
</p:tagLst>
</file>

<file path=ppt/tags/tag1059.xml><?xml version="1.0" encoding="utf-8"?>
<p:tagLst xmlns:a="http://schemas.openxmlformats.org/drawingml/2006/main" xmlns:r="http://schemas.openxmlformats.org/officeDocument/2006/relationships" xmlns:p="http://schemas.openxmlformats.org/presentationml/2006/main">
  <p:tag name="AS_UNIQUEID" val="2606"/>
</p:tagLst>
</file>

<file path=ppt/tags/tag106.xml><?xml version="1.0" encoding="utf-8"?>
<p:tagLst xmlns:a="http://schemas.openxmlformats.org/drawingml/2006/main" xmlns:r="http://schemas.openxmlformats.org/officeDocument/2006/relationships" xmlns:p="http://schemas.openxmlformats.org/presentationml/2006/main">
  <p:tag name="AS_UNIQUEID" val="1827"/>
</p:tagLst>
</file>

<file path=ppt/tags/tag1060.xml><?xml version="1.0" encoding="utf-8"?>
<p:tagLst xmlns:a="http://schemas.openxmlformats.org/drawingml/2006/main" xmlns:r="http://schemas.openxmlformats.org/officeDocument/2006/relationships" xmlns:p="http://schemas.openxmlformats.org/presentationml/2006/main">
  <p:tag name="AS_UNIQUEID" val="2607"/>
</p:tagLst>
</file>

<file path=ppt/tags/tag1061.xml><?xml version="1.0" encoding="utf-8"?>
<p:tagLst xmlns:a="http://schemas.openxmlformats.org/drawingml/2006/main" xmlns:r="http://schemas.openxmlformats.org/officeDocument/2006/relationships" xmlns:p="http://schemas.openxmlformats.org/presentationml/2006/main">
  <p:tag name="AS_UNIQUEID" val="2608"/>
</p:tagLst>
</file>

<file path=ppt/tags/tag1062.xml><?xml version="1.0" encoding="utf-8"?>
<p:tagLst xmlns:a="http://schemas.openxmlformats.org/drawingml/2006/main" xmlns:r="http://schemas.openxmlformats.org/officeDocument/2006/relationships" xmlns:p="http://schemas.openxmlformats.org/presentationml/2006/main">
  <p:tag name="AS_UNIQUEID" val="2609"/>
</p:tagLst>
</file>

<file path=ppt/tags/tag1063.xml><?xml version="1.0" encoding="utf-8"?>
<p:tagLst xmlns:a="http://schemas.openxmlformats.org/drawingml/2006/main" xmlns:r="http://schemas.openxmlformats.org/officeDocument/2006/relationships" xmlns:p="http://schemas.openxmlformats.org/presentationml/2006/main">
  <p:tag name="AS_UNIQUEID" val="2610"/>
</p:tagLst>
</file>

<file path=ppt/tags/tag1064.xml><?xml version="1.0" encoding="utf-8"?>
<p:tagLst xmlns:a="http://schemas.openxmlformats.org/drawingml/2006/main" xmlns:r="http://schemas.openxmlformats.org/officeDocument/2006/relationships" xmlns:p="http://schemas.openxmlformats.org/presentationml/2006/main">
  <p:tag name="AS_UNIQUEID" val="2611"/>
</p:tagLst>
</file>

<file path=ppt/tags/tag1065.xml><?xml version="1.0" encoding="utf-8"?>
<p:tagLst xmlns:a="http://schemas.openxmlformats.org/drawingml/2006/main" xmlns:r="http://schemas.openxmlformats.org/officeDocument/2006/relationships" xmlns:p="http://schemas.openxmlformats.org/presentationml/2006/main">
  <p:tag name="AS_UNIQUEID" val="2209"/>
</p:tagLst>
</file>

<file path=ppt/tags/tag1066.xml><?xml version="1.0" encoding="utf-8"?>
<p:tagLst xmlns:a="http://schemas.openxmlformats.org/drawingml/2006/main" xmlns:r="http://schemas.openxmlformats.org/officeDocument/2006/relationships" xmlns:p="http://schemas.openxmlformats.org/presentationml/2006/main">
  <p:tag name="AS_UNIQUEID" val="2212"/>
</p:tagLst>
</file>

<file path=ppt/tags/tag1067.xml><?xml version="1.0" encoding="utf-8"?>
<p:tagLst xmlns:a="http://schemas.openxmlformats.org/drawingml/2006/main" xmlns:r="http://schemas.openxmlformats.org/officeDocument/2006/relationships" xmlns:p="http://schemas.openxmlformats.org/presentationml/2006/main">
  <p:tag name="AS_UNIQUEID" val="2210"/>
</p:tagLst>
</file>

<file path=ppt/tags/tag1068.xml><?xml version="1.0" encoding="utf-8"?>
<p:tagLst xmlns:a="http://schemas.openxmlformats.org/drawingml/2006/main" xmlns:r="http://schemas.openxmlformats.org/officeDocument/2006/relationships" xmlns:p="http://schemas.openxmlformats.org/presentationml/2006/main">
  <p:tag name="AS_UNIQUEID" val="2211"/>
</p:tagLst>
</file>

<file path=ppt/tags/tag1069.xml><?xml version="1.0" encoding="utf-8"?>
<p:tagLst xmlns:a="http://schemas.openxmlformats.org/drawingml/2006/main" xmlns:r="http://schemas.openxmlformats.org/officeDocument/2006/relationships" xmlns:p="http://schemas.openxmlformats.org/presentationml/2006/main">
  <p:tag name="AS_UNIQUEID" val="2196"/>
</p:tagLst>
</file>

<file path=ppt/tags/tag107.xml><?xml version="1.0" encoding="utf-8"?>
<p:tagLst xmlns:a="http://schemas.openxmlformats.org/drawingml/2006/main" xmlns:r="http://schemas.openxmlformats.org/officeDocument/2006/relationships" xmlns:p="http://schemas.openxmlformats.org/presentationml/2006/main">
  <p:tag name="AS_UNIQUEID" val="1828"/>
</p:tagLst>
</file>

<file path=ppt/tags/tag1070.xml><?xml version="1.0" encoding="utf-8"?>
<p:tagLst xmlns:a="http://schemas.openxmlformats.org/drawingml/2006/main" xmlns:r="http://schemas.openxmlformats.org/officeDocument/2006/relationships" xmlns:p="http://schemas.openxmlformats.org/presentationml/2006/main">
  <p:tag name="AS_UNIQUEID" val="2207"/>
</p:tagLst>
</file>

<file path=ppt/tags/tag1071.xml><?xml version="1.0" encoding="utf-8"?>
<p:tagLst xmlns:a="http://schemas.openxmlformats.org/drawingml/2006/main" xmlns:r="http://schemas.openxmlformats.org/officeDocument/2006/relationships" xmlns:p="http://schemas.openxmlformats.org/presentationml/2006/main">
  <p:tag name="AS_UNIQUEID" val="2197"/>
</p:tagLst>
</file>

<file path=ppt/tags/tag1072.xml><?xml version="1.0" encoding="utf-8"?>
<p:tagLst xmlns:a="http://schemas.openxmlformats.org/drawingml/2006/main" xmlns:r="http://schemas.openxmlformats.org/officeDocument/2006/relationships" xmlns:p="http://schemas.openxmlformats.org/presentationml/2006/main">
  <p:tag name="AS_UNIQUEID" val="2202"/>
</p:tagLst>
</file>

<file path=ppt/tags/tag1073.xml><?xml version="1.0" encoding="utf-8"?>
<p:tagLst xmlns:a="http://schemas.openxmlformats.org/drawingml/2006/main" xmlns:r="http://schemas.openxmlformats.org/officeDocument/2006/relationships" xmlns:p="http://schemas.openxmlformats.org/presentationml/2006/main">
  <p:tag name="AS_UNIQUEID" val="2203"/>
</p:tagLst>
</file>

<file path=ppt/tags/tag1074.xml><?xml version="1.0" encoding="utf-8"?>
<p:tagLst xmlns:a="http://schemas.openxmlformats.org/drawingml/2006/main" xmlns:r="http://schemas.openxmlformats.org/officeDocument/2006/relationships" xmlns:p="http://schemas.openxmlformats.org/presentationml/2006/main">
  <p:tag name="AS_UNIQUEID" val="2204"/>
</p:tagLst>
</file>

<file path=ppt/tags/tag1075.xml><?xml version="1.0" encoding="utf-8"?>
<p:tagLst xmlns:a="http://schemas.openxmlformats.org/drawingml/2006/main" xmlns:r="http://schemas.openxmlformats.org/officeDocument/2006/relationships" xmlns:p="http://schemas.openxmlformats.org/presentationml/2006/main">
  <p:tag name="AS_UNIQUEID" val="2205"/>
</p:tagLst>
</file>

<file path=ppt/tags/tag1076.xml><?xml version="1.0" encoding="utf-8"?>
<p:tagLst xmlns:a="http://schemas.openxmlformats.org/drawingml/2006/main" xmlns:r="http://schemas.openxmlformats.org/officeDocument/2006/relationships" xmlns:p="http://schemas.openxmlformats.org/presentationml/2006/main">
  <p:tag name="AS_UNIQUEID" val="2206"/>
</p:tagLst>
</file>

<file path=ppt/tags/tag1077.xml><?xml version="1.0" encoding="utf-8"?>
<p:tagLst xmlns:a="http://schemas.openxmlformats.org/drawingml/2006/main" xmlns:r="http://schemas.openxmlformats.org/officeDocument/2006/relationships" xmlns:p="http://schemas.openxmlformats.org/presentationml/2006/main">
  <p:tag name="AS_UNIQUEID" val="2198"/>
</p:tagLst>
</file>

<file path=ppt/tags/tag1078.xml><?xml version="1.0" encoding="utf-8"?>
<p:tagLst xmlns:a="http://schemas.openxmlformats.org/drawingml/2006/main" xmlns:r="http://schemas.openxmlformats.org/officeDocument/2006/relationships" xmlns:p="http://schemas.openxmlformats.org/presentationml/2006/main">
  <p:tag name="AS_UNIQUEID" val="2199"/>
</p:tagLst>
</file>

<file path=ppt/tags/tag1079.xml><?xml version="1.0" encoding="utf-8"?>
<p:tagLst xmlns:a="http://schemas.openxmlformats.org/drawingml/2006/main" xmlns:r="http://schemas.openxmlformats.org/officeDocument/2006/relationships" xmlns:p="http://schemas.openxmlformats.org/presentationml/2006/main">
  <p:tag name="AS_UNIQUEID" val="2200"/>
</p:tagLst>
</file>

<file path=ppt/tags/tag108.xml><?xml version="1.0" encoding="utf-8"?>
<p:tagLst xmlns:a="http://schemas.openxmlformats.org/drawingml/2006/main" xmlns:r="http://schemas.openxmlformats.org/officeDocument/2006/relationships" xmlns:p="http://schemas.openxmlformats.org/presentationml/2006/main">
  <p:tag name="AS_UNIQUEID" val="1830"/>
</p:tagLst>
</file>

<file path=ppt/tags/tag1080.xml><?xml version="1.0" encoding="utf-8"?>
<p:tagLst xmlns:a="http://schemas.openxmlformats.org/drawingml/2006/main" xmlns:r="http://schemas.openxmlformats.org/officeDocument/2006/relationships" xmlns:p="http://schemas.openxmlformats.org/presentationml/2006/main">
  <p:tag name="AS_UNIQUEID" val="2201"/>
</p:tagLst>
</file>

<file path=ppt/tags/tag1081.xml><?xml version="1.0" encoding="utf-8"?>
<p:tagLst xmlns:a="http://schemas.openxmlformats.org/drawingml/2006/main" xmlns:r="http://schemas.openxmlformats.org/officeDocument/2006/relationships" xmlns:p="http://schemas.openxmlformats.org/presentationml/2006/main">
  <p:tag name="AS_UNIQUEID" val="2191"/>
</p:tagLst>
</file>

<file path=ppt/tags/tag1082.xml><?xml version="1.0" encoding="utf-8"?>
<p:tagLst xmlns:a="http://schemas.openxmlformats.org/drawingml/2006/main" xmlns:r="http://schemas.openxmlformats.org/officeDocument/2006/relationships" xmlns:p="http://schemas.openxmlformats.org/presentationml/2006/main">
  <p:tag name="AS_UNIQUEID" val="2192"/>
</p:tagLst>
</file>

<file path=ppt/tags/tag1083.xml><?xml version="1.0" encoding="utf-8"?>
<p:tagLst xmlns:a="http://schemas.openxmlformats.org/drawingml/2006/main" xmlns:r="http://schemas.openxmlformats.org/officeDocument/2006/relationships" xmlns:p="http://schemas.openxmlformats.org/presentationml/2006/main">
  <p:tag name="AS_UNIQUEID" val="2193"/>
</p:tagLst>
</file>

<file path=ppt/tags/tag1084.xml><?xml version="1.0" encoding="utf-8"?>
<p:tagLst xmlns:a="http://schemas.openxmlformats.org/drawingml/2006/main" xmlns:r="http://schemas.openxmlformats.org/officeDocument/2006/relationships" xmlns:p="http://schemas.openxmlformats.org/presentationml/2006/main">
  <p:tag name="AS_UNIQUEID" val="2194"/>
</p:tagLst>
</file>

<file path=ppt/tags/tag1085.xml><?xml version="1.0" encoding="utf-8"?>
<p:tagLst xmlns:a="http://schemas.openxmlformats.org/drawingml/2006/main" xmlns:r="http://schemas.openxmlformats.org/officeDocument/2006/relationships" xmlns:p="http://schemas.openxmlformats.org/presentationml/2006/main">
  <p:tag name="AS_UNIQUEID" val="2161"/>
</p:tagLst>
</file>

<file path=ppt/tags/tag1086.xml><?xml version="1.0" encoding="utf-8"?>
<p:tagLst xmlns:a="http://schemas.openxmlformats.org/drawingml/2006/main" xmlns:r="http://schemas.openxmlformats.org/officeDocument/2006/relationships" xmlns:p="http://schemas.openxmlformats.org/presentationml/2006/main">
  <p:tag name="AS_UNIQUEID" val="2162"/>
</p:tagLst>
</file>

<file path=ppt/tags/tag1087.xml><?xml version="1.0" encoding="utf-8"?>
<p:tagLst xmlns:a="http://schemas.openxmlformats.org/drawingml/2006/main" xmlns:r="http://schemas.openxmlformats.org/officeDocument/2006/relationships" xmlns:p="http://schemas.openxmlformats.org/presentationml/2006/main">
  <p:tag name="AS_UNIQUEID" val="2163"/>
</p:tagLst>
</file>

<file path=ppt/tags/tag1088.xml><?xml version="1.0" encoding="utf-8"?>
<p:tagLst xmlns:a="http://schemas.openxmlformats.org/drawingml/2006/main" xmlns:r="http://schemas.openxmlformats.org/officeDocument/2006/relationships" xmlns:p="http://schemas.openxmlformats.org/presentationml/2006/main">
  <p:tag name="AS_UNIQUEID" val="2164"/>
</p:tagLst>
</file>

<file path=ppt/tags/tag1089.xml><?xml version="1.0" encoding="utf-8"?>
<p:tagLst xmlns:a="http://schemas.openxmlformats.org/drawingml/2006/main" xmlns:r="http://schemas.openxmlformats.org/officeDocument/2006/relationships" xmlns:p="http://schemas.openxmlformats.org/presentationml/2006/main">
  <p:tag name="AS_UNIQUEID" val="2165"/>
</p:tagLst>
</file>

<file path=ppt/tags/tag109.xml><?xml version="1.0" encoding="utf-8"?>
<p:tagLst xmlns:a="http://schemas.openxmlformats.org/drawingml/2006/main" xmlns:r="http://schemas.openxmlformats.org/officeDocument/2006/relationships" xmlns:p="http://schemas.openxmlformats.org/presentationml/2006/main">
  <p:tag name="AS_UNIQUEID" val="1831"/>
</p:tagLst>
</file>

<file path=ppt/tags/tag1090.xml><?xml version="1.0" encoding="utf-8"?>
<p:tagLst xmlns:a="http://schemas.openxmlformats.org/drawingml/2006/main" xmlns:r="http://schemas.openxmlformats.org/officeDocument/2006/relationships" xmlns:p="http://schemas.openxmlformats.org/presentationml/2006/main">
  <p:tag name="AS_UNIQUEID" val="2166"/>
</p:tagLst>
</file>

<file path=ppt/tags/tag1091.xml><?xml version="1.0" encoding="utf-8"?>
<p:tagLst xmlns:a="http://schemas.openxmlformats.org/drawingml/2006/main" xmlns:r="http://schemas.openxmlformats.org/officeDocument/2006/relationships" xmlns:p="http://schemas.openxmlformats.org/presentationml/2006/main">
  <p:tag name="AS_UNIQUEID" val="2167"/>
</p:tagLst>
</file>

<file path=ppt/tags/tag1092.xml><?xml version="1.0" encoding="utf-8"?>
<p:tagLst xmlns:a="http://schemas.openxmlformats.org/drawingml/2006/main" xmlns:r="http://schemas.openxmlformats.org/officeDocument/2006/relationships" xmlns:p="http://schemas.openxmlformats.org/presentationml/2006/main">
  <p:tag name="AS_UNIQUEID" val="2168"/>
</p:tagLst>
</file>

<file path=ppt/tags/tag1093.xml><?xml version="1.0" encoding="utf-8"?>
<p:tagLst xmlns:a="http://schemas.openxmlformats.org/drawingml/2006/main" xmlns:r="http://schemas.openxmlformats.org/officeDocument/2006/relationships" xmlns:p="http://schemas.openxmlformats.org/presentationml/2006/main">
  <p:tag name="AS_UNIQUEID" val="2169"/>
</p:tagLst>
</file>

<file path=ppt/tags/tag1094.xml><?xml version="1.0" encoding="utf-8"?>
<p:tagLst xmlns:a="http://schemas.openxmlformats.org/drawingml/2006/main" xmlns:r="http://schemas.openxmlformats.org/officeDocument/2006/relationships" xmlns:p="http://schemas.openxmlformats.org/presentationml/2006/main">
  <p:tag name="AS_UNIQUEID" val="2170"/>
</p:tagLst>
</file>

<file path=ppt/tags/tag1095.xml><?xml version="1.0" encoding="utf-8"?>
<p:tagLst xmlns:a="http://schemas.openxmlformats.org/drawingml/2006/main" xmlns:r="http://schemas.openxmlformats.org/officeDocument/2006/relationships" xmlns:p="http://schemas.openxmlformats.org/presentationml/2006/main">
  <p:tag name="AS_UNIQUEID" val="2171"/>
</p:tagLst>
</file>

<file path=ppt/tags/tag1096.xml><?xml version="1.0" encoding="utf-8"?>
<p:tagLst xmlns:a="http://schemas.openxmlformats.org/drawingml/2006/main" xmlns:r="http://schemas.openxmlformats.org/officeDocument/2006/relationships" xmlns:p="http://schemas.openxmlformats.org/presentationml/2006/main">
  <p:tag name="AS_UNIQUEID" val="2172"/>
</p:tagLst>
</file>

<file path=ppt/tags/tag1097.xml><?xml version="1.0" encoding="utf-8"?>
<p:tagLst xmlns:a="http://schemas.openxmlformats.org/drawingml/2006/main" xmlns:r="http://schemas.openxmlformats.org/officeDocument/2006/relationships" xmlns:p="http://schemas.openxmlformats.org/presentationml/2006/main">
  <p:tag name="AS_UNIQUEID" val="2173"/>
</p:tagLst>
</file>

<file path=ppt/tags/tag1098.xml><?xml version="1.0" encoding="utf-8"?>
<p:tagLst xmlns:a="http://schemas.openxmlformats.org/drawingml/2006/main" xmlns:r="http://schemas.openxmlformats.org/officeDocument/2006/relationships" xmlns:p="http://schemas.openxmlformats.org/presentationml/2006/main">
  <p:tag name="AS_UNIQUEID" val="2174"/>
</p:tagLst>
</file>

<file path=ppt/tags/tag1099.xml><?xml version="1.0" encoding="utf-8"?>
<p:tagLst xmlns:a="http://schemas.openxmlformats.org/drawingml/2006/main" xmlns:r="http://schemas.openxmlformats.org/officeDocument/2006/relationships" xmlns:p="http://schemas.openxmlformats.org/presentationml/2006/main">
  <p:tag name="AS_UNIQUEID" val="2175"/>
</p:tagLst>
</file>

<file path=ppt/tags/tag11.xml><?xml version="1.0" encoding="utf-8"?>
<p:tagLst xmlns:a="http://schemas.openxmlformats.org/drawingml/2006/main" xmlns:r="http://schemas.openxmlformats.org/officeDocument/2006/relationships" xmlns:p="http://schemas.openxmlformats.org/presentationml/2006/main">
  <p:tag name="AS_UNIQUEID" val="1713"/>
</p:tagLst>
</file>

<file path=ppt/tags/tag110.xml><?xml version="1.0" encoding="utf-8"?>
<p:tagLst xmlns:a="http://schemas.openxmlformats.org/drawingml/2006/main" xmlns:r="http://schemas.openxmlformats.org/officeDocument/2006/relationships" xmlns:p="http://schemas.openxmlformats.org/presentationml/2006/main">
  <p:tag name="AS_UNIQUEID" val="1832"/>
</p:tagLst>
</file>

<file path=ppt/tags/tag1100.xml><?xml version="1.0" encoding="utf-8"?>
<p:tagLst xmlns:a="http://schemas.openxmlformats.org/drawingml/2006/main" xmlns:r="http://schemas.openxmlformats.org/officeDocument/2006/relationships" xmlns:p="http://schemas.openxmlformats.org/presentationml/2006/main">
  <p:tag name="AS_UNIQUEID" val="2176"/>
</p:tagLst>
</file>

<file path=ppt/tags/tag1101.xml><?xml version="1.0" encoding="utf-8"?>
<p:tagLst xmlns:a="http://schemas.openxmlformats.org/drawingml/2006/main" xmlns:r="http://schemas.openxmlformats.org/officeDocument/2006/relationships" xmlns:p="http://schemas.openxmlformats.org/presentationml/2006/main">
  <p:tag name="AS_UNIQUEID" val="2177"/>
</p:tagLst>
</file>

<file path=ppt/tags/tag1102.xml><?xml version="1.0" encoding="utf-8"?>
<p:tagLst xmlns:a="http://schemas.openxmlformats.org/drawingml/2006/main" xmlns:r="http://schemas.openxmlformats.org/officeDocument/2006/relationships" xmlns:p="http://schemas.openxmlformats.org/presentationml/2006/main">
  <p:tag name="AS_UNIQUEID" val="2178"/>
</p:tagLst>
</file>

<file path=ppt/tags/tag1103.xml><?xml version="1.0" encoding="utf-8"?>
<p:tagLst xmlns:a="http://schemas.openxmlformats.org/drawingml/2006/main" xmlns:r="http://schemas.openxmlformats.org/officeDocument/2006/relationships" xmlns:p="http://schemas.openxmlformats.org/presentationml/2006/main">
  <p:tag name="AS_UNIQUEID" val="2179"/>
</p:tagLst>
</file>

<file path=ppt/tags/tag1104.xml><?xml version="1.0" encoding="utf-8"?>
<p:tagLst xmlns:a="http://schemas.openxmlformats.org/drawingml/2006/main" xmlns:r="http://schemas.openxmlformats.org/officeDocument/2006/relationships" xmlns:p="http://schemas.openxmlformats.org/presentationml/2006/main">
  <p:tag name="AS_UNIQUEID" val="2180"/>
</p:tagLst>
</file>

<file path=ppt/tags/tag1105.xml><?xml version="1.0" encoding="utf-8"?>
<p:tagLst xmlns:a="http://schemas.openxmlformats.org/drawingml/2006/main" xmlns:r="http://schemas.openxmlformats.org/officeDocument/2006/relationships" xmlns:p="http://schemas.openxmlformats.org/presentationml/2006/main">
  <p:tag name="AS_UNIQUEID" val="2181"/>
</p:tagLst>
</file>

<file path=ppt/tags/tag1106.xml><?xml version="1.0" encoding="utf-8"?>
<p:tagLst xmlns:a="http://schemas.openxmlformats.org/drawingml/2006/main" xmlns:r="http://schemas.openxmlformats.org/officeDocument/2006/relationships" xmlns:p="http://schemas.openxmlformats.org/presentationml/2006/main">
  <p:tag name="AS_UNIQUEID" val="2182"/>
</p:tagLst>
</file>

<file path=ppt/tags/tag1107.xml><?xml version="1.0" encoding="utf-8"?>
<p:tagLst xmlns:a="http://schemas.openxmlformats.org/drawingml/2006/main" xmlns:r="http://schemas.openxmlformats.org/officeDocument/2006/relationships" xmlns:p="http://schemas.openxmlformats.org/presentationml/2006/main">
  <p:tag name="AS_UNIQUEID" val="2183"/>
</p:tagLst>
</file>

<file path=ppt/tags/tag1108.xml><?xml version="1.0" encoding="utf-8"?>
<p:tagLst xmlns:a="http://schemas.openxmlformats.org/drawingml/2006/main" xmlns:r="http://schemas.openxmlformats.org/officeDocument/2006/relationships" xmlns:p="http://schemas.openxmlformats.org/presentationml/2006/main">
  <p:tag name="AS_UNIQUEID" val="2184"/>
</p:tagLst>
</file>

<file path=ppt/tags/tag1109.xml><?xml version="1.0" encoding="utf-8"?>
<p:tagLst xmlns:a="http://schemas.openxmlformats.org/drawingml/2006/main" xmlns:r="http://schemas.openxmlformats.org/officeDocument/2006/relationships" xmlns:p="http://schemas.openxmlformats.org/presentationml/2006/main">
  <p:tag name="AS_UNIQUEID" val="2185"/>
</p:tagLst>
</file>

<file path=ppt/tags/tag111.xml><?xml version="1.0" encoding="utf-8"?>
<p:tagLst xmlns:a="http://schemas.openxmlformats.org/drawingml/2006/main" xmlns:r="http://schemas.openxmlformats.org/officeDocument/2006/relationships" xmlns:p="http://schemas.openxmlformats.org/presentationml/2006/main">
  <p:tag name="AS_UNIQUEID" val="1833"/>
</p:tagLst>
</file>

<file path=ppt/tags/tag1110.xml><?xml version="1.0" encoding="utf-8"?>
<p:tagLst xmlns:a="http://schemas.openxmlformats.org/drawingml/2006/main" xmlns:r="http://schemas.openxmlformats.org/officeDocument/2006/relationships" xmlns:p="http://schemas.openxmlformats.org/presentationml/2006/main">
  <p:tag name="AS_UNIQUEID" val="2186"/>
</p:tagLst>
</file>

<file path=ppt/tags/tag1111.xml><?xml version="1.0" encoding="utf-8"?>
<p:tagLst xmlns:a="http://schemas.openxmlformats.org/drawingml/2006/main" xmlns:r="http://schemas.openxmlformats.org/officeDocument/2006/relationships" xmlns:p="http://schemas.openxmlformats.org/presentationml/2006/main">
  <p:tag name="AS_UNIQUEID" val="2187"/>
</p:tagLst>
</file>

<file path=ppt/tags/tag1112.xml><?xml version="1.0" encoding="utf-8"?>
<p:tagLst xmlns:a="http://schemas.openxmlformats.org/drawingml/2006/main" xmlns:r="http://schemas.openxmlformats.org/officeDocument/2006/relationships" xmlns:p="http://schemas.openxmlformats.org/presentationml/2006/main">
  <p:tag name="AS_UNIQUEID" val="2152"/>
</p:tagLst>
</file>

<file path=ppt/tags/tag1113.xml><?xml version="1.0" encoding="utf-8"?>
<p:tagLst xmlns:a="http://schemas.openxmlformats.org/drawingml/2006/main" xmlns:r="http://schemas.openxmlformats.org/officeDocument/2006/relationships" xmlns:p="http://schemas.openxmlformats.org/presentationml/2006/main">
  <p:tag name="AS_UNIQUEID" val="2153"/>
</p:tagLst>
</file>

<file path=ppt/tags/tag1114.xml><?xml version="1.0" encoding="utf-8"?>
<p:tagLst xmlns:a="http://schemas.openxmlformats.org/drawingml/2006/main" xmlns:r="http://schemas.openxmlformats.org/officeDocument/2006/relationships" xmlns:p="http://schemas.openxmlformats.org/presentationml/2006/main">
  <p:tag name="AS_UNIQUEID" val="2154"/>
</p:tagLst>
</file>

<file path=ppt/tags/tag1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autZUuzVD4UYQH.rnc889w"/>
</p:tagLst>
</file>

<file path=ppt/tags/tag1117.xml><?xml version="1.0" encoding="utf-8"?>
<p:tagLst xmlns:a="http://schemas.openxmlformats.org/drawingml/2006/main" xmlns:r="http://schemas.openxmlformats.org/officeDocument/2006/relationships" xmlns:p="http://schemas.openxmlformats.org/presentationml/2006/main">
  <p:tag name="AS_UNIQUEID" val="2686"/>
</p:tagLst>
</file>

<file path=ppt/tags/tag1118.xml><?xml version="1.0" encoding="utf-8"?>
<p:tagLst xmlns:a="http://schemas.openxmlformats.org/drawingml/2006/main" xmlns:r="http://schemas.openxmlformats.org/officeDocument/2006/relationships" xmlns:p="http://schemas.openxmlformats.org/presentationml/2006/main">
  <p:tag name="AS_UNIQUEID" val="2692"/>
</p:tagLst>
</file>

<file path=ppt/tags/tag1119.xml><?xml version="1.0" encoding="utf-8"?>
<p:tagLst xmlns:a="http://schemas.openxmlformats.org/drawingml/2006/main" xmlns:r="http://schemas.openxmlformats.org/officeDocument/2006/relationships" xmlns:p="http://schemas.openxmlformats.org/presentationml/2006/main">
  <p:tag name="AS_UNIQUEID" val="2693"/>
</p:tagLst>
</file>

<file path=ppt/tags/tag112.xml><?xml version="1.0" encoding="utf-8"?>
<p:tagLst xmlns:a="http://schemas.openxmlformats.org/drawingml/2006/main" xmlns:r="http://schemas.openxmlformats.org/officeDocument/2006/relationships" xmlns:p="http://schemas.openxmlformats.org/presentationml/2006/main">
  <p:tag name="AS_UNIQUEID" val="1834"/>
</p:tagLst>
</file>

<file path=ppt/tags/tag1120.xml><?xml version="1.0" encoding="utf-8"?>
<p:tagLst xmlns:a="http://schemas.openxmlformats.org/drawingml/2006/main" xmlns:r="http://schemas.openxmlformats.org/officeDocument/2006/relationships" xmlns:p="http://schemas.openxmlformats.org/presentationml/2006/main">
  <p:tag name="AS_UNIQUEID" val="2694"/>
  <p:tag name="THINKCELLSHAPEDONOTDELETE" val="thinkcellActiveDocDoNotDelete"/>
</p:tagLst>
</file>

<file path=ppt/tags/tag1121.xml><?xml version="1.0" encoding="utf-8"?>
<p:tagLst xmlns:a="http://schemas.openxmlformats.org/drawingml/2006/main" xmlns:r="http://schemas.openxmlformats.org/officeDocument/2006/relationships" xmlns:p="http://schemas.openxmlformats.org/presentationml/2006/main">
  <p:tag name="AS_UNIQUEID" val="2696"/>
</p:tagLst>
</file>

<file path=ppt/tags/tag1122.xml><?xml version="1.0" encoding="utf-8"?>
<p:tagLst xmlns:a="http://schemas.openxmlformats.org/drawingml/2006/main" xmlns:r="http://schemas.openxmlformats.org/officeDocument/2006/relationships" xmlns:p="http://schemas.openxmlformats.org/presentationml/2006/main">
  <p:tag name="AS_UNIQUEID" val="2697"/>
</p:tagLst>
</file>

<file path=ppt/tags/tag1123.xml><?xml version="1.0" encoding="utf-8"?>
<p:tagLst xmlns:a="http://schemas.openxmlformats.org/drawingml/2006/main" xmlns:r="http://schemas.openxmlformats.org/officeDocument/2006/relationships" xmlns:p="http://schemas.openxmlformats.org/presentationml/2006/main">
  <p:tag name="AS_UNIQUEID" val="2698"/>
</p:tagLst>
</file>

<file path=ppt/tags/tag1124.xml><?xml version="1.0" encoding="utf-8"?>
<p:tagLst xmlns:a="http://schemas.openxmlformats.org/drawingml/2006/main" xmlns:r="http://schemas.openxmlformats.org/officeDocument/2006/relationships" xmlns:p="http://schemas.openxmlformats.org/presentationml/2006/main">
  <p:tag name="AS_UNIQUEID" val="2701"/>
  <p:tag name="THINKCELLSHAPEDONOTDELETE" val="tnqmi6d64M7Cx_En.hXF5tA"/>
</p:tagLst>
</file>

<file path=ppt/tags/tag1125.xml><?xml version="1.0" encoding="utf-8"?>
<p:tagLst xmlns:a="http://schemas.openxmlformats.org/drawingml/2006/main" xmlns:r="http://schemas.openxmlformats.org/officeDocument/2006/relationships" xmlns:p="http://schemas.openxmlformats.org/presentationml/2006/main">
  <p:tag name="AS_UNIQUEID" val="2702"/>
</p:tagLst>
</file>

<file path=ppt/tags/tag1126.xml><?xml version="1.0" encoding="utf-8"?>
<p:tagLst xmlns:a="http://schemas.openxmlformats.org/drawingml/2006/main" xmlns:r="http://schemas.openxmlformats.org/officeDocument/2006/relationships" xmlns:p="http://schemas.openxmlformats.org/presentationml/2006/main">
  <p:tag name="AS_UNIQUEID" val="815"/>
  <p:tag name="THINKCELLSHAPEDONOTDELETE" val="tr7PffUYIg3Fuq4NOVLtyIw"/>
</p:tagLst>
</file>

<file path=ppt/tags/tag1127.xml><?xml version="1.0" encoding="utf-8"?>
<p:tagLst xmlns:a="http://schemas.openxmlformats.org/drawingml/2006/main" xmlns:r="http://schemas.openxmlformats.org/officeDocument/2006/relationships" xmlns:p="http://schemas.openxmlformats.org/presentationml/2006/main">
  <p:tag name="AS_UNIQUEID" val="814"/>
  <p:tag name="THINKCELLSHAPEDONOTDELETE" val="tGfaKvc0WEul8ZMVUfojKbA"/>
</p:tagLst>
</file>

<file path=ppt/tags/tag1128.xml><?xml version="1.0" encoding="utf-8"?>
<p:tagLst xmlns:a="http://schemas.openxmlformats.org/drawingml/2006/main" xmlns:r="http://schemas.openxmlformats.org/officeDocument/2006/relationships" xmlns:p="http://schemas.openxmlformats.org/presentationml/2006/main">
  <p:tag name="AS_UNIQUEID" val="823"/>
  <p:tag name="THINKCELLSHAPEDONOTDELETE" val="tuQN2N2k0Ds4ND_LiaHQU3Q"/>
</p:tagLst>
</file>

<file path=ppt/tags/tag1129.xml><?xml version="1.0" encoding="utf-8"?>
<p:tagLst xmlns:a="http://schemas.openxmlformats.org/drawingml/2006/main" xmlns:r="http://schemas.openxmlformats.org/officeDocument/2006/relationships" xmlns:p="http://schemas.openxmlformats.org/presentationml/2006/main">
  <p:tag name="AS_UNIQUEID" val="821"/>
  <p:tag name="THINKCELLSHAPEDONOTDELETE" val="tfHnZIK4pzHgKCONp8l6Dkg"/>
</p:tagLst>
</file>

<file path=ppt/tags/tag113.xml><?xml version="1.0" encoding="utf-8"?>
<p:tagLst xmlns:a="http://schemas.openxmlformats.org/drawingml/2006/main" xmlns:r="http://schemas.openxmlformats.org/officeDocument/2006/relationships" xmlns:p="http://schemas.openxmlformats.org/presentationml/2006/main">
  <p:tag name="AS_UNIQUEID" val="1835"/>
</p:tagLst>
</file>

<file path=ppt/tags/tag1130.xml><?xml version="1.0" encoding="utf-8"?>
<p:tagLst xmlns:a="http://schemas.openxmlformats.org/drawingml/2006/main" xmlns:r="http://schemas.openxmlformats.org/officeDocument/2006/relationships" xmlns:p="http://schemas.openxmlformats.org/presentationml/2006/main">
  <p:tag name="AS_UNIQUEID" val="2706"/>
  <p:tag name="THINKCELLSHAPEDONOTDELETE" val="tnEeyXYgTguXvJQh54IFSxg"/>
</p:tagLst>
</file>

<file path=ppt/tags/tag1131.xml><?xml version="1.0" encoding="utf-8"?>
<p:tagLst xmlns:a="http://schemas.openxmlformats.org/drawingml/2006/main" xmlns:r="http://schemas.openxmlformats.org/officeDocument/2006/relationships" xmlns:p="http://schemas.openxmlformats.org/presentationml/2006/main">
  <p:tag name="AS_UNIQUEID" val="816"/>
  <p:tag name="THINKCELLSHAPEDONOTDELETE" val="t2g_IOuNMPxXjNoJaAWxy8w"/>
</p:tagLst>
</file>

<file path=ppt/tags/tag1132.xml><?xml version="1.0" encoding="utf-8"?>
<p:tagLst xmlns:a="http://schemas.openxmlformats.org/drawingml/2006/main" xmlns:r="http://schemas.openxmlformats.org/officeDocument/2006/relationships" xmlns:p="http://schemas.openxmlformats.org/presentationml/2006/main">
  <p:tag name="AS_UNIQUEID" val="825"/>
  <p:tag name="THINKCELLSHAPEDONOTDELETE" val="tCrNoPIhd4M1_MMFQTmNE.w"/>
</p:tagLst>
</file>

<file path=ppt/tags/tag1133.xml><?xml version="1.0" encoding="utf-8"?>
<p:tagLst xmlns:a="http://schemas.openxmlformats.org/drawingml/2006/main" xmlns:r="http://schemas.openxmlformats.org/officeDocument/2006/relationships" xmlns:p="http://schemas.openxmlformats.org/presentationml/2006/main">
  <p:tag name="AS_UNIQUEID" val="2707"/>
  <p:tag name="THINKCELLSHAPEDONOTDELETE" val="tDBgKFwqkUikShxqPSabu.A"/>
</p:tagLst>
</file>

<file path=ppt/tags/tag1134.xml><?xml version="1.0" encoding="utf-8"?>
<p:tagLst xmlns:a="http://schemas.openxmlformats.org/drawingml/2006/main" xmlns:r="http://schemas.openxmlformats.org/officeDocument/2006/relationships" xmlns:p="http://schemas.openxmlformats.org/presentationml/2006/main">
  <p:tag name="AS_UNIQUEID" val="813"/>
  <p:tag name="THINKCELLSHAPEDONOTDELETE" val="t1Ubw72Q4KPY7cdvj9yydDA"/>
</p:tagLst>
</file>

<file path=ppt/tags/tag1135.xml><?xml version="1.0" encoding="utf-8"?>
<p:tagLst xmlns:a="http://schemas.openxmlformats.org/drawingml/2006/main" xmlns:r="http://schemas.openxmlformats.org/officeDocument/2006/relationships" xmlns:p="http://schemas.openxmlformats.org/presentationml/2006/main">
  <p:tag name="AS_UNIQUEID" val="818"/>
  <p:tag name="THINKCELLSHAPEDONOTDELETE" val="tL.e5cBFOeEM9jA_32Z5gDg"/>
</p:tagLst>
</file>

<file path=ppt/tags/tag1136.xml><?xml version="1.0" encoding="utf-8"?>
<p:tagLst xmlns:a="http://schemas.openxmlformats.org/drawingml/2006/main" xmlns:r="http://schemas.openxmlformats.org/officeDocument/2006/relationships" xmlns:p="http://schemas.openxmlformats.org/presentationml/2006/main">
  <p:tag name="AS_UNIQUEID" val="2708"/>
  <p:tag name="THINKCELLSHAPEDONOTDELETE" val="tvw.WIZuEZx00TICf54yJ0g"/>
</p:tagLst>
</file>

<file path=ppt/tags/tag1137.xml><?xml version="1.0" encoding="utf-8"?>
<p:tagLst xmlns:a="http://schemas.openxmlformats.org/drawingml/2006/main" xmlns:r="http://schemas.openxmlformats.org/officeDocument/2006/relationships" xmlns:p="http://schemas.openxmlformats.org/presentationml/2006/main">
  <p:tag name="AS_UNIQUEID" val="817"/>
  <p:tag name="THINKCELLSHAPEDONOTDELETE" val="trsBtYQoYZImbnqcpv3dasA"/>
</p:tagLst>
</file>

<file path=ppt/tags/tag1138.xml><?xml version="1.0" encoding="utf-8"?>
<p:tagLst xmlns:a="http://schemas.openxmlformats.org/drawingml/2006/main" xmlns:r="http://schemas.openxmlformats.org/officeDocument/2006/relationships" xmlns:p="http://schemas.openxmlformats.org/presentationml/2006/main">
  <p:tag name="AS_UNIQUEID" val="826"/>
  <p:tag name="THINKCELLSHAPEDONOTDELETE" val="teKMM9fmj8D1FczLi0g.wFA"/>
</p:tagLst>
</file>

<file path=ppt/tags/tag1139.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lcibIxDW37Bio5Dj4fk77g"/>
</p:tagLst>
</file>

<file path=ppt/tags/tag114.xml><?xml version="1.0" encoding="utf-8"?>
<p:tagLst xmlns:a="http://schemas.openxmlformats.org/drawingml/2006/main" xmlns:r="http://schemas.openxmlformats.org/officeDocument/2006/relationships" xmlns:p="http://schemas.openxmlformats.org/presentationml/2006/main">
  <p:tag name="AS_UNIQUEID" val="1837"/>
</p:tagLst>
</file>

<file path=ppt/tags/tag1140.xml><?xml version="1.0" encoding="utf-8"?>
<p:tagLst xmlns:a="http://schemas.openxmlformats.org/drawingml/2006/main" xmlns:r="http://schemas.openxmlformats.org/officeDocument/2006/relationships" xmlns:p="http://schemas.openxmlformats.org/presentationml/2006/main">
  <p:tag name="AS_UNIQUEID" val="2709"/>
  <p:tag name="THINKCELLSHAPEDONOTDELETE" val="tcYamLbx0imaZhYS9QaBSqQ"/>
</p:tagLst>
</file>

<file path=ppt/tags/tag1141.xml><?xml version="1.0" encoding="utf-8"?>
<p:tagLst xmlns:a="http://schemas.openxmlformats.org/drawingml/2006/main" xmlns:r="http://schemas.openxmlformats.org/officeDocument/2006/relationships" xmlns:p="http://schemas.openxmlformats.org/presentationml/2006/main">
  <p:tag name="AS_UNIQUEID" val="820"/>
  <p:tag name="THINKCELLSHAPEDONOTDELETE" val="t7efHQ6CCkzhSi6IDo7yjwQ"/>
</p:tagLst>
</file>

<file path=ppt/tags/tag1142.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38L4SOG61fkgKygkyaqlVw"/>
</p:tagLst>
</file>

<file path=ppt/tags/tag1143.xml><?xml version="1.0" encoding="utf-8"?>
<p:tagLst xmlns:a="http://schemas.openxmlformats.org/drawingml/2006/main" xmlns:r="http://schemas.openxmlformats.org/officeDocument/2006/relationships" xmlns:p="http://schemas.openxmlformats.org/presentationml/2006/main">
  <p:tag name="AS_UNIQUEID" val="2710"/>
  <p:tag name="THINKCELLSHAPEDONOTDELETE" val="tydv3YVsnUxdpHE9WXapWsw"/>
</p:tagLst>
</file>

<file path=ppt/tags/tag1144.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sleYCCgIMJSLu6oDygkgHg"/>
</p:tagLst>
</file>

<file path=ppt/tags/tag1145.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bvPh4LAONpHEZl.z.U7iXQ"/>
</p:tagLst>
</file>

<file path=ppt/tags/tag1146.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6PKEODzunHCFvJi6K2DeFg"/>
</p:tagLst>
</file>

<file path=ppt/tags/tag1147.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rqfdoVT5kiVgV9RFZhfvCQ"/>
</p:tagLst>
</file>

<file path=ppt/tags/tag1148.xml><?xml version="1.0" encoding="utf-8"?>
<p:tagLst xmlns:a="http://schemas.openxmlformats.org/drawingml/2006/main" xmlns:r="http://schemas.openxmlformats.org/officeDocument/2006/relationships" xmlns:p="http://schemas.openxmlformats.org/presentationml/2006/main">
  <p:tag name="AS_UNIQUEID" val="824"/>
  <p:tag name="THINKCELLSHAPEDONOTDELETE" val="t1UgVCHwkGXTP3EgCj227lA"/>
</p:tagLst>
</file>

<file path=ppt/tags/tag1149.xml><?xml version="1.0" encoding="utf-8"?>
<p:tagLst xmlns:a="http://schemas.openxmlformats.org/drawingml/2006/main" xmlns:r="http://schemas.openxmlformats.org/officeDocument/2006/relationships" xmlns:p="http://schemas.openxmlformats.org/presentationml/2006/main">
  <p:tag name="AS_UNIQUEID" val="819"/>
  <p:tag name="THINKCELLSHAPEDONOTDELETE" val="tFZLJR55NgG0bhnTBs2BnFg"/>
</p:tagLst>
</file>

<file path=ppt/tags/tag115.xml><?xml version="1.0" encoding="utf-8"?>
<p:tagLst xmlns:a="http://schemas.openxmlformats.org/drawingml/2006/main" xmlns:r="http://schemas.openxmlformats.org/officeDocument/2006/relationships" xmlns:p="http://schemas.openxmlformats.org/presentationml/2006/main">
  <p:tag name="AS_UNIQUEID" val="1838"/>
</p:tagLst>
</file>

<file path=ppt/tags/tag1150.xml><?xml version="1.0" encoding="utf-8"?>
<p:tagLst xmlns:a="http://schemas.openxmlformats.org/drawingml/2006/main" xmlns:r="http://schemas.openxmlformats.org/officeDocument/2006/relationships" xmlns:p="http://schemas.openxmlformats.org/presentationml/2006/main">
  <p:tag name="AS_UNIQUEID" val="822"/>
  <p:tag name="THINKCELLSHAPEDONOTDELETE" val="twap_nyKtxKkNpGdw58WzZA"/>
</p:tagLst>
</file>

<file path=ppt/tags/tag1151.xml><?xml version="1.0" encoding="utf-8"?>
<p:tagLst xmlns:a="http://schemas.openxmlformats.org/drawingml/2006/main" xmlns:r="http://schemas.openxmlformats.org/officeDocument/2006/relationships" xmlns:p="http://schemas.openxmlformats.org/presentationml/2006/main">
  <p:tag name="AS_UNIQUEID" val="830"/>
  <p:tag name="THINKCELLSHAPEDONOTDELETE" val="tn0knoMvUA46QZK1WhtCNTA"/>
</p:tagLst>
</file>

<file path=ppt/tags/tag1152.xml><?xml version="1.0" encoding="utf-8"?>
<p:tagLst xmlns:a="http://schemas.openxmlformats.org/drawingml/2006/main" xmlns:r="http://schemas.openxmlformats.org/officeDocument/2006/relationships" xmlns:p="http://schemas.openxmlformats.org/presentationml/2006/main">
  <p:tag name="AS_UNIQUEID" val="828"/>
  <p:tag name="THINKCELLSHAPEDONOTDELETE" val="tZAnVQLiL9xglPMfMwciW2w"/>
</p:tagLst>
</file>

<file path=ppt/tags/tag1153.xml><?xml version="1.0" encoding="utf-8"?>
<p:tagLst xmlns:a="http://schemas.openxmlformats.org/drawingml/2006/main" xmlns:r="http://schemas.openxmlformats.org/officeDocument/2006/relationships" xmlns:p="http://schemas.openxmlformats.org/presentationml/2006/main">
  <p:tag name="AS_UNIQUEID" val="829"/>
  <p:tag name="THINKCELLSHAPEDONOTDELETE" val="tdX9lCOSMMLIf0viUzydyNw"/>
</p:tagLst>
</file>

<file path=ppt/tags/tag1154.xml><?xml version="1.0" encoding="utf-8"?>
<p:tagLst xmlns:a="http://schemas.openxmlformats.org/drawingml/2006/main" xmlns:r="http://schemas.openxmlformats.org/officeDocument/2006/relationships" xmlns:p="http://schemas.openxmlformats.org/presentationml/2006/main">
  <p:tag name="AS_UNIQUEID" val="831"/>
  <p:tag name="THINKCELLSHAPEDONOTDELETE" val="tekeEme0cl10iY74op9kdYw"/>
</p:tagLst>
</file>

<file path=ppt/tags/tag1155.xml><?xml version="1.0" encoding="utf-8"?>
<p:tagLst xmlns:a="http://schemas.openxmlformats.org/drawingml/2006/main" xmlns:r="http://schemas.openxmlformats.org/officeDocument/2006/relationships" xmlns:p="http://schemas.openxmlformats.org/presentationml/2006/main">
  <p:tag name="AS_UNIQUEID" val="833"/>
  <p:tag name="THINKCELLSHAPEDONOTDELETE" val="tBPLB7R7V2OHGJVWQIg61uQ"/>
</p:tagLst>
</file>

<file path=ppt/tags/tag1156.xml><?xml version="1.0" encoding="utf-8"?>
<p:tagLst xmlns:a="http://schemas.openxmlformats.org/drawingml/2006/main" xmlns:r="http://schemas.openxmlformats.org/officeDocument/2006/relationships" xmlns:p="http://schemas.openxmlformats.org/presentationml/2006/main">
  <p:tag name="AS_UNIQUEID" val="832"/>
  <p:tag name="THINKCELLSHAPEDONOTDELETE" val="t.MO.SYdJUIHpZsznxn8asA"/>
</p:tagLst>
</file>

<file path=ppt/tags/tag1157.xml><?xml version="1.0" encoding="utf-8"?>
<p:tagLst xmlns:a="http://schemas.openxmlformats.org/drawingml/2006/main" xmlns:r="http://schemas.openxmlformats.org/officeDocument/2006/relationships" xmlns:p="http://schemas.openxmlformats.org/presentationml/2006/main">
  <p:tag name="AS_UNIQUEID" val="2711"/>
</p:tagLst>
</file>

<file path=ppt/tags/tag1158.xml><?xml version="1.0" encoding="utf-8"?>
<p:tagLst xmlns:a="http://schemas.openxmlformats.org/drawingml/2006/main" xmlns:r="http://schemas.openxmlformats.org/officeDocument/2006/relationships" xmlns:p="http://schemas.openxmlformats.org/presentationml/2006/main">
  <p:tag name="AS_UNIQUEID" val="2712"/>
</p:tagLst>
</file>

<file path=ppt/tags/tag1159.xml><?xml version="1.0" encoding="utf-8"?>
<p:tagLst xmlns:a="http://schemas.openxmlformats.org/drawingml/2006/main" xmlns:r="http://schemas.openxmlformats.org/officeDocument/2006/relationships" xmlns:p="http://schemas.openxmlformats.org/presentationml/2006/main">
  <p:tag name="AS_UNIQUEID" val="2713"/>
</p:tagLst>
</file>

<file path=ppt/tags/tag116.xml><?xml version="1.0" encoding="utf-8"?>
<p:tagLst xmlns:a="http://schemas.openxmlformats.org/drawingml/2006/main" xmlns:r="http://schemas.openxmlformats.org/officeDocument/2006/relationships" xmlns:p="http://schemas.openxmlformats.org/presentationml/2006/main">
  <p:tag name="AS_UNIQUEID" val="1839"/>
</p:tagLst>
</file>

<file path=ppt/tags/tag1160.xml><?xml version="1.0" encoding="utf-8"?>
<p:tagLst xmlns:a="http://schemas.openxmlformats.org/drawingml/2006/main" xmlns:r="http://schemas.openxmlformats.org/officeDocument/2006/relationships" xmlns:p="http://schemas.openxmlformats.org/presentationml/2006/main">
  <p:tag name="AS_UNIQUEID" val="2714"/>
</p:tagLst>
</file>

<file path=ppt/tags/tag1161.xml><?xml version="1.0" encoding="utf-8"?>
<p:tagLst xmlns:a="http://schemas.openxmlformats.org/drawingml/2006/main" xmlns:r="http://schemas.openxmlformats.org/officeDocument/2006/relationships" xmlns:p="http://schemas.openxmlformats.org/presentationml/2006/main">
  <p:tag name="AS_UNIQUEID" val="2715"/>
</p:tagLst>
</file>

<file path=ppt/tags/tag1162.xml><?xml version="1.0" encoding="utf-8"?>
<p:tagLst xmlns:a="http://schemas.openxmlformats.org/drawingml/2006/main" xmlns:r="http://schemas.openxmlformats.org/officeDocument/2006/relationships" xmlns:p="http://schemas.openxmlformats.org/presentationml/2006/main">
  <p:tag name="AS_UNIQUEID" val="2718"/>
</p:tagLst>
</file>

<file path=ppt/tags/tag1163.xml><?xml version="1.0" encoding="utf-8"?>
<p:tagLst xmlns:a="http://schemas.openxmlformats.org/drawingml/2006/main" xmlns:r="http://schemas.openxmlformats.org/officeDocument/2006/relationships" xmlns:p="http://schemas.openxmlformats.org/presentationml/2006/main">
  <p:tag name="AS_UNIQUEID" val="2721"/>
</p:tagLst>
</file>

<file path=ppt/tags/tag1164.xml><?xml version="1.0" encoding="utf-8"?>
<p:tagLst xmlns:a="http://schemas.openxmlformats.org/drawingml/2006/main" xmlns:r="http://schemas.openxmlformats.org/officeDocument/2006/relationships" xmlns:p="http://schemas.openxmlformats.org/presentationml/2006/main">
  <p:tag name="AS_UNIQUEID" val="2727"/>
</p:tagLst>
</file>

<file path=ppt/tags/tag1165.xml><?xml version="1.0" encoding="utf-8"?>
<p:tagLst xmlns:a="http://schemas.openxmlformats.org/drawingml/2006/main" xmlns:r="http://schemas.openxmlformats.org/officeDocument/2006/relationships" xmlns:p="http://schemas.openxmlformats.org/presentationml/2006/main">
  <p:tag name="AS_UNIQUEID" val="1680"/>
</p:tagLst>
</file>

<file path=ppt/tags/tag1166.xml><?xml version="1.0" encoding="utf-8"?>
<p:tagLst xmlns:a="http://schemas.openxmlformats.org/drawingml/2006/main" xmlns:r="http://schemas.openxmlformats.org/officeDocument/2006/relationships" xmlns:p="http://schemas.openxmlformats.org/presentationml/2006/main">
  <p:tag name="AS_UNIQUEID" val="790"/>
</p:tagLst>
</file>

<file path=ppt/tags/tag1167.xml><?xml version="1.0" encoding="utf-8"?>
<p:tagLst xmlns:a="http://schemas.openxmlformats.org/drawingml/2006/main" xmlns:r="http://schemas.openxmlformats.org/officeDocument/2006/relationships" xmlns:p="http://schemas.openxmlformats.org/presentationml/2006/main">
  <p:tag name="AS_UNIQUEID" val="2719"/>
</p:tagLst>
</file>

<file path=ppt/tags/tag1168.xml><?xml version="1.0" encoding="utf-8"?>
<p:tagLst xmlns:a="http://schemas.openxmlformats.org/drawingml/2006/main" xmlns:r="http://schemas.openxmlformats.org/officeDocument/2006/relationships" xmlns:p="http://schemas.openxmlformats.org/presentationml/2006/main">
  <p:tag name="AS_UNIQUEID" val="2720"/>
</p:tagLst>
</file>

<file path=ppt/tags/tag1169.xml><?xml version="1.0" encoding="utf-8"?>
<p:tagLst xmlns:a="http://schemas.openxmlformats.org/drawingml/2006/main" xmlns:r="http://schemas.openxmlformats.org/officeDocument/2006/relationships" xmlns:p="http://schemas.openxmlformats.org/presentationml/2006/main">
  <p:tag name="AS_UNIQUEID" val="2716"/>
</p:tagLst>
</file>

<file path=ppt/tags/tag117.xml><?xml version="1.0" encoding="utf-8"?>
<p:tagLst xmlns:a="http://schemas.openxmlformats.org/drawingml/2006/main" xmlns:r="http://schemas.openxmlformats.org/officeDocument/2006/relationships" xmlns:p="http://schemas.openxmlformats.org/presentationml/2006/main">
  <p:tag name="AS_UNIQUEID" val="1840"/>
</p:tagLst>
</file>

<file path=ppt/tags/tag1170.xml><?xml version="1.0" encoding="utf-8"?>
<p:tagLst xmlns:a="http://schemas.openxmlformats.org/drawingml/2006/main" xmlns:r="http://schemas.openxmlformats.org/officeDocument/2006/relationships" xmlns:p="http://schemas.openxmlformats.org/presentationml/2006/main">
  <p:tag name="AS_UNIQUEID" val="2717"/>
</p:tagLst>
</file>

<file path=ppt/tags/tag1171.xml><?xml version="1.0" encoding="utf-8"?>
<p:tagLst xmlns:a="http://schemas.openxmlformats.org/drawingml/2006/main" xmlns:r="http://schemas.openxmlformats.org/officeDocument/2006/relationships" xmlns:p="http://schemas.openxmlformats.org/presentationml/2006/main">
  <p:tag name="AS_UNIQUEID" val="2703"/>
  <p:tag name="THINKCELLSHAPEDONOTDELETE" val="tAS7cb12VxEsj648U0IgYjA"/>
</p:tagLst>
</file>

<file path=ppt/tags/tag1172.xml><?xml version="1.0" encoding="utf-8"?>
<p:tagLst xmlns:a="http://schemas.openxmlformats.org/drawingml/2006/main" xmlns:r="http://schemas.openxmlformats.org/officeDocument/2006/relationships" xmlns:p="http://schemas.openxmlformats.org/presentationml/2006/main">
  <p:tag name="AS_UNIQUEID" val="2704"/>
  <p:tag name="THINKCELLSHAPEDONOTDELETE" val="tOIrh8WRQKfQc0CUp6H9.4w"/>
</p:tagLst>
</file>

<file path=ppt/tags/tag1173.xml><?xml version="1.0" encoding="utf-8"?>
<p:tagLst xmlns:a="http://schemas.openxmlformats.org/drawingml/2006/main" xmlns:r="http://schemas.openxmlformats.org/officeDocument/2006/relationships" xmlns:p="http://schemas.openxmlformats.org/presentationml/2006/main">
  <p:tag name="AS_UNIQUEID" val="2705"/>
  <p:tag name="THINKCELLSHAPEDONOTDELETE" val="tKRnjc3VKZOKctRghdhucBQ"/>
</p:tagLst>
</file>

<file path=ppt/tags/tag1174.xml><?xml version="1.0" encoding="utf-8"?>
<p:tagLst xmlns:a="http://schemas.openxmlformats.org/drawingml/2006/main" xmlns:r="http://schemas.openxmlformats.org/officeDocument/2006/relationships" xmlns:p="http://schemas.openxmlformats.org/presentationml/2006/main">
  <p:tag name="AS_UNIQUEID" val="2699"/>
</p:tagLst>
</file>

<file path=ppt/tags/tag1175.xml><?xml version="1.0" encoding="utf-8"?>
<p:tagLst xmlns:a="http://schemas.openxmlformats.org/drawingml/2006/main" xmlns:r="http://schemas.openxmlformats.org/officeDocument/2006/relationships" xmlns:p="http://schemas.openxmlformats.org/presentationml/2006/main">
  <p:tag name="AS_UNIQUEID" val="2700"/>
</p:tagLst>
</file>

<file path=ppt/tags/tag1176.xml><?xml version="1.0" encoding="utf-8"?>
<p:tagLst xmlns:a="http://schemas.openxmlformats.org/drawingml/2006/main" xmlns:r="http://schemas.openxmlformats.org/officeDocument/2006/relationships" xmlns:p="http://schemas.openxmlformats.org/presentationml/2006/main">
  <p:tag name="AS_UNIQUEID" val="2688"/>
</p:tagLst>
</file>

<file path=ppt/tags/tag1177.xml><?xml version="1.0" encoding="utf-8"?>
<p:tagLst xmlns:a="http://schemas.openxmlformats.org/drawingml/2006/main" xmlns:r="http://schemas.openxmlformats.org/officeDocument/2006/relationships" xmlns:p="http://schemas.openxmlformats.org/presentationml/2006/main">
  <p:tag name="AS_UNIQUEID" val="2689"/>
</p:tagLst>
</file>

<file path=ppt/tags/tag1178.xml><?xml version="1.0" encoding="utf-8"?>
<p:tagLst xmlns:a="http://schemas.openxmlformats.org/drawingml/2006/main" xmlns:r="http://schemas.openxmlformats.org/officeDocument/2006/relationships" xmlns:p="http://schemas.openxmlformats.org/presentationml/2006/main">
  <p:tag name="AS_UNIQUEID" val="2690"/>
</p:tagLst>
</file>

<file path=ppt/tags/tag1179.xml><?xml version="1.0" encoding="utf-8"?>
<p:tagLst xmlns:a="http://schemas.openxmlformats.org/drawingml/2006/main" xmlns:r="http://schemas.openxmlformats.org/officeDocument/2006/relationships" xmlns:p="http://schemas.openxmlformats.org/presentationml/2006/main">
  <p:tag name="AS_UNIQUEID" val="2729"/>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AS_UNIQUEID" val="1841"/>
</p:tagLst>
</file>

<file path=ppt/tags/tag1180.xml><?xml version="1.0" encoding="utf-8"?>
<p:tagLst xmlns:a="http://schemas.openxmlformats.org/drawingml/2006/main" xmlns:r="http://schemas.openxmlformats.org/officeDocument/2006/relationships" xmlns:p="http://schemas.openxmlformats.org/presentationml/2006/main">
  <p:tag name="AS_UNIQUEID" val="2730"/>
</p:tagLst>
</file>

<file path=ppt/tags/tag1181.xml><?xml version="1.0" encoding="utf-8"?>
<p:tagLst xmlns:a="http://schemas.openxmlformats.org/drawingml/2006/main" xmlns:r="http://schemas.openxmlformats.org/officeDocument/2006/relationships" xmlns:p="http://schemas.openxmlformats.org/presentationml/2006/main">
  <p:tag name="AS_UNIQUEID" val="2731"/>
</p:tagLst>
</file>

<file path=ppt/tags/tag1182.xml><?xml version="1.0" encoding="utf-8"?>
<p:tagLst xmlns:a="http://schemas.openxmlformats.org/drawingml/2006/main" xmlns:r="http://schemas.openxmlformats.org/officeDocument/2006/relationships" xmlns:p="http://schemas.openxmlformats.org/presentationml/2006/main">
  <p:tag name="AS_UNIQUEID" val="2733"/>
</p:tagLst>
</file>

<file path=ppt/tags/tag1183.xml><?xml version="1.0" encoding="utf-8"?>
<p:tagLst xmlns:a="http://schemas.openxmlformats.org/drawingml/2006/main" xmlns:r="http://schemas.openxmlformats.org/officeDocument/2006/relationships" xmlns:p="http://schemas.openxmlformats.org/presentationml/2006/main">
  <p:tag name="AS_UNIQUEID" val="2734"/>
</p:tagLst>
</file>

<file path=ppt/tags/tag1184.xml><?xml version="1.0" encoding="utf-8"?>
<p:tagLst xmlns:a="http://schemas.openxmlformats.org/drawingml/2006/main" xmlns:r="http://schemas.openxmlformats.org/officeDocument/2006/relationships" xmlns:p="http://schemas.openxmlformats.org/presentationml/2006/main">
  <p:tag name="AS_UNIQUEID" val="2735"/>
</p:tagLst>
</file>

<file path=ppt/tags/tag1185.xml><?xml version="1.0" encoding="utf-8"?>
<p:tagLst xmlns:a="http://schemas.openxmlformats.org/drawingml/2006/main" xmlns:r="http://schemas.openxmlformats.org/officeDocument/2006/relationships" xmlns:p="http://schemas.openxmlformats.org/presentationml/2006/main">
  <p:tag name="AS_UNIQUEID" val="2741"/>
</p:tagLst>
</file>

<file path=ppt/tags/tag1186.xml><?xml version="1.0" encoding="utf-8"?>
<p:tagLst xmlns:a="http://schemas.openxmlformats.org/drawingml/2006/main" xmlns:r="http://schemas.openxmlformats.org/officeDocument/2006/relationships" xmlns:p="http://schemas.openxmlformats.org/presentationml/2006/main">
  <p:tag name="AS_UNIQUEID" val="2757"/>
</p:tagLst>
</file>

<file path=ppt/tags/tag1187.xml><?xml version="1.0" encoding="utf-8"?>
<p:tagLst xmlns:a="http://schemas.openxmlformats.org/drawingml/2006/main" xmlns:r="http://schemas.openxmlformats.org/officeDocument/2006/relationships" xmlns:p="http://schemas.openxmlformats.org/presentationml/2006/main">
  <p:tag name="AS_UNIQUEID" val="2758"/>
</p:tagLst>
</file>

<file path=ppt/tags/tag1188.xml><?xml version="1.0" encoding="utf-8"?>
<p:tagLst xmlns:a="http://schemas.openxmlformats.org/drawingml/2006/main" xmlns:r="http://schemas.openxmlformats.org/officeDocument/2006/relationships" xmlns:p="http://schemas.openxmlformats.org/presentationml/2006/main">
  <p:tag name="AS_UNIQUEID" val="2759"/>
</p:tagLst>
</file>

<file path=ppt/tags/tag1189.xml><?xml version="1.0" encoding="utf-8"?>
<p:tagLst xmlns:a="http://schemas.openxmlformats.org/drawingml/2006/main" xmlns:r="http://schemas.openxmlformats.org/officeDocument/2006/relationships" xmlns:p="http://schemas.openxmlformats.org/presentationml/2006/main">
  <p:tag name="AS_UNIQUEID" val="2760"/>
</p:tagLst>
</file>

<file path=ppt/tags/tag119.xml><?xml version="1.0" encoding="utf-8"?>
<p:tagLst xmlns:a="http://schemas.openxmlformats.org/drawingml/2006/main" xmlns:r="http://schemas.openxmlformats.org/officeDocument/2006/relationships" xmlns:p="http://schemas.openxmlformats.org/presentationml/2006/main">
  <p:tag name="AS_UNIQUEID" val="1842"/>
</p:tagLst>
</file>

<file path=ppt/tags/tag1190.xml><?xml version="1.0" encoding="utf-8"?>
<p:tagLst xmlns:a="http://schemas.openxmlformats.org/drawingml/2006/main" xmlns:r="http://schemas.openxmlformats.org/officeDocument/2006/relationships" xmlns:p="http://schemas.openxmlformats.org/presentationml/2006/main">
  <p:tag name="AS_UNIQUEID" val="2761"/>
</p:tagLst>
</file>

<file path=ppt/tags/tag1191.xml><?xml version="1.0" encoding="utf-8"?>
<p:tagLst xmlns:a="http://schemas.openxmlformats.org/drawingml/2006/main" xmlns:r="http://schemas.openxmlformats.org/officeDocument/2006/relationships" xmlns:p="http://schemas.openxmlformats.org/presentationml/2006/main">
  <p:tag name="AS_UNIQUEID" val="2762"/>
</p:tagLst>
</file>

<file path=ppt/tags/tag1192.xml><?xml version="1.0" encoding="utf-8"?>
<p:tagLst xmlns:a="http://schemas.openxmlformats.org/drawingml/2006/main" xmlns:r="http://schemas.openxmlformats.org/officeDocument/2006/relationships" xmlns:p="http://schemas.openxmlformats.org/presentationml/2006/main">
  <p:tag name="AS_UNIQUEID" val="2763"/>
</p:tagLst>
</file>

<file path=ppt/tags/tag1193.xml><?xml version="1.0" encoding="utf-8"?>
<p:tagLst xmlns:a="http://schemas.openxmlformats.org/drawingml/2006/main" xmlns:r="http://schemas.openxmlformats.org/officeDocument/2006/relationships" xmlns:p="http://schemas.openxmlformats.org/presentationml/2006/main">
  <p:tag name="AS_UNIQUEID" val="2770"/>
</p:tagLst>
</file>

<file path=ppt/tags/tag1194.xml><?xml version="1.0" encoding="utf-8"?>
<p:tagLst xmlns:a="http://schemas.openxmlformats.org/drawingml/2006/main" xmlns:r="http://schemas.openxmlformats.org/officeDocument/2006/relationships" xmlns:p="http://schemas.openxmlformats.org/presentationml/2006/main">
  <p:tag name="AS_UNIQUEID" val="2771"/>
</p:tagLst>
</file>

<file path=ppt/tags/tag1195.xml><?xml version="1.0" encoding="utf-8"?>
<p:tagLst xmlns:a="http://schemas.openxmlformats.org/drawingml/2006/main" xmlns:r="http://schemas.openxmlformats.org/officeDocument/2006/relationships" xmlns:p="http://schemas.openxmlformats.org/presentationml/2006/main">
  <p:tag name="AS_UNIQUEID" val="2772"/>
</p:tagLst>
</file>

<file path=ppt/tags/tag1196.xml><?xml version="1.0" encoding="utf-8"?>
<p:tagLst xmlns:a="http://schemas.openxmlformats.org/drawingml/2006/main" xmlns:r="http://schemas.openxmlformats.org/officeDocument/2006/relationships" xmlns:p="http://schemas.openxmlformats.org/presentationml/2006/main">
  <p:tag name="AS_UNIQUEID" val="2773"/>
</p:tagLst>
</file>

<file path=ppt/tags/tag1197.xml><?xml version="1.0" encoding="utf-8"?>
<p:tagLst xmlns:a="http://schemas.openxmlformats.org/drawingml/2006/main" xmlns:r="http://schemas.openxmlformats.org/officeDocument/2006/relationships" xmlns:p="http://schemas.openxmlformats.org/presentationml/2006/main">
  <p:tag name="AS_UNIQUEID" val="2774"/>
</p:tagLst>
</file>

<file path=ppt/tags/tag1198.xml><?xml version="1.0" encoding="utf-8"?>
<p:tagLst xmlns:a="http://schemas.openxmlformats.org/drawingml/2006/main" xmlns:r="http://schemas.openxmlformats.org/officeDocument/2006/relationships" xmlns:p="http://schemas.openxmlformats.org/presentationml/2006/main">
  <p:tag name="AS_UNIQUEID" val="2775"/>
</p:tagLst>
</file>

<file path=ppt/tags/tag1199.xml><?xml version="1.0" encoding="utf-8"?>
<p:tagLst xmlns:a="http://schemas.openxmlformats.org/drawingml/2006/main" xmlns:r="http://schemas.openxmlformats.org/officeDocument/2006/relationships" xmlns:p="http://schemas.openxmlformats.org/presentationml/2006/main">
  <p:tag name="AS_UNIQUEID" val="2776"/>
</p:tagLst>
</file>

<file path=ppt/tags/tag12.xml><?xml version="1.0" encoding="utf-8"?>
<p:tagLst xmlns:a="http://schemas.openxmlformats.org/drawingml/2006/main" xmlns:r="http://schemas.openxmlformats.org/officeDocument/2006/relationships" xmlns:p="http://schemas.openxmlformats.org/presentationml/2006/main">
  <p:tag name="AS_UNIQUEID" val="1714"/>
</p:tagLst>
</file>

<file path=ppt/tags/tag120.xml><?xml version="1.0" encoding="utf-8"?>
<p:tagLst xmlns:a="http://schemas.openxmlformats.org/drawingml/2006/main" xmlns:r="http://schemas.openxmlformats.org/officeDocument/2006/relationships" xmlns:p="http://schemas.openxmlformats.org/presentationml/2006/main">
  <p:tag name="AS_UNIQUEID" val="1843"/>
</p:tagLst>
</file>

<file path=ppt/tags/tag1200.xml><?xml version="1.0" encoding="utf-8"?>
<p:tagLst xmlns:a="http://schemas.openxmlformats.org/drawingml/2006/main" xmlns:r="http://schemas.openxmlformats.org/officeDocument/2006/relationships" xmlns:p="http://schemas.openxmlformats.org/presentationml/2006/main">
  <p:tag name="AS_UNIQUEID" val="2777"/>
</p:tagLst>
</file>

<file path=ppt/tags/tag1201.xml><?xml version="1.0" encoding="utf-8"?>
<p:tagLst xmlns:a="http://schemas.openxmlformats.org/drawingml/2006/main" xmlns:r="http://schemas.openxmlformats.org/officeDocument/2006/relationships" xmlns:p="http://schemas.openxmlformats.org/presentationml/2006/main">
  <p:tag name="AS_UNIQUEID" val="2778"/>
</p:tagLst>
</file>

<file path=ppt/tags/tag1202.xml><?xml version="1.0" encoding="utf-8"?>
<p:tagLst xmlns:a="http://schemas.openxmlformats.org/drawingml/2006/main" xmlns:r="http://schemas.openxmlformats.org/officeDocument/2006/relationships" xmlns:p="http://schemas.openxmlformats.org/presentationml/2006/main">
  <p:tag name="AS_UNIQUEID" val="2779"/>
</p:tagLst>
</file>

<file path=ppt/tags/tag1203.xml><?xml version="1.0" encoding="utf-8"?>
<p:tagLst xmlns:a="http://schemas.openxmlformats.org/drawingml/2006/main" xmlns:r="http://schemas.openxmlformats.org/officeDocument/2006/relationships" xmlns:p="http://schemas.openxmlformats.org/presentationml/2006/main">
  <p:tag name="AS_UNIQUEID" val="2780"/>
</p:tagLst>
</file>

<file path=ppt/tags/tag1204.xml><?xml version="1.0" encoding="utf-8"?>
<p:tagLst xmlns:a="http://schemas.openxmlformats.org/drawingml/2006/main" xmlns:r="http://schemas.openxmlformats.org/officeDocument/2006/relationships" xmlns:p="http://schemas.openxmlformats.org/presentationml/2006/main">
  <p:tag name="AS_UNIQUEID" val="2786"/>
</p:tagLst>
</file>

<file path=ppt/tags/tag1205.xml><?xml version="1.0" encoding="utf-8"?>
<p:tagLst xmlns:a="http://schemas.openxmlformats.org/drawingml/2006/main" xmlns:r="http://schemas.openxmlformats.org/officeDocument/2006/relationships" xmlns:p="http://schemas.openxmlformats.org/presentationml/2006/main">
  <p:tag name="AS_UNIQUEID" val="2791"/>
</p:tagLst>
</file>

<file path=ppt/tags/tag1206.xml><?xml version="1.0" encoding="utf-8"?>
<p:tagLst xmlns:a="http://schemas.openxmlformats.org/drawingml/2006/main" xmlns:r="http://schemas.openxmlformats.org/officeDocument/2006/relationships" xmlns:p="http://schemas.openxmlformats.org/presentationml/2006/main">
  <p:tag name="AS_UNIQUEID" val="2800"/>
</p:tagLst>
</file>

<file path=ppt/tags/tag1207.xml><?xml version="1.0" encoding="utf-8"?>
<p:tagLst xmlns:a="http://schemas.openxmlformats.org/drawingml/2006/main" xmlns:r="http://schemas.openxmlformats.org/officeDocument/2006/relationships" xmlns:p="http://schemas.openxmlformats.org/presentationml/2006/main">
  <p:tag name="AS_UNIQUEID" val="2801"/>
</p:tagLst>
</file>

<file path=ppt/tags/tag1208.xml><?xml version="1.0" encoding="utf-8"?>
<p:tagLst xmlns:a="http://schemas.openxmlformats.org/drawingml/2006/main" xmlns:r="http://schemas.openxmlformats.org/officeDocument/2006/relationships" xmlns:p="http://schemas.openxmlformats.org/presentationml/2006/main">
  <p:tag name="AS_UNIQUEID" val="2807"/>
</p:tagLst>
</file>

<file path=ppt/tags/tag1209.xml><?xml version="1.0" encoding="utf-8"?>
<p:tagLst xmlns:a="http://schemas.openxmlformats.org/drawingml/2006/main" xmlns:r="http://schemas.openxmlformats.org/officeDocument/2006/relationships" xmlns:p="http://schemas.openxmlformats.org/presentationml/2006/main">
  <p:tag name="AS_UNIQUEID" val="2808"/>
</p:tagLst>
</file>

<file path=ppt/tags/tag121.xml><?xml version="1.0" encoding="utf-8"?>
<p:tagLst xmlns:a="http://schemas.openxmlformats.org/drawingml/2006/main" xmlns:r="http://schemas.openxmlformats.org/officeDocument/2006/relationships" xmlns:p="http://schemas.openxmlformats.org/presentationml/2006/main">
  <p:tag name="AS_UNIQUEID" val="1844"/>
</p:tagLst>
</file>

<file path=ppt/tags/tag1210.xml><?xml version="1.0" encoding="utf-8"?>
<p:tagLst xmlns:a="http://schemas.openxmlformats.org/drawingml/2006/main" xmlns:r="http://schemas.openxmlformats.org/officeDocument/2006/relationships" xmlns:p="http://schemas.openxmlformats.org/presentationml/2006/main">
  <p:tag name="AS_UNIQUEID" val="2809"/>
</p:tagLst>
</file>

<file path=ppt/tags/tag1211.xml><?xml version="1.0" encoding="utf-8"?>
<p:tagLst xmlns:a="http://schemas.openxmlformats.org/drawingml/2006/main" xmlns:r="http://schemas.openxmlformats.org/officeDocument/2006/relationships" xmlns:p="http://schemas.openxmlformats.org/presentationml/2006/main">
  <p:tag name="AS_UNIQUEID" val="2810"/>
</p:tagLst>
</file>

<file path=ppt/tags/tag1212.xml><?xml version="1.0" encoding="utf-8"?>
<p:tagLst xmlns:a="http://schemas.openxmlformats.org/drawingml/2006/main" xmlns:r="http://schemas.openxmlformats.org/officeDocument/2006/relationships" xmlns:p="http://schemas.openxmlformats.org/presentationml/2006/main">
  <p:tag name="AS_UNIQUEID" val="2792"/>
</p:tagLst>
</file>

<file path=ppt/tags/tag1213.xml><?xml version="1.0" encoding="utf-8"?>
<p:tagLst xmlns:a="http://schemas.openxmlformats.org/drawingml/2006/main" xmlns:r="http://schemas.openxmlformats.org/officeDocument/2006/relationships" xmlns:p="http://schemas.openxmlformats.org/presentationml/2006/main">
  <p:tag name="AS_UNIQUEID" val="2793"/>
</p:tagLst>
</file>

<file path=ppt/tags/tag1214.xml><?xml version="1.0" encoding="utf-8"?>
<p:tagLst xmlns:a="http://schemas.openxmlformats.org/drawingml/2006/main" xmlns:r="http://schemas.openxmlformats.org/officeDocument/2006/relationships" xmlns:p="http://schemas.openxmlformats.org/presentationml/2006/main">
  <p:tag name="AS_UNIQUEID" val="2787"/>
</p:tagLst>
</file>

<file path=ppt/tags/tag1215.xml><?xml version="1.0" encoding="utf-8"?>
<p:tagLst xmlns:a="http://schemas.openxmlformats.org/drawingml/2006/main" xmlns:r="http://schemas.openxmlformats.org/officeDocument/2006/relationships" xmlns:p="http://schemas.openxmlformats.org/presentationml/2006/main">
  <p:tag name="AS_UNIQUEID" val="2788"/>
</p:tagLst>
</file>

<file path=ppt/tags/tag1216.xml><?xml version="1.0" encoding="utf-8"?>
<p:tagLst xmlns:a="http://schemas.openxmlformats.org/drawingml/2006/main" xmlns:r="http://schemas.openxmlformats.org/officeDocument/2006/relationships" xmlns:p="http://schemas.openxmlformats.org/presentationml/2006/main">
  <p:tag name="AS_UNIQUEID" val="2781"/>
</p:tagLst>
</file>

<file path=ppt/tags/tag1217.xml><?xml version="1.0" encoding="utf-8"?>
<p:tagLst xmlns:a="http://schemas.openxmlformats.org/drawingml/2006/main" xmlns:r="http://schemas.openxmlformats.org/officeDocument/2006/relationships" xmlns:p="http://schemas.openxmlformats.org/presentationml/2006/main">
  <p:tag name="AS_UNIQUEID" val="2784"/>
</p:tagLst>
</file>

<file path=ppt/tags/tag1218.xml><?xml version="1.0" encoding="utf-8"?>
<p:tagLst xmlns:a="http://schemas.openxmlformats.org/drawingml/2006/main" xmlns:r="http://schemas.openxmlformats.org/officeDocument/2006/relationships" xmlns:p="http://schemas.openxmlformats.org/presentationml/2006/main">
  <p:tag name="AS_UNIQUEID" val="2782"/>
</p:tagLst>
</file>

<file path=ppt/tags/tag1219.xml><?xml version="1.0" encoding="utf-8"?>
<p:tagLst xmlns:a="http://schemas.openxmlformats.org/drawingml/2006/main" xmlns:r="http://schemas.openxmlformats.org/officeDocument/2006/relationships" xmlns:p="http://schemas.openxmlformats.org/presentationml/2006/main">
  <p:tag name="AS_UNIQUEID" val="2783"/>
</p:tagLst>
</file>

<file path=ppt/tags/tag122.xml><?xml version="1.0" encoding="utf-8"?>
<p:tagLst xmlns:a="http://schemas.openxmlformats.org/drawingml/2006/main" xmlns:r="http://schemas.openxmlformats.org/officeDocument/2006/relationships" xmlns:p="http://schemas.openxmlformats.org/presentationml/2006/main">
  <p:tag name="AS_UNIQUEID" val="1846"/>
</p:tagLst>
</file>

<file path=ppt/tags/tag1220.xml><?xml version="1.0" encoding="utf-8"?>
<p:tagLst xmlns:a="http://schemas.openxmlformats.org/drawingml/2006/main" xmlns:r="http://schemas.openxmlformats.org/officeDocument/2006/relationships" xmlns:p="http://schemas.openxmlformats.org/presentationml/2006/main">
  <p:tag name="AS_UNIQUEID" val="2764"/>
</p:tagLst>
</file>

<file path=ppt/tags/tag1221.xml><?xml version="1.0" encoding="utf-8"?>
<p:tagLst xmlns:a="http://schemas.openxmlformats.org/drawingml/2006/main" xmlns:r="http://schemas.openxmlformats.org/officeDocument/2006/relationships" xmlns:p="http://schemas.openxmlformats.org/presentationml/2006/main">
  <p:tag name="AS_UNIQUEID" val="2765"/>
</p:tagLst>
</file>

<file path=ppt/tags/tag1222.xml><?xml version="1.0" encoding="utf-8"?>
<p:tagLst xmlns:a="http://schemas.openxmlformats.org/drawingml/2006/main" xmlns:r="http://schemas.openxmlformats.org/officeDocument/2006/relationships" xmlns:p="http://schemas.openxmlformats.org/presentationml/2006/main">
  <p:tag name="AS_UNIQUEID" val="2766"/>
</p:tagLst>
</file>

<file path=ppt/tags/tag1223.xml><?xml version="1.0" encoding="utf-8"?>
<p:tagLst xmlns:a="http://schemas.openxmlformats.org/drawingml/2006/main" xmlns:r="http://schemas.openxmlformats.org/officeDocument/2006/relationships" xmlns:p="http://schemas.openxmlformats.org/presentationml/2006/main">
  <p:tag name="AS_UNIQUEID" val="2767"/>
</p:tagLst>
</file>

<file path=ppt/tags/tag1224.xml><?xml version="1.0" encoding="utf-8"?>
<p:tagLst xmlns:a="http://schemas.openxmlformats.org/drawingml/2006/main" xmlns:r="http://schemas.openxmlformats.org/officeDocument/2006/relationships" xmlns:p="http://schemas.openxmlformats.org/presentationml/2006/main">
  <p:tag name="AS_UNIQUEID" val="2768"/>
</p:tagLst>
</file>

<file path=ppt/tags/tag1225.xml><?xml version="1.0" encoding="utf-8"?>
<p:tagLst xmlns:a="http://schemas.openxmlformats.org/drawingml/2006/main" xmlns:r="http://schemas.openxmlformats.org/officeDocument/2006/relationships" xmlns:p="http://schemas.openxmlformats.org/presentationml/2006/main">
  <p:tag name="AS_UNIQUEID" val="2769"/>
</p:tagLst>
</file>

<file path=ppt/tags/tag1226.xml><?xml version="1.0" encoding="utf-8"?>
<p:tagLst xmlns:a="http://schemas.openxmlformats.org/drawingml/2006/main" xmlns:r="http://schemas.openxmlformats.org/officeDocument/2006/relationships" xmlns:p="http://schemas.openxmlformats.org/presentationml/2006/main">
  <p:tag name="AS_UNIQUEID" val="2742"/>
</p:tagLst>
</file>

<file path=ppt/tags/tag1227.xml><?xml version="1.0" encoding="utf-8"?>
<p:tagLst xmlns:a="http://schemas.openxmlformats.org/drawingml/2006/main" xmlns:r="http://schemas.openxmlformats.org/officeDocument/2006/relationships" xmlns:p="http://schemas.openxmlformats.org/presentationml/2006/main">
  <p:tag name="AS_UNIQUEID" val="2745"/>
</p:tagLst>
</file>

<file path=ppt/tags/tag1228.xml><?xml version="1.0" encoding="utf-8"?>
<p:tagLst xmlns:a="http://schemas.openxmlformats.org/drawingml/2006/main" xmlns:r="http://schemas.openxmlformats.org/officeDocument/2006/relationships" xmlns:p="http://schemas.openxmlformats.org/presentationml/2006/main">
  <p:tag name="AS_UNIQUEID" val="2748"/>
</p:tagLst>
</file>

<file path=ppt/tags/tag1229.xml><?xml version="1.0" encoding="utf-8"?>
<p:tagLst xmlns:a="http://schemas.openxmlformats.org/drawingml/2006/main" xmlns:r="http://schemas.openxmlformats.org/officeDocument/2006/relationships" xmlns:p="http://schemas.openxmlformats.org/presentationml/2006/main">
  <p:tag name="AS_UNIQUEID" val="2751"/>
</p:tagLst>
</file>

<file path=ppt/tags/tag123.xml><?xml version="1.0" encoding="utf-8"?>
<p:tagLst xmlns:a="http://schemas.openxmlformats.org/drawingml/2006/main" xmlns:r="http://schemas.openxmlformats.org/officeDocument/2006/relationships" xmlns:p="http://schemas.openxmlformats.org/presentationml/2006/main">
  <p:tag name="AS_UNIQUEID" val="1847"/>
</p:tagLst>
</file>

<file path=ppt/tags/tag1230.xml><?xml version="1.0" encoding="utf-8"?>
<p:tagLst xmlns:a="http://schemas.openxmlformats.org/drawingml/2006/main" xmlns:r="http://schemas.openxmlformats.org/officeDocument/2006/relationships" xmlns:p="http://schemas.openxmlformats.org/presentationml/2006/main">
  <p:tag name="AS_UNIQUEID" val="2754"/>
</p:tagLst>
</file>

<file path=ppt/tags/tag1231.xml><?xml version="1.0" encoding="utf-8"?>
<p:tagLst xmlns:a="http://schemas.openxmlformats.org/drawingml/2006/main" xmlns:r="http://schemas.openxmlformats.org/officeDocument/2006/relationships" xmlns:p="http://schemas.openxmlformats.org/presentationml/2006/main">
  <p:tag name="AS_UNIQUEID" val="2755"/>
</p:tagLst>
</file>

<file path=ppt/tags/tag1232.xml><?xml version="1.0" encoding="utf-8"?>
<p:tagLst xmlns:a="http://schemas.openxmlformats.org/drawingml/2006/main" xmlns:r="http://schemas.openxmlformats.org/officeDocument/2006/relationships" xmlns:p="http://schemas.openxmlformats.org/presentationml/2006/main">
  <p:tag name="AS_UNIQUEID" val="2756"/>
</p:tagLst>
</file>

<file path=ppt/tags/tag1233.xml><?xml version="1.0" encoding="utf-8"?>
<p:tagLst xmlns:a="http://schemas.openxmlformats.org/drawingml/2006/main" xmlns:r="http://schemas.openxmlformats.org/officeDocument/2006/relationships" xmlns:p="http://schemas.openxmlformats.org/presentationml/2006/main">
  <p:tag name="AS_UNIQUEID" val="2752"/>
</p:tagLst>
</file>

<file path=ppt/tags/tag1234.xml><?xml version="1.0" encoding="utf-8"?>
<p:tagLst xmlns:a="http://schemas.openxmlformats.org/drawingml/2006/main" xmlns:r="http://schemas.openxmlformats.org/officeDocument/2006/relationships" xmlns:p="http://schemas.openxmlformats.org/presentationml/2006/main">
  <p:tag name="AS_UNIQUEID" val="2753"/>
</p:tagLst>
</file>

<file path=ppt/tags/tag1235.xml><?xml version="1.0" encoding="utf-8"?>
<p:tagLst xmlns:a="http://schemas.openxmlformats.org/drawingml/2006/main" xmlns:r="http://schemas.openxmlformats.org/officeDocument/2006/relationships" xmlns:p="http://schemas.openxmlformats.org/presentationml/2006/main">
  <p:tag name="AS_UNIQUEID" val="2749"/>
</p:tagLst>
</file>

<file path=ppt/tags/tag1236.xml><?xml version="1.0" encoding="utf-8"?>
<p:tagLst xmlns:a="http://schemas.openxmlformats.org/drawingml/2006/main" xmlns:r="http://schemas.openxmlformats.org/officeDocument/2006/relationships" xmlns:p="http://schemas.openxmlformats.org/presentationml/2006/main">
  <p:tag name="AS_UNIQUEID" val="2750"/>
</p:tagLst>
</file>

<file path=ppt/tags/tag1237.xml><?xml version="1.0" encoding="utf-8"?>
<p:tagLst xmlns:a="http://schemas.openxmlformats.org/drawingml/2006/main" xmlns:r="http://schemas.openxmlformats.org/officeDocument/2006/relationships" xmlns:p="http://schemas.openxmlformats.org/presentationml/2006/main">
  <p:tag name="AS_UNIQUEID" val="2746"/>
</p:tagLst>
</file>

<file path=ppt/tags/tag1238.xml><?xml version="1.0" encoding="utf-8"?>
<p:tagLst xmlns:a="http://schemas.openxmlformats.org/drawingml/2006/main" xmlns:r="http://schemas.openxmlformats.org/officeDocument/2006/relationships" xmlns:p="http://schemas.openxmlformats.org/presentationml/2006/main">
  <p:tag name="AS_UNIQUEID" val="2747"/>
</p:tagLst>
</file>

<file path=ppt/tags/tag1239.xml><?xml version="1.0" encoding="utf-8"?>
<p:tagLst xmlns:a="http://schemas.openxmlformats.org/drawingml/2006/main" xmlns:r="http://schemas.openxmlformats.org/officeDocument/2006/relationships" xmlns:p="http://schemas.openxmlformats.org/presentationml/2006/main">
  <p:tag name="AS_UNIQUEID" val="2743"/>
</p:tagLst>
</file>

<file path=ppt/tags/tag124.xml><?xml version="1.0" encoding="utf-8"?>
<p:tagLst xmlns:a="http://schemas.openxmlformats.org/drawingml/2006/main" xmlns:r="http://schemas.openxmlformats.org/officeDocument/2006/relationships" xmlns:p="http://schemas.openxmlformats.org/presentationml/2006/main">
  <p:tag name="AS_UNIQUEID" val="1848"/>
</p:tagLst>
</file>

<file path=ppt/tags/tag1240.xml><?xml version="1.0" encoding="utf-8"?>
<p:tagLst xmlns:a="http://schemas.openxmlformats.org/drawingml/2006/main" xmlns:r="http://schemas.openxmlformats.org/officeDocument/2006/relationships" xmlns:p="http://schemas.openxmlformats.org/presentationml/2006/main">
  <p:tag name="AS_UNIQUEID" val="2744"/>
</p:tagLst>
</file>

<file path=ppt/tags/tag1241.xml><?xml version="1.0" encoding="utf-8"?>
<p:tagLst xmlns:a="http://schemas.openxmlformats.org/drawingml/2006/main" xmlns:r="http://schemas.openxmlformats.org/officeDocument/2006/relationships" xmlns:p="http://schemas.openxmlformats.org/presentationml/2006/main">
  <p:tag name="AS_UNIQUEID" val="2736"/>
</p:tagLst>
</file>

<file path=ppt/tags/tag1242.xml><?xml version="1.0" encoding="utf-8"?>
<p:tagLst xmlns:a="http://schemas.openxmlformats.org/drawingml/2006/main" xmlns:r="http://schemas.openxmlformats.org/officeDocument/2006/relationships" xmlns:p="http://schemas.openxmlformats.org/presentationml/2006/main">
  <p:tag name="AS_UNIQUEID" val="2737"/>
</p:tagLst>
</file>

<file path=ppt/tags/tag1243.xml><?xml version="1.0" encoding="utf-8"?>
<p:tagLst xmlns:a="http://schemas.openxmlformats.org/drawingml/2006/main" xmlns:r="http://schemas.openxmlformats.org/officeDocument/2006/relationships" xmlns:p="http://schemas.openxmlformats.org/presentationml/2006/main">
  <p:tag name="AS_UNIQUEID" val="2738"/>
</p:tagLst>
</file>

<file path=ppt/tags/tag1244.xml><?xml version="1.0" encoding="utf-8"?>
<p:tagLst xmlns:a="http://schemas.openxmlformats.org/drawingml/2006/main" xmlns:r="http://schemas.openxmlformats.org/officeDocument/2006/relationships" xmlns:p="http://schemas.openxmlformats.org/presentationml/2006/main">
  <p:tag name="AS_UNIQUEID" val="2739"/>
</p:tagLst>
</file>

<file path=ppt/tags/tag1245.xml><?xml version="1.0" encoding="utf-8"?>
<p:tagLst xmlns:a="http://schemas.openxmlformats.org/drawingml/2006/main" xmlns:r="http://schemas.openxmlformats.org/officeDocument/2006/relationships" xmlns:p="http://schemas.openxmlformats.org/presentationml/2006/main">
  <p:tag name="AS_UNIQUEID" val="2740"/>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AS_UNIQUEID" val="1849"/>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AS_UNIQUEID" val="3299"/>
</p:tagLst>
</file>

<file path=ppt/tags/tag1255.xml><?xml version="1.0" encoding="utf-8"?>
<p:tagLst xmlns:a="http://schemas.openxmlformats.org/drawingml/2006/main" xmlns:r="http://schemas.openxmlformats.org/officeDocument/2006/relationships" xmlns:p="http://schemas.openxmlformats.org/presentationml/2006/main">
  <p:tag name="AS_UNIQUEID" val="3300"/>
</p:tagLst>
</file>

<file path=ppt/tags/tag1256.xml><?xml version="1.0" encoding="utf-8"?>
<p:tagLst xmlns:a="http://schemas.openxmlformats.org/drawingml/2006/main" xmlns:r="http://schemas.openxmlformats.org/officeDocument/2006/relationships" xmlns:p="http://schemas.openxmlformats.org/presentationml/2006/main">
  <p:tag name="AS_UNIQUEID" val="3303"/>
  <p:tag name="THINKCELLSHAPEDONOTDELETE" val="thinkcellActiveDocDoNotDelete"/>
</p:tagLst>
</file>

<file path=ppt/tags/tag1257.xml><?xml version="1.0" encoding="utf-8"?>
<p:tagLst xmlns:a="http://schemas.openxmlformats.org/drawingml/2006/main" xmlns:r="http://schemas.openxmlformats.org/officeDocument/2006/relationships" xmlns:p="http://schemas.openxmlformats.org/presentationml/2006/main">
  <p:tag name="AS_UNIQUEID" val="3307"/>
</p:tagLst>
</file>

<file path=ppt/tags/tag1258.xml><?xml version="1.0" encoding="utf-8"?>
<p:tagLst xmlns:a="http://schemas.openxmlformats.org/drawingml/2006/main" xmlns:r="http://schemas.openxmlformats.org/officeDocument/2006/relationships" xmlns:p="http://schemas.openxmlformats.org/presentationml/2006/main">
  <p:tag name="AS_UNIQUEID" val="3308"/>
</p:tagLst>
</file>

<file path=ppt/tags/tag1259.xml><?xml version="1.0" encoding="utf-8"?>
<p:tagLst xmlns:a="http://schemas.openxmlformats.org/drawingml/2006/main" xmlns:r="http://schemas.openxmlformats.org/officeDocument/2006/relationships" xmlns:p="http://schemas.openxmlformats.org/presentationml/2006/main">
  <p:tag name="AS_UNIQUEID" val="3309"/>
</p:tagLst>
</file>

<file path=ppt/tags/tag126.xml><?xml version="1.0" encoding="utf-8"?>
<p:tagLst xmlns:a="http://schemas.openxmlformats.org/drawingml/2006/main" xmlns:r="http://schemas.openxmlformats.org/officeDocument/2006/relationships" xmlns:p="http://schemas.openxmlformats.org/presentationml/2006/main">
  <p:tag name="AS_UNIQUEID" val="1851"/>
</p:tagLst>
</file>

<file path=ppt/tags/tag1260.xml><?xml version="1.0" encoding="utf-8"?>
<p:tagLst xmlns:a="http://schemas.openxmlformats.org/drawingml/2006/main" xmlns:r="http://schemas.openxmlformats.org/officeDocument/2006/relationships" xmlns:p="http://schemas.openxmlformats.org/presentationml/2006/main">
  <p:tag name="AS_UNIQUEID" val="3311"/>
</p:tagLst>
</file>

<file path=ppt/tags/tag1261.xml><?xml version="1.0" encoding="utf-8"?>
<p:tagLst xmlns:a="http://schemas.openxmlformats.org/drawingml/2006/main" xmlns:r="http://schemas.openxmlformats.org/officeDocument/2006/relationships" xmlns:p="http://schemas.openxmlformats.org/presentationml/2006/main">
  <p:tag name="AS_UNIQUEID" val="3313"/>
</p:tagLst>
</file>

<file path=ppt/tags/tag1262.xml><?xml version="1.0" encoding="utf-8"?>
<p:tagLst xmlns:a="http://schemas.openxmlformats.org/drawingml/2006/main" xmlns:r="http://schemas.openxmlformats.org/officeDocument/2006/relationships" xmlns:p="http://schemas.openxmlformats.org/presentationml/2006/main">
  <p:tag name="AS_UNIQUEID" val="3314"/>
</p:tagLst>
</file>

<file path=ppt/tags/tag1263.xml><?xml version="1.0" encoding="utf-8"?>
<p:tagLst xmlns:a="http://schemas.openxmlformats.org/drawingml/2006/main" xmlns:r="http://schemas.openxmlformats.org/officeDocument/2006/relationships" xmlns:p="http://schemas.openxmlformats.org/presentationml/2006/main">
  <p:tag name="AS_UNIQUEID" val="3315"/>
</p:tagLst>
</file>

<file path=ppt/tags/tag1264.xml><?xml version="1.0" encoding="utf-8"?>
<p:tagLst xmlns:a="http://schemas.openxmlformats.org/drawingml/2006/main" xmlns:r="http://schemas.openxmlformats.org/officeDocument/2006/relationships" xmlns:p="http://schemas.openxmlformats.org/presentationml/2006/main">
  <p:tag name="AS_UNIQUEID" val="3319"/>
</p:tagLst>
</file>

<file path=ppt/tags/tag1265.xml><?xml version="1.0" encoding="utf-8"?>
<p:tagLst xmlns:a="http://schemas.openxmlformats.org/drawingml/2006/main" xmlns:r="http://schemas.openxmlformats.org/officeDocument/2006/relationships" xmlns:p="http://schemas.openxmlformats.org/presentationml/2006/main">
  <p:tag name="AS_UNIQUEID" val="3323"/>
</p:tagLst>
</file>

<file path=ppt/tags/tag1266.xml><?xml version="1.0" encoding="utf-8"?>
<p:tagLst xmlns:a="http://schemas.openxmlformats.org/drawingml/2006/main" xmlns:r="http://schemas.openxmlformats.org/officeDocument/2006/relationships" xmlns:p="http://schemas.openxmlformats.org/presentationml/2006/main">
  <p:tag name="AS_UNIQUEID" val="3324"/>
</p:tagLst>
</file>

<file path=ppt/tags/tag1267.xml><?xml version="1.0" encoding="utf-8"?>
<p:tagLst xmlns:a="http://schemas.openxmlformats.org/drawingml/2006/main" xmlns:r="http://schemas.openxmlformats.org/officeDocument/2006/relationships" xmlns:p="http://schemas.openxmlformats.org/presentationml/2006/main">
  <p:tag name="AS_UNIQUEID" val="3325"/>
</p:tagLst>
</file>

<file path=ppt/tags/tag1268.xml><?xml version="1.0" encoding="utf-8"?>
<p:tagLst xmlns:a="http://schemas.openxmlformats.org/drawingml/2006/main" xmlns:r="http://schemas.openxmlformats.org/officeDocument/2006/relationships" xmlns:p="http://schemas.openxmlformats.org/presentationml/2006/main">
  <p:tag name="AS_UNIQUEID" val="3320"/>
</p:tagLst>
</file>

<file path=ppt/tags/tag1269.xml><?xml version="1.0" encoding="utf-8"?>
<p:tagLst xmlns:a="http://schemas.openxmlformats.org/drawingml/2006/main" xmlns:r="http://schemas.openxmlformats.org/officeDocument/2006/relationships" xmlns:p="http://schemas.openxmlformats.org/presentationml/2006/main">
  <p:tag name="AS_UNIQUEID" val="3321"/>
</p:tagLst>
</file>

<file path=ppt/tags/tag127.xml><?xml version="1.0" encoding="utf-8"?>
<p:tagLst xmlns:a="http://schemas.openxmlformats.org/drawingml/2006/main" xmlns:r="http://schemas.openxmlformats.org/officeDocument/2006/relationships" xmlns:p="http://schemas.openxmlformats.org/presentationml/2006/main">
  <p:tag name="AS_UNIQUEID" val="1852"/>
</p:tagLst>
</file>

<file path=ppt/tags/tag1270.xml><?xml version="1.0" encoding="utf-8"?>
<p:tagLst xmlns:a="http://schemas.openxmlformats.org/drawingml/2006/main" xmlns:r="http://schemas.openxmlformats.org/officeDocument/2006/relationships" xmlns:p="http://schemas.openxmlformats.org/presentationml/2006/main">
  <p:tag name="AS_UNIQUEID" val="3316"/>
</p:tagLst>
</file>

<file path=ppt/tags/tag1271.xml><?xml version="1.0" encoding="utf-8"?>
<p:tagLst xmlns:a="http://schemas.openxmlformats.org/drawingml/2006/main" xmlns:r="http://schemas.openxmlformats.org/officeDocument/2006/relationships" xmlns:p="http://schemas.openxmlformats.org/presentationml/2006/main">
  <p:tag name="AS_UNIQUEID" val="3317"/>
</p:tagLst>
</file>

<file path=ppt/tags/tag1272.xml><?xml version="1.0" encoding="utf-8"?>
<p:tagLst xmlns:a="http://schemas.openxmlformats.org/drawingml/2006/main" xmlns:r="http://schemas.openxmlformats.org/officeDocument/2006/relationships" xmlns:p="http://schemas.openxmlformats.org/presentationml/2006/main">
  <p:tag name="AS_UNIQUEID" val="3301"/>
</p:tagLst>
</file>

<file path=ppt/tags/tag1273.xml><?xml version="1.0" encoding="utf-8"?>
<p:tagLst xmlns:a="http://schemas.openxmlformats.org/drawingml/2006/main" xmlns:r="http://schemas.openxmlformats.org/officeDocument/2006/relationships" xmlns:p="http://schemas.openxmlformats.org/presentationml/2006/main">
  <p:tag name="AS_UNIQUEID" val="3302"/>
</p:tagLst>
</file>

<file path=ppt/tags/tag1274.xml><?xml version="1.0" encoding="utf-8"?>
<p:tagLst xmlns:a="http://schemas.openxmlformats.org/drawingml/2006/main" xmlns:r="http://schemas.openxmlformats.org/officeDocument/2006/relationships" xmlns:p="http://schemas.openxmlformats.org/presentationml/2006/main">
  <p:tag name="AS_UNIQUEID" val="3295"/>
</p:tagLst>
</file>

<file path=ppt/tags/tag1275.xml><?xml version="1.0" encoding="utf-8"?>
<p:tagLst xmlns:a="http://schemas.openxmlformats.org/drawingml/2006/main" xmlns:r="http://schemas.openxmlformats.org/officeDocument/2006/relationships" xmlns:p="http://schemas.openxmlformats.org/presentationml/2006/main">
  <p:tag name="AS_UNIQUEID" val="3296"/>
</p:tagLst>
</file>

<file path=ppt/tags/tag1276.xml><?xml version="1.0" encoding="utf-8"?>
<p:tagLst xmlns:a="http://schemas.openxmlformats.org/drawingml/2006/main" xmlns:r="http://schemas.openxmlformats.org/officeDocument/2006/relationships" xmlns:p="http://schemas.openxmlformats.org/presentationml/2006/main">
  <p:tag name="AS_UNIQUEID" val="3297"/>
</p:tagLst>
</file>

<file path=ppt/tags/tag1277.xml><?xml version="1.0" encoding="utf-8"?>
<p:tagLst xmlns:a="http://schemas.openxmlformats.org/drawingml/2006/main" xmlns:r="http://schemas.openxmlformats.org/officeDocument/2006/relationships" xmlns:p="http://schemas.openxmlformats.org/presentationml/2006/main">
  <p:tag name="AS_UNIQUEID" val="3340"/>
  <p:tag name="THINKCELLSHAPEDONOTDELETE" val="thinkcellActiveDocDoNotDelete"/>
</p:tagLst>
</file>

<file path=ppt/tags/tag1278.xml><?xml version="1.0" encoding="utf-8"?>
<p:tagLst xmlns:a="http://schemas.openxmlformats.org/drawingml/2006/main" xmlns:r="http://schemas.openxmlformats.org/officeDocument/2006/relationships" xmlns:p="http://schemas.openxmlformats.org/presentationml/2006/main">
  <p:tag name="AS_UNIQUEID" val="3338"/>
</p:tagLst>
</file>

<file path=ppt/tags/tag1279.xml><?xml version="1.0" encoding="utf-8"?>
<p:tagLst xmlns:a="http://schemas.openxmlformats.org/drawingml/2006/main" xmlns:r="http://schemas.openxmlformats.org/officeDocument/2006/relationships" xmlns:p="http://schemas.openxmlformats.org/presentationml/2006/main">
  <p:tag name="AS_UNIQUEID" val="3339"/>
</p:tagLst>
</file>

<file path=ppt/tags/tag128.xml><?xml version="1.0" encoding="utf-8"?>
<p:tagLst xmlns:a="http://schemas.openxmlformats.org/drawingml/2006/main" xmlns:r="http://schemas.openxmlformats.org/officeDocument/2006/relationships" xmlns:p="http://schemas.openxmlformats.org/presentationml/2006/main">
  <p:tag name="AS_UNIQUEID" val="1853"/>
</p:tagLst>
</file>

<file path=ppt/tags/tag1280.xml><?xml version="1.0" encoding="utf-8"?>
<p:tagLst xmlns:a="http://schemas.openxmlformats.org/drawingml/2006/main" xmlns:r="http://schemas.openxmlformats.org/officeDocument/2006/relationships" xmlns:p="http://schemas.openxmlformats.org/presentationml/2006/main">
  <p:tag name="AS_UNIQUEID" val="3344"/>
</p:tagLst>
</file>

<file path=ppt/tags/tag1281.xml><?xml version="1.0" encoding="utf-8"?>
<p:tagLst xmlns:a="http://schemas.openxmlformats.org/drawingml/2006/main" xmlns:r="http://schemas.openxmlformats.org/officeDocument/2006/relationships" xmlns:p="http://schemas.openxmlformats.org/presentationml/2006/main">
  <p:tag name="AS_UNIQUEID" val="3345"/>
</p:tagLst>
</file>

<file path=ppt/tags/tag1282.xml><?xml version="1.0" encoding="utf-8"?>
<p:tagLst xmlns:a="http://schemas.openxmlformats.org/drawingml/2006/main" xmlns:r="http://schemas.openxmlformats.org/officeDocument/2006/relationships" xmlns:p="http://schemas.openxmlformats.org/presentationml/2006/main">
  <p:tag name="AS_UNIQUEID" val="3346"/>
</p:tagLst>
</file>

<file path=ppt/tags/tag1283.xml><?xml version="1.0" encoding="utf-8"?>
<p:tagLst xmlns:a="http://schemas.openxmlformats.org/drawingml/2006/main" xmlns:r="http://schemas.openxmlformats.org/officeDocument/2006/relationships" xmlns:p="http://schemas.openxmlformats.org/presentationml/2006/main">
  <p:tag name="AS_UNIQUEID" val="3349"/>
</p:tagLst>
</file>

<file path=ppt/tags/tag1284.xml><?xml version="1.0" encoding="utf-8"?>
<p:tagLst xmlns:a="http://schemas.openxmlformats.org/drawingml/2006/main" xmlns:r="http://schemas.openxmlformats.org/officeDocument/2006/relationships" xmlns:p="http://schemas.openxmlformats.org/presentationml/2006/main">
  <p:tag name="AS_UNIQUEID" val="3356"/>
  <p:tag name="THINKCELLSHAPEDONOTDELETE" val="tXgC._XD6SZWlgmTtpu8c9A"/>
</p:tagLst>
</file>

<file path=ppt/tags/tag1285.xml><?xml version="1.0" encoding="utf-8"?>
<p:tagLst xmlns:a="http://schemas.openxmlformats.org/drawingml/2006/main" xmlns:r="http://schemas.openxmlformats.org/officeDocument/2006/relationships" xmlns:p="http://schemas.openxmlformats.org/presentationml/2006/main">
  <p:tag name="AS_UNIQUEID" val="3357"/>
  <p:tag name="THINKCELLSHAPEDONOTDELETE" val="tirb7p1mWJJnecO.MUr4_jA"/>
</p:tagLst>
</file>

<file path=ppt/tags/tag1286.xml><?xml version="1.0" encoding="utf-8"?>
<p:tagLst xmlns:a="http://schemas.openxmlformats.org/drawingml/2006/main" xmlns:r="http://schemas.openxmlformats.org/officeDocument/2006/relationships" xmlns:p="http://schemas.openxmlformats.org/presentationml/2006/main">
  <p:tag name="AS_UNIQUEID" val="3358"/>
  <p:tag name="THINKCELLSHAPEDONOTDELETE" val="tM7zdjeIMlYWbh3MBP4lidg"/>
</p:tagLst>
</file>

<file path=ppt/tags/tag1287.xml><?xml version="1.0" encoding="utf-8"?>
<p:tagLst xmlns:a="http://schemas.openxmlformats.org/drawingml/2006/main" xmlns:r="http://schemas.openxmlformats.org/officeDocument/2006/relationships" xmlns:p="http://schemas.openxmlformats.org/presentationml/2006/main">
  <p:tag name="AS_UNIQUEID" val="3359"/>
  <p:tag name="THINKCELLSHAPEDONOTDELETE" val="try7.MidXNUOZuAnKiboJLg"/>
</p:tagLst>
</file>

<file path=ppt/tags/tag1288.xml><?xml version="1.0" encoding="utf-8"?>
<p:tagLst xmlns:a="http://schemas.openxmlformats.org/drawingml/2006/main" xmlns:r="http://schemas.openxmlformats.org/officeDocument/2006/relationships" xmlns:p="http://schemas.openxmlformats.org/presentationml/2006/main">
  <p:tag name="AS_UNIQUEID" val="3360"/>
  <p:tag name="THINKCELLSHAPEDONOTDELETE" val="trfRfY7SA_IwO9mtJrB9a1A"/>
</p:tagLst>
</file>

<file path=ppt/tags/tag1289.xml><?xml version="1.0" encoding="utf-8"?>
<p:tagLst xmlns:a="http://schemas.openxmlformats.org/drawingml/2006/main" xmlns:r="http://schemas.openxmlformats.org/officeDocument/2006/relationships" xmlns:p="http://schemas.openxmlformats.org/presentationml/2006/main">
  <p:tag name="AS_UNIQUEID" val="3361"/>
  <p:tag name="THINKCELLSHAPEDONOTDELETE" val="t2vmk6MNl.Ow0LVHCxSzyrg"/>
</p:tagLst>
</file>

<file path=ppt/tags/tag129.xml><?xml version="1.0" encoding="utf-8"?>
<p:tagLst xmlns:a="http://schemas.openxmlformats.org/drawingml/2006/main" xmlns:r="http://schemas.openxmlformats.org/officeDocument/2006/relationships" xmlns:p="http://schemas.openxmlformats.org/presentationml/2006/main">
  <p:tag name="AS_UNIQUEID" val="1855"/>
</p:tagLst>
</file>

<file path=ppt/tags/tag1290.xml><?xml version="1.0" encoding="utf-8"?>
<p:tagLst xmlns:a="http://schemas.openxmlformats.org/drawingml/2006/main" xmlns:r="http://schemas.openxmlformats.org/officeDocument/2006/relationships" xmlns:p="http://schemas.openxmlformats.org/presentationml/2006/main">
  <p:tag name="AS_UNIQUEID" val="3362"/>
  <p:tag name="THINKCELLSHAPEDONOTDELETE" val="tz7GRwBCmflezPD.5ma8e3A"/>
</p:tagLst>
</file>

<file path=ppt/tags/tag1291.xml><?xml version="1.0" encoding="utf-8"?>
<p:tagLst xmlns:a="http://schemas.openxmlformats.org/drawingml/2006/main" xmlns:r="http://schemas.openxmlformats.org/officeDocument/2006/relationships" xmlns:p="http://schemas.openxmlformats.org/presentationml/2006/main">
  <p:tag name="AS_UNIQUEID" val="3363"/>
  <p:tag name="THINKCELLSHAPEDONOTDELETE" val="tGYC7IwLDnJVr69Qa3sAMtQ"/>
</p:tagLst>
</file>

<file path=ppt/tags/tag1292.xml><?xml version="1.0" encoding="utf-8"?>
<p:tagLst xmlns:a="http://schemas.openxmlformats.org/drawingml/2006/main" xmlns:r="http://schemas.openxmlformats.org/officeDocument/2006/relationships" xmlns:p="http://schemas.openxmlformats.org/presentationml/2006/main">
  <p:tag name="AS_UNIQUEID" val="3364"/>
  <p:tag name="THINKCELLSHAPEDONOTDELETE" val="tcNlY3ON7lswcx1Mzdsxg7w"/>
</p:tagLst>
</file>

<file path=ppt/tags/tag1293.xml><?xml version="1.0" encoding="utf-8"?>
<p:tagLst xmlns:a="http://schemas.openxmlformats.org/drawingml/2006/main" xmlns:r="http://schemas.openxmlformats.org/officeDocument/2006/relationships" xmlns:p="http://schemas.openxmlformats.org/presentationml/2006/main">
  <p:tag name="AS_UNIQUEID" val="3365"/>
  <p:tag name="THINKCELLSHAPEDONOTDELETE" val="t71tpTV0bIUWlQXtj.2y1Jg"/>
</p:tagLst>
</file>

<file path=ppt/tags/tag1294.xml><?xml version="1.0" encoding="utf-8"?>
<p:tagLst xmlns:a="http://schemas.openxmlformats.org/drawingml/2006/main" xmlns:r="http://schemas.openxmlformats.org/officeDocument/2006/relationships" xmlns:p="http://schemas.openxmlformats.org/presentationml/2006/main">
  <p:tag name="AS_UNIQUEID" val="3366"/>
  <p:tag name="THINKCELLSHAPEDONOTDELETE" val="tOtAMhcG2FeVdlA.ZBceWCQ"/>
</p:tagLst>
</file>

<file path=ppt/tags/tag1295.xml><?xml version="1.0" encoding="utf-8"?>
<p:tagLst xmlns:a="http://schemas.openxmlformats.org/drawingml/2006/main" xmlns:r="http://schemas.openxmlformats.org/officeDocument/2006/relationships" xmlns:p="http://schemas.openxmlformats.org/presentationml/2006/main">
  <p:tag name="AS_UNIQUEID" val="3367"/>
  <p:tag name="THINKCELLSHAPEDONOTDELETE" val="t20dlwBrKuKWTXcMUV2ymTQ"/>
</p:tagLst>
</file>

<file path=ppt/tags/tag1296.xml><?xml version="1.0" encoding="utf-8"?>
<p:tagLst xmlns:a="http://schemas.openxmlformats.org/drawingml/2006/main" xmlns:r="http://schemas.openxmlformats.org/officeDocument/2006/relationships" xmlns:p="http://schemas.openxmlformats.org/presentationml/2006/main">
  <p:tag name="AS_UNIQUEID" val="3368"/>
  <p:tag name="THINKCELLSHAPEDONOTDELETE" val="tkMbgAx2G0jQnWpgQNhJeug"/>
</p:tagLst>
</file>

<file path=ppt/tags/tag1297.xml><?xml version="1.0" encoding="utf-8"?>
<p:tagLst xmlns:a="http://schemas.openxmlformats.org/drawingml/2006/main" xmlns:r="http://schemas.openxmlformats.org/officeDocument/2006/relationships" xmlns:p="http://schemas.openxmlformats.org/presentationml/2006/main">
  <p:tag name="AS_UNIQUEID" val="3369"/>
  <p:tag name="THINKCELLSHAPEDONOTDELETE" val="tcckxYgFnW6I9x57E5xX01g"/>
</p:tagLst>
</file>

<file path=ppt/tags/tag1298.xml><?xml version="1.0" encoding="utf-8"?>
<p:tagLst xmlns:a="http://schemas.openxmlformats.org/drawingml/2006/main" xmlns:r="http://schemas.openxmlformats.org/officeDocument/2006/relationships" xmlns:p="http://schemas.openxmlformats.org/presentationml/2006/main">
  <p:tag name="AS_UNIQUEID" val="3370"/>
  <p:tag name="THINKCELLSHAPEDONOTDELETE" val="t3x98IP8B51jP6eh2Dd_gag"/>
</p:tagLst>
</file>

<file path=ppt/tags/tag1299.xml><?xml version="1.0" encoding="utf-8"?>
<p:tagLst xmlns:a="http://schemas.openxmlformats.org/drawingml/2006/main" xmlns:r="http://schemas.openxmlformats.org/officeDocument/2006/relationships" xmlns:p="http://schemas.openxmlformats.org/presentationml/2006/main">
  <p:tag name="AS_UNIQUEID" val="3371"/>
  <p:tag name="THINKCELLSHAPEDONOTDELETE" val="tXJrCV50behUB0xRmT6Vq8w"/>
</p:tagLst>
</file>

<file path=ppt/tags/tag13.xml><?xml version="1.0" encoding="utf-8"?>
<p:tagLst xmlns:a="http://schemas.openxmlformats.org/drawingml/2006/main" xmlns:r="http://schemas.openxmlformats.org/officeDocument/2006/relationships" xmlns:p="http://schemas.openxmlformats.org/presentationml/2006/main">
  <p:tag name="AS_UNIQUEID" val="1716"/>
</p:tagLst>
</file>

<file path=ppt/tags/tag130.xml><?xml version="1.0" encoding="utf-8"?>
<p:tagLst xmlns:a="http://schemas.openxmlformats.org/drawingml/2006/main" xmlns:r="http://schemas.openxmlformats.org/officeDocument/2006/relationships" xmlns:p="http://schemas.openxmlformats.org/presentationml/2006/main">
  <p:tag name="AS_UNIQUEID" val="1856"/>
</p:tagLst>
</file>

<file path=ppt/tags/tag1300.xml><?xml version="1.0" encoding="utf-8"?>
<p:tagLst xmlns:a="http://schemas.openxmlformats.org/drawingml/2006/main" xmlns:r="http://schemas.openxmlformats.org/officeDocument/2006/relationships" xmlns:p="http://schemas.openxmlformats.org/presentationml/2006/main">
  <p:tag name="AS_UNIQUEID" val="3372"/>
  <p:tag name="THINKCELLSHAPEDONOTDELETE" val="tJqRgDLfBOIE83d8kjgI3cw"/>
</p:tagLst>
</file>

<file path=ppt/tags/tag1301.xml><?xml version="1.0" encoding="utf-8"?>
<p:tagLst xmlns:a="http://schemas.openxmlformats.org/drawingml/2006/main" xmlns:r="http://schemas.openxmlformats.org/officeDocument/2006/relationships" xmlns:p="http://schemas.openxmlformats.org/presentationml/2006/main">
  <p:tag name="AS_UNIQUEID" val="3373"/>
  <p:tag name="THINKCELLSHAPEDONOTDELETE" val="tWiHEK4JA3cDihw3T566VTA"/>
</p:tagLst>
</file>

<file path=ppt/tags/tag1302.xml><?xml version="1.0" encoding="utf-8"?>
<p:tagLst xmlns:a="http://schemas.openxmlformats.org/drawingml/2006/main" xmlns:r="http://schemas.openxmlformats.org/officeDocument/2006/relationships" xmlns:p="http://schemas.openxmlformats.org/presentationml/2006/main">
  <p:tag name="AS_UNIQUEID" val="3374"/>
  <p:tag name="THINKCELLSHAPEDONOTDELETE" val="tgQcT1.rUSHKPEaX6k8K_hA"/>
</p:tagLst>
</file>

<file path=ppt/tags/tag1303.xml><?xml version="1.0" encoding="utf-8"?>
<p:tagLst xmlns:a="http://schemas.openxmlformats.org/drawingml/2006/main" xmlns:r="http://schemas.openxmlformats.org/officeDocument/2006/relationships" xmlns:p="http://schemas.openxmlformats.org/presentationml/2006/main">
  <p:tag name="AS_UNIQUEID" val="3375"/>
  <p:tag name="THINKCELLSHAPEDONOTDELETE" val="tQnlTYhBDDKy8ip1TseqCJQ"/>
</p:tagLst>
</file>

<file path=ppt/tags/tag1304.xml><?xml version="1.0" encoding="utf-8"?>
<p:tagLst xmlns:a="http://schemas.openxmlformats.org/drawingml/2006/main" xmlns:r="http://schemas.openxmlformats.org/officeDocument/2006/relationships" xmlns:p="http://schemas.openxmlformats.org/presentationml/2006/main">
  <p:tag name="AS_UNIQUEID" val="3376"/>
  <p:tag name="THINKCELLSHAPEDONOTDELETE" val="t43lZy.Aq.pzIA41iZjD1TQ"/>
</p:tagLst>
</file>

<file path=ppt/tags/tag1305.xml><?xml version="1.0" encoding="utf-8"?>
<p:tagLst xmlns:a="http://schemas.openxmlformats.org/drawingml/2006/main" xmlns:r="http://schemas.openxmlformats.org/officeDocument/2006/relationships" xmlns:p="http://schemas.openxmlformats.org/presentationml/2006/main">
  <p:tag name="AS_UNIQUEID" val="3377"/>
</p:tagLst>
</file>

<file path=ppt/tags/tag1306.xml><?xml version="1.0" encoding="utf-8"?>
<p:tagLst xmlns:a="http://schemas.openxmlformats.org/drawingml/2006/main" xmlns:r="http://schemas.openxmlformats.org/officeDocument/2006/relationships" xmlns:p="http://schemas.openxmlformats.org/presentationml/2006/main">
  <p:tag name="AS_UNIQUEID" val="3380"/>
</p:tagLst>
</file>

<file path=ppt/tags/tag1307.xml><?xml version="1.0" encoding="utf-8"?>
<p:tagLst xmlns:a="http://schemas.openxmlformats.org/drawingml/2006/main" xmlns:r="http://schemas.openxmlformats.org/officeDocument/2006/relationships" xmlns:p="http://schemas.openxmlformats.org/presentationml/2006/main">
  <p:tag name="AS_UNIQUEID" val="3381"/>
</p:tagLst>
</file>

<file path=ppt/tags/tag1308.xml><?xml version="1.0" encoding="utf-8"?>
<p:tagLst xmlns:a="http://schemas.openxmlformats.org/drawingml/2006/main" xmlns:r="http://schemas.openxmlformats.org/officeDocument/2006/relationships" xmlns:p="http://schemas.openxmlformats.org/presentationml/2006/main">
  <p:tag name="AS_UNIQUEID" val="3382"/>
  <p:tag name="THINKCELLSHAPEDONOTDELETE" val="tnYsTh.K0_VfAt6piLg7Jzg"/>
</p:tagLst>
</file>

<file path=ppt/tags/tag1309.xml><?xml version="1.0" encoding="utf-8"?>
<p:tagLst xmlns:a="http://schemas.openxmlformats.org/drawingml/2006/main" xmlns:r="http://schemas.openxmlformats.org/officeDocument/2006/relationships" xmlns:p="http://schemas.openxmlformats.org/presentationml/2006/main">
  <p:tag name="AS_UNIQUEID" val="1680"/>
</p:tagLst>
</file>

<file path=ppt/tags/tag131.xml><?xml version="1.0" encoding="utf-8"?>
<p:tagLst xmlns:a="http://schemas.openxmlformats.org/drawingml/2006/main" xmlns:r="http://schemas.openxmlformats.org/officeDocument/2006/relationships" xmlns:p="http://schemas.openxmlformats.org/presentationml/2006/main">
  <p:tag name="AS_UNIQUEID" val="1857"/>
</p:tagLst>
</file>

<file path=ppt/tags/tag1310.xml><?xml version="1.0" encoding="utf-8"?>
<p:tagLst xmlns:a="http://schemas.openxmlformats.org/drawingml/2006/main" xmlns:r="http://schemas.openxmlformats.org/officeDocument/2006/relationships" xmlns:p="http://schemas.openxmlformats.org/presentationml/2006/main">
  <p:tag name="AS_UNIQUEID" val="3389"/>
</p:tagLst>
</file>

<file path=ppt/tags/tag1311.xml><?xml version="1.0" encoding="utf-8"?>
<p:tagLst xmlns:a="http://schemas.openxmlformats.org/drawingml/2006/main" xmlns:r="http://schemas.openxmlformats.org/officeDocument/2006/relationships" xmlns:p="http://schemas.openxmlformats.org/presentationml/2006/main">
  <p:tag name="AS_UNIQUEID" val="1684"/>
</p:tagLst>
</file>

<file path=ppt/tags/tag1312.xml><?xml version="1.0" encoding="utf-8"?>
<p:tagLst xmlns:a="http://schemas.openxmlformats.org/drawingml/2006/main" xmlns:r="http://schemas.openxmlformats.org/officeDocument/2006/relationships" xmlns:p="http://schemas.openxmlformats.org/presentationml/2006/main">
  <p:tag name="AS_UNIQUEID" val="3378"/>
</p:tagLst>
</file>

<file path=ppt/tags/tag1313.xml><?xml version="1.0" encoding="utf-8"?>
<p:tagLst xmlns:a="http://schemas.openxmlformats.org/drawingml/2006/main" xmlns:r="http://schemas.openxmlformats.org/officeDocument/2006/relationships" xmlns:p="http://schemas.openxmlformats.org/presentationml/2006/main">
  <p:tag name="AS_UNIQUEID" val="3379"/>
</p:tagLst>
</file>

<file path=ppt/tags/tag1314.xml><?xml version="1.0" encoding="utf-8"?>
<p:tagLst xmlns:a="http://schemas.openxmlformats.org/drawingml/2006/main" xmlns:r="http://schemas.openxmlformats.org/officeDocument/2006/relationships" xmlns:p="http://schemas.openxmlformats.org/presentationml/2006/main">
  <p:tag name="AS_UNIQUEID" val="3350"/>
</p:tagLst>
</file>

<file path=ppt/tags/tag1315.xml><?xml version="1.0" encoding="utf-8"?>
<p:tagLst xmlns:a="http://schemas.openxmlformats.org/drawingml/2006/main" xmlns:r="http://schemas.openxmlformats.org/officeDocument/2006/relationships" xmlns:p="http://schemas.openxmlformats.org/presentationml/2006/main">
  <p:tag name="AS_UNIQUEID" val="3351"/>
</p:tagLst>
</file>

<file path=ppt/tags/tag1316.xml><?xml version="1.0" encoding="utf-8"?>
<p:tagLst xmlns:a="http://schemas.openxmlformats.org/drawingml/2006/main" xmlns:r="http://schemas.openxmlformats.org/officeDocument/2006/relationships" xmlns:p="http://schemas.openxmlformats.org/presentationml/2006/main">
  <p:tag name="AS_UNIQUEID" val="3352"/>
</p:tagLst>
</file>

<file path=ppt/tags/tag1317.xml><?xml version="1.0" encoding="utf-8"?>
<p:tagLst xmlns:a="http://schemas.openxmlformats.org/drawingml/2006/main" xmlns:r="http://schemas.openxmlformats.org/officeDocument/2006/relationships" xmlns:p="http://schemas.openxmlformats.org/presentationml/2006/main">
  <p:tag name="AS_UNIQUEID" val="3353"/>
</p:tagLst>
</file>

<file path=ppt/tags/tag1318.xml><?xml version="1.0" encoding="utf-8"?>
<p:tagLst xmlns:a="http://schemas.openxmlformats.org/drawingml/2006/main" xmlns:r="http://schemas.openxmlformats.org/officeDocument/2006/relationships" xmlns:p="http://schemas.openxmlformats.org/presentationml/2006/main">
  <p:tag name="AS_UNIQUEID" val="3354"/>
</p:tagLst>
</file>

<file path=ppt/tags/tag1319.xml><?xml version="1.0" encoding="utf-8"?>
<p:tagLst xmlns:a="http://schemas.openxmlformats.org/drawingml/2006/main" xmlns:r="http://schemas.openxmlformats.org/officeDocument/2006/relationships" xmlns:p="http://schemas.openxmlformats.org/presentationml/2006/main">
  <p:tag name="AS_UNIQUEID" val="3355"/>
</p:tagLst>
</file>

<file path=ppt/tags/tag132.xml><?xml version="1.0" encoding="utf-8"?>
<p:tagLst xmlns:a="http://schemas.openxmlformats.org/drawingml/2006/main" xmlns:r="http://schemas.openxmlformats.org/officeDocument/2006/relationships" xmlns:p="http://schemas.openxmlformats.org/presentationml/2006/main">
  <p:tag name="AS_UNIQUEID" val="1858"/>
</p:tagLst>
</file>

<file path=ppt/tags/tag1320.xml><?xml version="1.0" encoding="utf-8"?>
<p:tagLst xmlns:a="http://schemas.openxmlformats.org/drawingml/2006/main" xmlns:r="http://schemas.openxmlformats.org/officeDocument/2006/relationships" xmlns:p="http://schemas.openxmlformats.org/presentationml/2006/main">
  <p:tag name="AS_UNIQUEID" val="3347"/>
</p:tagLst>
</file>

<file path=ppt/tags/tag1321.xml><?xml version="1.0" encoding="utf-8"?>
<p:tagLst xmlns:a="http://schemas.openxmlformats.org/drawingml/2006/main" xmlns:r="http://schemas.openxmlformats.org/officeDocument/2006/relationships" xmlns:p="http://schemas.openxmlformats.org/presentationml/2006/main">
  <p:tag name="AS_UNIQUEID" val="3348"/>
</p:tagLst>
</file>

<file path=ppt/tags/tag1322.xml><?xml version="1.0" encoding="utf-8"?>
<p:tagLst xmlns:a="http://schemas.openxmlformats.org/drawingml/2006/main" xmlns:r="http://schemas.openxmlformats.org/officeDocument/2006/relationships" xmlns:p="http://schemas.openxmlformats.org/presentationml/2006/main">
  <p:tag name="AS_UNIQUEID" val="3334"/>
</p:tagLst>
</file>

<file path=ppt/tags/tag1323.xml><?xml version="1.0" encoding="utf-8"?>
<p:tagLst xmlns:a="http://schemas.openxmlformats.org/drawingml/2006/main" xmlns:r="http://schemas.openxmlformats.org/officeDocument/2006/relationships" xmlns:p="http://schemas.openxmlformats.org/presentationml/2006/main">
  <p:tag name="AS_UNIQUEID" val="3335"/>
</p:tagLst>
</file>

<file path=ppt/tags/tag1324.xml><?xml version="1.0" encoding="utf-8"?>
<p:tagLst xmlns:a="http://schemas.openxmlformats.org/drawingml/2006/main" xmlns:r="http://schemas.openxmlformats.org/officeDocument/2006/relationships" xmlns:p="http://schemas.openxmlformats.org/presentationml/2006/main">
  <p:tag name="AS_UNIQUEID" val="3336"/>
</p:tagLst>
</file>

<file path=ppt/tags/tag1325.xml><?xml version="1.0" encoding="utf-8"?>
<p:tagLst xmlns:a="http://schemas.openxmlformats.org/drawingml/2006/main" xmlns:r="http://schemas.openxmlformats.org/officeDocument/2006/relationships" xmlns:p="http://schemas.openxmlformats.org/presentationml/2006/main">
  <p:tag name="AS_UNIQUEID" val="3452"/>
  <p:tag name="THINKCELLSHAPEDONOTDELETE" val="thinkcellActiveDocDoNotDelete"/>
</p:tagLst>
</file>

<file path=ppt/tags/tag1326.xml><?xml version="1.0" encoding="utf-8"?>
<p:tagLst xmlns:a="http://schemas.openxmlformats.org/drawingml/2006/main" xmlns:r="http://schemas.openxmlformats.org/officeDocument/2006/relationships" xmlns:p="http://schemas.openxmlformats.org/presentationml/2006/main">
  <p:tag name="AS_UNIQUEID" val="3453"/>
</p:tagLst>
</file>

<file path=ppt/tags/tag1327.xml><?xml version="1.0" encoding="utf-8"?>
<p:tagLst xmlns:a="http://schemas.openxmlformats.org/drawingml/2006/main" xmlns:r="http://schemas.openxmlformats.org/officeDocument/2006/relationships" xmlns:p="http://schemas.openxmlformats.org/presentationml/2006/main">
  <p:tag name="AS_UNIQUEID" val="3454"/>
</p:tagLst>
</file>

<file path=ppt/tags/tag1328.xml><?xml version="1.0" encoding="utf-8"?>
<p:tagLst xmlns:a="http://schemas.openxmlformats.org/drawingml/2006/main" xmlns:r="http://schemas.openxmlformats.org/officeDocument/2006/relationships" xmlns:p="http://schemas.openxmlformats.org/presentationml/2006/main">
  <p:tag name="AS_UNIQUEID" val="3468"/>
</p:tagLst>
</file>

<file path=ppt/tags/tag1329.xml><?xml version="1.0" encoding="utf-8"?>
<p:tagLst xmlns:a="http://schemas.openxmlformats.org/drawingml/2006/main" xmlns:r="http://schemas.openxmlformats.org/officeDocument/2006/relationships" xmlns:p="http://schemas.openxmlformats.org/presentationml/2006/main">
  <p:tag name="AS_UNIQUEID" val="3469"/>
</p:tagLst>
</file>

<file path=ppt/tags/tag133.xml><?xml version="1.0" encoding="utf-8"?>
<p:tagLst xmlns:a="http://schemas.openxmlformats.org/drawingml/2006/main" xmlns:r="http://schemas.openxmlformats.org/officeDocument/2006/relationships" xmlns:p="http://schemas.openxmlformats.org/presentationml/2006/main">
  <p:tag name="AS_UNIQUEID" val="1859"/>
</p:tagLst>
</file>

<file path=ppt/tags/tag1330.xml><?xml version="1.0" encoding="utf-8"?>
<p:tagLst xmlns:a="http://schemas.openxmlformats.org/drawingml/2006/main" xmlns:r="http://schemas.openxmlformats.org/officeDocument/2006/relationships" xmlns:p="http://schemas.openxmlformats.org/presentationml/2006/main">
  <p:tag name="AS_UNIQUEID" val="3470"/>
</p:tagLst>
</file>

<file path=ppt/tags/tag1331.xml><?xml version="1.0" encoding="utf-8"?>
<p:tagLst xmlns:a="http://schemas.openxmlformats.org/drawingml/2006/main" xmlns:r="http://schemas.openxmlformats.org/officeDocument/2006/relationships" xmlns:p="http://schemas.openxmlformats.org/presentationml/2006/main">
  <p:tag name="AS_UNIQUEID" val="3477"/>
</p:tagLst>
</file>

<file path=ppt/tags/tag1332.xml><?xml version="1.0" encoding="utf-8"?>
<p:tagLst xmlns:a="http://schemas.openxmlformats.org/drawingml/2006/main" xmlns:r="http://schemas.openxmlformats.org/officeDocument/2006/relationships" xmlns:p="http://schemas.openxmlformats.org/presentationml/2006/main">
  <p:tag name="AS_UNIQUEID" val="3478"/>
</p:tagLst>
</file>

<file path=ppt/tags/tag1333.xml><?xml version="1.0" encoding="utf-8"?>
<p:tagLst xmlns:a="http://schemas.openxmlformats.org/drawingml/2006/main" xmlns:r="http://schemas.openxmlformats.org/officeDocument/2006/relationships" xmlns:p="http://schemas.openxmlformats.org/presentationml/2006/main">
  <p:tag name="AS_UNIQUEID" val="3479"/>
</p:tagLst>
</file>

<file path=ppt/tags/tag1334.xml><?xml version="1.0" encoding="utf-8"?>
<p:tagLst xmlns:a="http://schemas.openxmlformats.org/drawingml/2006/main" xmlns:r="http://schemas.openxmlformats.org/officeDocument/2006/relationships" xmlns:p="http://schemas.openxmlformats.org/presentationml/2006/main">
  <p:tag name="AS_UNIQUEID" val="3480"/>
</p:tagLst>
</file>

<file path=ppt/tags/tag1335.xml><?xml version="1.0" encoding="utf-8"?>
<p:tagLst xmlns:a="http://schemas.openxmlformats.org/drawingml/2006/main" xmlns:r="http://schemas.openxmlformats.org/officeDocument/2006/relationships" xmlns:p="http://schemas.openxmlformats.org/presentationml/2006/main">
  <p:tag name="AS_UNIQUEID" val="3483"/>
</p:tagLst>
</file>

<file path=ppt/tags/tag1336.xml><?xml version="1.0" encoding="utf-8"?>
<p:tagLst xmlns:a="http://schemas.openxmlformats.org/drawingml/2006/main" xmlns:r="http://schemas.openxmlformats.org/officeDocument/2006/relationships" xmlns:p="http://schemas.openxmlformats.org/presentationml/2006/main">
  <p:tag name="AS_UNIQUEID" val="3486"/>
</p:tagLst>
</file>

<file path=ppt/tags/tag1337.xml><?xml version="1.0" encoding="utf-8"?>
<p:tagLst xmlns:a="http://schemas.openxmlformats.org/drawingml/2006/main" xmlns:r="http://schemas.openxmlformats.org/officeDocument/2006/relationships" xmlns:p="http://schemas.openxmlformats.org/presentationml/2006/main">
  <p:tag name="AS_UNIQUEID" val="3484"/>
</p:tagLst>
</file>

<file path=ppt/tags/tag1338.xml><?xml version="1.0" encoding="utf-8"?>
<p:tagLst xmlns:a="http://schemas.openxmlformats.org/drawingml/2006/main" xmlns:r="http://schemas.openxmlformats.org/officeDocument/2006/relationships" xmlns:p="http://schemas.openxmlformats.org/presentationml/2006/main">
  <p:tag name="AS_UNIQUEID" val="3485"/>
</p:tagLst>
</file>

<file path=ppt/tags/tag1339.xml><?xml version="1.0" encoding="utf-8"?>
<p:tagLst xmlns:a="http://schemas.openxmlformats.org/drawingml/2006/main" xmlns:r="http://schemas.openxmlformats.org/officeDocument/2006/relationships" xmlns:p="http://schemas.openxmlformats.org/presentationml/2006/main">
  <p:tag name="AS_UNIQUEID" val="3481"/>
</p:tagLst>
</file>

<file path=ppt/tags/tag134.xml><?xml version="1.0" encoding="utf-8"?>
<p:tagLst xmlns:a="http://schemas.openxmlformats.org/drawingml/2006/main" xmlns:r="http://schemas.openxmlformats.org/officeDocument/2006/relationships" xmlns:p="http://schemas.openxmlformats.org/presentationml/2006/main">
  <p:tag name="AS_UNIQUEID" val="1860"/>
</p:tagLst>
</file>

<file path=ppt/tags/tag1340.xml><?xml version="1.0" encoding="utf-8"?>
<p:tagLst xmlns:a="http://schemas.openxmlformats.org/drawingml/2006/main" xmlns:r="http://schemas.openxmlformats.org/officeDocument/2006/relationships" xmlns:p="http://schemas.openxmlformats.org/presentationml/2006/main">
  <p:tag name="AS_UNIQUEID" val="3482"/>
</p:tagLst>
</file>

<file path=ppt/tags/tag1341.xml><?xml version="1.0" encoding="utf-8"?>
<p:tagLst xmlns:a="http://schemas.openxmlformats.org/drawingml/2006/main" xmlns:r="http://schemas.openxmlformats.org/officeDocument/2006/relationships" xmlns:p="http://schemas.openxmlformats.org/presentationml/2006/main">
  <p:tag name="AS_UNIQUEID" val="3448"/>
</p:tagLst>
</file>

<file path=ppt/tags/tag1342.xml><?xml version="1.0" encoding="utf-8"?>
<p:tagLst xmlns:a="http://schemas.openxmlformats.org/drawingml/2006/main" xmlns:r="http://schemas.openxmlformats.org/officeDocument/2006/relationships" xmlns:p="http://schemas.openxmlformats.org/presentationml/2006/main">
  <p:tag name="AS_UNIQUEID" val="3449"/>
</p:tagLst>
</file>

<file path=ppt/tags/tag1343.xml><?xml version="1.0" encoding="utf-8"?>
<p:tagLst xmlns:a="http://schemas.openxmlformats.org/drawingml/2006/main" xmlns:r="http://schemas.openxmlformats.org/officeDocument/2006/relationships" xmlns:p="http://schemas.openxmlformats.org/presentationml/2006/main">
  <p:tag name="AS_UNIQUEID" val="3450"/>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6.xml><?xml version="1.0" encoding="utf-8"?>
<p:tagLst xmlns:a="http://schemas.openxmlformats.org/drawingml/2006/main" xmlns:r="http://schemas.openxmlformats.org/officeDocument/2006/relationships" xmlns:p="http://schemas.openxmlformats.org/presentationml/2006/main">
  <p:tag name="AS_UNIQUEID" val="3607"/>
</p:tagLst>
</file>

<file path=ppt/tags/tag1347.xml><?xml version="1.0" encoding="utf-8"?>
<p:tagLst xmlns:a="http://schemas.openxmlformats.org/drawingml/2006/main" xmlns:r="http://schemas.openxmlformats.org/officeDocument/2006/relationships" xmlns:p="http://schemas.openxmlformats.org/presentationml/2006/main">
  <p:tag name="AS_UNIQUEID" val="3608"/>
</p:tagLst>
</file>

<file path=ppt/tags/tag1348.xml><?xml version="1.0" encoding="utf-8"?>
<p:tagLst xmlns:a="http://schemas.openxmlformats.org/drawingml/2006/main" xmlns:r="http://schemas.openxmlformats.org/officeDocument/2006/relationships" xmlns:p="http://schemas.openxmlformats.org/presentationml/2006/main">
  <p:tag name="AS_UNIQUEID" val="3609"/>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AS_UNIQUEID" val="3610"/>
</p:tagLst>
</file>

<file path=ppt/tags/tag135.xml><?xml version="1.0" encoding="utf-8"?>
<p:tagLst xmlns:a="http://schemas.openxmlformats.org/drawingml/2006/main" xmlns:r="http://schemas.openxmlformats.org/officeDocument/2006/relationships" xmlns:p="http://schemas.openxmlformats.org/presentationml/2006/main">
  <p:tag name="AS_UNIQUEID" val="1862"/>
</p:tagLst>
</file>

<file path=ppt/tags/tag1350.xml><?xml version="1.0" encoding="utf-8"?>
<p:tagLst xmlns:a="http://schemas.openxmlformats.org/drawingml/2006/main" xmlns:r="http://schemas.openxmlformats.org/officeDocument/2006/relationships" xmlns:p="http://schemas.openxmlformats.org/presentationml/2006/main">
  <p:tag name="AS_UNIQUEID" val="3611"/>
</p:tagLst>
</file>

<file path=ppt/tags/tag1351.xml><?xml version="1.0" encoding="utf-8"?>
<p:tagLst xmlns:a="http://schemas.openxmlformats.org/drawingml/2006/main" xmlns:r="http://schemas.openxmlformats.org/officeDocument/2006/relationships" xmlns:p="http://schemas.openxmlformats.org/presentationml/2006/main">
  <p:tag name="AS_UNIQUEID" val="3614"/>
</p:tagLst>
</file>

<file path=ppt/tags/tag1352.xml><?xml version="1.0" encoding="utf-8"?>
<p:tagLst xmlns:a="http://schemas.openxmlformats.org/drawingml/2006/main" xmlns:r="http://schemas.openxmlformats.org/officeDocument/2006/relationships" xmlns:p="http://schemas.openxmlformats.org/presentationml/2006/main">
  <p:tag name="AS_UNIQUEID" val="3615"/>
</p:tagLst>
</file>

<file path=ppt/tags/tag1353.xml><?xml version="1.0" encoding="utf-8"?>
<p:tagLst xmlns:a="http://schemas.openxmlformats.org/drawingml/2006/main" xmlns:r="http://schemas.openxmlformats.org/officeDocument/2006/relationships" xmlns:p="http://schemas.openxmlformats.org/presentationml/2006/main">
  <p:tag name="AS_UNIQUEID" val="3616"/>
</p:tagLst>
</file>

<file path=ppt/tags/tag1354.xml><?xml version="1.0" encoding="utf-8"?>
<p:tagLst xmlns:a="http://schemas.openxmlformats.org/drawingml/2006/main" xmlns:r="http://schemas.openxmlformats.org/officeDocument/2006/relationships" xmlns:p="http://schemas.openxmlformats.org/presentationml/2006/main">
  <p:tag name="AS_UNIQUEID" val="3617"/>
</p:tagLst>
</file>

<file path=ppt/tags/tag1355.xml><?xml version="1.0" encoding="utf-8"?>
<p:tagLst xmlns:a="http://schemas.openxmlformats.org/drawingml/2006/main" xmlns:r="http://schemas.openxmlformats.org/officeDocument/2006/relationships" xmlns:p="http://schemas.openxmlformats.org/presentationml/2006/main">
  <p:tag name="AS_UNIQUEID" val="3618"/>
</p:tagLst>
</file>

<file path=ppt/tags/tag1356.xml><?xml version="1.0" encoding="utf-8"?>
<p:tagLst xmlns:a="http://schemas.openxmlformats.org/drawingml/2006/main" xmlns:r="http://schemas.openxmlformats.org/officeDocument/2006/relationships" xmlns:p="http://schemas.openxmlformats.org/presentationml/2006/main">
  <p:tag name="AS_UNIQUEID" val="3619"/>
</p:tagLst>
</file>

<file path=ppt/tags/tag1357.xml><?xml version="1.0" encoding="utf-8"?>
<p:tagLst xmlns:a="http://schemas.openxmlformats.org/drawingml/2006/main" xmlns:r="http://schemas.openxmlformats.org/officeDocument/2006/relationships" xmlns:p="http://schemas.openxmlformats.org/presentationml/2006/main">
  <p:tag name="AS_UNIQUEID" val="3620"/>
</p:tagLst>
</file>

<file path=ppt/tags/tag1358.xml><?xml version="1.0" encoding="utf-8"?>
<p:tagLst xmlns:a="http://schemas.openxmlformats.org/drawingml/2006/main" xmlns:r="http://schemas.openxmlformats.org/officeDocument/2006/relationships" xmlns:p="http://schemas.openxmlformats.org/presentationml/2006/main">
  <p:tag name="AS_UNIQUEID" val="3621"/>
</p:tagLst>
</file>

<file path=ppt/tags/tag1359.xml><?xml version="1.0" encoding="utf-8"?>
<p:tagLst xmlns:a="http://schemas.openxmlformats.org/drawingml/2006/main" xmlns:r="http://schemas.openxmlformats.org/officeDocument/2006/relationships" xmlns:p="http://schemas.openxmlformats.org/presentationml/2006/main">
  <p:tag name="AS_UNIQUEID" val="3612"/>
</p:tagLst>
</file>

<file path=ppt/tags/tag136.xml><?xml version="1.0" encoding="utf-8"?>
<p:tagLst xmlns:a="http://schemas.openxmlformats.org/drawingml/2006/main" xmlns:r="http://schemas.openxmlformats.org/officeDocument/2006/relationships" xmlns:p="http://schemas.openxmlformats.org/presentationml/2006/main">
  <p:tag name="AS_UNIQUEID" val="1863"/>
</p:tagLst>
</file>

<file path=ppt/tags/tag1360.xml><?xml version="1.0" encoding="utf-8"?>
<p:tagLst xmlns:a="http://schemas.openxmlformats.org/drawingml/2006/main" xmlns:r="http://schemas.openxmlformats.org/officeDocument/2006/relationships" xmlns:p="http://schemas.openxmlformats.org/presentationml/2006/main">
  <p:tag name="AS_UNIQUEID" val="3613"/>
</p:tagLst>
</file>

<file path=ppt/tags/tag137.xml><?xml version="1.0" encoding="utf-8"?>
<p:tagLst xmlns:a="http://schemas.openxmlformats.org/drawingml/2006/main" xmlns:r="http://schemas.openxmlformats.org/officeDocument/2006/relationships" xmlns:p="http://schemas.openxmlformats.org/presentationml/2006/main">
  <p:tag name="AS_UNIQUEID" val="1864"/>
</p:tagLst>
</file>

<file path=ppt/tags/tag138.xml><?xml version="1.0" encoding="utf-8"?>
<p:tagLst xmlns:a="http://schemas.openxmlformats.org/drawingml/2006/main" xmlns:r="http://schemas.openxmlformats.org/officeDocument/2006/relationships" xmlns:p="http://schemas.openxmlformats.org/presentationml/2006/main">
  <p:tag name="AS_UNIQUEID" val="1865"/>
</p:tagLst>
</file>

<file path=ppt/tags/tag139.xml><?xml version="1.0" encoding="utf-8"?>
<p:tagLst xmlns:a="http://schemas.openxmlformats.org/drawingml/2006/main" xmlns:r="http://schemas.openxmlformats.org/officeDocument/2006/relationships" xmlns:p="http://schemas.openxmlformats.org/presentationml/2006/main">
  <p:tag name="AS_UNIQUEID" val="1866"/>
</p:tagLst>
</file>

<file path=ppt/tags/tag14.xml><?xml version="1.0" encoding="utf-8"?>
<p:tagLst xmlns:a="http://schemas.openxmlformats.org/drawingml/2006/main" xmlns:r="http://schemas.openxmlformats.org/officeDocument/2006/relationships" xmlns:p="http://schemas.openxmlformats.org/presentationml/2006/main">
  <p:tag name="AS_UNIQUEID" val="1717"/>
</p:tagLst>
</file>

<file path=ppt/tags/tag140.xml><?xml version="1.0" encoding="utf-8"?>
<p:tagLst xmlns:a="http://schemas.openxmlformats.org/drawingml/2006/main" xmlns:r="http://schemas.openxmlformats.org/officeDocument/2006/relationships" xmlns:p="http://schemas.openxmlformats.org/presentationml/2006/main">
  <p:tag name="AS_UNIQUEID" val="1867"/>
</p:tagLst>
</file>

<file path=ppt/tags/tag141.xml><?xml version="1.0" encoding="utf-8"?>
<p:tagLst xmlns:a="http://schemas.openxmlformats.org/drawingml/2006/main" xmlns:r="http://schemas.openxmlformats.org/officeDocument/2006/relationships" xmlns:p="http://schemas.openxmlformats.org/presentationml/2006/main">
  <p:tag name="AS_UNIQUEID" val="1869"/>
</p:tagLst>
</file>

<file path=ppt/tags/tag142.xml><?xml version="1.0" encoding="utf-8"?>
<p:tagLst xmlns:a="http://schemas.openxmlformats.org/drawingml/2006/main" xmlns:r="http://schemas.openxmlformats.org/officeDocument/2006/relationships" xmlns:p="http://schemas.openxmlformats.org/presentationml/2006/main">
  <p:tag name="AS_UNIQUEID" val="1870"/>
</p:tagLst>
</file>

<file path=ppt/tags/tag143.xml><?xml version="1.0" encoding="utf-8"?>
<p:tagLst xmlns:a="http://schemas.openxmlformats.org/drawingml/2006/main" xmlns:r="http://schemas.openxmlformats.org/officeDocument/2006/relationships" xmlns:p="http://schemas.openxmlformats.org/presentationml/2006/main">
  <p:tag name="AS_UNIQUEID" val="1871"/>
</p:tagLst>
</file>

<file path=ppt/tags/tag144.xml><?xml version="1.0" encoding="utf-8"?>
<p:tagLst xmlns:a="http://schemas.openxmlformats.org/drawingml/2006/main" xmlns:r="http://schemas.openxmlformats.org/officeDocument/2006/relationships" xmlns:p="http://schemas.openxmlformats.org/presentationml/2006/main">
  <p:tag name="AS_UNIQUEID" val="1872"/>
</p:tagLst>
</file>

<file path=ppt/tags/tag145.xml><?xml version="1.0" encoding="utf-8"?>
<p:tagLst xmlns:a="http://schemas.openxmlformats.org/drawingml/2006/main" xmlns:r="http://schemas.openxmlformats.org/officeDocument/2006/relationships" xmlns:p="http://schemas.openxmlformats.org/presentationml/2006/main">
  <p:tag name="AS_UNIQUEID" val="1873"/>
</p:tagLst>
</file>

<file path=ppt/tags/tag146.xml><?xml version="1.0" encoding="utf-8"?>
<p:tagLst xmlns:a="http://schemas.openxmlformats.org/drawingml/2006/main" xmlns:r="http://schemas.openxmlformats.org/officeDocument/2006/relationships" xmlns:p="http://schemas.openxmlformats.org/presentationml/2006/main">
  <p:tag name="AS_UNIQUEID" val="1875"/>
</p:tagLst>
</file>

<file path=ppt/tags/tag147.xml><?xml version="1.0" encoding="utf-8"?>
<p:tagLst xmlns:a="http://schemas.openxmlformats.org/drawingml/2006/main" xmlns:r="http://schemas.openxmlformats.org/officeDocument/2006/relationships" xmlns:p="http://schemas.openxmlformats.org/presentationml/2006/main">
  <p:tag name="AS_UNIQUEID" val="1876"/>
</p:tagLst>
</file>

<file path=ppt/tags/tag148.xml><?xml version="1.0" encoding="utf-8"?>
<p:tagLst xmlns:a="http://schemas.openxmlformats.org/drawingml/2006/main" xmlns:r="http://schemas.openxmlformats.org/officeDocument/2006/relationships" xmlns:p="http://schemas.openxmlformats.org/presentationml/2006/main">
  <p:tag name="AS_UNIQUEID" val="1877"/>
</p:tagLst>
</file>

<file path=ppt/tags/tag149.xml><?xml version="1.0" encoding="utf-8"?>
<p:tagLst xmlns:a="http://schemas.openxmlformats.org/drawingml/2006/main" xmlns:r="http://schemas.openxmlformats.org/officeDocument/2006/relationships" xmlns:p="http://schemas.openxmlformats.org/presentationml/2006/main">
  <p:tag name="AS_UNIQUEID" val="1878"/>
</p:tagLst>
</file>

<file path=ppt/tags/tag15.xml><?xml version="1.0" encoding="utf-8"?>
<p:tagLst xmlns:a="http://schemas.openxmlformats.org/drawingml/2006/main" xmlns:r="http://schemas.openxmlformats.org/officeDocument/2006/relationships" xmlns:p="http://schemas.openxmlformats.org/presentationml/2006/main">
  <p:tag name="AS_UNIQUEID" val="1718"/>
</p:tagLst>
</file>

<file path=ppt/tags/tag150.xml><?xml version="1.0" encoding="utf-8"?>
<p:tagLst xmlns:a="http://schemas.openxmlformats.org/drawingml/2006/main" xmlns:r="http://schemas.openxmlformats.org/officeDocument/2006/relationships" xmlns:p="http://schemas.openxmlformats.org/presentationml/2006/main">
  <p:tag name="AS_UNIQUEID" val="1879"/>
</p:tagLst>
</file>

<file path=ppt/tags/tag151.xml><?xml version="1.0" encoding="utf-8"?>
<p:tagLst xmlns:a="http://schemas.openxmlformats.org/drawingml/2006/main" xmlns:r="http://schemas.openxmlformats.org/officeDocument/2006/relationships" xmlns:p="http://schemas.openxmlformats.org/presentationml/2006/main">
  <p:tag name="AS_UNIQUEID" val="1759"/>
</p:tagLst>
</file>

<file path=ppt/tags/tag152.xml><?xml version="1.0" encoding="utf-8"?>
<p:tagLst xmlns:a="http://schemas.openxmlformats.org/drawingml/2006/main" xmlns:r="http://schemas.openxmlformats.org/officeDocument/2006/relationships" xmlns:p="http://schemas.openxmlformats.org/presentationml/2006/main">
  <p:tag name="AS_UNIQUEID" val="1760"/>
</p:tagLst>
</file>

<file path=ppt/tags/tag153.xml><?xml version="1.0" encoding="utf-8"?>
<p:tagLst xmlns:a="http://schemas.openxmlformats.org/drawingml/2006/main" xmlns:r="http://schemas.openxmlformats.org/officeDocument/2006/relationships" xmlns:p="http://schemas.openxmlformats.org/presentationml/2006/main">
  <p:tag name="AS_UNIQUEID" val="1761"/>
</p:tagLst>
</file>

<file path=ppt/tags/tag154.xml><?xml version="1.0" encoding="utf-8"?>
<p:tagLst xmlns:a="http://schemas.openxmlformats.org/drawingml/2006/main" xmlns:r="http://schemas.openxmlformats.org/officeDocument/2006/relationships" xmlns:p="http://schemas.openxmlformats.org/presentationml/2006/main">
  <p:tag name="AS_UNIQUEID" val="1762"/>
</p:tagLst>
</file>

<file path=ppt/tags/tag155.xml><?xml version="1.0" encoding="utf-8"?>
<p:tagLst xmlns:a="http://schemas.openxmlformats.org/drawingml/2006/main" xmlns:r="http://schemas.openxmlformats.org/officeDocument/2006/relationships" xmlns:p="http://schemas.openxmlformats.org/presentationml/2006/main">
  <p:tag name="AS_UNIQUEID" val="1763"/>
</p:tagLst>
</file>

<file path=ppt/tags/tag156.xml><?xml version="1.0" encoding="utf-8"?>
<p:tagLst xmlns:a="http://schemas.openxmlformats.org/drawingml/2006/main" xmlns:r="http://schemas.openxmlformats.org/officeDocument/2006/relationships" xmlns:p="http://schemas.openxmlformats.org/presentationml/2006/main">
  <p:tag name="AS_UNIQUEID" val="1764"/>
</p:tagLst>
</file>

<file path=ppt/tags/tag157.xml><?xml version="1.0" encoding="utf-8"?>
<p:tagLst xmlns:a="http://schemas.openxmlformats.org/drawingml/2006/main" xmlns:r="http://schemas.openxmlformats.org/officeDocument/2006/relationships" xmlns:p="http://schemas.openxmlformats.org/presentationml/2006/main">
  <p:tag name="AS_UNIQUEID" val="1765"/>
</p:tagLst>
</file>

<file path=ppt/tags/tag158.xml><?xml version="1.0" encoding="utf-8"?>
<p:tagLst xmlns:a="http://schemas.openxmlformats.org/drawingml/2006/main" xmlns:r="http://schemas.openxmlformats.org/officeDocument/2006/relationships" xmlns:p="http://schemas.openxmlformats.org/presentationml/2006/main">
  <p:tag name="AS_UNIQUEID" val="1766"/>
</p:tagLst>
</file>

<file path=ppt/tags/tag159.xml><?xml version="1.0" encoding="utf-8"?>
<p:tagLst xmlns:a="http://schemas.openxmlformats.org/drawingml/2006/main" xmlns:r="http://schemas.openxmlformats.org/officeDocument/2006/relationships" xmlns:p="http://schemas.openxmlformats.org/presentationml/2006/main">
  <p:tag name="AS_UNIQUEID" val="1767"/>
</p:tagLst>
</file>

<file path=ppt/tags/tag16.xml><?xml version="1.0" encoding="utf-8"?>
<p:tagLst xmlns:a="http://schemas.openxmlformats.org/drawingml/2006/main" xmlns:r="http://schemas.openxmlformats.org/officeDocument/2006/relationships" xmlns:p="http://schemas.openxmlformats.org/presentationml/2006/main">
  <p:tag name="AS_UNIQUEID" val="1719"/>
</p:tagLst>
</file>

<file path=ppt/tags/tag160.xml><?xml version="1.0" encoding="utf-8"?>
<p:tagLst xmlns:a="http://schemas.openxmlformats.org/drawingml/2006/main" xmlns:r="http://schemas.openxmlformats.org/officeDocument/2006/relationships" xmlns:p="http://schemas.openxmlformats.org/presentationml/2006/main">
  <p:tag name="AS_UNIQUEID" val="1768"/>
</p:tagLst>
</file>

<file path=ppt/tags/tag161.xml><?xml version="1.0" encoding="utf-8"?>
<p:tagLst xmlns:a="http://schemas.openxmlformats.org/drawingml/2006/main" xmlns:r="http://schemas.openxmlformats.org/officeDocument/2006/relationships" xmlns:p="http://schemas.openxmlformats.org/presentationml/2006/main">
  <p:tag name="AS_UNIQUEID" val="1769"/>
</p:tagLst>
</file>

<file path=ppt/tags/tag162.xml><?xml version="1.0" encoding="utf-8"?>
<p:tagLst xmlns:a="http://schemas.openxmlformats.org/drawingml/2006/main" xmlns:r="http://schemas.openxmlformats.org/officeDocument/2006/relationships" xmlns:p="http://schemas.openxmlformats.org/presentationml/2006/main">
  <p:tag name="AS_UNIQUEID" val="1962"/>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AS_UNIQUEID" val="1963"/>
</p:tagLst>
</file>

<file path=ppt/tags/tag164.xml><?xml version="1.0" encoding="utf-8"?>
<p:tagLst xmlns:a="http://schemas.openxmlformats.org/drawingml/2006/main" xmlns:r="http://schemas.openxmlformats.org/officeDocument/2006/relationships" xmlns:p="http://schemas.openxmlformats.org/presentationml/2006/main">
  <p:tag name="AS_UNIQUEID" val="1964"/>
</p:tagLst>
</file>

<file path=ppt/tags/tag165.xml><?xml version="1.0" encoding="utf-8"?>
<p:tagLst xmlns:a="http://schemas.openxmlformats.org/drawingml/2006/main" xmlns:r="http://schemas.openxmlformats.org/officeDocument/2006/relationships" xmlns:p="http://schemas.openxmlformats.org/presentationml/2006/main">
  <p:tag name="AS_UNIQUEID" val="1965"/>
</p:tagLst>
</file>

<file path=ppt/tags/tag166.xml><?xml version="1.0" encoding="utf-8"?>
<p:tagLst xmlns:a="http://schemas.openxmlformats.org/drawingml/2006/main" xmlns:r="http://schemas.openxmlformats.org/officeDocument/2006/relationships" xmlns:p="http://schemas.openxmlformats.org/presentationml/2006/main">
  <p:tag name="AS_UNIQUEID" val="1966"/>
</p:tagLst>
</file>

<file path=ppt/tags/tag167.xml><?xml version="1.0" encoding="utf-8"?>
<p:tagLst xmlns:a="http://schemas.openxmlformats.org/drawingml/2006/main" xmlns:r="http://schemas.openxmlformats.org/officeDocument/2006/relationships" xmlns:p="http://schemas.openxmlformats.org/presentationml/2006/main">
  <p:tag name="AS_UNIQUEID" val="1967"/>
</p:tagLst>
</file>

<file path=ppt/tags/tag168.xml><?xml version="1.0" encoding="utf-8"?>
<p:tagLst xmlns:a="http://schemas.openxmlformats.org/drawingml/2006/main" xmlns:r="http://schemas.openxmlformats.org/officeDocument/2006/relationships" xmlns:p="http://schemas.openxmlformats.org/presentationml/2006/main">
  <p:tag name="AS_UNIQUEID" val="1888"/>
</p:tagLst>
</file>

<file path=ppt/tags/tag169.xml><?xml version="1.0" encoding="utf-8"?>
<p:tagLst xmlns:a="http://schemas.openxmlformats.org/drawingml/2006/main" xmlns:r="http://schemas.openxmlformats.org/officeDocument/2006/relationships" xmlns:p="http://schemas.openxmlformats.org/presentationml/2006/main">
  <p:tag name="AS_UNIQUEID" val="1889"/>
</p:tagLst>
</file>

<file path=ppt/tags/tag17.xml><?xml version="1.0" encoding="utf-8"?>
<p:tagLst xmlns:a="http://schemas.openxmlformats.org/drawingml/2006/main" xmlns:r="http://schemas.openxmlformats.org/officeDocument/2006/relationships" xmlns:p="http://schemas.openxmlformats.org/presentationml/2006/main">
  <p:tag name="AS_UNIQUEID" val="1720"/>
</p:tagLst>
</file>

<file path=ppt/tags/tag170.xml><?xml version="1.0" encoding="utf-8"?>
<p:tagLst xmlns:a="http://schemas.openxmlformats.org/drawingml/2006/main" xmlns:r="http://schemas.openxmlformats.org/officeDocument/2006/relationships" xmlns:p="http://schemas.openxmlformats.org/presentationml/2006/main">
  <p:tag name="AS_UNIQUEID" val="1890"/>
</p:tagLst>
</file>

<file path=ppt/tags/tag171.xml><?xml version="1.0" encoding="utf-8"?>
<p:tagLst xmlns:a="http://schemas.openxmlformats.org/drawingml/2006/main" xmlns:r="http://schemas.openxmlformats.org/officeDocument/2006/relationships" xmlns:p="http://schemas.openxmlformats.org/presentationml/2006/main">
  <p:tag name="AS_UNIQUEID" val="1891"/>
</p:tagLst>
</file>

<file path=ppt/tags/tag172.xml><?xml version="1.0" encoding="utf-8"?>
<p:tagLst xmlns:a="http://schemas.openxmlformats.org/drawingml/2006/main" xmlns:r="http://schemas.openxmlformats.org/officeDocument/2006/relationships" xmlns:p="http://schemas.openxmlformats.org/presentationml/2006/main">
  <p:tag name="AS_UNIQUEID" val="1892"/>
</p:tagLst>
</file>

<file path=ppt/tags/tag173.xml><?xml version="1.0" encoding="utf-8"?>
<p:tagLst xmlns:a="http://schemas.openxmlformats.org/drawingml/2006/main" xmlns:r="http://schemas.openxmlformats.org/officeDocument/2006/relationships" xmlns:p="http://schemas.openxmlformats.org/presentationml/2006/main">
  <p:tag name="AS_UNIQUEID" val="1894"/>
</p:tagLst>
</file>

<file path=ppt/tags/tag174.xml><?xml version="1.0" encoding="utf-8"?>
<p:tagLst xmlns:a="http://schemas.openxmlformats.org/drawingml/2006/main" xmlns:r="http://schemas.openxmlformats.org/officeDocument/2006/relationships" xmlns:p="http://schemas.openxmlformats.org/presentationml/2006/main">
  <p:tag name="AS_UNIQUEID" val="1895"/>
</p:tagLst>
</file>

<file path=ppt/tags/tag175.xml><?xml version="1.0" encoding="utf-8"?>
<p:tagLst xmlns:a="http://schemas.openxmlformats.org/drawingml/2006/main" xmlns:r="http://schemas.openxmlformats.org/officeDocument/2006/relationships" xmlns:p="http://schemas.openxmlformats.org/presentationml/2006/main">
  <p:tag name="AS_UNIQUEID" val="1896"/>
</p:tagLst>
</file>

<file path=ppt/tags/tag176.xml><?xml version="1.0" encoding="utf-8"?>
<p:tagLst xmlns:a="http://schemas.openxmlformats.org/drawingml/2006/main" xmlns:r="http://schemas.openxmlformats.org/officeDocument/2006/relationships" xmlns:p="http://schemas.openxmlformats.org/presentationml/2006/main">
  <p:tag name="AS_UNIQUEID" val="1897"/>
</p:tagLst>
</file>

<file path=ppt/tags/tag177.xml><?xml version="1.0" encoding="utf-8"?>
<p:tagLst xmlns:a="http://schemas.openxmlformats.org/drawingml/2006/main" xmlns:r="http://schemas.openxmlformats.org/officeDocument/2006/relationships" xmlns:p="http://schemas.openxmlformats.org/presentationml/2006/main">
  <p:tag name="AS_UNIQUEID" val="1898"/>
</p:tagLst>
</file>

<file path=ppt/tags/tag178.xml><?xml version="1.0" encoding="utf-8"?>
<p:tagLst xmlns:a="http://schemas.openxmlformats.org/drawingml/2006/main" xmlns:r="http://schemas.openxmlformats.org/officeDocument/2006/relationships" xmlns:p="http://schemas.openxmlformats.org/presentationml/2006/main">
  <p:tag name="AS_UNIQUEID" val="1900"/>
</p:tagLst>
</file>

<file path=ppt/tags/tag179.xml><?xml version="1.0" encoding="utf-8"?>
<p:tagLst xmlns:a="http://schemas.openxmlformats.org/drawingml/2006/main" xmlns:r="http://schemas.openxmlformats.org/officeDocument/2006/relationships" xmlns:p="http://schemas.openxmlformats.org/presentationml/2006/main">
  <p:tag name="AS_UNIQUEID" val="1901"/>
</p:tagLst>
</file>

<file path=ppt/tags/tag18.xml><?xml version="1.0" encoding="utf-8"?>
<p:tagLst xmlns:a="http://schemas.openxmlformats.org/drawingml/2006/main" xmlns:r="http://schemas.openxmlformats.org/officeDocument/2006/relationships" xmlns:p="http://schemas.openxmlformats.org/presentationml/2006/main">
  <p:tag name="AS_UNIQUEID" val="1722"/>
</p:tagLst>
</file>

<file path=ppt/tags/tag180.xml><?xml version="1.0" encoding="utf-8"?>
<p:tagLst xmlns:a="http://schemas.openxmlformats.org/drawingml/2006/main" xmlns:r="http://schemas.openxmlformats.org/officeDocument/2006/relationships" xmlns:p="http://schemas.openxmlformats.org/presentationml/2006/main">
  <p:tag name="AS_UNIQUEID" val="1902"/>
</p:tagLst>
</file>

<file path=ppt/tags/tag181.xml><?xml version="1.0" encoding="utf-8"?>
<p:tagLst xmlns:a="http://schemas.openxmlformats.org/drawingml/2006/main" xmlns:r="http://schemas.openxmlformats.org/officeDocument/2006/relationships" xmlns:p="http://schemas.openxmlformats.org/presentationml/2006/main">
  <p:tag name="AS_UNIQUEID" val="1903"/>
</p:tagLst>
</file>

<file path=ppt/tags/tag182.xml><?xml version="1.0" encoding="utf-8"?>
<p:tagLst xmlns:a="http://schemas.openxmlformats.org/drawingml/2006/main" xmlns:r="http://schemas.openxmlformats.org/officeDocument/2006/relationships" xmlns:p="http://schemas.openxmlformats.org/presentationml/2006/main">
  <p:tag name="AS_UNIQUEID" val="1904"/>
</p:tagLst>
</file>

<file path=ppt/tags/tag183.xml><?xml version="1.0" encoding="utf-8"?>
<p:tagLst xmlns:a="http://schemas.openxmlformats.org/drawingml/2006/main" xmlns:r="http://schemas.openxmlformats.org/officeDocument/2006/relationships" xmlns:p="http://schemas.openxmlformats.org/presentationml/2006/main">
  <p:tag name="AS_UNIQUEID" val="1906"/>
</p:tagLst>
</file>

<file path=ppt/tags/tag184.xml><?xml version="1.0" encoding="utf-8"?>
<p:tagLst xmlns:a="http://schemas.openxmlformats.org/drawingml/2006/main" xmlns:r="http://schemas.openxmlformats.org/officeDocument/2006/relationships" xmlns:p="http://schemas.openxmlformats.org/presentationml/2006/main">
  <p:tag name="AS_UNIQUEID" val="1907"/>
</p:tagLst>
</file>

<file path=ppt/tags/tag185.xml><?xml version="1.0" encoding="utf-8"?>
<p:tagLst xmlns:a="http://schemas.openxmlformats.org/drawingml/2006/main" xmlns:r="http://schemas.openxmlformats.org/officeDocument/2006/relationships" xmlns:p="http://schemas.openxmlformats.org/presentationml/2006/main">
  <p:tag name="AS_UNIQUEID" val="1908"/>
</p:tagLst>
</file>

<file path=ppt/tags/tag186.xml><?xml version="1.0" encoding="utf-8"?>
<p:tagLst xmlns:a="http://schemas.openxmlformats.org/drawingml/2006/main" xmlns:r="http://schemas.openxmlformats.org/officeDocument/2006/relationships" xmlns:p="http://schemas.openxmlformats.org/presentationml/2006/main">
  <p:tag name="AS_UNIQUEID" val="1909"/>
</p:tagLst>
</file>

<file path=ppt/tags/tag187.xml><?xml version="1.0" encoding="utf-8"?>
<p:tagLst xmlns:a="http://schemas.openxmlformats.org/drawingml/2006/main" xmlns:r="http://schemas.openxmlformats.org/officeDocument/2006/relationships" xmlns:p="http://schemas.openxmlformats.org/presentationml/2006/main">
  <p:tag name="AS_UNIQUEID" val="1910"/>
</p:tagLst>
</file>

<file path=ppt/tags/tag188.xml><?xml version="1.0" encoding="utf-8"?>
<p:tagLst xmlns:a="http://schemas.openxmlformats.org/drawingml/2006/main" xmlns:r="http://schemas.openxmlformats.org/officeDocument/2006/relationships" xmlns:p="http://schemas.openxmlformats.org/presentationml/2006/main">
  <p:tag name="AS_UNIQUEID" val="1911"/>
</p:tagLst>
</file>

<file path=ppt/tags/tag189.xml><?xml version="1.0" encoding="utf-8"?>
<p:tagLst xmlns:a="http://schemas.openxmlformats.org/drawingml/2006/main" xmlns:r="http://schemas.openxmlformats.org/officeDocument/2006/relationships" xmlns:p="http://schemas.openxmlformats.org/presentationml/2006/main">
  <p:tag name="AS_UNIQUEID" val="1913"/>
</p:tagLst>
</file>

<file path=ppt/tags/tag19.xml><?xml version="1.0" encoding="utf-8"?>
<p:tagLst xmlns:a="http://schemas.openxmlformats.org/drawingml/2006/main" xmlns:r="http://schemas.openxmlformats.org/officeDocument/2006/relationships" xmlns:p="http://schemas.openxmlformats.org/presentationml/2006/main">
  <p:tag name="AS_UNIQUEID" val="1723"/>
</p:tagLst>
</file>

<file path=ppt/tags/tag190.xml><?xml version="1.0" encoding="utf-8"?>
<p:tagLst xmlns:a="http://schemas.openxmlformats.org/drawingml/2006/main" xmlns:r="http://schemas.openxmlformats.org/officeDocument/2006/relationships" xmlns:p="http://schemas.openxmlformats.org/presentationml/2006/main">
  <p:tag name="AS_UNIQUEID" val="1914"/>
</p:tagLst>
</file>

<file path=ppt/tags/tag191.xml><?xml version="1.0" encoding="utf-8"?>
<p:tagLst xmlns:a="http://schemas.openxmlformats.org/drawingml/2006/main" xmlns:r="http://schemas.openxmlformats.org/officeDocument/2006/relationships" xmlns:p="http://schemas.openxmlformats.org/presentationml/2006/main">
  <p:tag name="AS_UNIQUEID" val="1915"/>
</p:tagLst>
</file>

<file path=ppt/tags/tag192.xml><?xml version="1.0" encoding="utf-8"?>
<p:tagLst xmlns:a="http://schemas.openxmlformats.org/drawingml/2006/main" xmlns:r="http://schemas.openxmlformats.org/officeDocument/2006/relationships" xmlns:p="http://schemas.openxmlformats.org/presentationml/2006/main">
  <p:tag name="AS_UNIQUEID" val="1916"/>
</p:tagLst>
</file>

<file path=ppt/tags/tag193.xml><?xml version="1.0" encoding="utf-8"?>
<p:tagLst xmlns:a="http://schemas.openxmlformats.org/drawingml/2006/main" xmlns:r="http://schemas.openxmlformats.org/officeDocument/2006/relationships" xmlns:p="http://schemas.openxmlformats.org/presentationml/2006/main">
  <p:tag name="AS_UNIQUEID" val="1917"/>
</p:tagLst>
</file>

<file path=ppt/tags/tag194.xml><?xml version="1.0" encoding="utf-8"?>
<p:tagLst xmlns:a="http://schemas.openxmlformats.org/drawingml/2006/main" xmlns:r="http://schemas.openxmlformats.org/officeDocument/2006/relationships" xmlns:p="http://schemas.openxmlformats.org/presentationml/2006/main">
  <p:tag name="AS_UNIQUEID" val="1918"/>
</p:tagLst>
</file>

<file path=ppt/tags/tag195.xml><?xml version="1.0" encoding="utf-8"?>
<p:tagLst xmlns:a="http://schemas.openxmlformats.org/drawingml/2006/main" xmlns:r="http://schemas.openxmlformats.org/officeDocument/2006/relationships" xmlns:p="http://schemas.openxmlformats.org/presentationml/2006/main">
  <p:tag name="AS_UNIQUEID" val="1919"/>
</p:tagLst>
</file>

<file path=ppt/tags/tag196.xml><?xml version="1.0" encoding="utf-8"?>
<p:tagLst xmlns:a="http://schemas.openxmlformats.org/drawingml/2006/main" xmlns:r="http://schemas.openxmlformats.org/officeDocument/2006/relationships" xmlns:p="http://schemas.openxmlformats.org/presentationml/2006/main">
  <p:tag name="AS_UNIQUEID" val="1920"/>
</p:tagLst>
</file>

<file path=ppt/tags/tag197.xml><?xml version="1.0" encoding="utf-8"?>
<p:tagLst xmlns:a="http://schemas.openxmlformats.org/drawingml/2006/main" xmlns:r="http://schemas.openxmlformats.org/officeDocument/2006/relationships" xmlns:p="http://schemas.openxmlformats.org/presentationml/2006/main">
  <p:tag name="AS_UNIQUEID" val="1922"/>
</p:tagLst>
</file>

<file path=ppt/tags/tag198.xml><?xml version="1.0" encoding="utf-8"?>
<p:tagLst xmlns:a="http://schemas.openxmlformats.org/drawingml/2006/main" xmlns:r="http://schemas.openxmlformats.org/officeDocument/2006/relationships" xmlns:p="http://schemas.openxmlformats.org/presentationml/2006/main">
  <p:tag name="AS_UNIQUEID" val="1923"/>
</p:tagLst>
</file>

<file path=ppt/tags/tag199.xml><?xml version="1.0" encoding="utf-8"?>
<p:tagLst xmlns:a="http://schemas.openxmlformats.org/drawingml/2006/main" xmlns:r="http://schemas.openxmlformats.org/officeDocument/2006/relationships" xmlns:p="http://schemas.openxmlformats.org/presentationml/2006/main">
  <p:tag name="AS_UNIQUEID" val="1924"/>
</p:tagLst>
</file>

<file path=ppt/tags/tag2.xml><?xml version="1.0" encoding="utf-8"?>
<p:tagLst xmlns:a="http://schemas.openxmlformats.org/drawingml/2006/main" xmlns:r="http://schemas.openxmlformats.org/officeDocument/2006/relationships" xmlns:p="http://schemas.openxmlformats.org/presentationml/2006/main">
  <p:tag name="AS_UNIQUEID" val="1805"/>
</p:tagLst>
</file>

<file path=ppt/tags/tag20.xml><?xml version="1.0" encoding="utf-8"?>
<p:tagLst xmlns:a="http://schemas.openxmlformats.org/drawingml/2006/main" xmlns:r="http://schemas.openxmlformats.org/officeDocument/2006/relationships" xmlns:p="http://schemas.openxmlformats.org/presentationml/2006/main">
  <p:tag name="AS_UNIQUEID" val="1724"/>
</p:tagLst>
</file>

<file path=ppt/tags/tag200.xml><?xml version="1.0" encoding="utf-8"?>
<p:tagLst xmlns:a="http://schemas.openxmlformats.org/drawingml/2006/main" xmlns:r="http://schemas.openxmlformats.org/officeDocument/2006/relationships" xmlns:p="http://schemas.openxmlformats.org/presentationml/2006/main">
  <p:tag name="AS_UNIQUEID" val="1925"/>
</p:tagLst>
</file>

<file path=ppt/tags/tag201.xml><?xml version="1.0" encoding="utf-8"?>
<p:tagLst xmlns:a="http://schemas.openxmlformats.org/drawingml/2006/main" xmlns:r="http://schemas.openxmlformats.org/officeDocument/2006/relationships" xmlns:p="http://schemas.openxmlformats.org/presentationml/2006/main">
  <p:tag name="AS_UNIQUEID" val="1927"/>
</p:tagLst>
</file>

<file path=ppt/tags/tag202.xml><?xml version="1.0" encoding="utf-8"?>
<p:tagLst xmlns:a="http://schemas.openxmlformats.org/drawingml/2006/main" xmlns:r="http://schemas.openxmlformats.org/officeDocument/2006/relationships" xmlns:p="http://schemas.openxmlformats.org/presentationml/2006/main">
  <p:tag name="AS_UNIQUEID" val="1928"/>
</p:tagLst>
</file>

<file path=ppt/tags/tag203.xml><?xml version="1.0" encoding="utf-8"?>
<p:tagLst xmlns:a="http://schemas.openxmlformats.org/drawingml/2006/main" xmlns:r="http://schemas.openxmlformats.org/officeDocument/2006/relationships" xmlns:p="http://schemas.openxmlformats.org/presentationml/2006/main">
  <p:tag name="AS_UNIQUEID" val="1929"/>
</p:tagLst>
</file>

<file path=ppt/tags/tag204.xml><?xml version="1.0" encoding="utf-8"?>
<p:tagLst xmlns:a="http://schemas.openxmlformats.org/drawingml/2006/main" xmlns:r="http://schemas.openxmlformats.org/officeDocument/2006/relationships" xmlns:p="http://schemas.openxmlformats.org/presentationml/2006/main">
  <p:tag name="AS_UNIQUEID" val="1931"/>
</p:tagLst>
</file>

<file path=ppt/tags/tag205.xml><?xml version="1.0" encoding="utf-8"?>
<p:tagLst xmlns:a="http://schemas.openxmlformats.org/drawingml/2006/main" xmlns:r="http://schemas.openxmlformats.org/officeDocument/2006/relationships" xmlns:p="http://schemas.openxmlformats.org/presentationml/2006/main">
  <p:tag name="AS_UNIQUEID" val="1932"/>
</p:tagLst>
</file>

<file path=ppt/tags/tag206.xml><?xml version="1.0" encoding="utf-8"?>
<p:tagLst xmlns:a="http://schemas.openxmlformats.org/drawingml/2006/main" xmlns:r="http://schemas.openxmlformats.org/officeDocument/2006/relationships" xmlns:p="http://schemas.openxmlformats.org/presentationml/2006/main">
  <p:tag name="AS_UNIQUEID" val="1933"/>
</p:tagLst>
</file>

<file path=ppt/tags/tag207.xml><?xml version="1.0" encoding="utf-8"?>
<p:tagLst xmlns:a="http://schemas.openxmlformats.org/drawingml/2006/main" xmlns:r="http://schemas.openxmlformats.org/officeDocument/2006/relationships" xmlns:p="http://schemas.openxmlformats.org/presentationml/2006/main">
  <p:tag name="AS_UNIQUEID" val="1934"/>
</p:tagLst>
</file>

<file path=ppt/tags/tag208.xml><?xml version="1.0" encoding="utf-8"?>
<p:tagLst xmlns:a="http://schemas.openxmlformats.org/drawingml/2006/main" xmlns:r="http://schemas.openxmlformats.org/officeDocument/2006/relationships" xmlns:p="http://schemas.openxmlformats.org/presentationml/2006/main">
  <p:tag name="AS_UNIQUEID" val="1935"/>
</p:tagLst>
</file>

<file path=ppt/tags/tag209.xml><?xml version="1.0" encoding="utf-8"?>
<p:tagLst xmlns:a="http://schemas.openxmlformats.org/drawingml/2006/main" xmlns:r="http://schemas.openxmlformats.org/officeDocument/2006/relationships" xmlns:p="http://schemas.openxmlformats.org/presentationml/2006/main">
  <p:tag name="AS_UNIQUEID" val="1936"/>
</p:tagLst>
</file>

<file path=ppt/tags/tag21.xml><?xml version="1.0" encoding="utf-8"?>
<p:tagLst xmlns:a="http://schemas.openxmlformats.org/drawingml/2006/main" xmlns:r="http://schemas.openxmlformats.org/officeDocument/2006/relationships" xmlns:p="http://schemas.openxmlformats.org/presentationml/2006/main">
  <p:tag name="AS_UNIQUEID" val="1725"/>
</p:tagLst>
</file>

<file path=ppt/tags/tag210.xml><?xml version="1.0" encoding="utf-8"?>
<p:tagLst xmlns:a="http://schemas.openxmlformats.org/drawingml/2006/main" xmlns:r="http://schemas.openxmlformats.org/officeDocument/2006/relationships" xmlns:p="http://schemas.openxmlformats.org/presentationml/2006/main">
  <p:tag name="AS_UNIQUEID" val="1938"/>
</p:tagLst>
</file>

<file path=ppt/tags/tag211.xml><?xml version="1.0" encoding="utf-8"?>
<p:tagLst xmlns:a="http://schemas.openxmlformats.org/drawingml/2006/main" xmlns:r="http://schemas.openxmlformats.org/officeDocument/2006/relationships" xmlns:p="http://schemas.openxmlformats.org/presentationml/2006/main">
  <p:tag name="AS_UNIQUEID" val="1939"/>
</p:tagLst>
</file>

<file path=ppt/tags/tag212.xml><?xml version="1.0" encoding="utf-8"?>
<p:tagLst xmlns:a="http://schemas.openxmlformats.org/drawingml/2006/main" xmlns:r="http://schemas.openxmlformats.org/officeDocument/2006/relationships" xmlns:p="http://schemas.openxmlformats.org/presentationml/2006/main">
  <p:tag name="AS_UNIQUEID" val="1940"/>
</p:tagLst>
</file>

<file path=ppt/tags/tag213.xml><?xml version="1.0" encoding="utf-8"?>
<p:tagLst xmlns:a="http://schemas.openxmlformats.org/drawingml/2006/main" xmlns:r="http://schemas.openxmlformats.org/officeDocument/2006/relationships" xmlns:p="http://schemas.openxmlformats.org/presentationml/2006/main">
  <p:tag name="AS_UNIQUEID" val="1941"/>
</p:tagLst>
</file>

<file path=ppt/tags/tag214.xml><?xml version="1.0" encoding="utf-8"?>
<p:tagLst xmlns:a="http://schemas.openxmlformats.org/drawingml/2006/main" xmlns:r="http://schemas.openxmlformats.org/officeDocument/2006/relationships" xmlns:p="http://schemas.openxmlformats.org/presentationml/2006/main">
  <p:tag name="AS_UNIQUEID" val="1942"/>
</p:tagLst>
</file>

<file path=ppt/tags/tag215.xml><?xml version="1.0" encoding="utf-8"?>
<p:tagLst xmlns:a="http://schemas.openxmlformats.org/drawingml/2006/main" xmlns:r="http://schemas.openxmlformats.org/officeDocument/2006/relationships" xmlns:p="http://schemas.openxmlformats.org/presentationml/2006/main">
  <p:tag name="AS_UNIQUEID" val="1943"/>
</p:tagLst>
</file>

<file path=ppt/tags/tag216.xml><?xml version="1.0" encoding="utf-8"?>
<p:tagLst xmlns:a="http://schemas.openxmlformats.org/drawingml/2006/main" xmlns:r="http://schemas.openxmlformats.org/officeDocument/2006/relationships" xmlns:p="http://schemas.openxmlformats.org/presentationml/2006/main">
  <p:tag name="AS_UNIQUEID" val="1945"/>
</p:tagLst>
</file>

<file path=ppt/tags/tag217.xml><?xml version="1.0" encoding="utf-8"?>
<p:tagLst xmlns:a="http://schemas.openxmlformats.org/drawingml/2006/main" xmlns:r="http://schemas.openxmlformats.org/officeDocument/2006/relationships" xmlns:p="http://schemas.openxmlformats.org/presentationml/2006/main">
  <p:tag name="AS_UNIQUEID" val="1946"/>
</p:tagLst>
</file>

<file path=ppt/tags/tag218.xml><?xml version="1.0" encoding="utf-8"?>
<p:tagLst xmlns:a="http://schemas.openxmlformats.org/drawingml/2006/main" xmlns:r="http://schemas.openxmlformats.org/officeDocument/2006/relationships" xmlns:p="http://schemas.openxmlformats.org/presentationml/2006/main">
  <p:tag name="AS_UNIQUEID" val="1947"/>
</p:tagLst>
</file>

<file path=ppt/tags/tag219.xml><?xml version="1.0" encoding="utf-8"?>
<p:tagLst xmlns:a="http://schemas.openxmlformats.org/drawingml/2006/main" xmlns:r="http://schemas.openxmlformats.org/officeDocument/2006/relationships" xmlns:p="http://schemas.openxmlformats.org/presentationml/2006/main">
  <p:tag name="AS_UNIQUEID" val="1948"/>
</p:tagLst>
</file>

<file path=ppt/tags/tag22.xml><?xml version="1.0" encoding="utf-8"?>
<p:tagLst xmlns:a="http://schemas.openxmlformats.org/drawingml/2006/main" xmlns:r="http://schemas.openxmlformats.org/officeDocument/2006/relationships" xmlns:p="http://schemas.openxmlformats.org/presentationml/2006/main">
  <p:tag name="AS_UNIQUEID" val="1726"/>
</p:tagLst>
</file>

<file path=ppt/tags/tag220.xml><?xml version="1.0" encoding="utf-8"?>
<p:tagLst xmlns:a="http://schemas.openxmlformats.org/drawingml/2006/main" xmlns:r="http://schemas.openxmlformats.org/officeDocument/2006/relationships" xmlns:p="http://schemas.openxmlformats.org/presentationml/2006/main">
  <p:tag name="AS_UNIQUEID" val="1949"/>
</p:tagLst>
</file>

<file path=ppt/tags/tag221.xml><?xml version="1.0" encoding="utf-8"?>
<p:tagLst xmlns:a="http://schemas.openxmlformats.org/drawingml/2006/main" xmlns:r="http://schemas.openxmlformats.org/officeDocument/2006/relationships" xmlns:p="http://schemas.openxmlformats.org/presentationml/2006/main">
  <p:tag name="AS_UNIQUEID" val="1951"/>
</p:tagLst>
</file>

<file path=ppt/tags/tag222.xml><?xml version="1.0" encoding="utf-8"?>
<p:tagLst xmlns:a="http://schemas.openxmlformats.org/drawingml/2006/main" xmlns:r="http://schemas.openxmlformats.org/officeDocument/2006/relationships" xmlns:p="http://schemas.openxmlformats.org/presentationml/2006/main">
  <p:tag name="AS_UNIQUEID" val="1952"/>
</p:tagLst>
</file>

<file path=ppt/tags/tag223.xml><?xml version="1.0" encoding="utf-8"?>
<p:tagLst xmlns:a="http://schemas.openxmlformats.org/drawingml/2006/main" xmlns:r="http://schemas.openxmlformats.org/officeDocument/2006/relationships" xmlns:p="http://schemas.openxmlformats.org/presentationml/2006/main">
  <p:tag name="AS_UNIQUEID" val="1953"/>
</p:tagLst>
</file>

<file path=ppt/tags/tag224.xml><?xml version="1.0" encoding="utf-8"?>
<p:tagLst xmlns:a="http://schemas.openxmlformats.org/drawingml/2006/main" xmlns:r="http://schemas.openxmlformats.org/officeDocument/2006/relationships" xmlns:p="http://schemas.openxmlformats.org/presentationml/2006/main">
  <p:tag name="AS_UNIQUEID" val="1954"/>
</p:tagLst>
</file>

<file path=ppt/tags/tag225.xml><?xml version="1.0" encoding="utf-8"?>
<p:tagLst xmlns:a="http://schemas.openxmlformats.org/drawingml/2006/main" xmlns:r="http://schemas.openxmlformats.org/officeDocument/2006/relationships" xmlns:p="http://schemas.openxmlformats.org/presentationml/2006/main">
  <p:tag name="AS_UNIQUEID" val="1955"/>
</p:tagLst>
</file>

<file path=ppt/tags/tag226.xml><?xml version="1.0" encoding="utf-8"?>
<p:tagLst xmlns:a="http://schemas.openxmlformats.org/drawingml/2006/main" xmlns:r="http://schemas.openxmlformats.org/officeDocument/2006/relationships" xmlns:p="http://schemas.openxmlformats.org/presentationml/2006/main">
  <p:tag name="AS_UNIQUEID" val="1957"/>
</p:tagLst>
</file>

<file path=ppt/tags/tag227.xml><?xml version="1.0" encoding="utf-8"?>
<p:tagLst xmlns:a="http://schemas.openxmlformats.org/drawingml/2006/main" xmlns:r="http://schemas.openxmlformats.org/officeDocument/2006/relationships" xmlns:p="http://schemas.openxmlformats.org/presentationml/2006/main">
  <p:tag name="AS_UNIQUEID" val="1958"/>
</p:tagLst>
</file>

<file path=ppt/tags/tag228.xml><?xml version="1.0" encoding="utf-8"?>
<p:tagLst xmlns:a="http://schemas.openxmlformats.org/drawingml/2006/main" xmlns:r="http://schemas.openxmlformats.org/officeDocument/2006/relationships" xmlns:p="http://schemas.openxmlformats.org/presentationml/2006/main">
  <p:tag name="AS_UNIQUEID" val="1959"/>
</p:tagLst>
</file>

<file path=ppt/tags/tag229.xml><?xml version="1.0" encoding="utf-8"?>
<p:tagLst xmlns:a="http://schemas.openxmlformats.org/drawingml/2006/main" xmlns:r="http://schemas.openxmlformats.org/officeDocument/2006/relationships" xmlns:p="http://schemas.openxmlformats.org/presentationml/2006/main">
  <p:tag name="AS_UNIQUEID" val="1960"/>
</p:tagLst>
</file>

<file path=ppt/tags/tag23.xml><?xml version="1.0" encoding="utf-8"?>
<p:tagLst xmlns:a="http://schemas.openxmlformats.org/drawingml/2006/main" xmlns:r="http://schemas.openxmlformats.org/officeDocument/2006/relationships" xmlns:p="http://schemas.openxmlformats.org/presentationml/2006/main">
  <p:tag name="AS_UNIQUEID" val="1728"/>
</p:tagLst>
</file>

<file path=ppt/tags/tag230.xml><?xml version="1.0" encoding="utf-8"?>
<p:tagLst xmlns:a="http://schemas.openxmlformats.org/drawingml/2006/main" xmlns:r="http://schemas.openxmlformats.org/officeDocument/2006/relationships" xmlns:p="http://schemas.openxmlformats.org/presentationml/2006/main">
  <p:tag name="AS_UNIQUEID" val="1969"/>
</p:tagLst>
</file>

<file path=ppt/tags/tag231.xml><?xml version="1.0" encoding="utf-8"?>
<p:tagLst xmlns:a="http://schemas.openxmlformats.org/drawingml/2006/main" xmlns:r="http://schemas.openxmlformats.org/officeDocument/2006/relationships" xmlns:p="http://schemas.openxmlformats.org/presentationml/2006/main">
  <p:tag name="AS_UNIQUEID" val="1970"/>
</p:tagLst>
</file>

<file path=ppt/tags/tag232.xml><?xml version="1.0" encoding="utf-8"?>
<p:tagLst xmlns:a="http://schemas.openxmlformats.org/drawingml/2006/main" xmlns:r="http://schemas.openxmlformats.org/officeDocument/2006/relationships" xmlns:p="http://schemas.openxmlformats.org/presentationml/2006/main">
  <p:tag name="AS_UNIQUEID" val="1971"/>
</p:tagLst>
</file>

<file path=ppt/tags/tag233.xml><?xml version="1.0" encoding="utf-8"?>
<p:tagLst xmlns:a="http://schemas.openxmlformats.org/drawingml/2006/main" xmlns:r="http://schemas.openxmlformats.org/officeDocument/2006/relationships" xmlns:p="http://schemas.openxmlformats.org/presentationml/2006/main">
  <p:tag name="AS_UNIQUEID" val="1972"/>
</p:tagLst>
</file>

<file path=ppt/tags/tag234.xml><?xml version="1.0" encoding="utf-8"?>
<p:tagLst xmlns:a="http://schemas.openxmlformats.org/drawingml/2006/main" xmlns:r="http://schemas.openxmlformats.org/officeDocument/2006/relationships" xmlns:p="http://schemas.openxmlformats.org/presentationml/2006/main">
  <p:tag name="AS_UNIQUEID" val="1973"/>
</p:tagLst>
</file>

<file path=ppt/tags/tag235.xml><?xml version="1.0" encoding="utf-8"?>
<p:tagLst xmlns:a="http://schemas.openxmlformats.org/drawingml/2006/main" xmlns:r="http://schemas.openxmlformats.org/officeDocument/2006/relationships" xmlns:p="http://schemas.openxmlformats.org/presentationml/2006/main">
  <p:tag name="AS_UNIQUEID" val="1974"/>
</p:tagLst>
</file>

<file path=ppt/tags/tag236.xml><?xml version="1.0" encoding="utf-8"?>
<p:tagLst xmlns:a="http://schemas.openxmlformats.org/drawingml/2006/main" xmlns:r="http://schemas.openxmlformats.org/officeDocument/2006/relationships" xmlns:p="http://schemas.openxmlformats.org/presentationml/2006/main">
  <p:tag name="AS_UNIQUEID" val="1976"/>
</p:tagLst>
</file>

<file path=ppt/tags/tag237.xml><?xml version="1.0" encoding="utf-8"?>
<p:tagLst xmlns:a="http://schemas.openxmlformats.org/drawingml/2006/main" xmlns:r="http://schemas.openxmlformats.org/officeDocument/2006/relationships" xmlns:p="http://schemas.openxmlformats.org/presentationml/2006/main">
  <p:tag name="AS_UNIQUEID" val="1977"/>
</p:tagLst>
</file>

<file path=ppt/tags/tag238.xml><?xml version="1.0" encoding="utf-8"?>
<p:tagLst xmlns:a="http://schemas.openxmlformats.org/drawingml/2006/main" xmlns:r="http://schemas.openxmlformats.org/officeDocument/2006/relationships" xmlns:p="http://schemas.openxmlformats.org/presentationml/2006/main">
  <p:tag name="AS_UNIQUEID" val="1978"/>
</p:tagLst>
</file>

<file path=ppt/tags/tag239.xml><?xml version="1.0" encoding="utf-8"?>
<p:tagLst xmlns:a="http://schemas.openxmlformats.org/drawingml/2006/main" xmlns:r="http://schemas.openxmlformats.org/officeDocument/2006/relationships" xmlns:p="http://schemas.openxmlformats.org/presentationml/2006/main">
  <p:tag name="AS_UNIQUEID" val="1979"/>
</p:tagLst>
</file>

<file path=ppt/tags/tag24.xml><?xml version="1.0" encoding="utf-8"?>
<p:tagLst xmlns:a="http://schemas.openxmlformats.org/drawingml/2006/main" xmlns:r="http://schemas.openxmlformats.org/officeDocument/2006/relationships" xmlns:p="http://schemas.openxmlformats.org/presentationml/2006/main">
  <p:tag name="AS_UNIQUEID" val="1729"/>
</p:tagLst>
</file>

<file path=ppt/tags/tag240.xml><?xml version="1.0" encoding="utf-8"?>
<p:tagLst xmlns:a="http://schemas.openxmlformats.org/drawingml/2006/main" xmlns:r="http://schemas.openxmlformats.org/officeDocument/2006/relationships" xmlns:p="http://schemas.openxmlformats.org/presentationml/2006/main">
  <p:tag name="AS_UNIQUEID" val="1980"/>
</p:tagLst>
</file>

<file path=ppt/tags/tag241.xml><?xml version="1.0" encoding="utf-8"?>
<p:tagLst xmlns:a="http://schemas.openxmlformats.org/drawingml/2006/main" xmlns:r="http://schemas.openxmlformats.org/officeDocument/2006/relationships" xmlns:p="http://schemas.openxmlformats.org/presentationml/2006/main">
  <p:tag name="AS_UNIQUEID" val="1981"/>
</p:tagLst>
</file>

<file path=ppt/tags/tag242.xml><?xml version="1.0" encoding="utf-8"?>
<p:tagLst xmlns:a="http://schemas.openxmlformats.org/drawingml/2006/main" xmlns:r="http://schemas.openxmlformats.org/officeDocument/2006/relationships" xmlns:p="http://schemas.openxmlformats.org/presentationml/2006/main">
  <p:tag name="AS_UNIQUEID" val="1982"/>
</p:tagLst>
</file>

<file path=ppt/tags/tag243.xml><?xml version="1.0" encoding="utf-8"?>
<p:tagLst xmlns:a="http://schemas.openxmlformats.org/drawingml/2006/main" xmlns:r="http://schemas.openxmlformats.org/officeDocument/2006/relationships" xmlns:p="http://schemas.openxmlformats.org/presentationml/2006/main">
  <p:tag name="AS_UNIQUEID" val="1983"/>
</p:tagLst>
</file>

<file path=ppt/tags/tag244.xml><?xml version="1.0" encoding="utf-8"?>
<p:tagLst xmlns:a="http://schemas.openxmlformats.org/drawingml/2006/main" xmlns:r="http://schemas.openxmlformats.org/officeDocument/2006/relationships" xmlns:p="http://schemas.openxmlformats.org/presentationml/2006/main">
  <p:tag name="AS_UNIQUEID" val="1984"/>
</p:tagLst>
</file>

<file path=ppt/tags/tag245.xml><?xml version="1.0" encoding="utf-8"?>
<p:tagLst xmlns:a="http://schemas.openxmlformats.org/drawingml/2006/main" xmlns:r="http://schemas.openxmlformats.org/officeDocument/2006/relationships" xmlns:p="http://schemas.openxmlformats.org/presentationml/2006/main">
  <p:tag name="AS_UNIQUEID" val="2041"/>
</p:tagLst>
</file>

<file path=ppt/tags/tag246.xml><?xml version="1.0" encoding="utf-8"?>
<p:tagLst xmlns:a="http://schemas.openxmlformats.org/drawingml/2006/main" xmlns:r="http://schemas.openxmlformats.org/officeDocument/2006/relationships" xmlns:p="http://schemas.openxmlformats.org/presentationml/2006/main">
  <p:tag name="AS_UNIQUEID" val="2042"/>
</p:tagLst>
</file>

<file path=ppt/tags/tag247.xml><?xml version="1.0" encoding="utf-8"?>
<p:tagLst xmlns:a="http://schemas.openxmlformats.org/drawingml/2006/main" xmlns:r="http://schemas.openxmlformats.org/officeDocument/2006/relationships" xmlns:p="http://schemas.openxmlformats.org/presentationml/2006/main">
  <p:tag name="AS_UNIQUEID" val="2043"/>
</p:tagLst>
</file>

<file path=ppt/tags/tag248.xml><?xml version="1.0" encoding="utf-8"?>
<p:tagLst xmlns:a="http://schemas.openxmlformats.org/drawingml/2006/main" xmlns:r="http://schemas.openxmlformats.org/officeDocument/2006/relationships" xmlns:p="http://schemas.openxmlformats.org/presentationml/2006/main">
  <p:tag name="AS_UNIQUEID" val="2045"/>
</p:tagLst>
</file>

<file path=ppt/tags/tag249.xml><?xml version="1.0" encoding="utf-8"?>
<p:tagLst xmlns:a="http://schemas.openxmlformats.org/drawingml/2006/main" xmlns:r="http://schemas.openxmlformats.org/officeDocument/2006/relationships" xmlns:p="http://schemas.openxmlformats.org/presentationml/2006/main">
  <p:tag name="AS_UNIQUEID" val="2047"/>
</p:tagLst>
</file>

<file path=ppt/tags/tag25.xml><?xml version="1.0" encoding="utf-8"?>
<p:tagLst xmlns:a="http://schemas.openxmlformats.org/drawingml/2006/main" xmlns:r="http://schemas.openxmlformats.org/officeDocument/2006/relationships" xmlns:p="http://schemas.openxmlformats.org/presentationml/2006/main">
  <p:tag name="AS_UNIQUEID" val="1730"/>
</p:tagLst>
</file>

<file path=ppt/tags/tag250.xml><?xml version="1.0" encoding="utf-8"?>
<p:tagLst xmlns:a="http://schemas.openxmlformats.org/drawingml/2006/main" xmlns:r="http://schemas.openxmlformats.org/officeDocument/2006/relationships" xmlns:p="http://schemas.openxmlformats.org/presentationml/2006/main">
  <p:tag name="AS_UNIQUEID" val="2050"/>
</p:tagLst>
</file>

<file path=ppt/tags/tag251.xml><?xml version="1.0" encoding="utf-8"?>
<p:tagLst xmlns:a="http://schemas.openxmlformats.org/drawingml/2006/main" xmlns:r="http://schemas.openxmlformats.org/officeDocument/2006/relationships" xmlns:p="http://schemas.openxmlformats.org/presentationml/2006/main">
  <p:tag name="AS_UNIQUEID" val="2053"/>
</p:tagLst>
</file>

<file path=ppt/tags/tag252.xml><?xml version="1.0" encoding="utf-8"?>
<p:tagLst xmlns:a="http://schemas.openxmlformats.org/drawingml/2006/main" xmlns:r="http://schemas.openxmlformats.org/officeDocument/2006/relationships" xmlns:p="http://schemas.openxmlformats.org/presentationml/2006/main">
  <p:tag name="AS_UNIQUEID" val="2056"/>
</p:tagLst>
</file>

<file path=ppt/tags/tag253.xml><?xml version="1.0" encoding="utf-8"?>
<p:tagLst xmlns:a="http://schemas.openxmlformats.org/drawingml/2006/main" xmlns:r="http://schemas.openxmlformats.org/officeDocument/2006/relationships" xmlns:p="http://schemas.openxmlformats.org/presentationml/2006/main">
  <p:tag name="AS_UNIQUEID" val="2059"/>
</p:tagLst>
</file>

<file path=ppt/tags/tag254.xml><?xml version="1.0" encoding="utf-8"?>
<p:tagLst xmlns:a="http://schemas.openxmlformats.org/drawingml/2006/main" xmlns:r="http://schemas.openxmlformats.org/officeDocument/2006/relationships" xmlns:p="http://schemas.openxmlformats.org/presentationml/2006/main">
  <p:tag name="AS_UNIQUEID" val="2062"/>
</p:tagLst>
</file>

<file path=ppt/tags/tag255.xml><?xml version="1.0" encoding="utf-8"?>
<p:tagLst xmlns:a="http://schemas.openxmlformats.org/drawingml/2006/main" xmlns:r="http://schemas.openxmlformats.org/officeDocument/2006/relationships" xmlns:p="http://schemas.openxmlformats.org/presentationml/2006/main">
  <p:tag name="AS_UNIQUEID" val="2065"/>
</p:tagLst>
</file>

<file path=ppt/tags/tag256.xml><?xml version="1.0" encoding="utf-8"?>
<p:tagLst xmlns:a="http://schemas.openxmlformats.org/drawingml/2006/main" xmlns:r="http://schemas.openxmlformats.org/officeDocument/2006/relationships" xmlns:p="http://schemas.openxmlformats.org/presentationml/2006/main">
  <p:tag name="AS_UNIQUEID" val="2068"/>
</p:tagLst>
</file>

<file path=ppt/tags/tag257.xml><?xml version="1.0" encoding="utf-8"?>
<p:tagLst xmlns:a="http://schemas.openxmlformats.org/drawingml/2006/main" xmlns:r="http://schemas.openxmlformats.org/officeDocument/2006/relationships" xmlns:p="http://schemas.openxmlformats.org/presentationml/2006/main">
  <p:tag name="AS_UNIQUEID" val="2071"/>
</p:tagLst>
</file>

<file path=ppt/tags/tag258.xml><?xml version="1.0" encoding="utf-8"?>
<p:tagLst xmlns:a="http://schemas.openxmlformats.org/drawingml/2006/main" xmlns:r="http://schemas.openxmlformats.org/officeDocument/2006/relationships" xmlns:p="http://schemas.openxmlformats.org/presentationml/2006/main">
  <p:tag name="AS_UNIQUEID" val="2072"/>
</p:tagLst>
</file>

<file path=ppt/tags/tag259.xml><?xml version="1.0" encoding="utf-8"?>
<p:tagLst xmlns:a="http://schemas.openxmlformats.org/drawingml/2006/main" xmlns:r="http://schemas.openxmlformats.org/officeDocument/2006/relationships" xmlns:p="http://schemas.openxmlformats.org/presentationml/2006/main">
  <p:tag name="AS_UNIQUEID" val="2073"/>
</p:tagLst>
</file>

<file path=ppt/tags/tag26.xml><?xml version="1.0" encoding="utf-8"?>
<p:tagLst xmlns:a="http://schemas.openxmlformats.org/drawingml/2006/main" xmlns:r="http://schemas.openxmlformats.org/officeDocument/2006/relationships" xmlns:p="http://schemas.openxmlformats.org/presentationml/2006/main">
  <p:tag name="AS_UNIQUEID" val="1731"/>
</p:tagLst>
</file>

<file path=ppt/tags/tag260.xml><?xml version="1.0" encoding="utf-8"?>
<p:tagLst xmlns:a="http://schemas.openxmlformats.org/drawingml/2006/main" xmlns:r="http://schemas.openxmlformats.org/officeDocument/2006/relationships" xmlns:p="http://schemas.openxmlformats.org/presentationml/2006/main">
  <p:tag name="AS_UNIQUEID" val="2074"/>
</p:tagLst>
</file>

<file path=ppt/tags/tag261.xml><?xml version="1.0" encoding="utf-8"?>
<p:tagLst xmlns:a="http://schemas.openxmlformats.org/drawingml/2006/main" xmlns:r="http://schemas.openxmlformats.org/officeDocument/2006/relationships" xmlns:p="http://schemas.openxmlformats.org/presentationml/2006/main">
  <p:tag name="AS_UNIQUEID" val="2075"/>
</p:tagLst>
</file>

<file path=ppt/tags/tag262.xml><?xml version="1.0" encoding="utf-8"?>
<p:tagLst xmlns:a="http://schemas.openxmlformats.org/drawingml/2006/main" xmlns:r="http://schemas.openxmlformats.org/officeDocument/2006/relationships" xmlns:p="http://schemas.openxmlformats.org/presentationml/2006/main">
  <p:tag name="AS_UNIQUEID" val="2076"/>
</p:tagLst>
</file>

<file path=ppt/tags/tag263.xml><?xml version="1.0" encoding="utf-8"?>
<p:tagLst xmlns:a="http://schemas.openxmlformats.org/drawingml/2006/main" xmlns:r="http://schemas.openxmlformats.org/officeDocument/2006/relationships" xmlns:p="http://schemas.openxmlformats.org/presentationml/2006/main">
  <p:tag name="AS_UNIQUEID" val="2077"/>
</p:tagLst>
</file>

<file path=ppt/tags/tag264.xml><?xml version="1.0" encoding="utf-8"?>
<p:tagLst xmlns:a="http://schemas.openxmlformats.org/drawingml/2006/main" xmlns:r="http://schemas.openxmlformats.org/officeDocument/2006/relationships" xmlns:p="http://schemas.openxmlformats.org/presentationml/2006/main">
  <p:tag name="AS_UNIQUEID" val="2078"/>
</p:tagLst>
</file>

<file path=ppt/tags/tag265.xml><?xml version="1.0" encoding="utf-8"?>
<p:tagLst xmlns:a="http://schemas.openxmlformats.org/drawingml/2006/main" xmlns:r="http://schemas.openxmlformats.org/officeDocument/2006/relationships" xmlns:p="http://schemas.openxmlformats.org/presentationml/2006/main">
  <p:tag name="AS_UNIQUEID" val="2079"/>
</p:tagLst>
</file>

<file path=ppt/tags/tag266.xml><?xml version="1.0" encoding="utf-8"?>
<p:tagLst xmlns:a="http://schemas.openxmlformats.org/drawingml/2006/main" xmlns:r="http://schemas.openxmlformats.org/officeDocument/2006/relationships" xmlns:p="http://schemas.openxmlformats.org/presentationml/2006/main">
  <p:tag name="AS_UNIQUEID" val="2080"/>
</p:tagLst>
</file>

<file path=ppt/tags/tag267.xml><?xml version="1.0" encoding="utf-8"?>
<p:tagLst xmlns:a="http://schemas.openxmlformats.org/drawingml/2006/main" xmlns:r="http://schemas.openxmlformats.org/officeDocument/2006/relationships" xmlns:p="http://schemas.openxmlformats.org/presentationml/2006/main">
  <p:tag name="AS_UNIQUEID" val="2081"/>
</p:tagLst>
</file>

<file path=ppt/tags/tag268.xml><?xml version="1.0" encoding="utf-8"?>
<p:tagLst xmlns:a="http://schemas.openxmlformats.org/drawingml/2006/main" xmlns:r="http://schemas.openxmlformats.org/officeDocument/2006/relationships" xmlns:p="http://schemas.openxmlformats.org/presentationml/2006/main">
  <p:tag name="AS_UNIQUEID" val="2082"/>
</p:tagLst>
</file>

<file path=ppt/tags/tag269.xml><?xml version="1.0" encoding="utf-8"?>
<p:tagLst xmlns:a="http://schemas.openxmlformats.org/drawingml/2006/main" xmlns:r="http://schemas.openxmlformats.org/officeDocument/2006/relationships" xmlns:p="http://schemas.openxmlformats.org/presentationml/2006/main">
  <p:tag name="AS_UNIQUEID" val="2083"/>
</p:tagLst>
</file>

<file path=ppt/tags/tag27.xml><?xml version="1.0" encoding="utf-8"?>
<p:tagLst xmlns:a="http://schemas.openxmlformats.org/drawingml/2006/main" xmlns:r="http://schemas.openxmlformats.org/officeDocument/2006/relationships" xmlns:p="http://schemas.openxmlformats.org/presentationml/2006/main">
  <p:tag name="AS_UNIQUEID" val="1732"/>
</p:tagLst>
</file>

<file path=ppt/tags/tag270.xml><?xml version="1.0" encoding="utf-8"?>
<p:tagLst xmlns:a="http://schemas.openxmlformats.org/drawingml/2006/main" xmlns:r="http://schemas.openxmlformats.org/officeDocument/2006/relationships" xmlns:p="http://schemas.openxmlformats.org/presentationml/2006/main">
  <p:tag name="AS_UNIQUEID" val="2084"/>
</p:tagLst>
</file>

<file path=ppt/tags/tag271.xml><?xml version="1.0" encoding="utf-8"?>
<p:tagLst xmlns:a="http://schemas.openxmlformats.org/drawingml/2006/main" xmlns:r="http://schemas.openxmlformats.org/officeDocument/2006/relationships" xmlns:p="http://schemas.openxmlformats.org/presentationml/2006/main">
  <p:tag name="AS_UNIQUEID" val="2085"/>
</p:tagLst>
</file>

<file path=ppt/tags/tag272.xml><?xml version="1.0" encoding="utf-8"?>
<p:tagLst xmlns:a="http://schemas.openxmlformats.org/drawingml/2006/main" xmlns:r="http://schemas.openxmlformats.org/officeDocument/2006/relationships" xmlns:p="http://schemas.openxmlformats.org/presentationml/2006/main">
  <p:tag name="AS_UNIQUEID" val="2086"/>
</p:tagLst>
</file>

<file path=ppt/tags/tag273.xml><?xml version="1.0" encoding="utf-8"?>
<p:tagLst xmlns:a="http://schemas.openxmlformats.org/drawingml/2006/main" xmlns:r="http://schemas.openxmlformats.org/officeDocument/2006/relationships" xmlns:p="http://schemas.openxmlformats.org/presentationml/2006/main">
  <p:tag name="AS_UNIQUEID" val="2087"/>
</p:tagLst>
</file>

<file path=ppt/tags/tag274.xml><?xml version="1.0" encoding="utf-8"?>
<p:tagLst xmlns:a="http://schemas.openxmlformats.org/drawingml/2006/main" xmlns:r="http://schemas.openxmlformats.org/officeDocument/2006/relationships" xmlns:p="http://schemas.openxmlformats.org/presentationml/2006/main">
  <p:tag name="AS_UNIQUEID" val="2088"/>
</p:tagLst>
</file>

<file path=ppt/tags/tag275.xml><?xml version="1.0" encoding="utf-8"?>
<p:tagLst xmlns:a="http://schemas.openxmlformats.org/drawingml/2006/main" xmlns:r="http://schemas.openxmlformats.org/officeDocument/2006/relationships" xmlns:p="http://schemas.openxmlformats.org/presentationml/2006/main">
  <p:tag name="AS_UNIQUEID" val="2089"/>
</p:tagLst>
</file>

<file path=ppt/tags/tag276.xml><?xml version="1.0" encoding="utf-8"?>
<p:tagLst xmlns:a="http://schemas.openxmlformats.org/drawingml/2006/main" xmlns:r="http://schemas.openxmlformats.org/officeDocument/2006/relationships" xmlns:p="http://schemas.openxmlformats.org/presentationml/2006/main">
  <p:tag name="AS_UNIQUEID" val="2090"/>
</p:tagLst>
</file>

<file path=ppt/tags/tag277.xml><?xml version="1.0" encoding="utf-8"?>
<p:tagLst xmlns:a="http://schemas.openxmlformats.org/drawingml/2006/main" xmlns:r="http://schemas.openxmlformats.org/officeDocument/2006/relationships" xmlns:p="http://schemas.openxmlformats.org/presentationml/2006/main">
  <p:tag name="AS_UNIQUEID" val="2091"/>
</p:tagLst>
</file>

<file path=ppt/tags/tag278.xml><?xml version="1.0" encoding="utf-8"?>
<p:tagLst xmlns:a="http://schemas.openxmlformats.org/drawingml/2006/main" xmlns:r="http://schemas.openxmlformats.org/officeDocument/2006/relationships" xmlns:p="http://schemas.openxmlformats.org/presentationml/2006/main">
  <p:tag name="AS_UNIQUEID" val="2092"/>
</p:tagLst>
</file>

<file path=ppt/tags/tag279.xml><?xml version="1.0" encoding="utf-8"?>
<p:tagLst xmlns:a="http://schemas.openxmlformats.org/drawingml/2006/main" xmlns:r="http://schemas.openxmlformats.org/officeDocument/2006/relationships" xmlns:p="http://schemas.openxmlformats.org/presentationml/2006/main">
  <p:tag name="AS_UNIQUEID" val="2093"/>
</p:tagLst>
</file>

<file path=ppt/tags/tag28.xml><?xml version="1.0" encoding="utf-8"?>
<p:tagLst xmlns:a="http://schemas.openxmlformats.org/drawingml/2006/main" xmlns:r="http://schemas.openxmlformats.org/officeDocument/2006/relationships" xmlns:p="http://schemas.openxmlformats.org/presentationml/2006/main">
  <p:tag name="AS_UNIQUEID" val="1733"/>
</p:tagLst>
</file>

<file path=ppt/tags/tag280.xml><?xml version="1.0" encoding="utf-8"?>
<p:tagLst xmlns:a="http://schemas.openxmlformats.org/drawingml/2006/main" xmlns:r="http://schemas.openxmlformats.org/officeDocument/2006/relationships" xmlns:p="http://schemas.openxmlformats.org/presentationml/2006/main">
  <p:tag name="AS_UNIQUEID" val="2069"/>
</p:tagLst>
</file>

<file path=ppt/tags/tag281.xml><?xml version="1.0" encoding="utf-8"?>
<p:tagLst xmlns:a="http://schemas.openxmlformats.org/drawingml/2006/main" xmlns:r="http://schemas.openxmlformats.org/officeDocument/2006/relationships" xmlns:p="http://schemas.openxmlformats.org/presentationml/2006/main">
  <p:tag name="AS_UNIQUEID" val="2070"/>
</p:tagLst>
</file>

<file path=ppt/tags/tag282.xml><?xml version="1.0" encoding="utf-8"?>
<p:tagLst xmlns:a="http://schemas.openxmlformats.org/drawingml/2006/main" xmlns:r="http://schemas.openxmlformats.org/officeDocument/2006/relationships" xmlns:p="http://schemas.openxmlformats.org/presentationml/2006/main">
  <p:tag name="AS_UNIQUEID" val="2066"/>
</p:tagLst>
</file>

<file path=ppt/tags/tag283.xml><?xml version="1.0" encoding="utf-8"?>
<p:tagLst xmlns:a="http://schemas.openxmlformats.org/drawingml/2006/main" xmlns:r="http://schemas.openxmlformats.org/officeDocument/2006/relationships" xmlns:p="http://schemas.openxmlformats.org/presentationml/2006/main">
  <p:tag name="AS_UNIQUEID" val="2067"/>
</p:tagLst>
</file>

<file path=ppt/tags/tag284.xml><?xml version="1.0" encoding="utf-8"?>
<p:tagLst xmlns:a="http://schemas.openxmlformats.org/drawingml/2006/main" xmlns:r="http://schemas.openxmlformats.org/officeDocument/2006/relationships" xmlns:p="http://schemas.openxmlformats.org/presentationml/2006/main">
  <p:tag name="AS_UNIQUEID" val="2063"/>
</p:tagLst>
</file>

<file path=ppt/tags/tag285.xml><?xml version="1.0" encoding="utf-8"?>
<p:tagLst xmlns:a="http://schemas.openxmlformats.org/drawingml/2006/main" xmlns:r="http://schemas.openxmlformats.org/officeDocument/2006/relationships" xmlns:p="http://schemas.openxmlformats.org/presentationml/2006/main">
  <p:tag name="AS_UNIQUEID" val="2064"/>
</p:tagLst>
</file>

<file path=ppt/tags/tag286.xml><?xml version="1.0" encoding="utf-8"?>
<p:tagLst xmlns:a="http://schemas.openxmlformats.org/drawingml/2006/main" xmlns:r="http://schemas.openxmlformats.org/officeDocument/2006/relationships" xmlns:p="http://schemas.openxmlformats.org/presentationml/2006/main">
  <p:tag name="AS_UNIQUEID" val="2060"/>
</p:tagLst>
</file>

<file path=ppt/tags/tag287.xml><?xml version="1.0" encoding="utf-8"?>
<p:tagLst xmlns:a="http://schemas.openxmlformats.org/drawingml/2006/main" xmlns:r="http://schemas.openxmlformats.org/officeDocument/2006/relationships" xmlns:p="http://schemas.openxmlformats.org/presentationml/2006/main">
  <p:tag name="AS_UNIQUEID" val="2061"/>
</p:tagLst>
</file>

<file path=ppt/tags/tag288.xml><?xml version="1.0" encoding="utf-8"?>
<p:tagLst xmlns:a="http://schemas.openxmlformats.org/drawingml/2006/main" xmlns:r="http://schemas.openxmlformats.org/officeDocument/2006/relationships" xmlns:p="http://schemas.openxmlformats.org/presentationml/2006/main">
  <p:tag name="AS_UNIQUEID" val="2057"/>
</p:tagLst>
</file>

<file path=ppt/tags/tag289.xml><?xml version="1.0" encoding="utf-8"?>
<p:tagLst xmlns:a="http://schemas.openxmlformats.org/drawingml/2006/main" xmlns:r="http://schemas.openxmlformats.org/officeDocument/2006/relationships" xmlns:p="http://schemas.openxmlformats.org/presentationml/2006/main">
  <p:tag name="AS_UNIQUEID" val="2058"/>
</p:tagLst>
</file>

<file path=ppt/tags/tag29.xml><?xml version="1.0" encoding="utf-8"?>
<p:tagLst xmlns:a="http://schemas.openxmlformats.org/drawingml/2006/main" xmlns:r="http://schemas.openxmlformats.org/officeDocument/2006/relationships" xmlns:p="http://schemas.openxmlformats.org/presentationml/2006/main">
  <p:tag name="AS_UNIQUEID" val="1735"/>
</p:tagLst>
</file>

<file path=ppt/tags/tag290.xml><?xml version="1.0" encoding="utf-8"?>
<p:tagLst xmlns:a="http://schemas.openxmlformats.org/drawingml/2006/main" xmlns:r="http://schemas.openxmlformats.org/officeDocument/2006/relationships" xmlns:p="http://schemas.openxmlformats.org/presentationml/2006/main">
  <p:tag name="AS_UNIQUEID" val="2054"/>
</p:tagLst>
</file>

<file path=ppt/tags/tag291.xml><?xml version="1.0" encoding="utf-8"?>
<p:tagLst xmlns:a="http://schemas.openxmlformats.org/drawingml/2006/main" xmlns:r="http://schemas.openxmlformats.org/officeDocument/2006/relationships" xmlns:p="http://schemas.openxmlformats.org/presentationml/2006/main">
  <p:tag name="AS_UNIQUEID" val="2055"/>
</p:tagLst>
</file>

<file path=ppt/tags/tag292.xml><?xml version="1.0" encoding="utf-8"?>
<p:tagLst xmlns:a="http://schemas.openxmlformats.org/drawingml/2006/main" xmlns:r="http://schemas.openxmlformats.org/officeDocument/2006/relationships" xmlns:p="http://schemas.openxmlformats.org/presentationml/2006/main">
  <p:tag name="AS_UNIQUEID" val="2051"/>
</p:tagLst>
</file>

<file path=ppt/tags/tag293.xml><?xml version="1.0" encoding="utf-8"?>
<p:tagLst xmlns:a="http://schemas.openxmlformats.org/drawingml/2006/main" xmlns:r="http://schemas.openxmlformats.org/officeDocument/2006/relationships" xmlns:p="http://schemas.openxmlformats.org/presentationml/2006/main">
  <p:tag name="AS_UNIQUEID" val="2052"/>
</p:tagLst>
</file>

<file path=ppt/tags/tag294.xml><?xml version="1.0" encoding="utf-8"?>
<p:tagLst xmlns:a="http://schemas.openxmlformats.org/drawingml/2006/main" xmlns:r="http://schemas.openxmlformats.org/officeDocument/2006/relationships" xmlns:p="http://schemas.openxmlformats.org/presentationml/2006/main">
  <p:tag name="AS_UNIQUEID" val="2048"/>
</p:tagLst>
</file>

<file path=ppt/tags/tag295.xml><?xml version="1.0" encoding="utf-8"?>
<p:tagLst xmlns:a="http://schemas.openxmlformats.org/drawingml/2006/main" xmlns:r="http://schemas.openxmlformats.org/officeDocument/2006/relationships" xmlns:p="http://schemas.openxmlformats.org/presentationml/2006/main">
  <p:tag name="AS_UNIQUEID" val="2049"/>
</p:tagLst>
</file>

<file path=ppt/tags/tag296.xml><?xml version="1.0" encoding="utf-8"?>
<p:tagLst xmlns:a="http://schemas.openxmlformats.org/drawingml/2006/main" xmlns:r="http://schemas.openxmlformats.org/officeDocument/2006/relationships" xmlns:p="http://schemas.openxmlformats.org/presentationml/2006/main">
  <p:tag name="AS_UNIQUEID" val="2028"/>
</p:tagLst>
</file>

<file path=ppt/tags/tag297.xml><?xml version="1.0" encoding="utf-8"?>
<p:tagLst xmlns:a="http://schemas.openxmlformats.org/drawingml/2006/main" xmlns:r="http://schemas.openxmlformats.org/officeDocument/2006/relationships" xmlns:p="http://schemas.openxmlformats.org/presentationml/2006/main">
  <p:tag name="AS_UNIQUEID" val="2029"/>
</p:tagLst>
</file>

<file path=ppt/tags/tag298.xml><?xml version="1.0" encoding="utf-8"?>
<p:tagLst xmlns:a="http://schemas.openxmlformats.org/drawingml/2006/main" xmlns:r="http://schemas.openxmlformats.org/officeDocument/2006/relationships" xmlns:p="http://schemas.openxmlformats.org/presentationml/2006/main">
  <p:tag name="AS_UNIQUEID" val="2030"/>
</p:tagLst>
</file>

<file path=ppt/tags/tag299.xml><?xml version="1.0" encoding="utf-8"?>
<p:tagLst xmlns:a="http://schemas.openxmlformats.org/drawingml/2006/main" xmlns:r="http://schemas.openxmlformats.org/officeDocument/2006/relationships" xmlns:p="http://schemas.openxmlformats.org/presentationml/2006/main">
  <p:tag name="AS_UNIQUEID" val="2031"/>
</p:tagLst>
</file>

<file path=ppt/tags/tag3.xml><?xml version="1.0" encoding="utf-8"?>
<p:tagLst xmlns:a="http://schemas.openxmlformats.org/drawingml/2006/main" xmlns:r="http://schemas.openxmlformats.org/officeDocument/2006/relationships" xmlns:p="http://schemas.openxmlformats.org/presentationml/2006/main">
  <p:tag name="AS_UNIQUEID" val="1806"/>
</p:tagLst>
</file>

<file path=ppt/tags/tag30.xml><?xml version="1.0" encoding="utf-8"?>
<p:tagLst xmlns:a="http://schemas.openxmlformats.org/drawingml/2006/main" xmlns:r="http://schemas.openxmlformats.org/officeDocument/2006/relationships" xmlns:p="http://schemas.openxmlformats.org/presentationml/2006/main">
  <p:tag name="AS_UNIQUEID" val="1736"/>
</p:tagLst>
</file>

<file path=ppt/tags/tag300.xml><?xml version="1.0" encoding="utf-8"?>
<p:tagLst xmlns:a="http://schemas.openxmlformats.org/drawingml/2006/main" xmlns:r="http://schemas.openxmlformats.org/officeDocument/2006/relationships" xmlns:p="http://schemas.openxmlformats.org/presentationml/2006/main">
  <p:tag name="AS_UNIQUEID" val="2033"/>
</p:tagLst>
</file>

<file path=ppt/tags/tag301.xml><?xml version="1.0" encoding="utf-8"?>
<p:tagLst xmlns:a="http://schemas.openxmlformats.org/drawingml/2006/main" xmlns:r="http://schemas.openxmlformats.org/officeDocument/2006/relationships" xmlns:p="http://schemas.openxmlformats.org/presentationml/2006/main">
  <p:tag name="AS_UNIQUEID" val="2024"/>
</p:tagLst>
</file>

<file path=ppt/tags/tag302.xml><?xml version="1.0" encoding="utf-8"?>
<p:tagLst xmlns:a="http://schemas.openxmlformats.org/drawingml/2006/main" xmlns:r="http://schemas.openxmlformats.org/officeDocument/2006/relationships" xmlns:p="http://schemas.openxmlformats.org/presentationml/2006/main">
  <p:tag name="AS_UNIQUEID" val="2025"/>
</p:tagLst>
</file>

<file path=ppt/tags/tag303.xml><?xml version="1.0" encoding="utf-8"?>
<p:tagLst xmlns:a="http://schemas.openxmlformats.org/drawingml/2006/main" xmlns:r="http://schemas.openxmlformats.org/officeDocument/2006/relationships" xmlns:p="http://schemas.openxmlformats.org/presentationml/2006/main">
  <p:tag name="AS_UNIQUEID" val="2026"/>
</p:tagLst>
</file>

<file path=ppt/tags/tag304.xml><?xml version="1.0" encoding="utf-8"?>
<p:tagLst xmlns:a="http://schemas.openxmlformats.org/drawingml/2006/main" xmlns:r="http://schemas.openxmlformats.org/officeDocument/2006/relationships" xmlns:p="http://schemas.openxmlformats.org/presentationml/2006/main">
  <p:tag name="AS_UNIQUEID" val="2034"/>
</p:tagLst>
</file>

<file path=ppt/tags/tag305.xml><?xml version="1.0" encoding="utf-8"?>
<p:tagLst xmlns:a="http://schemas.openxmlformats.org/drawingml/2006/main" xmlns:r="http://schemas.openxmlformats.org/officeDocument/2006/relationships" xmlns:p="http://schemas.openxmlformats.org/presentationml/2006/main">
  <p:tag name="AS_UNIQUEID" val="2035"/>
</p:tagLst>
</file>

<file path=ppt/tags/tag306.xml><?xml version="1.0" encoding="utf-8"?>
<p:tagLst xmlns:a="http://schemas.openxmlformats.org/drawingml/2006/main" xmlns:r="http://schemas.openxmlformats.org/officeDocument/2006/relationships" xmlns:p="http://schemas.openxmlformats.org/presentationml/2006/main">
  <p:tag name="AS_UNIQUEID" val="2036"/>
</p:tagLst>
</file>

<file path=ppt/tags/tag307.xml><?xml version="1.0" encoding="utf-8"?>
<p:tagLst xmlns:a="http://schemas.openxmlformats.org/drawingml/2006/main" xmlns:r="http://schemas.openxmlformats.org/officeDocument/2006/relationships" xmlns:p="http://schemas.openxmlformats.org/presentationml/2006/main">
  <p:tag name="AS_UNIQUEID" val="2037"/>
</p:tagLst>
</file>

<file path=ppt/tags/tag308.xml><?xml version="1.0" encoding="utf-8"?>
<p:tagLst xmlns:a="http://schemas.openxmlformats.org/drawingml/2006/main" xmlns:r="http://schemas.openxmlformats.org/officeDocument/2006/relationships" xmlns:p="http://schemas.openxmlformats.org/presentationml/2006/main">
  <p:tag name="AS_UNIQUEID" val="2038"/>
</p:tagLst>
</file>

<file path=ppt/tags/tag309.xml><?xml version="1.0" encoding="utf-8"?>
<p:tagLst xmlns:a="http://schemas.openxmlformats.org/drawingml/2006/main" xmlns:r="http://schemas.openxmlformats.org/officeDocument/2006/relationships" xmlns:p="http://schemas.openxmlformats.org/presentationml/2006/main">
  <p:tag name="AS_UNIQUEID" val="2039"/>
</p:tagLst>
</file>

<file path=ppt/tags/tag31.xml><?xml version="1.0" encoding="utf-8"?>
<p:tagLst xmlns:a="http://schemas.openxmlformats.org/drawingml/2006/main" xmlns:r="http://schemas.openxmlformats.org/officeDocument/2006/relationships" xmlns:p="http://schemas.openxmlformats.org/presentationml/2006/main">
  <p:tag name="AS_UNIQUEID" val="1737"/>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AS_UNIQUEID" val="1986"/>
</p:tagLst>
</file>

<file path=ppt/tags/tag312.xml><?xml version="1.0" encoding="utf-8"?>
<p:tagLst xmlns:a="http://schemas.openxmlformats.org/drawingml/2006/main" xmlns:r="http://schemas.openxmlformats.org/officeDocument/2006/relationships" xmlns:p="http://schemas.openxmlformats.org/presentationml/2006/main">
  <p:tag name="AS_UNIQUEID" val="1987"/>
</p:tagLst>
</file>

<file path=ppt/tags/tag313.xml><?xml version="1.0" encoding="utf-8"?>
<p:tagLst xmlns:a="http://schemas.openxmlformats.org/drawingml/2006/main" xmlns:r="http://schemas.openxmlformats.org/officeDocument/2006/relationships" xmlns:p="http://schemas.openxmlformats.org/presentationml/2006/main">
  <p:tag name="AS_UNIQUEID" val="1989"/>
</p:tagLst>
</file>

<file path=ppt/tags/tag314.xml><?xml version="1.0" encoding="utf-8"?>
<p:tagLst xmlns:a="http://schemas.openxmlformats.org/drawingml/2006/main" xmlns:r="http://schemas.openxmlformats.org/officeDocument/2006/relationships" xmlns:p="http://schemas.openxmlformats.org/presentationml/2006/main">
  <p:tag name="AS_UNIQUEID" val="1992"/>
</p:tagLst>
</file>

<file path=ppt/tags/tag315.xml><?xml version="1.0" encoding="utf-8"?>
<p:tagLst xmlns:a="http://schemas.openxmlformats.org/drawingml/2006/main" xmlns:r="http://schemas.openxmlformats.org/officeDocument/2006/relationships" xmlns:p="http://schemas.openxmlformats.org/presentationml/2006/main">
  <p:tag name="AS_UNIQUEID" val="1995"/>
</p:tagLst>
</file>

<file path=ppt/tags/tag316.xml><?xml version="1.0" encoding="utf-8"?>
<p:tagLst xmlns:a="http://schemas.openxmlformats.org/drawingml/2006/main" xmlns:r="http://schemas.openxmlformats.org/officeDocument/2006/relationships" xmlns:p="http://schemas.openxmlformats.org/presentationml/2006/main">
  <p:tag name="AS_UNIQUEID" val="1998"/>
</p:tagLst>
</file>

<file path=ppt/tags/tag317.xml><?xml version="1.0" encoding="utf-8"?>
<p:tagLst xmlns:a="http://schemas.openxmlformats.org/drawingml/2006/main" xmlns:r="http://schemas.openxmlformats.org/officeDocument/2006/relationships" xmlns:p="http://schemas.openxmlformats.org/presentationml/2006/main">
  <p:tag name="AS_UNIQUEID" val="2001"/>
</p:tagLst>
</file>

<file path=ppt/tags/tag318.xml><?xml version="1.0" encoding="utf-8"?>
<p:tagLst xmlns:a="http://schemas.openxmlformats.org/drawingml/2006/main" xmlns:r="http://schemas.openxmlformats.org/officeDocument/2006/relationships" xmlns:p="http://schemas.openxmlformats.org/presentationml/2006/main">
  <p:tag name="AS_UNIQUEID" val="2004"/>
</p:tagLst>
</file>

<file path=ppt/tags/tag319.xml><?xml version="1.0" encoding="utf-8"?>
<p:tagLst xmlns:a="http://schemas.openxmlformats.org/drawingml/2006/main" xmlns:r="http://schemas.openxmlformats.org/officeDocument/2006/relationships" xmlns:p="http://schemas.openxmlformats.org/presentationml/2006/main">
  <p:tag name="AS_UNIQUEID" val="2007"/>
</p:tagLst>
</file>

<file path=ppt/tags/tag32.xml><?xml version="1.0" encoding="utf-8"?>
<p:tagLst xmlns:a="http://schemas.openxmlformats.org/drawingml/2006/main" xmlns:r="http://schemas.openxmlformats.org/officeDocument/2006/relationships" xmlns:p="http://schemas.openxmlformats.org/presentationml/2006/main">
  <p:tag name="AS_UNIQUEID" val="1738"/>
</p:tagLst>
</file>

<file path=ppt/tags/tag320.xml><?xml version="1.0" encoding="utf-8"?>
<p:tagLst xmlns:a="http://schemas.openxmlformats.org/drawingml/2006/main" xmlns:r="http://schemas.openxmlformats.org/officeDocument/2006/relationships" xmlns:p="http://schemas.openxmlformats.org/presentationml/2006/main">
  <p:tag name="AS_UNIQUEID" val="2008"/>
</p:tagLst>
</file>

<file path=ppt/tags/tag321.xml><?xml version="1.0" encoding="utf-8"?>
<p:tagLst xmlns:a="http://schemas.openxmlformats.org/drawingml/2006/main" xmlns:r="http://schemas.openxmlformats.org/officeDocument/2006/relationships" xmlns:p="http://schemas.openxmlformats.org/presentationml/2006/main">
  <p:tag name="AS_UNIQUEID" val="2009"/>
</p:tagLst>
</file>

<file path=ppt/tags/tag322.xml><?xml version="1.0" encoding="utf-8"?>
<p:tagLst xmlns:a="http://schemas.openxmlformats.org/drawingml/2006/main" xmlns:r="http://schemas.openxmlformats.org/officeDocument/2006/relationships" xmlns:p="http://schemas.openxmlformats.org/presentationml/2006/main">
  <p:tag name="AS_UNIQUEID" val="2010"/>
</p:tagLst>
</file>

<file path=ppt/tags/tag323.xml><?xml version="1.0" encoding="utf-8"?>
<p:tagLst xmlns:a="http://schemas.openxmlformats.org/drawingml/2006/main" xmlns:r="http://schemas.openxmlformats.org/officeDocument/2006/relationships" xmlns:p="http://schemas.openxmlformats.org/presentationml/2006/main">
  <p:tag name="AS_UNIQUEID" val="2011"/>
</p:tagLst>
</file>

<file path=ppt/tags/tag324.xml><?xml version="1.0" encoding="utf-8"?>
<p:tagLst xmlns:a="http://schemas.openxmlformats.org/drawingml/2006/main" xmlns:r="http://schemas.openxmlformats.org/officeDocument/2006/relationships" xmlns:p="http://schemas.openxmlformats.org/presentationml/2006/main">
  <p:tag name="AS_UNIQUEID" val="2012"/>
</p:tagLst>
</file>

<file path=ppt/tags/tag325.xml><?xml version="1.0" encoding="utf-8"?>
<p:tagLst xmlns:a="http://schemas.openxmlformats.org/drawingml/2006/main" xmlns:r="http://schemas.openxmlformats.org/officeDocument/2006/relationships" xmlns:p="http://schemas.openxmlformats.org/presentationml/2006/main">
  <p:tag name="AS_UNIQUEID" val="2013"/>
</p:tagLst>
</file>

<file path=ppt/tags/tag326.xml><?xml version="1.0" encoding="utf-8"?>
<p:tagLst xmlns:a="http://schemas.openxmlformats.org/drawingml/2006/main" xmlns:r="http://schemas.openxmlformats.org/officeDocument/2006/relationships" xmlns:p="http://schemas.openxmlformats.org/presentationml/2006/main">
  <p:tag name="AS_UNIQUEID" val="2016"/>
</p:tagLst>
</file>

<file path=ppt/tags/tag327.xml><?xml version="1.0" encoding="utf-8"?>
<p:tagLst xmlns:a="http://schemas.openxmlformats.org/drawingml/2006/main" xmlns:r="http://schemas.openxmlformats.org/officeDocument/2006/relationships" xmlns:p="http://schemas.openxmlformats.org/presentationml/2006/main">
  <p:tag name="AS_UNIQUEID" val="2017"/>
</p:tagLst>
</file>

<file path=ppt/tags/tag328.xml><?xml version="1.0" encoding="utf-8"?>
<p:tagLst xmlns:a="http://schemas.openxmlformats.org/drawingml/2006/main" xmlns:r="http://schemas.openxmlformats.org/officeDocument/2006/relationships" xmlns:p="http://schemas.openxmlformats.org/presentationml/2006/main">
  <p:tag name="AS_UNIQUEID" val="2014"/>
</p:tagLst>
</file>

<file path=ppt/tags/tag329.xml><?xml version="1.0" encoding="utf-8"?>
<p:tagLst xmlns:a="http://schemas.openxmlformats.org/drawingml/2006/main" xmlns:r="http://schemas.openxmlformats.org/officeDocument/2006/relationships" xmlns:p="http://schemas.openxmlformats.org/presentationml/2006/main">
  <p:tag name="AS_UNIQUEID" val="2015"/>
</p:tagLst>
</file>

<file path=ppt/tags/tag33.xml><?xml version="1.0" encoding="utf-8"?>
<p:tagLst xmlns:a="http://schemas.openxmlformats.org/drawingml/2006/main" xmlns:r="http://schemas.openxmlformats.org/officeDocument/2006/relationships" xmlns:p="http://schemas.openxmlformats.org/presentationml/2006/main">
  <p:tag name="AS_UNIQUEID" val="1739"/>
</p:tagLst>
</file>

<file path=ppt/tags/tag330.xml><?xml version="1.0" encoding="utf-8"?>
<p:tagLst xmlns:a="http://schemas.openxmlformats.org/drawingml/2006/main" xmlns:r="http://schemas.openxmlformats.org/officeDocument/2006/relationships" xmlns:p="http://schemas.openxmlformats.org/presentationml/2006/main">
  <p:tag name="AS_UNIQUEID" val="2005"/>
</p:tagLst>
</file>

<file path=ppt/tags/tag331.xml><?xml version="1.0" encoding="utf-8"?>
<p:tagLst xmlns:a="http://schemas.openxmlformats.org/drawingml/2006/main" xmlns:r="http://schemas.openxmlformats.org/officeDocument/2006/relationships" xmlns:p="http://schemas.openxmlformats.org/presentationml/2006/main">
  <p:tag name="AS_UNIQUEID" val="2006"/>
</p:tagLst>
</file>

<file path=ppt/tags/tag332.xml><?xml version="1.0" encoding="utf-8"?>
<p:tagLst xmlns:a="http://schemas.openxmlformats.org/drawingml/2006/main" xmlns:r="http://schemas.openxmlformats.org/officeDocument/2006/relationships" xmlns:p="http://schemas.openxmlformats.org/presentationml/2006/main">
  <p:tag name="AS_UNIQUEID" val="2002"/>
</p:tagLst>
</file>

<file path=ppt/tags/tag333.xml><?xml version="1.0" encoding="utf-8"?>
<p:tagLst xmlns:a="http://schemas.openxmlformats.org/drawingml/2006/main" xmlns:r="http://schemas.openxmlformats.org/officeDocument/2006/relationships" xmlns:p="http://schemas.openxmlformats.org/presentationml/2006/main">
  <p:tag name="AS_UNIQUEID" val="2003"/>
</p:tagLst>
</file>

<file path=ppt/tags/tag334.xml><?xml version="1.0" encoding="utf-8"?>
<p:tagLst xmlns:a="http://schemas.openxmlformats.org/drawingml/2006/main" xmlns:r="http://schemas.openxmlformats.org/officeDocument/2006/relationships" xmlns:p="http://schemas.openxmlformats.org/presentationml/2006/main">
  <p:tag name="AS_UNIQUEID" val="1999"/>
</p:tagLst>
</file>

<file path=ppt/tags/tag335.xml><?xml version="1.0" encoding="utf-8"?>
<p:tagLst xmlns:a="http://schemas.openxmlformats.org/drawingml/2006/main" xmlns:r="http://schemas.openxmlformats.org/officeDocument/2006/relationships" xmlns:p="http://schemas.openxmlformats.org/presentationml/2006/main">
  <p:tag name="AS_UNIQUEID" val="2000"/>
</p:tagLst>
</file>

<file path=ppt/tags/tag336.xml><?xml version="1.0" encoding="utf-8"?>
<p:tagLst xmlns:a="http://schemas.openxmlformats.org/drawingml/2006/main" xmlns:r="http://schemas.openxmlformats.org/officeDocument/2006/relationships" xmlns:p="http://schemas.openxmlformats.org/presentationml/2006/main">
  <p:tag name="AS_UNIQUEID" val="1996"/>
</p:tagLst>
</file>

<file path=ppt/tags/tag337.xml><?xml version="1.0" encoding="utf-8"?>
<p:tagLst xmlns:a="http://schemas.openxmlformats.org/drawingml/2006/main" xmlns:r="http://schemas.openxmlformats.org/officeDocument/2006/relationships" xmlns:p="http://schemas.openxmlformats.org/presentationml/2006/main">
  <p:tag name="AS_UNIQUEID" val="1997"/>
</p:tagLst>
</file>

<file path=ppt/tags/tag338.xml><?xml version="1.0" encoding="utf-8"?>
<p:tagLst xmlns:a="http://schemas.openxmlformats.org/drawingml/2006/main" xmlns:r="http://schemas.openxmlformats.org/officeDocument/2006/relationships" xmlns:p="http://schemas.openxmlformats.org/presentationml/2006/main">
  <p:tag name="AS_UNIQUEID" val="1993"/>
</p:tagLst>
</file>

<file path=ppt/tags/tag339.xml><?xml version="1.0" encoding="utf-8"?>
<p:tagLst xmlns:a="http://schemas.openxmlformats.org/drawingml/2006/main" xmlns:r="http://schemas.openxmlformats.org/officeDocument/2006/relationships" xmlns:p="http://schemas.openxmlformats.org/presentationml/2006/main">
  <p:tag name="AS_UNIQUEID" val="1994"/>
</p:tagLst>
</file>

<file path=ppt/tags/tag34.xml><?xml version="1.0" encoding="utf-8"?>
<p:tagLst xmlns:a="http://schemas.openxmlformats.org/drawingml/2006/main" xmlns:r="http://schemas.openxmlformats.org/officeDocument/2006/relationships" xmlns:p="http://schemas.openxmlformats.org/presentationml/2006/main">
  <p:tag name="AS_UNIQUEID" val="1740"/>
</p:tagLst>
</file>

<file path=ppt/tags/tag340.xml><?xml version="1.0" encoding="utf-8"?>
<p:tagLst xmlns:a="http://schemas.openxmlformats.org/drawingml/2006/main" xmlns:r="http://schemas.openxmlformats.org/officeDocument/2006/relationships" xmlns:p="http://schemas.openxmlformats.org/presentationml/2006/main">
  <p:tag name="AS_UNIQUEID" val="1990"/>
</p:tagLst>
</file>

<file path=ppt/tags/tag341.xml><?xml version="1.0" encoding="utf-8"?>
<p:tagLst xmlns:a="http://schemas.openxmlformats.org/drawingml/2006/main" xmlns:r="http://schemas.openxmlformats.org/officeDocument/2006/relationships" xmlns:p="http://schemas.openxmlformats.org/presentationml/2006/main">
  <p:tag name="AS_UNIQUEID" val="1991"/>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AS_UNIQUEID" val="2099"/>
</p:tagLst>
</file>

<file path=ppt/tags/tag345.xml><?xml version="1.0" encoding="utf-8"?>
<p:tagLst xmlns:a="http://schemas.openxmlformats.org/drawingml/2006/main" xmlns:r="http://schemas.openxmlformats.org/officeDocument/2006/relationships" xmlns:p="http://schemas.openxmlformats.org/presentationml/2006/main">
  <p:tag name="AS_UNIQUEID" val="2100"/>
</p:tagLst>
</file>

<file path=ppt/tags/tag346.xml><?xml version="1.0" encoding="utf-8"?>
<p:tagLst xmlns:a="http://schemas.openxmlformats.org/drawingml/2006/main" xmlns:r="http://schemas.openxmlformats.org/officeDocument/2006/relationships" xmlns:p="http://schemas.openxmlformats.org/presentationml/2006/main">
  <p:tag name="AS_UNIQUEID" val="2101"/>
</p:tagLst>
</file>

<file path=ppt/tags/tag347.xml><?xml version="1.0" encoding="utf-8"?>
<p:tagLst xmlns:a="http://schemas.openxmlformats.org/drawingml/2006/main" xmlns:r="http://schemas.openxmlformats.org/officeDocument/2006/relationships" xmlns:p="http://schemas.openxmlformats.org/presentationml/2006/main">
  <p:tag name="AS_UNIQUEID" val="2102"/>
  <p:tag name="THINKCELLSHAPEDONOTDELETE" val="thinkcellActiveDocDoNotDelete"/>
</p:tagLst>
</file>

<file path=ppt/tags/tag348.xml><?xml version="1.0" encoding="utf-8"?>
<p:tagLst xmlns:a="http://schemas.openxmlformats.org/drawingml/2006/main" xmlns:r="http://schemas.openxmlformats.org/officeDocument/2006/relationships" xmlns:p="http://schemas.openxmlformats.org/presentationml/2006/main">
  <p:tag name="AS_UNIQUEID" val="2104"/>
</p:tagLst>
</file>

<file path=ppt/tags/tag349.xml><?xml version="1.0" encoding="utf-8"?>
<p:tagLst xmlns:a="http://schemas.openxmlformats.org/drawingml/2006/main" xmlns:r="http://schemas.openxmlformats.org/officeDocument/2006/relationships" xmlns:p="http://schemas.openxmlformats.org/presentationml/2006/main">
  <p:tag name="AS_UNIQUEID" val="2105"/>
  <p:tag name="THINKCELLSHAPEDONOTDELETE" val="t2RyAeEYRukcO0tpmUD2JHQ"/>
</p:tagLst>
</file>

<file path=ppt/tags/tag35.xml><?xml version="1.0" encoding="utf-8"?>
<p:tagLst xmlns:a="http://schemas.openxmlformats.org/drawingml/2006/main" xmlns:r="http://schemas.openxmlformats.org/officeDocument/2006/relationships" xmlns:p="http://schemas.openxmlformats.org/presentationml/2006/main">
  <p:tag name="AS_UNIQUEID" val="1741"/>
</p:tagLst>
</file>

<file path=ppt/tags/tag350.xml><?xml version="1.0" encoding="utf-8"?>
<p:tagLst xmlns:a="http://schemas.openxmlformats.org/drawingml/2006/main" xmlns:r="http://schemas.openxmlformats.org/officeDocument/2006/relationships" xmlns:p="http://schemas.openxmlformats.org/presentationml/2006/main">
  <p:tag name="AS_UNIQUEID" val="2106"/>
</p:tagLst>
</file>

<file path=ppt/tags/tag351.xml><?xml version="1.0" encoding="utf-8"?>
<p:tagLst xmlns:a="http://schemas.openxmlformats.org/drawingml/2006/main" xmlns:r="http://schemas.openxmlformats.org/officeDocument/2006/relationships" xmlns:p="http://schemas.openxmlformats.org/presentationml/2006/main">
  <p:tag name="AS_UNIQUEID" val="2107"/>
</p:tagLst>
</file>

<file path=ppt/tags/tag352.xml><?xml version="1.0" encoding="utf-8"?>
<p:tagLst xmlns:a="http://schemas.openxmlformats.org/drawingml/2006/main" xmlns:r="http://schemas.openxmlformats.org/officeDocument/2006/relationships" xmlns:p="http://schemas.openxmlformats.org/presentationml/2006/main">
  <p:tag name="AS_UNIQUEID" val="2108"/>
</p:tagLst>
</file>

<file path=ppt/tags/tag353.xml><?xml version="1.0" encoding="utf-8"?>
<p:tagLst xmlns:a="http://schemas.openxmlformats.org/drawingml/2006/main" xmlns:r="http://schemas.openxmlformats.org/officeDocument/2006/relationships" xmlns:p="http://schemas.openxmlformats.org/presentationml/2006/main">
  <p:tag name="AS_UNIQUEID" val="2109"/>
</p:tagLst>
</file>

<file path=ppt/tags/tag354.xml><?xml version="1.0" encoding="utf-8"?>
<p:tagLst xmlns:a="http://schemas.openxmlformats.org/drawingml/2006/main" xmlns:r="http://schemas.openxmlformats.org/officeDocument/2006/relationships" xmlns:p="http://schemas.openxmlformats.org/presentationml/2006/main">
  <p:tag name="AS_UNIQUEID" val="2110"/>
</p:tagLst>
</file>

<file path=ppt/tags/tag355.xml><?xml version="1.0" encoding="utf-8"?>
<p:tagLst xmlns:a="http://schemas.openxmlformats.org/drawingml/2006/main" xmlns:r="http://schemas.openxmlformats.org/officeDocument/2006/relationships" xmlns:p="http://schemas.openxmlformats.org/presentationml/2006/main">
  <p:tag name="AS_UNIQUEID" val="2111"/>
</p:tagLst>
</file>

<file path=ppt/tags/tag356.xml><?xml version="1.0" encoding="utf-8"?>
<p:tagLst xmlns:a="http://schemas.openxmlformats.org/drawingml/2006/main" xmlns:r="http://schemas.openxmlformats.org/officeDocument/2006/relationships" xmlns:p="http://schemas.openxmlformats.org/presentationml/2006/main">
  <p:tag name="AS_UNIQUEID" val="2112"/>
</p:tagLst>
</file>

<file path=ppt/tags/tag357.xml><?xml version="1.0" encoding="utf-8"?>
<p:tagLst xmlns:a="http://schemas.openxmlformats.org/drawingml/2006/main" xmlns:r="http://schemas.openxmlformats.org/officeDocument/2006/relationships" xmlns:p="http://schemas.openxmlformats.org/presentationml/2006/main">
  <p:tag name="AS_UNIQUEID" val="2113"/>
</p:tagLst>
</file>

<file path=ppt/tags/tag358.xml><?xml version="1.0" encoding="utf-8"?>
<p:tagLst xmlns:a="http://schemas.openxmlformats.org/drawingml/2006/main" xmlns:r="http://schemas.openxmlformats.org/officeDocument/2006/relationships" xmlns:p="http://schemas.openxmlformats.org/presentationml/2006/main">
  <p:tag name="AS_UNIQUEID" val="2114"/>
</p:tagLst>
</file>

<file path=ppt/tags/tag359.xml><?xml version="1.0" encoding="utf-8"?>
<p:tagLst xmlns:a="http://schemas.openxmlformats.org/drawingml/2006/main" xmlns:r="http://schemas.openxmlformats.org/officeDocument/2006/relationships" xmlns:p="http://schemas.openxmlformats.org/presentationml/2006/main">
  <p:tag name="AS_UNIQUEID" val="2115"/>
</p:tagLst>
</file>

<file path=ppt/tags/tag36.xml><?xml version="1.0" encoding="utf-8"?>
<p:tagLst xmlns:a="http://schemas.openxmlformats.org/drawingml/2006/main" xmlns:r="http://schemas.openxmlformats.org/officeDocument/2006/relationships" xmlns:p="http://schemas.openxmlformats.org/presentationml/2006/main">
  <p:tag name="AS_UNIQUEID" val="1742"/>
</p:tagLst>
</file>

<file path=ppt/tags/tag360.xml><?xml version="1.0" encoding="utf-8"?>
<p:tagLst xmlns:a="http://schemas.openxmlformats.org/drawingml/2006/main" xmlns:r="http://schemas.openxmlformats.org/officeDocument/2006/relationships" xmlns:p="http://schemas.openxmlformats.org/presentationml/2006/main">
  <p:tag name="AS_UNIQUEID" val="2128"/>
</p:tagLst>
</file>

<file path=ppt/tags/tag361.xml><?xml version="1.0" encoding="utf-8"?>
<p:tagLst xmlns:a="http://schemas.openxmlformats.org/drawingml/2006/main" xmlns:r="http://schemas.openxmlformats.org/officeDocument/2006/relationships" xmlns:p="http://schemas.openxmlformats.org/presentationml/2006/main">
  <p:tag name="AS_UNIQUEID" val="2129"/>
</p:tagLst>
</file>

<file path=ppt/tags/tag362.xml><?xml version="1.0" encoding="utf-8"?>
<p:tagLst xmlns:a="http://schemas.openxmlformats.org/drawingml/2006/main" xmlns:r="http://schemas.openxmlformats.org/officeDocument/2006/relationships" xmlns:p="http://schemas.openxmlformats.org/presentationml/2006/main">
  <p:tag name="AS_UNIQUEID" val="2131"/>
</p:tagLst>
</file>

<file path=ppt/tags/tag363.xml><?xml version="1.0" encoding="utf-8"?>
<p:tagLst xmlns:a="http://schemas.openxmlformats.org/drawingml/2006/main" xmlns:r="http://schemas.openxmlformats.org/officeDocument/2006/relationships" xmlns:p="http://schemas.openxmlformats.org/presentationml/2006/main">
  <p:tag name="AS_UNIQUEID" val="2133"/>
</p:tagLst>
</file>

<file path=ppt/tags/tag364.xml><?xml version="1.0" encoding="utf-8"?>
<p:tagLst xmlns:a="http://schemas.openxmlformats.org/drawingml/2006/main" xmlns:r="http://schemas.openxmlformats.org/officeDocument/2006/relationships" xmlns:p="http://schemas.openxmlformats.org/presentationml/2006/main">
  <p:tag name="AS_UNIQUEID" val="2134"/>
</p:tagLst>
</file>

<file path=ppt/tags/tag365.xml><?xml version="1.0" encoding="utf-8"?>
<p:tagLst xmlns:a="http://schemas.openxmlformats.org/drawingml/2006/main" xmlns:r="http://schemas.openxmlformats.org/officeDocument/2006/relationships" xmlns:p="http://schemas.openxmlformats.org/presentationml/2006/main">
  <p:tag name="AS_UNIQUEID" val="2137"/>
</p:tagLst>
</file>

<file path=ppt/tags/tag366.xml><?xml version="1.0" encoding="utf-8"?>
<p:tagLst xmlns:a="http://schemas.openxmlformats.org/drawingml/2006/main" xmlns:r="http://schemas.openxmlformats.org/officeDocument/2006/relationships" xmlns:p="http://schemas.openxmlformats.org/presentationml/2006/main">
  <p:tag name="AS_UNIQUEID" val="2140"/>
</p:tagLst>
</file>

<file path=ppt/tags/tag367.xml><?xml version="1.0" encoding="utf-8"?>
<p:tagLst xmlns:a="http://schemas.openxmlformats.org/drawingml/2006/main" xmlns:r="http://schemas.openxmlformats.org/officeDocument/2006/relationships" xmlns:p="http://schemas.openxmlformats.org/presentationml/2006/main">
  <p:tag name="AS_UNIQUEID" val="2143"/>
</p:tagLst>
</file>

<file path=ppt/tags/tag368.xml><?xml version="1.0" encoding="utf-8"?>
<p:tagLst xmlns:a="http://schemas.openxmlformats.org/drawingml/2006/main" xmlns:r="http://schemas.openxmlformats.org/officeDocument/2006/relationships" xmlns:p="http://schemas.openxmlformats.org/presentationml/2006/main">
  <p:tag name="AS_UNIQUEID" val="2146"/>
</p:tagLst>
</file>

<file path=ppt/tags/tag369.xml><?xml version="1.0" encoding="utf-8"?>
<p:tagLst xmlns:a="http://schemas.openxmlformats.org/drawingml/2006/main" xmlns:r="http://schemas.openxmlformats.org/officeDocument/2006/relationships" xmlns:p="http://schemas.openxmlformats.org/presentationml/2006/main">
  <p:tag name="AS_UNIQUEID" val="2149"/>
</p:tagLst>
</file>

<file path=ppt/tags/tag37.xml><?xml version="1.0" encoding="utf-8"?>
<p:tagLst xmlns:a="http://schemas.openxmlformats.org/drawingml/2006/main" xmlns:r="http://schemas.openxmlformats.org/officeDocument/2006/relationships" xmlns:p="http://schemas.openxmlformats.org/presentationml/2006/main">
  <p:tag name="AS_UNIQUEID" val="1744"/>
</p:tagLst>
</file>

<file path=ppt/tags/tag370.xml><?xml version="1.0" encoding="utf-8"?>
<p:tagLst xmlns:a="http://schemas.openxmlformats.org/drawingml/2006/main" xmlns:r="http://schemas.openxmlformats.org/officeDocument/2006/relationships" xmlns:p="http://schemas.openxmlformats.org/presentationml/2006/main">
  <p:tag name="AS_UNIQUEID" val="2152"/>
</p:tagLst>
</file>

<file path=ppt/tags/tag371.xml><?xml version="1.0" encoding="utf-8"?>
<p:tagLst xmlns:a="http://schemas.openxmlformats.org/drawingml/2006/main" xmlns:r="http://schemas.openxmlformats.org/officeDocument/2006/relationships" xmlns:p="http://schemas.openxmlformats.org/presentationml/2006/main">
  <p:tag name="AS_UNIQUEID" val="2153"/>
</p:tagLst>
</file>

<file path=ppt/tags/tag372.xml><?xml version="1.0" encoding="utf-8"?>
<p:tagLst xmlns:a="http://schemas.openxmlformats.org/drawingml/2006/main" xmlns:r="http://schemas.openxmlformats.org/officeDocument/2006/relationships" xmlns:p="http://schemas.openxmlformats.org/presentationml/2006/main">
  <p:tag name="AS_UNIQUEID" val="2154"/>
</p:tagLst>
</file>

<file path=ppt/tags/tag373.xml><?xml version="1.0" encoding="utf-8"?>
<p:tagLst xmlns:a="http://schemas.openxmlformats.org/drawingml/2006/main" xmlns:r="http://schemas.openxmlformats.org/officeDocument/2006/relationships" xmlns:p="http://schemas.openxmlformats.org/presentationml/2006/main">
  <p:tag name="AS_UNIQUEID" val="2155"/>
</p:tagLst>
</file>

<file path=ppt/tags/tag374.xml><?xml version="1.0" encoding="utf-8"?>
<p:tagLst xmlns:a="http://schemas.openxmlformats.org/drawingml/2006/main" xmlns:r="http://schemas.openxmlformats.org/officeDocument/2006/relationships" xmlns:p="http://schemas.openxmlformats.org/presentationml/2006/main">
  <p:tag name="AS_UNIQUEID" val="2156"/>
</p:tagLst>
</file>

<file path=ppt/tags/tag375.xml><?xml version="1.0" encoding="utf-8"?>
<p:tagLst xmlns:a="http://schemas.openxmlformats.org/drawingml/2006/main" xmlns:r="http://schemas.openxmlformats.org/officeDocument/2006/relationships" xmlns:p="http://schemas.openxmlformats.org/presentationml/2006/main">
  <p:tag name="AS_UNIQUEID" val="2157"/>
</p:tagLst>
</file>

<file path=ppt/tags/tag376.xml><?xml version="1.0" encoding="utf-8"?>
<p:tagLst xmlns:a="http://schemas.openxmlformats.org/drawingml/2006/main" xmlns:r="http://schemas.openxmlformats.org/officeDocument/2006/relationships" xmlns:p="http://schemas.openxmlformats.org/presentationml/2006/main">
  <p:tag name="AS_UNIQUEID" val="2158"/>
</p:tagLst>
</file>

<file path=ppt/tags/tag377.xml><?xml version="1.0" encoding="utf-8"?>
<p:tagLst xmlns:a="http://schemas.openxmlformats.org/drawingml/2006/main" xmlns:r="http://schemas.openxmlformats.org/officeDocument/2006/relationships" xmlns:p="http://schemas.openxmlformats.org/presentationml/2006/main">
  <p:tag name="AS_UNIQUEID" val="2161"/>
</p:tagLst>
</file>

<file path=ppt/tags/tag378.xml><?xml version="1.0" encoding="utf-8"?>
<p:tagLst xmlns:a="http://schemas.openxmlformats.org/drawingml/2006/main" xmlns:r="http://schemas.openxmlformats.org/officeDocument/2006/relationships" xmlns:p="http://schemas.openxmlformats.org/presentationml/2006/main">
  <p:tag name="AS_UNIQUEID" val="2159"/>
</p:tagLst>
</file>

<file path=ppt/tags/tag379.xml><?xml version="1.0" encoding="utf-8"?>
<p:tagLst xmlns:a="http://schemas.openxmlformats.org/drawingml/2006/main" xmlns:r="http://schemas.openxmlformats.org/officeDocument/2006/relationships" xmlns:p="http://schemas.openxmlformats.org/presentationml/2006/main">
  <p:tag name="AS_UNIQUEID" val="2160"/>
</p:tagLst>
</file>

<file path=ppt/tags/tag38.xml><?xml version="1.0" encoding="utf-8"?>
<p:tagLst xmlns:a="http://schemas.openxmlformats.org/drawingml/2006/main" xmlns:r="http://schemas.openxmlformats.org/officeDocument/2006/relationships" xmlns:p="http://schemas.openxmlformats.org/presentationml/2006/main">
  <p:tag name="AS_UNIQUEID" val="1745"/>
</p:tagLst>
</file>

<file path=ppt/tags/tag380.xml><?xml version="1.0" encoding="utf-8"?>
<p:tagLst xmlns:a="http://schemas.openxmlformats.org/drawingml/2006/main" xmlns:r="http://schemas.openxmlformats.org/officeDocument/2006/relationships" xmlns:p="http://schemas.openxmlformats.org/presentationml/2006/main">
  <p:tag name="AS_UNIQUEID" val="2150"/>
</p:tagLst>
</file>

<file path=ppt/tags/tag381.xml><?xml version="1.0" encoding="utf-8"?>
<p:tagLst xmlns:a="http://schemas.openxmlformats.org/drawingml/2006/main" xmlns:r="http://schemas.openxmlformats.org/officeDocument/2006/relationships" xmlns:p="http://schemas.openxmlformats.org/presentationml/2006/main">
  <p:tag name="AS_UNIQUEID" val="2151"/>
</p:tagLst>
</file>

<file path=ppt/tags/tag382.xml><?xml version="1.0" encoding="utf-8"?>
<p:tagLst xmlns:a="http://schemas.openxmlformats.org/drawingml/2006/main" xmlns:r="http://schemas.openxmlformats.org/officeDocument/2006/relationships" xmlns:p="http://schemas.openxmlformats.org/presentationml/2006/main">
  <p:tag name="AS_UNIQUEID" val="2147"/>
</p:tagLst>
</file>

<file path=ppt/tags/tag383.xml><?xml version="1.0" encoding="utf-8"?>
<p:tagLst xmlns:a="http://schemas.openxmlformats.org/drawingml/2006/main" xmlns:r="http://schemas.openxmlformats.org/officeDocument/2006/relationships" xmlns:p="http://schemas.openxmlformats.org/presentationml/2006/main">
  <p:tag name="AS_UNIQUEID" val="2148"/>
</p:tagLst>
</file>

<file path=ppt/tags/tag384.xml><?xml version="1.0" encoding="utf-8"?>
<p:tagLst xmlns:a="http://schemas.openxmlformats.org/drawingml/2006/main" xmlns:r="http://schemas.openxmlformats.org/officeDocument/2006/relationships" xmlns:p="http://schemas.openxmlformats.org/presentationml/2006/main">
  <p:tag name="AS_UNIQUEID" val="2144"/>
</p:tagLst>
</file>

<file path=ppt/tags/tag385.xml><?xml version="1.0" encoding="utf-8"?>
<p:tagLst xmlns:a="http://schemas.openxmlformats.org/drawingml/2006/main" xmlns:r="http://schemas.openxmlformats.org/officeDocument/2006/relationships" xmlns:p="http://schemas.openxmlformats.org/presentationml/2006/main">
  <p:tag name="AS_UNIQUEID" val="2145"/>
</p:tagLst>
</file>

<file path=ppt/tags/tag386.xml><?xml version="1.0" encoding="utf-8"?>
<p:tagLst xmlns:a="http://schemas.openxmlformats.org/drawingml/2006/main" xmlns:r="http://schemas.openxmlformats.org/officeDocument/2006/relationships" xmlns:p="http://schemas.openxmlformats.org/presentationml/2006/main">
  <p:tag name="AS_UNIQUEID" val="2141"/>
</p:tagLst>
</file>

<file path=ppt/tags/tag387.xml><?xml version="1.0" encoding="utf-8"?>
<p:tagLst xmlns:a="http://schemas.openxmlformats.org/drawingml/2006/main" xmlns:r="http://schemas.openxmlformats.org/officeDocument/2006/relationships" xmlns:p="http://schemas.openxmlformats.org/presentationml/2006/main">
  <p:tag name="AS_UNIQUEID" val="2142"/>
</p:tagLst>
</file>

<file path=ppt/tags/tag388.xml><?xml version="1.0" encoding="utf-8"?>
<p:tagLst xmlns:a="http://schemas.openxmlformats.org/drawingml/2006/main" xmlns:r="http://schemas.openxmlformats.org/officeDocument/2006/relationships" xmlns:p="http://schemas.openxmlformats.org/presentationml/2006/main">
  <p:tag name="AS_UNIQUEID" val="2138"/>
</p:tagLst>
</file>

<file path=ppt/tags/tag389.xml><?xml version="1.0" encoding="utf-8"?>
<p:tagLst xmlns:a="http://schemas.openxmlformats.org/drawingml/2006/main" xmlns:r="http://schemas.openxmlformats.org/officeDocument/2006/relationships" xmlns:p="http://schemas.openxmlformats.org/presentationml/2006/main">
  <p:tag name="AS_UNIQUEID" val="2139"/>
</p:tagLst>
</file>

<file path=ppt/tags/tag39.xml><?xml version="1.0" encoding="utf-8"?>
<p:tagLst xmlns:a="http://schemas.openxmlformats.org/drawingml/2006/main" xmlns:r="http://schemas.openxmlformats.org/officeDocument/2006/relationships" xmlns:p="http://schemas.openxmlformats.org/presentationml/2006/main">
  <p:tag name="AS_UNIQUEID" val="1746"/>
</p:tagLst>
</file>

<file path=ppt/tags/tag390.xml><?xml version="1.0" encoding="utf-8"?>
<p:tagLst xmlns:a="http://schemas.openxmlformats.org/drawingml/2006/main" xmlns:r="http://schemas.openxmlformats.org/officeDocument/2006/relationships" xmlns:p="http://schemas.openxmlformats.org/presentationml/2006/main">
  <p:tag name="AS_UNIQUEID" val="2135"/>
</p:tagLst>
</file>

<file path=ppt/tags/tag391.xml><?xml version="1.0" encoding="utf-8"?>
<p:tagLst xmlns:a="http://schemas.openxmlformats.org/drawingml/2006/main" xmlns:r="http://schemas.openxmlformats.org/officeDocument/2006/relationships" xmlns:p="http://schemas.openxmlformats.org/presentationml/2006/main">
  <p:tag name="AS_UNIQUEID" val="2136"/>
</p:tagLst>
</file>

<file path=ppt/tags/tag392.xml><?xml version="1.0" encoding="utf-8"?>
<p:tagLst xmlns:a="http://schemas.openxmlformats.org/drawingml/2006/main" xmlns:r="http://schemas.openxmlformats.org/officeDocument/2006/relationships" xmlns:p="http://schemas.openxmlformats.org/presentationml/2006/main">
  <p:tag name="AS_UNIQUEID" val="1690"/>
</p:tagLst>
</file>

<file path=ppt/tags/tag393.xml><?xml version="1.0" encoding="utf-8"?>
<p:tagLst xmlns:a="http://schemas.openxmlformats.org/drawingml/2006/main" xmlns:r="http://schemas.openxmlformats.org/officeDocument/2006/relationships" xmlns:p="http://schemas.openxmlformats.org/presentationml/2006/main">
  <p:tag name="AS_UNIQUEID" val="2132"/>
</p:tagLst>
</file>

<file path=ppt/tags/tag394.xml><?xml version="1.0" encoding="utf-8"?>
<p:tagLst xmlns:a="http://schemas.openxmlformats.org/drawingml/2006/main" xmlns:r="http://schemas.openxmlformats.org/officeDocument/2006/relationships" xmlns:p="http://schemas.openxmlformats.org/presentationml/2006/main">
  <p:tag name="AS_UNIQUEID" val="1690"/>
</p:tagLst>
</file>

<file path=ppt/tags/tag395.xml><?xml version="1.0" encoding="utf-8"?>
<p:tagLst xmlns:a="http://schemas.openxmlformats.org/drawingml/2006/main" xmlns:r="http://schemas.openxmlformats.org/officeDocument/2006/relationships" xmlns:p="http://schemas.openxmlformats.org/presentationml/2006/main">
  <p:tag name="AS_UNIQUEID" val="2130"/>
</p:tagLst>
</file>

<file path=ppt/tags/tag396.xml><?xml version="1.0" encoding="utf-8"?>
<p:tagLst xmlns:a="http://schemas.openxmlformats.org/drawingml/2006/main" xmlns:r="http://schemas.openxmlformats.org/officeDocument/2006/relationships" xmlns:p="http://schemas.openxmlformats.org/presentationml/2006/main">
  <p:tag name="AS_UNIQUEID" val="2116"/>
</p:tagLst>
</file>

<file path=ppt/tags/tag397.xml><?xml version="1.0" encoding="utf-8"?>
<p:tagLst xmlns:a="http://schemas.openxmlformats.org/drawingml/2006/main" xmlns:r="http://schemas.openxmlformats.org/officeDocument/2006/relationships" xmlns:p="http://schemas.openxmlformats.org/presentationml/2006/main">
  <p:tag name="AS_UNIQUEID" val="2117"/>
</p:tagLst>
</file>

<file path=ppt/tags/tag398.xml><?xml version="1.0" encoding="utf-8"?>
<p:tagLst xmlns:a="http://schemas.openxmlformats.org/drawingml/2006/main" xmlns:r="http://schemas.openxmlformats.org/officeDocument/2006/relationships" xmlns:p="http://schemas.openxmlformats.org/presentationml/2006/main">
  <p:tag name="AS_UNIQUEID" val="2118"/>
</p:tagLst>
</file>

<file path=ppt/tags/tag399.xml><?xml version="1.0" encoding="utf-8"?>
<p:tagLst xmlns:a="http://schemas.openxmlformats.org/drawingml/2006/main" xmlns:r="http://schemas.openxmlformats.org/officeDocument/2006/relationships" xmlns:p="http://schemas.openxmlformats.org/presentationml/2006/main">
  <p:tag name="AS_UNIQUEID" val="2119"/>
</p:tagLst>
</file>

<file path=ppt/tags/tag4.xml><?xml version="1.0" encoding="utf-8"?>
<p:tagLst xmlns:a="http://schemas.openxmlformats.org/drawingml/2006/main" xmlns:r="http://schemas.openxmlformats.org/officeDocument/2006/relationships" xmlns:p="http://schemas.openxmlformats.org/presentationml/2006/main">
  <p:tag name="AS_UNIQUEID" val="1807"/>
</p:tagLst>
</file>

<file path=ppt/tags/tag40.xml><?xml version="1.0" encoding="utf-8"?>
<p:tagLst xmlns:a="http://schemas.openxmlformats.org/drawingml/2006/main" xmlns:r="http://schemas.openxmlformats.org/officeDocument/2006/relationships" xmlns:p="http://schemas.openxmlformats.org/presentationml/2006/main">
  <p:tag name="AS_UNIQUEID" val="1747"/>
</p:tagLst>
</file>

<file path=ppt/tags/tag400.xml><?xml version="1.0" encoding="utf-8"?>
<p:tagLst xmlns:a="http://schemas.openxmlformats.org/drawingml/2006/main" xmlns:r="http://schemas.openxmlformats.org/officeDocument/2006/relationships" xmlns:p="http://schemas.openxmlformats.org/presentationml/2006/main">
  <p:tag name="AS_UNIQUEID" val="2120"/>
</p:tagLst>
</file>

<file path=ppt/tags/tag401.xml><?xml version="1.0" encoding="utf-8"?>
<p:tagLst xmlns:a="http://schemas.openxmlformats.org/drawingml/2006/main" xmlns:r="http://schemas.openxmlformats.org/officeDocument/2006/relationships" xmlns:p="http://schemas.openxmlformats.org/presentationml/2006/main">
  <p:tag name="AS_UNIQUEID" val="2121"/>
</p:tagLst>
</file>

<file path=ppt/tags/tag402.xml><?xml version="1.0" encoding="utf-8"?>
<p:tagLst xmlns:a="http://schemas.openxmlformats.org/drawingml/2006/main" xmlns:r="http://schemas.openxmlformats.org/officeDocument/2006/relationships" xmlns:p="http://schemas.openxmlformats.org/presentationml/2006/main">
  <p:tag name="AS_UNIQUEID" val="2122"/>
</p:tagLst>
</file>

<file path=ppt/tags/tag403.xml><?xml version="1.0" encoding="utf-8"?>
<p:tagLst xmlns:a="http://schemas.openxmlformats.org/drawingml/2006/main" xmlns:r="http://schemas.openxmlformats.org/officeDocument/2006/relationships" xmlns:p="http://schemas.openxmlformats.org/presentationml/2006/main">
  <p:tag name="AS_UNIQUEID" val="2123"/>
</p:tagLst>
</file>

<file path=ppt/tags/tag404.xml><?xml version="1.0" encoding="utf-8"?>
<p:tagLst xmlns:a="http://schemas.openxmlformats.org/drawingml/2006/main" xmlns:r="http://schemas.openxmlformats.org/officeDocument/2006/relationships" xmlns:p="http://schemas.openxmlformats.org/presentationml/2006/main">
  <p:tag name="AS_UNIQUEID" val="2124"/>
</p:tagLst>
</file>

<file path=ppt/tags/tag405.xml><?xml version="1.0" encoding="utf-8"?>
<p:tagLst xmlns:a="http://schemas.openxmlformats.org/drawingml/2006/main" xmlns:r="http://schemas.openxmlformats.org/officeDocument/2006/relationships" xmlns:p="http://schemas.openxmlformats.org/presentationml/2006/main">
  <p:tag name="AS_UNIQUEID" val="2125"/>
</p:tagLst>
</file>

<file path=ppt/tags/tag406.xml><?xml version="1.0" encoding="utf-8"?>
<p:tagLst xmlns:a="http://schemas.openxmlformats.org/drawingml/2006/main" xmlns:r="http://schemas.openxmlformats.org/officeDocument/2006/relationships" xmlns:p="http://schemas.openxmlformats.org/presentationml/2006/main">
  <p:tag name="AS_UNIQUEID" val="2126"/>
</p:tagLst>
</file>

<file path=ppt/tags/tag407.xml><?xml version="1.0" encoding="utf-8"?>
<p:tagLst xmlns:a="http://schemas.openxmlformats.org/drawingml/2006/main" xmlns:r="http://schemas.openxmlformats.org/officeDocument/2006/relationships" xmlns:p="http://schemas.openxmlformats.org/presentationml/2006/main">
  <p:tag name="AS_UNIQUEID" val="2127"/>
</p:tagLst>
</file>

<file path=ppt/tags/tag408.xml><?xml version="1.0" encoding="utf-8"?>
<p:tagLst xmlns:a="http://schemas.openxmlformats.org/drawingml/2006/main" xmlns:r="http://schemas.openxmlformats.org/officeDocument/2006/relationships" xmlns:p="http://schemas.openxmlformats.org/presentationml/2006/main">
  <p:tag name="AS_UNIQUEID" val="2095"/>
</p:tagLst>
</file>

<file path=ppt/tags/tag409.xml><?xml version="1.0" encoding="utf-8"?>
<p:tagLst xmlns:a="http://schemas.openxmlformats.org/drawingml/2006/main" xmlns:r="http://schemas.openxmlformats.org/officeDocument/2006/relationships" xmlns:p="http://schemas.openxmlformats.org/presentationml/2006/main">
  <p:tag name="AS_UNIQUEID" val="2096"/>
</p:tagLst>
</file>

<file path=ppt/tags/tag41.xml><?xml version="1.0" encoding="utf-8"?>
<p:tagLst xmlns:a="http://schemas.openxmlformats.org/drawingml/2006/main" xmlns:r="http://schemas.openxmlformats.org/officeDocument/2006/relationships" xmlns:p="http://schemas.openxmlformats.org/presentationml/2006/main">
  <p:tag name="AS_UNIQUEID" val="1749"/>
</p:tagLst>
</file>

<file path=ppt/tags/tag410.xml><?xml version="1.0" encoding="utf-8"?>
<p:tagLst xmlns:a="http://schemas.openxmlformats.org/drawingml/2006/main" xmlns:r="http://schemas.openxmlformats.org/officeDocument/2006/relationships" xmlns:p="http://schemas.openxmlformats.org/presentationml/2006/main">
  <p:tag name="AS_UNIQUEID" val="2097"/>
</p:tagLst>
</file>

<file path=ppt/tags/tag411.xml><?xml version="1.0" encoding="utf-8"?>
<p:tagLst xmlns:a="http://schemas.openxmlformats.org/drawingml/2006/main" xmlns:r="http://schemas.openxmlformats.org/officeDocument/2006/relationships" xmlns:p="http://schemas.openxmlformats.org/presentationml/2006/main">
  <p:tag name="AS_UNIQUEID" val="2285"/>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AS_UNIQUEID" val="2282"/>
</p:tagLst>
</file>

<file path=ppt/tags/tag413.xml><?xml version="1.0" encoding="utf-8"?>
<p:tagLst xmlns:a="http://schemas.openxmlformats.org/drawingml/2006/main" xmlns:r="http://schemas.openxmlformats.org/officeDocument/2006/relationships" xmlns:p="http://schemas.openxmlformats.org/presentationml/2006/main">
  <p:tag name="AS_UNIQUEID" val="2283"/>
</p:tagLst>
</file>

<file path=ppt/tags/tag414.xml><?xml version="1.0" encoding="utf-8"?>
<p:tagLst xmlns:a="http://schemas.openxmlformats.org/drawingml/2006/main" xmlns:r="http://schemas.openxmlformats.org/officeDocument/2006/relationships" xmlns:p="http://schemas.openxmlformats.org/presentationml/2006/main">
  <p:tag name="AS_UNIQUEID" val="2284"/>
</p:tagLst>
</file>

<file path=ppt/tags/tag415.xml><?xml version="1.0" encoding="utf-8"?>
<p:tagLst xmlns:a="http://schemas.openxmlformats.org/drawingml/2006/main" xmlns:r="http://schemas.openxmlformats.org/officeDocument/2006/relationships" xmlns:p="http://schemas.openxmlformats.org/presentationml/2006/main">
  <p:tag name="AS_UNIQUEID" val="2287"/>
</p:tagLst>
</file>

<file path=ppt/tags/tag416.xml><?xml version="1.0" encoding="utf-8"?>
<p:tagLst xmlns:a="http://schemas.openxmlformats.org/drawingml/2006/main" xmlns:r="http://schemas.openxmlformats.org/officeDocument/2006/relationships" xmlns:p="http://schemas.openxmlformats.org/presentationml/2006/main">
  <p:tag name="AS_UNIQUEID" val="2288"/>
</p:tagLst>
</file>

<file path=ppt/tags/tag417.xml><?xml version="1.0" encoding="utf-8"?>
<p:tagLst xmlns:a="http://schemas.openxmlformats.org/drawingml/2006/main" xmlns:r="http://schemas.openxmlformats.org/officeDocument/2006/relationships" xmlns:p="http://schemas.openxmlformats.org/presentationml/2006/main">
  <p:tag name="AS_UNIQUEID" val="1691"/>
</p:tagLst>
</file>

<file path=ppt/tags/tag418.xml><?xml version="1.0" encoding="utf-8"?>
<p:tagLst xmlns:a="http://schemas.openxmlformats.org/drawingml/2006/main" xmlns:r="http://schemas.openxmlformats.org/officeDocument/2006/relationships" xmlns:p="http://schemas.openxmlformats.org/presentationml/2006/main">
  <p:tag name="AS_UNIQUEID" val="1697"/>
  <p:tag name="THINKCELLSHAPEDONOTDELETE" val="tb8v.RM2cadHzFwUpc0bjOA"/>
</p:tagLst>
</file>

<file path=ppt/tags/tag419.xml><?xml version="1.0" encoding="utf-8"?>
<p:tagLst xmlns:a="http://schemas.openxmlformats.org/drawingml/2006/main" xmlns:r="http://schemas.openxmlformats.org/officeDocument/2006/relationships" xmlns:p="http://schemas.openxmlformats.org/presentationml/2006/main">
  <p:tag name="AS_UNIQUEID" val="1706"/>
</p:tagLst>
</file>

<file path=ppt/tags/tag42.xml><?xml version="1.0" encoding="utf-8"?>
<p:tagLst xmlns:a="http://schemas.openxmlformats.org/drawingml/2006/main" xmlns:r="http://schemas.openxmlformats.org/officeDocument/2006/relationships" xmlns:p="http://schemas.openxmlformats.org/presentationml/2006/main">
  <p:tag name="AS_UNIQUEID" val="1750"/>
</p:tagLst>
</file>

<file path=ppt/tags/tag420.xml><?xml version="1.0" encoding="utf-8"?>
<p:tagLst xmlns:a="http://schemas.openxmlformats.org/drawingml/2006/main" xmlns:r="http://schemas.openxmlformats.org/officeDocument/2006/relationships" xmlns:p="http://schemas.openxmlformats.org/presentationml/2006/main">
  <p:tag name="AS_UNIQUEID" val="1705"/>
</p:tagLst>
</file>

<file path=ppt/tags/tag421.xml><?xml version="1.0" encoding="utf-8"?>
<p:tagLst xmlns:a="http://schemas.openxmlformats.org/drawingml/2006/main" xmlns:r="http://schemas.openxmlformats.org/officeDocument/2006/relationships" xmlns:p="http://schemas.openxmlformats.org/presentationml/2006/main">
  <p:tag name="AS_UNIQUEID" val="1697"/>
  <p:tag name="THINKCELLSHAPEDONOTDELETE" val="tb8v.RM2cadHzFwUpc0bjOA"/>
</p:tagLst>
</file>

<file path=ppt/tags/tag422.xml><?xml version="1.0" encoding="utf-8"?>
<p:tagLst xmlns:a="http://schemas.openxmlformats.org/drawingml/2006/main" xmlns:r="http://schemas.openxmlformats.org/officeDocument/2006/relationships" xmlns:p="http://schemas.openxmlformats.org/presentationml/2006/main">
  <p:tag name="AS_UNIQUEID" val="1680"/>
</p:tagLst>
</file>

<file path=ppt/tags/tag423.xml><?xml version="1.0" encoding="utf-8"?>
<p:tagLst xmlns:a="http://schemas.openxmlformats.org/drawingml/2006/main" xmlns:r="http://schemas.openxmlformats.org/officeDocument/2006/relationships" xmlns:p="http://schemas.openxmlformats.org/presentationml/2006/main">
  <p:tag name="AS_UNIQUEID" val="1681"/>
</p:tagLst>
</file>

<file path=ppt/tags/tag424.xml><?xml version="1.0" encoding="utf-8"?>
<p:tagLst xmlns:a="http://schemas.openxmlformats.org/drawingml/2006/main" xmlns:r="http://schemas.openxmlformats.org/officeDocument/2006/relationships" xmlns:p="http://schemas.openxmlformats.org/presentationml/2006/main">
  <p:tag name="AS_UNIQUEID" val="1682"/>
</p:tagLst>
</file>

<file path=ppt/tags/tag425.xml><?xml version="1.0" encoding="utf-8"?>
<p:tagLst xmlns:a="http://schemas.openxmlformats.org/drawingml/2006/main" xmlns:r="http://schemas.openxmlformats.org/officeDocument/2006/relationships" xmlns:p="http://schemas.openxmlformats.org/presentationml/2006/main">
  <p:tag name="AS_UNIQUEID" val="2289"/>
</p:tagLst>
</file>

<file path=ppt/tags/tag426.xml><?xml version="1.0" encoding="utf-8"?>
<p:tagLst xmlns:a="http://schemas.openxmlformats.org/drawingml/2006/main" xmlns:r="http://schemas.openxmlformats.org/officeDocument/2006/relationships" xmlns:p="http://schemas.openxmlformats.org/presentationml/2006/main">
  <p:tag name="AS_UNIQUEID" val="1688"/>
</p:tagLst>
</file>

<file path=ppt/tags/tag427.xml><?xml version="1.0" encoding="utf-8"?>
<p:tagLst xmlns:a="http://schemas.openxmlformats.org/drawingml/2006/main" xmlns:r="http://schemas.openxmlformats.org/officeDocument/2006/relationships" xmlns:p="http://schemas.openxmlformats.org/presentationml/2006/main">
  <p:tag name="AS_UNIQUEID" val="1695"/>
</p:tagLst>
</file>

<file path=ppt/tags/tag428.xml><?xml version="1.0" encoding="utf-8"?>
<p:tagLst xmlns:a="http://schemas.openxmlformats.org/drawingml/2006/main" xmlns:r="http://schemas.openxmlformats.org/officeDocument/2006/relationships" xmlns:p="http://schemas.openxmlformats.org/presentationml/2006/main">
  <p:tag name="AS_UNIQUEID" val="1700"/>
</p:tagLst>
</file>

<file path=ppt/tags/tag429.xml><?xml version="1.0" encoding="utf-8"?>
<p:tagLst xmlns:a="http://schemas.openxmlformats.org/drawingml/2006/main" xmlns:r="http://schemas.openxmlformats.org/officeDocument/2006/relationships" xmlns:p="http://schemas.openxmlformats.org/presentationml/2006/main">
  <p:tag name="AS_UNIQUEID" val="1701"/>
</p:tagLst>
</file>

<file path=ppt/tags/tag43.xml><?xml version="1.0" encoding="utf-8"?>
<p:tagLst xmlns:a="http://schemas.openxmlformats.org/drawingml/2006/main" xmlns:r="http://schemas.openxmlformats.org/officeDocument/2006/relationships" xmlns:p="http://schemas.openxmlformats.org/presentationml/2006/main">
  <p:tag name="AS_UNIQUEID" val="1751"/>
</p:tagLst>
</file>

<file path=ppt/tags/tag430.xml><?xml version="1.0" encoding="utf-8"?>
<p:tagLst xmlns:a="http://schemas.openxmlformats.org/drawingml/2006/main" xmlns:r="http://schemas.openxmlformats.org/officeDocument/2006/relationships" xmlns:p="http://schemas.openxmlformats.org/presentationml/2006/main">
  <p:tag name="AS_UNIQUEID" val="1702"/>
</p:tagLst>
</file>

<file path=ppt/tags/tag431.xml><?xml version="1.0" encoding="utf-8"?>
<p:tagLst xmlns:a="http://schemas.openxmlformats.org/drawingml/2006/main" xmlns:r="http://schemas.openxmlformats.org/officeDocument/2006/relationships" xmlns:p="http://schemas.openxmlformats.org/presentationml/2006/main">
  <p:tag name="AS_UNIQUEID" val="1703"/>
</p:tagLst>
</file>

<file path=ppt/tags/tag432.xml><?xml version="1.0" encoding="utf-8"?>
<p:tagLst xmlns:a="http://schemas.openxmlformats.org/drawingml/2006/main" xmlns:r="http://schemas.openxmlformats.org/officeDocument/2006/relationships" xmlns:p="http://schemas.openxmlformats.org/presentationml/2006/main">
  <p:tag name="AS_UNIQUEID" val="1707"/>
</p:tagLst>
</file>

<file path=ppt/tags/tag433.xml><?xml version="1.0" encoding="utf-8"?>
<p:tagLst xmlns:a="http://schemas.openxmlformats.org/drawingml/2006/main" xmlns:r="http://schemas.openxmlformats.org/officeDocument/2006/relationships" xmlns:p="http://schemas.openxmlformats.org/presentationml/2006/main">
  <p:tag name="AS_UNIQUEID" val="2290"/>
</p:tagLst>
</file>

<file path=ppt/tags/tag434.xml><?xml version="1.0" encoding="utf-8"?>
<p:tagLst xmlns:a="http://schemas.openxmlformats.org/drawingml/2006/main" xmlns:r="http://schemas.openxmlformats.org/officeDocument/2006/relationships" xmlns:p="http://schemas.openxmlformats.org/presentationml/2006/main">
  <p:tag name="AS_UNIQUEID" val="1691"/>
</p:tagLst>
</file>

<file path=ppt/tags/tag435.xml><?xml version="1.0" encoding="utf-8"?>
<p:tagLst xmlns:a="http://schemas.openxmlformats.org/drawingml/2006/main" xmlns:r="http://schemas.openxmlformats.org/officeDocument/2006/relationships" xmlns:p="http://schemas.openxmlformats.org/presentationml/2006/main">
  <p:tag name="AS_UNIQUEID" val="2291"/>
</p:tagLst>
</file>

<file path=ppt/tags/tag436.xml><?xml version="1.0" encoding="utf-8"?>
<p:tagLst xmlns:a="http://schemas.openxmlformats.org/drawingml/2006/main" xmlns:r="http://schemas.openxmlformats.org/officeDocument/2006/relationships" xmlns:p="http://schemas.openxmlformats.org/presentationml/2006/main">
  <p:tag name="AS_UNIQUEID" val="2292"/>
</p:tagLst>
</file>

<file path=ppt/tags/tag437.xml><?xml version="1.0" encoding="utf-8"?>
<p:tagLst xmlns:a="http://schemas.openxmlformats.org/drawingml/2006/main" xmlns:r="http://schemas.openxmlformats.org/officeDocument/2006/relationships" xmlns:p="http://schemas.openxmlformats.org/presentationml/2006/main">
  <p:tag name="AS_UNIQUEID" val="1684"/>
</p:tagLst>
</file>

<file path=ppt/tags/tag438.xml><?xml version="1.0" encoding="utf-8"?>
<p:tagLst xmlns:a="http://schemas.openxmlformats.org/drawingml/2006/main" xmlns:r="http://schemas.openxmlformats.org/officeDocument/2006/relationships" xmlns:p="http://schemas.openxmlformats.org/presentationml/2006/main">
  <p:tag name="AS_UNIQUEID" val="1683"/>
</p:tagLst>
</file>

<file path=ppt/tags/tag439.xml><?xml version="1.0" encoding="utf-8"?>
<p:tagLst xmlns:a="http://schemas.openxmlformats.org/drawingml/2006/main" xmlns:r="http://schemas.openxmlformats.org/officeDocument/2006/relationships" xmlns:p="http://schemas.openxmlformats.org/presentationml/2006/main">
  <p:tag name="AS_UNIQUEID" val="1704"/>
</p:tagLst>
</file>

<file path=ppt/tags/tag44.xml><?xml version="1.0" encoding="utf-8"?>
<p:tagLst xmlns:a="http://schemas.openxmlformats.org/drawingml/2006/main" xmlns:r="http://schemas.openxmlformats.org/officeDocument/2006/relationships" xmlns:p="http://schemas.openxmlformats.org/presentationml/2006/main">
  <p:tag name="AS_UNIQUEID" val="1753"/>
</p:tagLst>
</file>

<file path=ppt/tags/tag440.xml><?xml version="1.0" encoding="utf-8"?>
<p:tagLst xmlns:a="http://schemas.openxmlformats.org/drawingml/2006/main" xmlns:r="http://schemas.openxmlformats.org/officeDocument/2006/relationships" xmlns:p="http://schemas.openxmlformats.org/presentationml/2006/main">
  <p:tag name="AS_UNIQUEID" val="2295"/>
</p:tagLst>
</file>

<file path=ppt/tags/tag441.xml><?xml version="1.0" encoding="utf-8"?>
<p:tagLst xmlns:a="http://schemas.openxmlformats.org/drawingml/2006/main" xmlns:r="http://schemas.openxmlformats.org/officeDocument/2006/relationships" xmlns:p="http://schemas.openxmlformats.org/presentationml/2006/main">
  <p:tag name="AS_UNIQUEID" val="2297"/>
</p:tagLst>
</file>

<file path=ppt/tags/tag442.xml><?xml version="1.0" encoding="utf-8"?>
<p:tagLst xmlns:a="http://schemas.openxmlformats.org/drawingml/2006/main" xmlns:r="http://schemas.openxmlformats.org/officeDocument/2006/relationships" xmlns:p="http://schemas.openxmlformats.org/presentationml/2006/main">
  <p:tag name="AS_UNIQUEID" val="1690"/>
</p:tagLst>
</file>

<file path=ppt/tags/tag443.xml><?xml version="1.0" encoding="utf-8"?>
<p:tagLst xmlns:a="http://schemas.openxmlformats.org/drawingml/2006/main" xmlns:r="http://schemas.openxmlformats.org/officeDocument/2006/relationships" xmlns:p="http://schemas.openxmlformats.org/presentationml/2006/main">
  <p:tag name="AS_UNIQUEID" val="1691"/>
</p:tagLst>
</file>

<file path=ppt/tags/tag444.xml><?xml version="1.0" encoding="utf-8"?>
<p:tagLst xmlns:a="http://schemas.openxmlformats.org/drawingml/2006/main" xmlns:r="http://schemas.openxmlformats.org/officeDocument/2006/relationships" xmlns:p="http://schemas.openxmlformats.org/presentationml/2006/main">
  <p:tag name="AS_UNIQUEID" val="1708"/>
</p:tagLst>
</file>

<file path=ppt/tags/tag445.xml><?xml version="1.0" encoding="utf-8"?>
<p:tagLst xmlns:a="http://schemas.openxmlformats.org/drawingml/2006/main" xmlns:r="http://schemas.openxmlformats.org/officeDocument/2006/relationships" xmlns:p="http://schemas.openxmlformats.org/presentationml/2006/main">
  <p:tag name="AS_UNIQUEID" val="1698"/>
</p:tagLst>
</file>

<file path=ppt/tags/tag446.xml><?xml version="1.0" encoding="utf-8"?>
<p:tagLst xmlns:a="http://schemas.openxmlformats.org/drawingml/2006/main" xmlns:r="http://schemas.openxmlformats.org/officeDocument/2006/relationships" xmlns:p="http://schemas.openxmlformats.org/presentationml/2006/main">
  <p:tag name="AS_UNIQUEID" val="1683"/>
</p:tagLst>
</file>

<file path=ppt/tags/tag447.xml><?xml version="1.0" encoding="utf-8"?>
<p:tagLst xmlns:a="http://schemas.openxmlformats.org/drawingml/2006/main" xmlns:r="http://schemas.openxmlformats.org/officeDocument/2006/relationships" xmlns:p="http://schemas.openxmlformats.org/presentationml/2006/main">
  <p:tag name="AS_UNIQUEID" val="1684"/>
</p:tagLst>
</file>

<file path=ppt/tags/tag448.xml><?xml version="1.0" encoding="utf-8"?>
<p:tagLst xmlns:a="http://schemas.openxmlformats.org/drawingml/2006/main" xmlns:r="http://schemas.openxmlformats.org/officeDocument/2006/relationships" xmlns:p="http://schemas.openxmlformats.org/presentationml/2006/main">
  <p:tag name="AS_UNIQUEID" val="2278"/>
</p:tagLst>
</file>

<file path=ppt/tags/tag449.xml><?xml version="1.0" encoding="utf-8"?>
<p:tagLst xmlns:a="http://schemas.openxmlformats.org/drawingml/2006/main" xmlns:r="http://schemas.openxmlformats.org/officeDocument/2006/relationships" xmlns:p="http://schemas.openxmlformats.org/presentationml/2006/main">
  <p:tag name="AS_UNIQUEID" val="2279"/>
</p:tagLst>
</file>

<file path=ppt/tags/tag45.xml><?xml version="1.0" encoding="utf-8"?>
<p:tagLst xmlns:a="http://schemas.openxmlformats.org/drawingml/2006/main" xmlns:r="http://schemas.openxmlformats.org/officeDocument/2006/relationships" xmlns:p="http://schemas.openxmlformats.org/presentationml/2006/main">
  <p:tag name="AS_UNIQUEID" val="1754"/>
</p:tagLst>
</file>

<file path=ppt/tags/tag450.xml><?xml version="1.0" encoding="utf-8"?>
<p:tagLst xmlns:a="http://schemas.openxmlformats.org/drawingml/2006/main" xmlns:r="http://schemas.openxmlformats.org/officeDocument/2006/relationships" xmlns:p="http://schemas.openxmlformats.org/presentationml/2006/main">
  <p:tag name="AS_UNIQUEID" val="2280"/>
</p:tagLst>
</file>

<file path=ppt/tags/tag451.xml><?xml version="1.0" encoding="utf-8"?>
<p:tagLst xmlns:a="http://schemas.openxmlformats.org/drawingml/2006/main" xmlns:r="http://schemas.openxmlformats.org/officeDocument/2006/relationships" xmlns:p="http://schemas.openxmlformats.org/presentationml/2006/main">
  <p:tag name="AS_UNIQUEID" val="2299"/>
</p:tagLst>
</file>

<file path=ppt/tags/tag452.xml><?xml version="1.0" encoding="utf-8"?>
<p:tagLst xmlns:a="http://schemas.openxmlformats.org/drawingml/2006/main" xmlns:r="http://schemas.openxmlformats.org/officeDocument/2006/relationships" xmlns:p="http://schemas.openxmlformats.org/presentationml/2006/main">
  <p:tag name="AS_UNIQUEID" val="2301"/>
</p:tagLst>
</file>

<file path=ppt/tags/tag453.xml><?xml version="1.0" encoding="utf-8"?>
<p:tagLst xmlns:a="http://schemas.openxmlformats.org/drawingml/2006/main" xmlns:r="http://schemas.openxmlformats.org/officeDocument/2006/relationships" xmlns:p="http://schemas.openxmlformats.org/presentationml/2006/main">
  <p:tag name="AS_UNIQUEID" val="2302"/>
</p:tagLst>
</file>

<file path=ppt/tags/tag454.xml><?xml version="1.0" encoding="utf-8"?>
<p:tagLst xmlns:a="http://schemas.openxmlformats.org/drawingml/2006/main" xmlns:r="http://schemas.openxmlformats.org/officeDocument/2006/relationships" xmlns:p="http://schemas.openxmlformats.org/presentationml/2006/main">
  <p:tag name="AS_UNIQUEID" val="482"/>
</p:tagLst>
</file>

<file path=ppt/tags/tag455.xml><?xml version="1.0" encoding="utf-8"?>
<p:tagLst xmlns:a="http://schemas.openxmlformats.org/drawingml/2006/main" xmlns:r="http://schemas.openxmlformats.org/officeDocument/2006/relationships" xmlns:p="http://schemas.openxmlformats.org/presentationml/2006/main">
  <p:tag name="AS_UNIQUEID" val="2303"/>
</p:tagLst>
</file>

<file path=ppt/tags/tag456.xml><?xml version="1.0" encoding="utf-8"?>
<p:tagLst xmlns:a="http://schemas.openxmlformats.org/drawingml/2006/main" xmlns:r="http://schemas.openxmlformats.org/officeDocument/2006/relationships" xmlns:p="http://schemas.openxmlformats.org/presentationml/2006/main">
  <p:tag name="AS_UNIQUEID" val="2304"/>
</p:tagLst>
</file>

<file path=ppt/tags/tag457.xml><?xml version="1.0" encoding="utf-8"?>
<p:tagLst xmlns:a="http://schemas.openxmlformats.org/drawingml/2006/main" xmlns:r="http://schemas.openxmlformats.org/officeDocument/2006/relationships" xmlns:p="http://schemas.openxmlformats.org/presentationml/2006/main">
  <p:tag name="AS_UNIQUEID" val="2310"/>
</p:tagLst>
</file>

<file path=ppt/tags/tag458.xml><?xml version="1.0" encoding="utf-8"?>
<p:tagLst xmlns:a="http://schemas.openxmlformats.org/drawingml/2006/main" xmlns:r="http://schemas.openxmlformats.org/officeDocument/2006/relationships" xmlns:p="http://schemas.openxmlformats.org/presentationml/2006/main">
  <p:tag name="AS_UNIQUEID" val="2329"/>
</p:tagLst>
</file>

<file path=ppt/tags/tag459.xml><?xml version="1.0" encoding="utf-8"?>
<p:tagLst xmlns:a="http://schemas.openxmlformats.org/drawingml/2006/main" xmlns:r="http://schemas.openxmlformats.org/officeDocument/2006/relationships" xmlns:p="http://schemas.openxmlformats.org/presentationml/2006/main">
  <p:tag name="AS_UNIQUEID" val="2351"/>
</p:tagLst>
</file>

<file path=ppt/tags/tag46.xml><?xml version="1.0" encoding="utf-8"?>
<p:tagLst xmlns:a="http://schemas.openxmlformats.org/drawingml/2006/main" xmlns:r="http://schemas.openxmlformats.org/officeDocument/2006/relationships" xmlns:p="http://schemas.openxmlformats.org/presentationml/2006/main">
  <p:tag name="AS_UNIQUEID" val="1755"/>
</p:tagLst>
</file>

<file path=ppt/tags/tag460.xml><?xml version="1.0" encoding="utf-8"?>
<p:tagLst xmlns:a="http://schemas.openxmlformats.org/drawingml/2006/main" xmlns:r="http://schemas.openxmlformats.org/officeDocument/2006/relationships" xmlns:p="http://schemas.openxmlformats.org/presentationml/2006/main">
  <p:tag name="AS_UNIQUEID" val="2357"/>
</p:tagLst>
</file>

<file path=ppt/tags/tag461.xml><?xml version="1.0" encoding="utf-8"?>
<p:tagLst xmlns:a="http://schemas.openxmlformats.org/drawingml/2006/main" xmlns:r="http://schemas.openxmlformats.org/officeDocument/2006/relationships" xmlns:p="http://schemas.openxmlformats.org/presentationml/2006/main">
  <p:tag name="AS_UNIQUEID" val="2365"/>
</p:tagLst>
</file>

<file path=ppt/tags/tag462.xml><?xml version="1.0" encoding="utf-8"?>
<p:tagLst xmlns:a="http://schemas.openxmlformats.org/drawingml/2006/main" xmlns:r="http://schemas.openxmlformats.org/officeDocument/2006/relationships" xmlns:p="http://schemas.openxmlformats.org/presentationml/2006/main">
  <p:tag name="AS_UNIQUEID" val="2371"/>
</p:tagLst>
</file>

<file path=ppt/tags/tag463.xml><?xml version="1.0" encoding="utf-8"?>
<p:tagLst xmlns:a="http://schemas.openxmlformats.org/drawingml/2006/main" xmlns:r="http://schemas.openxmlformats.org/officeDocument/2006/relationships" xmlns:p="http://schemas.openxmlformats.org/presentationml/2006/main">
  <p:tag name="AS_UNIQUEID" val="400"/>
</p:tagLst>
</file>

<file path=ppt/tags/tag464.xml><?xml version="1.0" encoding="utf-8"?>
<p:tagLst xmlns:a="http://schemas.openxmlformats.org/drawingml/2006/main" xmlns:r="http://schemas.openxmlformats.org/officeDocument/2006/relationships" xmlns:p="http://schemas.openxmlformats.org/presentationml/2006/main">
  <p:tag name="AS_UNIQUEID" val="400"/>
</p:tagLst>
</file>

<file path=ppt/tags/tag465.xml><?xml version="1.0" encoding="utf-8"?>
<p:tagLst xmlns:a="http://schemas.openxmlformats.org/drawingml/2006/main" xmlns:r="http://schemas.openxmlformats.org/officeDocument/2006/relationships" xmlns:p="http://schemas.openxmlformats.org/presentationml/2006/main">
  <p:tag name="AS_UNIQUEID" val="400"/>
</p:tagLst>
</file>

<file path=ppt/tags/tag466.xml><?xml version="1.0" encoding="utf-8"?>
<p:tagLst xmlns:a="http://schemas.openxmlformats.org/drawingml/2006/main" xmlns:r="http://schemas.openxmlformats.org/officeDocument/2006/relationships" xmlns:p="http://schemas.openxmlformats.org/presentationml/2006/main">
  <p:tag name="AS_UNIQUEID" val="400"/>
</p:tagLst>
</file>

<file path=ppt/tags/tag467.xml><?xml version="1.0" encoding="utf-8"?>
<p:tagLst xmlns:a="http://schemas.openxmlformats.org/drawingml/2006/main" xmlns:r="http://schemas.openxmlformats.org/officeDocument/2006/relationships" xmlns:p="http://schemas.openxmlformats.org/presentationml/2006/main">
  <p:tag name="AS_UNIQUEID" val="400"/>
</p:tagLst>
</file>

<file path=ppt/tags/tag468.xml><?xml version="1.0" encoding="utf-8"?>
<p:tagLst xmlns:a="http://schemas.openxmlformats.org/drawingml/2006/main" xmlns:r="http://schemas.openxmlformats.org/officeDocument/2006/relationships" xmlns:p="http://schemas.openxmlformats.org/presentationml/2006/main">
  <p:tag name="AS_UNIQUEID" val="400"/>
</p:tagLst>
</file>

<file path=ppt/tags/tag469.xml><?xml version="1.0" encoding="utf-8"?>
<p:tagLst xmlns:a="http://schemas.openxmlformats.org/drawingml/2006/main" xmlns:r="http://schemas.openxmlformats.org/officeDocument/2006/relationships" xmlns:p="http://schemas.openxmlformats.org/presentationml/2006/main">
  <p:tag name="AS_UNIQUEID" val="2372"/>
</p:tagLst>
</file>

<file path=ppt/tags/tag47.xml><?xml version="1.0" encoding="utf-8"?>
<p:tagLst xmlns:a="http://schemas.openxmlformats.org/drawingml/2006/main" xmlns:r="http://schemas.openxmlformats.org/officeDocument/2006/relationships" xmlns:p="http://schemas.openxmlformats.org/presentationml/2006/main">
  <p:tag name="AS_UNIQUEID" val="1756"/>
</p:tagLst>
</file>

<file path=ppt/tags/tag470.xml><?xml version="1.0" encoding="utf-8"?>
<p:tagLst xmlns:a="http://schemas.openxmlformats.org/drawingml/2006/main" xmlns:r="http://schemas.openxmlformats.org/officeDocument/2006/relationships" xmlns:p="http://schemas.openxmlformats.org/presentationml/2006/main">
  <p:tag name="AS_UNIQUEID" val="2375"/>
</p:tagLst>
</file>

<file path=ppt/tags/tag471.xml><?xml version="1.0" encoding="utf-8"?>
<p:tagLst xmlns:a="http://schemas.openxmlformats.org/drawingml/2006/main" xmlns:r="http://schemas.openxmlformats.org/officeDocument/2006/relationships" xmlns:p="http://schemas.openxmlformats.org/presentationml/2006/main">
  <p:tag name="AS_UNIQUEID" val="2378"/>
</p:tagLst>
</file>

<file path=ppt/tags/tag472.xml><?xml version="1.0" encoding="utf-8"?>
<p:tagLst xmlns:a="http://schemas.openxmlformats.org/drawingml/2006/main" xmlns:r="http://schemas.openxmlformats.org/officeDocument/2006/relationships" xmlns:p="http://schemas.openxmlformats.org/presentationml/2006/main">
  <p:tag name="AS_UNIQUEID" val="2381"/>
</p:tagLst>
</file>

<file path=ppt/tags/tag473.xml><?xml version="1.0" encoding="utf-8"?>
<p:tagLst xmlns:a="http://schemas.openxmlformats.org/drawingml/2006/main" xmlns:r="http://schemas.openxmlformats.org/officeDocument/2006/relationships" xmlns:p="http://schemas.openxmlformats.org/presentationml/2006/main">
  <p:tag name="AS_UNIQUEID" val="2384"/>
</p:tagLst>
</file>

<file path=ppt/tags/tag474.xml><?xml version="1.0" encoding="utf-8"?>
<p:tagLst xmlns:a="http://schemas.openxmlformats.org/drawingml/2006/main" xmlns:r="http://schemas.openxmlformats.org/officeDocument/2006/relationships" xmlns:p="http://schemas.openxmlformats.org/presentationml/2006/main">
  <p:tag name="AS_UNIQUEID" val="2387"/>
</p:tagLst>
</file>

<file path=ppt/tags/tag475.xml><?xml version="1.0" encoding="utf-8"?>
<p:tagLst xmlns:a="http://schemas.openxmlformats.org/drawingml/2006/main" xmlns:r="http://schemas.openxmlformats.org/officeDocument/2006/relationships" xmlns:p="http://schemas.openxmlformats.org/presentationml/2006/main">
  <p:tag name="AS_UNIQUEID" val="2388"/>
</p:tagLst>
</file>

<file path=ppt/tags/tag476.xml><?xml version="1.0" encoding="utf-8"?>
<p:tagLst xmlns:a="http://schemas.openxmlformats.org/drawingml/2006/main" xmlns:r="http://schemas.openxmlformats.org/officeDocument/2006/relationships" xmlns:p="http://schemas.openxmlformats.org/presentationml/2006/main">
  <p:tag name="AS_UNIQUEID" val="2389"/>
</p:tagLst>
</file>

<file path=ppt/tags/tag477.xml><?xml version="1.0" encoding="utf-8"?>
<p:tagLst xmlns:a="http://schemas.openxmlformats.org/drawingml/2006/main" xmlns:r="http://schemas.openxmlformats.org/officeDocument/2006/relationships" xmlns:p="http://schemas.openxmlformats.org/presentationml/2006/main">
  <p:tag name="AS_UNIQUEID" val="2385"/>
</p:tagLst>
</file>

<file path=ppt/tags/tag478.xml><?xml version="1.0" encoding="utf-8"?>
<p:tagLst xmlns:a="http://schemas.openxmlformats.org/drawingml/2006/main" xmlns:r="http://schemas.openxmlformats.org/officeDocument/2006/relationships" xmlns:p="http://schemas.openxmlformats.org/presentationml/2006/main">
  <p:tag name="AS_UNIQUEID" val="2386"/>
</p:tagLst>
</file>

<file path=ppt/tags/tag479.xml><?xml version="1.0" encoding="utf-8"?>
<p:tagLst xmlns:a="http://schemas.openxmlformats.org/drawingml/2006/main" xmlns:r="http://schemas.openxmlformats.org/officeDocument/2006/relationships" xmlns:p="http://schemas.openxmlformats.org/presentationml/2006/main">
  <p:tag name="AS_UNIQUEID" val="2382"/>
</p:tagLst>
</file>

<file path=ppt/tags/tag48.xml><?xml version="1.0" encoding="utf-8"?>
<p:tagLst xmlns:a="http://schemas.openxmlformats.org/drawingml/2006/main" xmlns:r="http://schemas.openxmlformats.org/officeDocument/2006/relationships" xmlns:p="http://schemas.openxmlformats.org/presentationml/2006/main">
  <p:tag name="AS_UNIQUEID" val="1757"/>
</p:tagLst>
</file>

<file path=ppt/tags/tag480.xml><?xml version="1.0" encoding="utf-8"?>
<p:tagLst xmlns:a="http://schemas.openxmlformats.org/drawingml/2006/main" xmlns:r="http://schemas.openxmlformats.org/officeDocument/2006/relationships" xmlns:p="http://schemas.openxmlformats.org/presentationml/2006/main">
  <p:tag name="AS_UNIQUEID" val="2383"/>
</p:tagLst>
</file>

<file path=ppt/tags/tag481.xml><?xml version="1.0" encoding="utf-8"?>
<p:tagLst xmlns:a="http://schemas.openxmlformats.org/drawingml/2006/main" xmlns:r="http://schemas.openxmlformats.org/officeDocument/2006/relationships" xmlns:p="http://schemas.openxmlformats.org/presentationml/2006/main">
  <p:tag name="AS_UNIQUEID" val="2379"/>
</p:tagLst>
</file>

<file path=ppt/tags/tag482.xml><?xml version="1.0" encoding="utf-8"?>
<p:tagLst xmlns:a="http://schemas.openxmlformats.org/drawingml/2006/main" xmlns:r="http://schemas.openxmlformats.org/officeDocument/2006/relationships" xmlns:p="http://schemas.openxmlformats.org/presentationml/2006/main">
  <p:tag name="AS_UNIQUEID" val="2380"/>
</p:tagLst>
</file>

<file path=ppt/tags/tag483.xml><?xml version="1.0" encoding="utf-8"?>
<p:tagLst xmlns:a="http://schemas.openxmlformats.org/drawingml/2006/main" xmlns:r="http://schemas.openxmlformats.org/officeDocument/2006/relationships" xmlns:p="http://schemas.openxmlformats.org/presentationml/2006/main">
  <p:tag name="AS_UNIQUEID" val="2376"/>
</p:tagLst>
</file>

<file path=ppt/tags/tag484.xml><?xml version="1.0" encoding="utf-8"?>
<p:tagLst xmlns:a="http://schemas.openxmlformats.org/drawingml/2006/main" xmlns:r="http://schemas.openxmlformats.org/officeDocument/2006/relationships" xmlns:p="http://schemas.openxmlformats.org/presentationml/2006/main">
  <p:tag name="AS_UNIQUEID" val="2377"/>
</p:tagLst>
</file>

<file path=ppt/tags/tag485.xml><?xml version="1.0" encoding="utf-8"?>
<p:tagLst xmlns:a="http://schemas.openxmlformats.org/drawingml/2006/main" xmlns:r="http://schemas.openxmlformats.org/officeDocument/2006/relationships" xmlns:p="http://schemas.openxmlformats.org/presentationml/2006/main">
  <p:tag name="AS_UNIQUEID" val="2373"/>
</p:tagLst>
</file>

<file path=ppt/tags/tag486.xml><?xml version="1.0" encoding="utf-8"?>
<p:tagLst xmlns:a="http://schemas.openxmlformats.org/drawingml/2006/main" xmlns:r="http://schemas.openxmlformats.org/officeDocument/2006/relationships" xmlns:p="http://schemas.openxmlformats.org/presentationml/2006/main">
  <p:tag name="AS_UNIQUEID" val="2374"/>
</p:tagLst>
</file>

<file path=ppt/tags/tag487.xml><?xml version="1.0" encoding="utf-8"?>
<p:tagLst xmlns:a="http://schemas.openxmlformats.org/drawingml/2006/main" xmlns:r="http://schemas.openxmlformats.org/officeDocument/2006/relationships" xmlns:p="http://schemas.openxmlformats.org/presentationml/2006/main">
  <p:tag name="AS_UNIQUEID" val="2368"/>
</p:tagLst>
</file>

<file path=ppt/tags/tag488.xml><?xml version="1.0" encoding="utf-8"?>
<p:tagLst xmlns:a="http://schemas.openxmlformats.org/drawingml/2006/main" xmlns:r="http://schemas.openxmlformats.org/officeDocument/2006/relationships" xmlns:p="http://schemas.openxmlformats.org/presentationml/2006/main">
  <p:tag name="AS_UNIQUEID" val="2370"/>
</p:tagLst>
</file>

<file path=ppt/tags/tag489.xml><?xml version="1.0" encoding="utf-8"?>
<p:tagLst xmlns:a="http://schemas.openxmlformats.org/drawingml/2006/main" xmlns:r="http://schemas.openxmlformats.org/officeDocument/2006/relationships" xmlns:p="http://schemas.openxmlformats.org/presentationml/2006/main">
  <p:tag name="AS_UNIQUEID" val="2358"/>
</p:tagLst>
</file>

<file path=ppt/tags/tag49.xml><?xml version="1.0" encoding="utf-8"?>
<p:tagLst xmlns:a="http://schemas.openxmlformats.org/drawingml/2006/main" xmlns:r="http://schemas.openxmlformats.org/officeDocument/2006/relationships" xmlns:p="http://schemas.openxmlformats.org/presentationml/2006/main">
  <p:tag name="AS_UNIQUEID" val="1758"/>
</p:tagLst>
</file>

<file path=ppt/tags/tag490.xml><?xml version="1.0" encoding="utf-8"?>
<p:tagLst xmlns:a="http://schemas.openxmlformats.org/drawingml/2006/main" xmlns:r="http://schemas.openxmlformats.org/officeDocument/2006/relationships" xmlns:p="http://schemas.openxmlformats.org/presentationml/2006/main">
  <p:tag name="AS_UNIQUEID" val="2359"/>
</p:tagLst>
</file>

<file path=ppt/tags/tag491.xml><?xml version="1.0" encoding="utf-8"?>
<p:tagLst xmlns:a="http://schemas.openxmlformats.org/drawingml/2006/main" xmlns:r="http://schemas.openxmlformats.org/officeDocument/2006/relationships" xmlns:p="http://schemas.openxmlformats.org/presentationml/2006/main">
  <p:tag name="AS_UNIQUEID" val="2360"/>
</p:tagLst>
</file>

<file path=ppt/tags/tag492.xml><?xml version="1.0" encoding="utf-8"?>
<p:tagLst xmlns:a="http://schemas.openxmlformats.org/drawingml/2006/main" xmlns:r="http://schemas.openxmlformats.org/officeDocument/2006/relationships" xmlns:p="http://schemas.openxmlformats.org/presentationml/2006/main">
  <p:tag name="AS_UNIQUEID" val="2361"/>
</p:tagLst>
</file>

<file path=ppt/tags/tag493.xml><?xml version="1.0" encoding="utf-8"?>
<p:tagLst xmlns:a="http://schemas.openxmlformats.org/drawingml/2006/main" xmlns:r="http://schemas.openxmlformats.org/officeDocument/2006/relationships" xmlns:p="http://schemas.openxmlformats.org/presentationml/2006/main">
  <p:tag name="AS_UNIQUEID" val="2352"/>
</p:tagLst>
</file>

<file path=ppt/tags/tag494.xml><?xml version="1.0" encoding="utf-8"?>
<p:tagLst xmlns:a="http://schemas.openxmlformats.org/drawingml/2006/main" xmlns:r="http://schemas.openxmlformats.org/officeDocument/2006/relationships" xmlns:p="http://schemas.openxmlformats.org/presentationml/2006/main">
  <p:tag name="AS_UNIQUEID" val="2353"/>
</p:tagLst>
</file>

<file path=ppt/tags/tag495.xml><?xml version="1.0" encoding="utf-8"?>
<p:tagLst xmlns:a="http://schemas.openxmlformats.org/drawingml/2006/main" xmlns:r="http://schemas.openxmlformats.org/officeDocument/2006/relationships" xmlns:p="http://schemas.openxmlformats.org/presentationml/2006/main">
  <p:tag name="AS_UNIQUEID" val="2330"/>
</p:tagLst>
</file>

<file path=ppt/tags/tag496.xml><?xml version="1.0" encoding="utf-8"?>
<p:tagLst xmlns:a="http://schemas.openxmlformats.org/drawingml/2006/main" xmlns:r="http://schemas.openxmlformats.org/officeDocument/2006/relationships" xmlns:p="http://schemas.openxmlformats.org/presentationml/2006/main">
  <p:tag name="AS_UNIQUEID" val="2333"/>
</p:tagLst>
</file>

<file path=ppt/tags/tag497.xml><?xml version="1.0" encoding="utf-8"?>
<p:tagLst xmlns:a="http://schemas.openxmlformats.org/drawingml/2006/main" xmlns:r="http://schemas.openxmlformats.org/officeDocument/2006/relationships" xmlns:p="http://schemas.openxmlformats.org/presentationml/2006/main">
  <p:tag name="AS_UNIQUEID" val="2336"/>
</p:tagLst>
</file>

<file path=ppt/tags/tag498.xml><?xml version="1.0" encoding="utf-8"?>
<p:tagLst xmlns:a="http://schemas.openxmlformats.org/drawingml/2006/main" xmlns:r="http://schemas.openxmlformats.org/officeDocument/2006/relationships" xmlns:p="http://schemas.openxmlformats.org/presentationml/2006/main">
  <p:tag name="AS_UNIQUEID" val="2339"/>
</p:tagLst>
</file>

<file path=ppt/tags/tag499.xml><?xml version="1.0" encoding="utf-8"?>
<p:tagLst xmlns:a="http://schemas.openxmlformats.org/drawingml/2006/main" xmlns:r="http://schemas.openxmlformats.org/officeDocument/2006/relationships" xmlns:p="http://schemas.openxmlformats.org/presentationml/2006/main">
  <p:tag name="AS_UNIQUEID" val="2342"/>
</p:tagLst>
</file>

<file path=ppt/tags/tag5.xml><?xml version="1.0" encoding="utf-8"?>
<p:tagLst xmlns:a="http://schemas.openxmlformats.org/drawingml/2006/main" xmlns:r="http://schemas.openxmlformats.org/officeDocument/2006/relationships" xmlns:p="http://schemas.openxmlformats.org/presentationml/2006/main">
  <p:tag name="AS_UNIQUEID" val="1808"/>
</p:tagLst>
</file>

<file path=ppt/tags/tag50.xml><?xml version="1.0" encoding="utf-8"?>
<p:tagLst xmlns:a="http://schemas.openxmlformats.org/drawingml/2006/main" xmlns:r="http://schemas.openxmlformats.org/officeDocument/2006/relationships" xmlns:p="http://schemas.openxmlformats.org/presentationml/2006/main">
  <p:tag name="AS_UNIQUEID" val="1760"/>
</p:tagLst>
</file>

<file path=ppt/tags/tag500.xml><?xml version="1.0" encoding="utf-8"?>
<p:tagLst xmlns:a="http://schemas.openxmlformats.org/drawingml/2006/main" xmlns:r="http://schemas.openxmlformats.org/officeDocument/2006/relationships" xmlns:p="http://schemas.openxmlformats.org/presentationml/2006/main">
  <p:tag name="AS_UNIQUEID" val="2345"/>
</p:tagLst>
</file>

<file path=ppt/tags/tag501.xml><?xml version="1.0" encoding="utf-8"?>
<p:tagLst xmlns:a="http://schemas.openxmlformats.org/drawingml/2006/main" xmlns:r="http://schemas.openxmlformats.org/officeDocument/2006/relationships" xmlns:p="http://schemas.openxmlformats.org/presentationml/2006/main">
  <p:tag name="AS_UNIQUEID" val="398"/>
</p:tagLst>
</file>

<file path=ppt/tags/tag502.xml><?xml version="1.0" encoding="utf-8"?>
<p:tagLst xmlns:a="http://schemas.openxmlformats.org/drawingml/2006/main" xmlns:r="http://schemas.openxmlformats.org/officeDocument/2006/relationships" xmlns:p="http://schemas.openxmlformats.org/presentationml/2006/main">
  <p:tag name="AS_UNIQUEID" val="2346"/>
</p:tagLst>
</file>

<file path=ppt/tags/tag503.xml><?xml version="1.0" encoding="utf-8"?>
<p:tagLst xmlns:a="http://schemas.openxmlformats.org/drawingml/2006/main" xmlns:r="http://schemas.openxmlformats.org/officeDocument/2006/relationships" xmlns:p="http://schemas.openxmlformats.org/presentationml/2006/main">
  <p:tag name="AS_UNIQUEID" val="2347"/>
</p:tagLst>
</file>

<file path=ppt/tags/tag504.xml><?xml version="1.0" encoding="utf-8"?>
<p:tagLst xmlns:a="http://schemas.openxmlformats.org/drawingml/2006/main" xmlns:r="http://schemas.openxmlformats.org/officeDocument/2006/relationships" xmlns:p="http://schemas.openxmlformats.org/presentationml/2006/main">
  <p:tag name="AS_UNIQUEID" val="2343"/>
</p:tagLst>
</file>

<file path=ppt/tags/tag505.xml><?xml version="1.0" encoding="utf-8"?>
<p:tagLst xmlns:a="http://schemas.openxmlformats.org/drawingml/2006/main" xmlns:r="http://schemas.openxmlformats.org/officeDocument/2006/relationships" xmlns:p="http://schemas.openxmlformats.org/presentationml/2006/main">
  <p:tag name="AS_UNIQUEID" val="2344"/>
</p:tagLst>
</file>

<file path=ppt/tags/tag506.xml><?xml version="1.0" encoding="utf-8"?>
<p:tagLst xmlns:a="http://schemas.openxmlformats.org/drawingml/2006/main" xmlns:r="http://schemas.openxmlformats.org/officeDocument/2006/relationships" xmlns:p="http://schemas.openxmlformats.org/presentationml/2006/main">
  <p:tag name="AS_UNIQUEID" val="2340"/>
</p:tagLst>
</file>

<file path=ppt/tags/tag507.xml><?xml version="1.0" encoding="utf-8"?>
<p:tagLst xmlns:a="http://schemas.openxmlformats.org/drawingml/2006/main" xmlns:r="http://schemas.openxmlformats.org/officeDocument/2006/relationships" xmlns:p="http://schemas.openxmlformats.org/presentationml/2006/main">
  <p:tag name="AS_UNIQUEID" val="2341"/>
</p:tagLst>
</file>

<file path=ppt/tags/tag508.xml><?xml version="1.0" encoding="utf-8"?>
<p:tagLst xmlns:a="http://schemas.openxmlformats.org/drawingml/2006/main" xmlns:r="http://schemas.openxmlformats.org/officeDocument/2006/relationships" xmlns:p="http://schemas.openxmlformats.org/presentationml/2006/main">
  <p:tag name="AS_UNIQUEID" val="2337"/>
</p:tagLst>
</file>

<file path=ppt/tags/tag509.xml><?xml version="1.0" encoding="utf-8"?>
<p:tagLst xmlns:a="http://schemas.openxmlformats.org/drawingml/2006/main" xmlns:r="http://schemas.openxmlformats.org/officeDocument/2006/relationships" xmlns:p="http://schemas.openxmlformats.org/presentationml/2006/main">
  <p:tag name="AS_UNIQUEID" val="2338"/>
</p:tagLst>
</file>

<file path=ppt/tags/tag51.xml><?xml version="1.0" encoding="utf-8"?>
<p:tagLst xmlns:a="http://schemas.openxmlformats.org/drawingml/2006/main" xmlns:r="http://schemas.openxmlformats.org/officeDocument/2006/relationships" xmlns:p="http://schemas.openxmlformats.org/presentationml/2006/main">
  <p:tag name="AS_UNIQUEID" val="1761"/>
</p:tagLst>
</file>

<file path=ppt/tags/tag510.xml><?xml version="1.0" encoding="utf-8"?>
<p:tagLst xmlns:a="http://schemas.openxmlformats.org/drawingml/2006/main" xmlns:r="http://schemas.openxmlformats.org/officeDocument/2006/relationships" xmlns:p="http://schemas.openxmlformats.org/presentationml/2006/main">
  <p:tag name="AS_UNIQUEID" val="2334"/>
</p:tagLst>
</file>

<file path=ppt/tags/tag511.xml><?xml version="1.0" encoding="utf-8"?>
<p:tagLst xmlns:a="http://schemas.openxmlformats.org/drawingml/2006/main" xmlns:r="http://schemas.openxmlformats.org/officeDocument/2006/relationships" xmlns:p="http://schemas.openxmlformats.org/presentationml/2006/main">
  <p:tag name="AS_UNIQUEID" val="2335"/>
</p:tagLst>
</file>

<file path=ppt/tags/tag512.xml><?xml version="1.0" encoding="utf-8"?>
<p:tagLst xmlns:a="http://schemas.openxmlformats.org/drawingml/2006/main" xmlns:r="http://schemas.openxmlformats.org/officeDocument/2006/relationships" xmlns:p="http://schemas.openxmlformats.org/presentationml/2006/main">
  <p:tag name="AS_UNIQUEID" val="2331"/>
</p:tagLst>
</file>

<file path=ppt/tags/tag513.xml><?xml version="1.0" encoding="utf-8"?>
<p:tagLst xmlns:a="http://schemas.openxmlformats.org/drawingml/2006/main" xmlns:r="http://schemas.openxmlformats.org/officeDocument/2006/relationships" xmlns:p="http://schemas.openxmlformats.org/presentationml/2006/main">
  <p:tag name="AS_UNIQUEID" val="2332"/>
</p:tagLst>
</file>

<file path=ppt/tags/tag514.xml><?xml version="1.0" encoding="utf-8"?>
<p:tagLst xmlns:a="http://schemas.openxmlformats.org/drawingml/2006/main" xmlns:r="http://schemas.openxmlformats.org/officeDocument/2006/relationships" xmlns:p="http://schemas.openxmlformats.org/presentationml/2006/main">
  <p:tag name="AS_UNIQUEID" val="2311"/>
</p:tagLst>
</file>

<file path=ppt/tags/tag515.xml><?xml version="1.0" encoding="utf-8"?>
<p:tagLst xmlns:a="http://schemas.openxmlformats.org/drawingml/2006/main" xmlns:r="http://schemas.openxmlformats.org/officeDocument/2006/relationships" xmlns:p="http://schemas.openxmlformats.org/presentationml/2006/main">
  <p:tag name="AS_UNIQUEID" val="398"/>
</p:tagLst>
</file>

<file path=ppt/tags/tag516.xml><?xml version="1.0" encoding="utf-8"?>
<p:tagLst xmlns:a="http://schemas.openxmlformats.org/drawingml/2006/main" xmlns:r="http://schemas.openxmlformats.org/officeDocument/2006/relationships" xmlns:p="http://schemas.openxmlformats.org/presentationml/2006/main">
  <p:tag name="AS_UNIQUEID" val="2314"/>
</p:tagLst>
</file>

<file path=ppt/tags/tag517.xml><?xml version="1.0" encoding="utf-8"?>
<p:tagLst xmlns:a="http://schemas.openxmlformats.org/drawingml/2006/main" xmlns:r="http://schemas.openxmlformats.org/officeDocument/2006/relationships" xmlns:p="http://schemas.openxmlformats.org/presentationml/2006/main">
  <p:tag name="AS_UNIQUEID" val="2317"/>
</p:tagLst>
</file>

<file path=ppt/tags/tag518.xml><?xml version="1.0" encoding="utf-8"?>
<p:tagLst xmlns:a="http://schemas.openxmlformats.org/drawingml/2006/main" xmlns:r="http://schemas.openxmlformats.org/officeDocument/2006/relationships" xmlns:p="http://schemas.openxmlformats.org/presentationml/2006/main">
  <p:tag name="AS_UNIQUEID" val="2320"/>
</p:tagLst>
</file>

<file path=ppt/tags/tag519.xml><?xml version="1.0" encoding="utf-8"?>
<p:tagLst xmlns:a="http://schemas.openxmlformats.org/drawingml/2006/main" xmlns:r="http://schemas.openxmlformats.org/officeDocument/2006/relationships" xmlns:p="http://schemas.openxmlformats.org/presentationml/2006/main">
  <p:tag name="AS_UNIQUEID" val="2323"/>
</p:tagLst>
</file>

<file path=ppt/tags/tag52.xml><?xml version="1.0" encoding="utf-8"?>
<p:tagLst xmlns:a="http://schemas.openxmlformats.org/drawingml/2006/main" xmlns:r="http://schemas.openxmlformats.org/officeDocument/2006/relationships" xmlns:p="http://schemas.openxmlformats.org/presentationml/2006/main">
  <p:tag name="AS_UNIQUEID" val="1762"/>
</p:tagLst>
</file>

<file path=ppt/tags/tag520.xml><?xml version="1.0" encoding="utf-8"?>
<p:tagLst xmlns:a="http://schemas.openxmlformats.org/drawingml/2006/main" xmlns:r="http://schemas.openxmlformats.org/officeDocument/2006/relationships" xmlns:p="http://schemas.openxmlformats.org/presentationml/2006/main">
  <p:tag name="AS_UNIQUEID" val="2326"/>
</p:tagLst>
</file>

<file path=ppt/tags/tag521.xml><?xml version="1.0" encoding="utf-8"?>
<p:tagLst xmlns:a="http://schemas.openxmlformats.org/drawingml/2006/main" xmlns:r="http://schemas.openxmlformats.org/officeDocument/2006/relationships" xmlns:p="http://schemas.openxmlformats.org/presentationml/2006/main">
  <p:tag name="AS_UNIQUEID" val="2327"/>
</p:tagLst>
</file>

<file path=ppt/tags/tag522.xml><?xml version="1.0" encoding="utf-8"?>
<p:tagLst xmlns:a="http://schemas.openxmlformats.org/drawingml/2006/main" xmlns:r="http://schemas.openxmlformats.org/officeDocument/2006/relationships" xmlns:p="http://schemas.openxmlformats.org/presentationml/2006/main">
  <p:tag name="AS_UNIQUEID" val="2328"/>
</p:tagLst>
</file>

<file path=ppt/tags/tag523.xml><?xml version="1.0" encoding="utf-8"?>
<p:tagLst xmlns:a="http://schemas.openxmlformats.org/drawingml/2006/main" xmlns:r="http://schemas.openxmlformats.org/officeDocument/2006/relationships" xmlns:p="http://schemas.openxmlformats.org/presentationml/2006/main">
  <p:tag name="AS_UNIQUEID" val="2324"/>
</p:tagLst>
</file>

<file path=ppt/tags/tag524.xml><?xml version="1.0" encoding="utf-8"?>
<p:tagLst xmlns:a="http://schemas.openxmlformats.org/drawingml/2006/main" xmlns:r="http://schemas.openxmlformats.org/officeDocument/2006/relationships" xmlns:p="http://schemas.openxmlformats.org/presentationml/2006/main">
  <p:tag name="AS_UNIQUEID" val="2325"/>
</p:tagLst>
</file>

<file path=ppt/tags/tag525.xml><?xml version="1.0" encoding="utf-8"?>
<p:tagLst xmlns:a="http://schemas.openxmlformats.org/drawingml/2006/main" xmlns:r="http://schemas.openxmlformats.org/officeDocument/2006/relationships" xmlns:p="http://schemas.openxmlformats.org/presentationml/2006/main">
  <p:tag name="AS_UNIQUEID" val="2321"/>
</p:tagLst>
</file>

<file path=ppt/tags/tag526.xml><?xml version="1.0" encoding="utf-8"?>
<p:tagLst xmlns:a="http://schemas.openxmlformats.org/drawingml/2006/main" xmlns:r="http://schemas.openxmlformats.org/officeDocument/2006/relationships" xmlns:p="http://schemas.openxmlformats.org/presentationml/2006/main">
  <p:tag name="AS_UNIQUEID" val="2322"/>
</p:tagLst>
</file>

<file path=ppt/tags/tag527.xml><?xml version="1.0" encoding="utf-8"?>
<p:tagLst xmlns:a="http://schemas.openxmlformats.org/drawingml/2006/main" xmlns:r="http://schemas.openxmlformats.org/officeDocument/2006/relationships" xmlns:p="http://schemas.openxmlformats.org/presentationml/2006/main">
  <p:tag name="AS_UNIQUEID" val="2318"/>
</p:tagLst>
</file>

<file path=ppt/tags/tag528.xml><?xml version="1.0" encoding="utf-8"?>
<p:tagLst xmlns:a="http://schemas.openxmlformats.org/drawingml/2006/main" xmlns:r="http://schemas.openxmlformats.org/officeDocument/2006/relationships" xmlns:p="http://schemas.openxmlformats.org/presentationml/2006/main">
  <p:tag name="AS_UNIQUEID" val="2319"/>
</p:tagLst>
</file>

<file path=ppt/tags/tag529.xml><?xml version="1.0" encoding="utf-8"?>
<p:tagLst xmlns:a="http://schemas.openxmlformats.org/drawingml/2006/main" xmlns:r="http://schemas.openxmlformats.org/officeDocument/2006/relationships" xmlns:p="http://schemas.openxmlformats.org/presentationml/2006/main">
  <p:tag name="AS_UNIQUEID" val="2315"/>
</p:tagLst>
</file>

<file path=ppt/tags/tag53.xml><?xml version="1.0" encoding="utf-8"?>
<p:tagLst xmlns:a="http://schemas.openxmlformats.org/drawingml/2006/main" xmlns:r="http://schemas.openxmlformats.org/officeDocument/2006/relationships" xmlns:p="http://schemas.openxmlformats.org/presentationml/2006/main">
  <p:tag name="AS_UNIQUEID" val="1763"/>
</p:tagLst>
</file>

<file path=ppt/tags/tag530.xml><?xml version="1.0" encoding="utf-8"?>
<p:tagLst xmlns:a="http://schemas.openxmlformats.org/drawingml/2006/main" xmlns:r="http://schemas.openxmlformats.org/officeDocument/2006/relationships" xmlns:p="http://schemas.openxmlformats.org/presentationml/2006/main">
  <p:tag name="AS_UNIQUEID" val="2316"/>
</p:tagLst>
</file>

<file path=ppt/tags/tag531.xml><?xml version="1.0" encoding="utf-8"?>
<p:tagLst xmlns:a="http://schemas.openxmlformats.org/drawingml/2006/main" xmlns:r="http://schemas.openxmlformats.org/officeDocument/2006/relationships" xmlns:p="http://schemas.openxmlformats.org/presentationml/2006/main">
  <p:tag name="AS_UNIQUEID" val="2312"/>
</p:tagLst>
</file>

<file path=ppt/tags/tag532.xml><?xml version="1.0" encoding="utf-8"?>
<p:tagLst xmlns:a="http://schemas.openxmlformats.org/drawingml/2006/main" xmlns:r="http://schemas.openxmlformats.org/officeDocument/2006/relationships" xmlns:p="http://schemas.openxmlformats.org/presentationml/2006/main">
  <p:tag name="AS_UNIQUEID" val="2313"/>
</p:tagLst>
</file>

<file path=ppt/tags/tag533.xml><?xml version="1.0" encoding="utf-8"?>
<p:tagLst xmlns:a="http://schemas.openxmlformats.org/drawingml/2006/main" xmlns:r="http://schemas.openxmlformats.org/officeDocument/2006/relationships" xmlns:p="http://schemas.openxmlformats.org/presentationml/2006/main">
  <p:tag name="AS_UNIQUEID" val="2305"/>
</p:tagLst>
</file>

<file path=ppt/tags/tag534.xml><?xml version="1.0" encoding="utf-8"?>
<p:tagLst xmlns:a="http://schemas.openxmlformats.org/drawingml/2006/main" xmlns:r="http://schemas.openxmlformats.org/officeDocument/2006/relationships" xmlns:p="http://schemas.openxmlformats.org/presentationml/2006/main">
  <p:tag name="AS_UNIQUEID" val="2306"/>
</p:tagLst>
</file>

<file path=ppt/tags/tag535.xml><?xml version="1.0" encoding="utf-8"?>
<p:tagLst xmlns:a="http://schemas.openxmlformats.org/drawingml/2006/main" xmlns:r="http://schemas.openxmlformats.org/officeDocument/2006/relationships" xmlns:p="http://schemas.openxmlformats.org/presentationml/2006/main">
  <p:tag name="AS_UNIQUEID" val="2307"/>
</p:tagLst>
</file>

<file path=ppt/tags/tag536.xml><?xml version="1.0" encoding="utf-8"?>
<p:tagLst xmlns:a="http://schemas.openxmlformats.org/drawingml/2006/main" xmlns:r="http://schemas.openxmlformats.org/officeDocument/2006/relationships" xmlns:p="http://schemas.openxmlformats.org/presentationml/2006/main">
  <p:tag name="AS_UNIQUEID" val="2308"/>
</p:tagLst>
</file>

<file path=ppt/tags/tag537.xml><?xml version="1.0" encoding="utf-8"?>
<p:tagLst xmlns:a="http://schemas.openxmlformats.org/drawingml/2006/main" xmlns:r="http://schemas.openxmlformats.org/officeDocument/2006/relationships" xmlns:p="http://schemas.openxmlformats.org/presentationml/2006/main">
  <p:tag name="AS_UNIQUEID" val="2309"/>
</p:tagLst>
</file>

<file path=ppt/tags/tag538.xml><?xml version="1.0" encoding="utf-8"?>
<p:tagLst xmlns:a="http://schemas.openxmlformats.org/drawingml/2006/main" xmlns:r="http://schemas.openxmlformats.org/officeDocument/2006/relationships" xmlns:p="http://schemas.openxmlformats.org/presentationml/2006/main">
  <p:tag name="AS_UNIQUEID" val="398"/>
</p:tagLst>
</file>

<file path=ppt/tags/tag539.xml><?xml version="1.0" encoding="utf-8"?>
<p:tagLst xmlns:a="http://schemas.openxmlformats.org/drawingml/2006/main" xmlns:r="http://schemas.openxmlformats.org/officeDocument/2006/relationships" xmlns:p="http://schemas.openxmlformats.org/presentationml/2006/main">
  <p:tag name="AS_UNIQUEID" val="400"/>
</p:tagLst>
</file>

<file path=ppt/tags/tag54.xml><?xml version="1.0" encoding="utf-8"?>
<p:tagLst xmlns:a="http://schemas.openxmlformats.org/drawingml/2006/main" xmlns:r="http://schemas.openxmlformats.org/officeDocument/2006/relationships" xmlns:p="http://schemas.openxmlformats.org/presentationml/2006/main">
  <p:tag name="AS_UNIQUEID" val="1764"/>
</p:tagLst>
</file>

<file path=ppt/tags/tag540.xml><?xml version="1.0" encoding="utf-8"?>
<p:tagLst xmlns:a="http://schemas.openxmlformats.org/drawingml/2006/main" xmlns:r="http://schemas.openxmlformats.org/officeDocument/2006/relationships" xmlns:p="http://schemas.openxmlformats.org/presentationml/2006/main">
  <p:tag name="AS_UNIQUEID" val="400"/>
</p:tagLst>
</file>

<file path=ppt/tags/tag541.xml><?xml version="1.0" encoding="utf-8"?>
<p:tagLst xmlns:a="http://schemas.openxmlformats.org/drawingml/2006/main" xmlns:r="http://schemas.openxmlformats.org/officeDocument/2006/relationships" xmlns:p="http://schemas.openxmlformats.org/presentationml/2006/main">
  <p:tag name="AS_UNIQUEID" val="400"/>
</p:tagLst>
</file>

<file path=ppt/tags/tag542.xml><?xml version="1.0" encoding="utf-8"?>
<p:tagLst xmlns:a="http://schemas.openxmlformats.org/drawingml/2006/main" xmlns:r="http://schemas.openxmlformats.org/officeDocument/2006/relationships" xmlns:p="http://schemas.openxmlformats.org/presentationml/2006/main">
  <p:tag name="AS_UNIQUEID" val="400"/>
</p:tagLst>
</file>

<file path=ppt/tags/tag543.xml><?xml version="1.0" encoding="utf-8"?>
<p:tagLst xmlns:a="http://schemas.openxmlformats.org/drawingml/2006/main" xmlns:r="http://schemas.openxmlformats.org/officeDocument/2006/relationships" xmlns:p="http://schemas.openxmlformats.org/presentationml/2006/main">
  <p:tag name="AS_UNIQUEID" val="400"/>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AS_UNIQUEID" val="2449"/>
</p:tagLst>
</file>

<file path=ppt/tags/tag546.xml><?xml version="1.0" encoding="utf-8"?>
<p:tagLst xmlns:a="http://schemas.openxmlformats.org/drawingml/2006/main" xmlns:r="http://schemas.openxmlformats.org/officeDocument/2006/relationships" xmlns:p="http://schemas.openxmlformats.org/presentationml/2006/main">
  <p:tag name="AS_UNIQUEID" val="2450"/>
</p:tagLst>
</file>

<file path=ppt/tags/tag547.xml><?xml version="1.0" encoding="utf-8"?>
<p:tagLst xmlns:a="http://schemas.openxmlformats.org/drawingml/2006/main" xmlns:r="http://schemas.openxmlformats.org/officeDocument/2006/relationships" xmlns:p="http://schemas.openxmlformats.org/presentationml/2006/main">
  <p:tag name="AS_UNIQUEID" val="2452"/>
</p:tagLst>
</file>

<file path=ppt/tags/tag548.xml><?xml version="1.0" encoding="utf-8"?>
<p:tagLst xmlns:a="http://schemas.openxmlformats.org/drawingml/2006/main" xmlns:r="http://schemas.openxmlformats.org/officeDocument/2006/relationships" xmlns:p="http://schemas.openxmlformats.org/presentationml/2006/main">
  <p:tag name="AS_UNIQUEID" val="2453"/>
</p:tagLst>
</file>

<file path=ppt/tags/tag549.xml><?xml version="1.0" encoding="utf-8"?>
<p:tagLst xmlns:a="http://schemas.openxmlformats.org/drawingml/2006/main" xmlns:r="http://schemas.openxmlformats.org/officeDocument/2006/relationships" xmlns:p="http://schemas.openxmlformats.org/presentationml/2006/main">
  <p:tag name="AS_UNIQUEID" val="2454"/>
</p:tagLst>
</file>

<file path=ppt/tags/tag55.xml><?xml version="1.0" encoding="utf-8"?>
<p:tagLst xmlns:a="http://schemas.openxmlformats.org/drawingml/2006/main" xmlns:r="http://schemas.openxmlformats.org/officeDocument/2006/relationships" xmlns:p="http://schemas.openxmlformats.org/presentationml/2006/main">
  <p:tag name="AS_UNIQUEID" val="1765"/>
</p:tagLst>
</file>

<file path=ppt/tags/tag550.xml><?xml version="1.0" encoding="utf-8"?>
<p:tagLst xmlns:a="http://schemas.openxmlformats.org/drawingml/2006/main" xmlns:r="http://schemas.openxmlformats.org/officeDocument/2006/relationships" xmlns:p="http://schemas.openxmlformats.org/presentationml/2006/main">
  <p:tag name="AS_UNIQUEID" val="2455"/>
</p:tagLst>
</file>

<file path=ppt/tags/tag551.xml><?xml version="1.0" encoding="utf-8"?>
<p:tagLst xmlns:a="http://schemas.openxmlformats.org/drawingml/2006/main" xmlns:r="http://schemas.openxmlformats.org/officeDocument/2006/relationships" xmlns:p="http://schemas.openxmlformats.org/presentationml/2006/main">
  <p:tag name="AS_UNIQUEID" val="2456"/>
</p:tagLst>
</file>

<file path=ppt/tags/tag552.xml><?xml version="1.0" encoding="utf-8"?>
<p:tagLst xmlns:a="http://schemas.openxmlformats.org/drawingml/2006/main" xmlns:r="http://schemas.openxmlformats.org/officeDocument/2006/relationships" xmlns:p="http://schemas.openxmlformats.org/presentationml/2006/main">
  <p:tag name="AS_UNIQUEID" val="2457"/>
</p:tagLst>
</file>

<file path=ppt/tags/tag553.xml><?xml version="1.0" encoding="utf-8"?>
<p:tagLst xmlns:a="http://schemas.openxmlformats.org/drawingml/2006/main" xmlns:r="http://schemas.openxmlformats.org/officeDocument/2006/relationships" xmlns:p="http://schemas.openxmlformats.org/presentationml/2006/main">
  <p:tag name="AS_UNIQUEID" val="2470"/>
</p:tagLst>
</file>

<file path=ppt/tags/tag554.xml><?xml version="1.0" encoding="utf-8"?>
<p:tagLst xmlns:a="http://schemas.openxmlformats.org/drawingml/2006/main" xmlns:r="http://schemas.openxmlformats.org/officeDocument/2006/relationships" xmlns:p="http://schemas.openxmlformats.org/presentationml/2006/main">
  <p:tag name="AS_UNIQUEID" val="2479"/>
</p:tagLst>
</file>

<file path=ppt/tags/tag555.xml><?xml version="1.0" encoding="utf-8"?>
<p:tagLst xmlns:a="http://schemas.openxmlformats.org/drawingml/2006/main" xmlns:r="http://schemas.openxmlformats.org/officeDocument/2006/relationships" xmlns:p="http://schemas.openxmlformats.org/presentationml/2006/main">
  <p:tag name="AS_UNIQUEID" val="2482"/>
</p:tagLst>
</file>

<file path=ppt/tags/tag556.xml><?xml version="1.0" encoding="utf-8"?>
<p:tagLst xmlns:a="http://schemas.openxmlformats.org/drawingml/2006/main" xmlns:r="http://schemas.openxmlformats.org/officeDocument/2006/relationships" xmlns:p="http://schemas.openxmlformats.org/presentationml/2006/main">
  <p:tag name="AS_UNIQUEID" val="2485"/>
</p:tagLst>
</file>

<file path=ppt/tags/tag557.xml><?xml version="1.0" encoding="utf-8"?>
<p:tagLst xmlns:a="http://schemas.openxmlformats.org/drawingml/2006/main" xmlns:r="http://schemas.openxmlformats.org/officeDocument/2006/relationships" xmlns:p="http://schemas.openxmlformats.org/presentationml/2006/main">
  <p:tag name="AS_UNIQUEID" val="2488"/>
</p:tagLst>
</file>

<file path=ppt/tags/tag558.xml><?xml version="1.0" encoding="utf-8"?>
<p:tagLst xmlns:a="http://schemas.openxmlformats.org/drawingml/2006/main" xmlns:r="http://schemas.openxmlformats.org/officeDocument/2006/relationships" xmlns:p="http://schemas.openxmlformats.org/presentationml/2006/main">
  <p:tag name="AS_UNIQUEID" val="2491"/>
</p:tagLst>
</file>

<file path=ppt/tags/tag559.xml><?xml version="1.0" encoding="utf-8"?>
<p:tagLst xmlns:a="http://schemas.openxmlformats.org/drawingml/2006/main" xmlns:r="http://schemas.openxmlformats.org/officeDocument/2006/relationships" xmlns:p="http://schemas.openxmlformats.org/presentationml/2006/main">
  <p:tag name="AS_UNIQUEID" val="2492"/>
</p:tagLst>
</file>

<file path=ppt/tags/tag56.xml><?xml version="1.0" encoding="utf-8"?>
<p:tagLst xmlns:a="http://schemas.openxmlformats.org/drawingml/2006/main" xmlns:r="http://schemas.openxmlformats.org/officeDocument/2006/relationships" xmlns:p="http://schemas.openxmlformats.org/presentationml/2006/main">
  <p:tag name="AS_UNIQUEID" val="1767"/>
</p:tagLst>
</file>

<file path=ppt/tags/tag560.xml><?xml version="1.0" encoding="utf-8"?>
<p:tagLst xmlns:a="http://schemas.openxmlformats.org/drawingml/2006/main" xmlns:r="http://schemas.openxmlformats.org/officeDocument/2006/relationships" xmlns:p="http://schemas.openxmlformats.org/presentationml/2006/main">
  <p:tag name="AS_UNIQUEID" val="2502"/>
</p:tagLst>
</file>

<file path=ppt/tags/tag561.xml><?xml version="1.0" encoding="utf-8"?>
<p:tagLst xmlns:a="http://schemas.openxmlformats.org/drawingml/2006/main" xmlns:r="http://schemas.openxmlformats.org/officeDocument/2006/relationships" xmlns:p="http://schemas.openxmlformats.org/presentationml/2006/main">
  <p:tag name="AS_UNIQUEID" val="2509"/>
</p:tagLst>
</file>

<file path=ppt/tags/tag562.xml><?xml version="1.0" encoding="utf-8"?>
<p:tagLst xmlns:a="http://schemas.openxmlformats.org/drawingml/2006/main" xmlns:r="http://schemas.openxmlformats.org/officeDocument/2006/relationships" xmlns:p="http://schemas.openxmlformats.org/presentationml/2006/main">
  <p:tag name="AS_UNIQUEID" val="2519"/>
</p:tagLst>
</file>

<file path=ppt/tags/tag563.xml><?xml version="1.0" encoding="utf-8"?>
<p:tagLst xmlns:a="http://schemas.openxmlformats.org/drawingml/2006/main" xmlns:r="http://schemas.openxmlformats.org/officeDocument/2006/relationships" xmlns:p="http://schemas.openxmlformats.org/presentationml/2006/main">
  <p:tag name="AS_UNIQUEID" val="2548"/>
</p:tagLst>
</file>

<file path=ppt/tags/tag564.xml><?xml version="1.0" encoding="utf-8"?>
<p:tagLst xmlns:a="http://schemas.openxmlformats.org/drawingml/2006/main" xmlns:r="http://schemas.openxmlformats.org/officeDocument/2006/relationships" xmlns:p="http://schemas.openxmlformats.org/presentationml/2006/main">
  <p:tag name="AS_UNIQUEID" val="2520"/>
</p:tagLst>
</file>

<file path=ppt/tags/tag565.xml><?xml version="1.0" encoding="utf-8"?>
<p:tagLst xmlns:a="http://schemas.openxmlformats.org/drawingml/2006/main" xmlns:r="http://schemas.openxmlformats.org/officeDocument/2006/relationships" xmlns:p="http://schemas.openxmlformats.org/presentationml/2006/main">
  <p:tag name="AS_UNIQUEID" val="2529"/>
</p:tagLst>
</file>

<file path=ppt/tags/tag566.xml><?xml version="1.0" encoding="utf-8"?>
<p:tagLst xmlns:a="http://schemas.openxmlformats.org/drawingml/2006/main" xmlns:r="http://schemas.openxmlformats.org/officeDocument/2006/relationships" xmlns:p="http://schemas.openxmlformats.org/presentationml/2006/main">
  <p:tag name="AS_UNIQUEID" val="2538"/>
</p:tagLst>
</file>

<file path=ppt/tags/tag567.xml><?xml version="1.0" encoding="utf-8"?>
<p:tagLst xmlns:a="http://schemas.openxmlformats.org/drawingml/2006/main" xmlns:r="http://schemas.openxmlformats.org/officeDocument/2006/relationships" xmlns:p="http://schemas.openxmlformats.org/presentationml/2006/main">
  <p:tag name="AS_UNIQUEID" val="2539"/>
</p:tagLst>
</file>

<file path=ppt/tags/tag568.xml><?xml version="1.0" encoding="utf-8"?>
<p:tagLst xmlns:a="http://schemas.openxmlformats.org/drawingml/2006/main" xmlns:r="http://schemas.openxmlformats.org/officeDocument/2006/relationships" xmlns:p="http://schemas.openxmlformats.org/presentationml/2006/main">
  <p:tag name="AS_UNIQUEID" val="2540"/>
</p:tagLst>
</file>

<file path=ppt/tags/tag569.xml><?xml version="1.0" encoding="utf-8"?>
<p:tagLst xmlns:a="http://schemas.openxmlformats.org/drawingml/2006/main" xmlns:r="http://schemas.openxmlformats.org/officeDocument/2006/relationships" xmlns:p="http://schemas.openxmlformats.org/presentationml/2006/main">
  <p:tag name="AS_UNIQUEID" val="2541"/>
</p:tagLst>
</file>

<file path=ppt/tags/tag57.xml><?xml version="1.0" encoding="utf-8"?>
<p:tagLst xmlns:a="http://schemas.openxmlformats.org/drawingml/2006/main" xmlns:r="http://schemas.openxmlformats.org/officeDocument/2006/relationships" xmlns:p="http://schemas.openxmlformats.org/presentationml/2006/main">
  <p:tag name="AS_UNIQUEID" val="1768"/>
</p:tagLst>
</file>

<file path=ppt/tags/tag570.xml><?xml version="1.0" encoding="utf-8"?>
<p:tagLst xmlns:a="http://schemas.openxmlformats.org/drawingml/2006/main" xmlns:r="http://schemas.openxmlformats.org/officeDocument/2006/relationships" xmlns:p="http://schemas.openxmlformats.org/presentationml/2006/main">
  <p:tag name="AS_UNIQUEID" val="2542"/>
</p:tagLst>
</file>

<file path=ppt/tags/tag571.xml><?xml version="1.0" encoding="utf-8"?>
<p:tagLst xmlns:a="http://schemas.openxmlformats.org/drawingml/2006/main" xmlns:r="http://schemas.openxmlformats.org/officeDocument/2006/relationships" xmlns:p="http://schemas.openxmlformats.org/presentationml/2006/main">
  <p:tag name="AS_UNIQUEID" val="2530"/>
</p:tagLst>
</file>

<file path=ppt/tags/tag572.xml><?xml version="1.0" encoding="utf-8"?>
<p:tagLst xmlns:a="http://schemas.openxmlformats.org/drawingml/2006/main" xmlns:r="http://schemas.openxmlformats.org/officeDocument/2006/relationships" xmlns:p="http://schemas.openxmlformats.org/presentationml/2006/main">
  <p:tag name="AS_UNIQUEID" val="2534"/>
</p:tagLst>
</file>

<file path=ppt/tags/tag573.xml><?xml version="1.0" encoding="utf-8"?>
<p:tagLst xmlns:a="http://schemas.openxmlformats.org/drawingml/2006/main" xmlns:r="http://schemas.openxmlformats.org/officeDocument/2006/relationships" xmlns:p="http://schemas.openxmlformats.org/presentationml/2006/main">
  <p:tag name="AS_UNIQUEID" val="2535"/>
</p:tagLst>
</file>

<file path=ppt/tags/tag574.xml><?xml version="1.0" encoding="utf-8"?>
<p:tagLst xmlns:a="http://schemas.openxmlformats.org/drawingml/2006/main" xmlns:r="http://schemas.openxmlformats.org/officeDocument/2006/relationships" xmlns:p="http://schemas.openxmlformats.org/presentationml/2006/main">
  <p:tag name="AS_UNIQUEID" val="2536"/>
</p:tagLst>
</file>

<file path=ppt/tags/tag575.xml><?xml version="1.0" encoding="utf-8"?>
<p:tagLst xmlns:a="http://schemas.openxmlformats.org/drawingml/2006/main" xmlns:r="http://schemas.openxmlformats.org/officeDocument/2006/relationships" xmlns:p="http://schemas.openxmlformats.org/presentationml/2006/main">
  <p:tag name="AS_UNIQUEID" val="2537"/>
</p:tagLst>
</file>

<file path=ppt/tags/tag576.xml><?xml version="1.0" encoding="utf-8"?>
<p:tagLst xmlns:a="http://schemas.openxmlformats.org/drawingml/2006/main" xmlns:r="http://schemas.openxmlformats.org/officeDocument/2006/relationships" xmlns:p="http://schemas.openxmlformats.org/presentationml/2006/main">
  <p:tag name="AS_UNIQUEID" val="2531"/>
</p:tagLst>
</file>

<file path=ppt/tags/tag577.xml><?xml version="1.0" encoding="utf-8"?>
<p:tagLst xmlns:a="http://schemas.openxmlformats.org/drawingml/2006/main" xmlns:r="http://schemas.openxmlformats.org/officeDocument/2006/relationships" xmlns:p="http://schemas.openxmlformats.org/presentationml/2006/main">
  <p:tag name="AS_UNIQUEID" val="2532"/>
</p:tagLst>
</file>

<file path=ppt/tags/tag578.xml><?xml version="1.0" encoding="utf-8"?>
<p:tagLst xmlns:a="http://schemas.openxmlformats.org/drawingml/2006/main" xmlns:r="http://schemas.openxmlformats.org/officeDocument/2006/relationships" xmlns:p="http://schemas.openxmlformats.org/presentationml/2006/main">
  <p:tag name="AS_UNIQUEID" val="2533"/>
</p:tagLst>
</file>

<file path=ppt/tags/tag579.xml><?xml version="1.0" encoding="utf-8"?>
<p:tagLst xmlns:a="http://schemas.openxmlformats.org/drawingml/2006/main" xmlns:r="http://schemas.openxmlformats.org/officeDocument/2006/relationships" xmlns:p="http://schemas.openxmlformats.org/presentationml/2006/main">
  <p:tag name="AS_UNIQUEID" val="2521"/>
</p:tagLst>
</file>

<file path=ppt/tags/tag58.xml><?xml version="1.0" encoding="utf-8"?>
<p:tagLst xmlns:a="http://schemas.openxmlformats.org/drawingml/2006/main" xmlns:r="http://schemas.openxmlformats.org/officeDocument/2006/relationships" xmlns:p="http://schemas.openxmlformats.org/presentationml/2006/main">
  <p:tag name="AS_UNIQUEID" val="1769"/>
</p:tagLst>
</file>

<file path=ppt/tags/tag580.xml><?xml version="1.0" encoding="utf-8"?>
<p:tagLst xmlns:a="http://schemas.openxmlformats.org/drawingml/2006/main" xmlns:r="http://schemas.openxmlformats.org/officeDocument/2006/relationships" xmlns:p="http://schemas.openxmlformats.org/presentationml/2006/main">
  <p:tag name="AS_UNIQUEID" val="2525"/>
</p:tagLst>
</file>

<file path=ppt/tags/tag581.xml><?xml version="1.0" encoding="utf-8"?>
<p:tagLst xmlns:a="http://schemas.openxmlformats.org/drawingml/2006/main" xmlns:r="http://schemas.openxmlformats.org/officeDocument/2006/relationships" xmlns:p="http://schemas.openxmlformats.org/presentationml/2006/main">
  <p:tag name="AS_UNIQUEID" val="2526"/>
</p:tagLst>
</file>

<file path=ppt/tags/tag582.xml><?xml version="1.0" encoding="utf-8"?>
<p:tagLst xmlns:a="http://schemas.openxmlformats.org/drawingml/2006/main" xmlns:r="http://schemas.openxmlformats.org/officeDocument/2006/relationships" xmlns:p="http://schemas.openxmlformats.org/presentationml/2006/main">
  <p:tag name="AS_UNIQUEID" val="2527"/>
</p:tagLst>
</file>

<file path=ppt/tags/tag583.xml><?xml version="1.0" encoding="utf-8"?>
<p:tagLst xmlns:a="http://schemas.openxmlformats.org/drawingml/2006/main" xmlns:r="http://schemas.openxmlformats.org/officeDocument/2006/relationships" xmlns:p="http://schemas.openxmlformats.org/presentationml/2006/main">
  <p:tag name="AS_UNIQUEID" val="2528"/>
</p:tagLst>
</file>

<file path=ppt/tags/tag584.xml><?xml version="1.0" encoding="utf-8"?>
<p:tagLst xmlns:a="http://schemas.openxmlformats.org/drawingml/2006/main" xmlns:r="http://schemas.openxmlformats.org/officeDocument/2006/relationships" xmlns:p="http://schemas.openxmlformats.org/presentationml/2006/main">
  <p:tag name="AS_UNIQUEID" val="2522"/>
</p:tagLst>
</file>

<file path=ppt/tags/tag585.xml><?xml version="1.0" encoding="utf-8"?>
<p:tagLst xmlns:a="http://schemas.openxmlformats.org/drawingml/2006/main" xmlns:r="http://schemas.openxmlformats.org/officeDocument/2006/relationships" xmlns:p="http://schemas.openxmlformats.org/presentationml/2006/main">
  <p:tag name="AS_UNIQUEID" val="2523"/>
</p:tagLst>
</file>

<file path=ppt/tags/tag586.xml><?xml version="1.0" encoding="utf-8"?>
<p:tagLst xmlns:a="http://schemas.openxmlformats.org/drawingml/2006/main" xmlns:r="http://schemas.openxmlformats.org/officeDocument/2006/relationships" xmlns:p="http://schemas.openxmlformats.org/presentationml/2006/main">
  <p:tag name="AS_UNIQUEID" val="2524"/>
</p:tagLst>
</file>

<file path=ppt/tags/tag587.xml><?xml version="1.0" encoding="utf-8"?>
<p:tagLst xmlns:a="http://schemas.openxmlformats.org/drawingml/2006/main" xmlns:r="http://schemas.openxmlformats.org/officeDocument/2006/relationships" xmlns:p="http://schemas.openxmlformats.org/presentationml/2006/main">
  <p:tag name="AS_UNIQUEID" val="2510"/>
</p:tagLst>
</file>

<file path=ppt/tags/tag588.xml><?xml version="1.0" encoding="utf-8"?>
<p:tagLst xmlns:a="http://schemas.openxmlformats.org/drawingml/2006/main" xmlns:r="http://schemas.openxmlformats.org/officeDocument/2006/relationships" xmlns:p="http://schemas.openxmlformats.org/presentationml/2006/main">
  <p:tag name="AS_UNIQUEID" val="2513"/>
</p:tagLst>
</file>

<file path=ppt/tags/tag589.xml><?xml version="1.0" encoding="utf-8"?>
<p:tagLst xmlns:a="http://schemas.openxmlformats.org/drawingml/2006/main" xmlns:r="http://schemas.openxmlformats.org/officeDocument/2006/relationships" xmlns:p="http://schemas.openxmlformats.org/presentationml/2006/main">
  <p:tag name="AS_UNIQUEID" val="2516"/>
</p:tagLst>
</file>

<file path=ppt/tags/tag59.xml><?xml version="1.0" encoding="utf-8"?>
<p:tagLst xmlns:a="http://schemas.openxmlformats.org/drawingml/2006/main" xmlns:r="http://schemas.openxmlformats.org/officeDocument/2006/relationships" xmlns:p="http://schemas.openxmlformats.org/presentationml/2006/main">
  <p:tag name="AS_UNIQUEID" val="1770"/>
</p:tagLst>
</file>

<file path=ppt/tags/tag590.xml><?xml version="1.0" encoding="utf-8"?>
<p:tagLst xmlns:a="http://schemas.openxmlformats.org/drawingml/2006/main" xmlns:r="http://schemas.openxmlformats.org/officeDocument/2006/relationships" xmlns:p="http://schemas.openxmlformats.org/presentationml/2006/main">
  <p:tag name="AS_UNIQUEID" val="2517"/>
</p:tagLst>
</file>

<file path=ppt/tags/tag591.xml><?xml version="1.0" encoding="utf-8"?>
<p:tagLst xmlns:a="http://schemas.openxmlformats.org/drawingml/2006/main" xmlns:r="http://schemas.openxmlformats.org/officeDocument/2006/relationships" xmlns:p="http://schemas.openxmlformats.org/presentationml/2006/main">
  <p:tag name="AS_UNIQUEID" val="2518"/>
</p:tagLst>
</file>

<file path=ppt/tags/tag592.xml><?xml version="1.0" encoding="utf-8"?>
<p:tagLst xmlns:a="http://schemas.openxmlformats.org/drawingml/2006/main" xmlns:r="http://schemas.openxmlformats.org/officeDocument/2006/relationships" xmlns:p="http://schemas.openxmlformats.org/presentationml/2006/main">
  <p:tag name="AS_UNIQUEID" val="2514"/>
</p:tagLst>
</file>

<file path=ppt/tags/tag593.xml><?xml version="1.0" encoding="utf-8"?>
<p:tagLst xmlns:a="http://schemas.openxmlformats.org/drawingml/2006/main" xmlns:r="http://schemas.openxmlformats.org/officeDocument/2006/relationships" xmlns:p="http://schemas.openxmlformats.org/presentationml/2006/main">
  <p:tag name="AS_UNIQUEID" val="2515"/>
</p:tagLst>
</file>

<file path=ppt/tags/tag594.xml><?xml version="1.0" encoding="utf-8"?>
<p:tagLst xmlns:a="http://schemas.openxmlformats.org/drawingml/2006/main" xmlns:r="http://schemas.openxmlformats.org/officeDocument/2006/relationships" xmlns:p="http://schemas.openxmlformats.org/presentationml/2006/main">
  <p:tag name="AS_UNIQUEID" val="2511"/>
</p:tagLst>
</file>

<file path=ppt/tags/tag595.xml><?xml version="1.0" encoding="utf-8"?>
<p:tagLst xmlns:a="http://schemas.openxmlformats.org/drawingml/2006/main" xmlns:r="http://schemas.openxmlformats.org/officeDocument/2006/relationships" xmlns:p="http://schemas.openxmlformats.org/presentationml/2006/main">
  <p:tag name="AS_UNIQUEID" val="2512"/>
</p:tagLst>
</file>

<file path=ppt/tags/tag596.xml><?xml version="1.0" encoding="utf-8"?>
<p:tagLst xmlns:a="http://schemas.openxmlformats.org/drawingml/2006/main" xmlns:r="http://schemas.openxmlformats.org/officeDocument/2006/relationships" xmlns:p="http://schemas.openxmlformats.org/presentationml/2006/main">
  <p:tag name="AS_UNIQUEID" val="2503"/>
</p:tagLst>
</file>

<file path=ppt/tags/tag597.xml><?xml version="1.0" encoding="utf-8"?>
<p:tagLst xmlns:a="http://schemas.openxmlformats.org/drawingml/2006/main" xmlns:r="http://schemas.openxmlformats.org/officeDocument/2006/relationships" xmlns:p="http://schemas.openxmlformats.org/presentationml/2006/main">
  <p:tag name="AS_UNIQUEID" val="2506"/>
</p:tagLst>
</file>

<file path=ppt/tags/tag598.xml><?xml version="1.0" encoding="utf-8"?>
<p:tagLst xmlns:a="http://schemas.openxmlformats.org/drawingml/2006/main" xmlns:r="http://schemas.openxmlformats.org/officeDocument/2006/relationships" xmlns:p="http://schemas.openxmlformats.org/presentationml/2006/main">
  <p:tag name="AS_UNIQUEID" val="2507"/>
</p:tagLst>
</file>

<file path=ppt/tags/tag599.xml><?xml version="1.0" encoding="utf-8"?>
<p:tagLst xmlns:a="http://schemas.openxmlformats.org/drawingml/2006/main" xmlns:r="http://schemas.openxmlformats.org/officeDocument/2006/relationships" xmlns:p="http://schemas.openxmlformats.org/presentationml/2006/main">
  <p:tag name="AS_UNIQUEID" val="2508"/>
</p:tagLst>
</file>

<file path=ppt/tags/tag6.xml><?xml version="1.0" encoding="utf-8"?>
<p:tagLst xmlns:a="http://schemas.openxmlformats.org/drawingml/2006/main" xmlns:r="http://schemas.openxmlformats.org/officeDocument/2006/relationships" xmlns:p="http://schemas.openxmlformats.org/presentationml/2006/main">
  <p:tag name="AS_UNIQUEID" val="1809"/>
</p:tagLst>
</file>

<file path=ppt/tags/tag60.xml><?xml version="1.0" encoding="utf-8"?>
<p:tagLst xmlns:a="http://schemas.openxmlformats.org/drawingml/2006/main" xmlns:r="http://schemas.openxmlformats.org/officeDocument/2006/relationships" xmlns:p="http://schemas.openxmlformats.org/presentationml/2006/main">
  <p:tag name="AS_UNIQUEID" val="1771"/>
</p:tagLst>
</file>

<file path=ppt/tags/tag600.xml><?xml version="1.0" encoding="utf-8"?>
<p:tagLst xmlns:a="http://schemas.openxmlformats.org/drawingml/2006/main" xmlns:r="http://schemas.openxmlformats.org/officeDocument/2006/relationships" xmlns:p="http://schemas.openxmlformats.org/presentationml/2006/main">
  <p:tag name="AS_UNIQUEID" val="2504"/>
</p:tagLst>
</file>

<file path=ppt/tags/tag601.xml><?xml version="1.0" encoding="utf-8"?>
<p:tagLst xmlns:a="http://schemas.openxmlformats.org/drawingml/2006/main" xmlns:r="http://schemas.openxmlformats.org/officeDocument/2006/relationships" xmlns:p="http://schemas.openxmlformats.org/presentationml/2006/main">
  <p:tag name="AS_UNIQUEID" val="2505"/>
</p:tagLst>
</file>

<file path=ppt/tags/tag602.xml><?xml version="1.0" encoding="utf-8"?>
<p:tagLst xmlns:a="http://schemas.openxmlformats.org/drawingml/2006/main" xmlns:r="http://schemas.openxmlformats.org/officeDocument/2006/relationships" xmlns:p="http://schemas.openxmlformats.org/presentationml/2006/main">
  <p:tag name="AS_UNIQUEID" val="2493"/>
</p:tagLst>
</file>

<file path=ppt/tags/tag603.xml><?xml version="1.0" encoding="utf-8"?>
<p:tagLst xmlns:a="http://schemas.openxmlformats.org/drawingml/2006/main" xmlns:r="http://schemas.openxmlformats.org/officeDocument/2006/relationships" xmlns:p="http://schemas.openxmlformats.org/presentationml/2006/main">
  <p:tag name="AS_UNIQUEID" val="2496"/>
</p:tagLst>
</file>

<file path=ppt/tags/tag604.xml><?xml version="1.0" encoding="utf-8"?>
<p:tagLst xmlns:a="http://schemas.openxmlformats.org/drawingml/2006/main" xmlns:r="http://schemas.openxmlformats.org/officeDocument/2006/relationships" xmlns:p="http://schemas.openxmlformats.org/presentationml/2006/main">
  <p:tag name="AS_UNIQUEID" val="2499"/>
</p:tagLst>
</file>

<file path=ppt/tags/tag605.xml><?xml version="1.0" encoding="utf-8"?>
<p:tagLst xmlns:a="http://schemas.openxmlformats.org/drawingml/2006/main" xmlns:r="http://schemas.openxmlformats.org/officeDocument/2006/relationships" xmlns:p="http://schemas.openxmlformats.org/presentationml/2006/main">
  <p:tag name="AS_UNIQUEID" val="2500"/>
</p:tagLst>
</file>

<file path=ppt/tags/tag606.xml><?xml version="1.0" encoding="utf-8"?>
<p:tagLst xmlns:a="http://schemas.openxmlformats.org/drawingml/2006/main" xmlns:r="http://schemas.openxmlformats.org/officeDocument/2006/relationships" xmlns:p="http://schemas.openxmlformats.org/presentationml/2006/main">
  <p:tag name="AS_UNIQUEID" val="2501"/>
</p:tagLst>
</file>

<file path=ppt/tags/tag607.xml><?xml version="1.0" encoding="utf-8"?>
<p:tagLst xmlns:a="http://schemas.openxmlformats.org/drawingml/2006/main" xmlns:r="http://schemas.openxmlformats.org/officeDocument/2006/relationships" xmlns:p="http://schemas.openxmlformats.org/presentationml/2006/main">
  <p:tag name="AS_UNIQUEID" val="2497"/>
</p:tagLst>
</file>

<file path=ppt/tags/tag608.xml><?xml version="1.0" encoding="utf-8"?>
<p:tagLst xmlns:a="http://schemas.openxmlformats.org/drawingml/2006/main" xmlns:r="http://schemas.openxmlformats.org/officeDocument/2006/relationships" xmlns:p="http://schemas.openxmlformats.org/presentationml/2006/main">
  <p:tag name="AS_UNIQUEID" val="2498"/>
</p:tagLst>
</file>

<file path=ppt/tags/tag609.xml><?xml version="1.0" encoding="utf-8"?>
<p:tagLst xmlns:a="http://schemas.openxmlformats.org/drawingml/2006/main" xmlns:r="http://schemas.openxmlformats.org/officeDocument/2006/relationships" xmlns:p="http://schemas.openxmlformats.org/presentationml/2006/main">
  <p:tag name="AS_UNIQUEID" val="2494"/>
</p:tagLst>
</file>

<file path=ppt/tags/tag61.xml><?xml version="1.0" encoding="utf-8"?>
<p:tagLst xmlns:a="http://schemas.openxmlformats.org/drawingml/2006/main" xmlns:r="http://schemas.openxmlformats.org/officeDocument/2006/relationships" xmlns:p="http://schemas.openxmlformats.org/presentationml/2006/main">
  <p:tag name="AS_UNIQUEID" val="1773"/>
</p:tagLst>
</file>

<file path=ppt/tags/tag610.xml><?xml version="1.0" encoding="utf-8"?>
<p:tagLst xmlns:a="http://schemas.openxmlformats.org/drawingml/2006/main" xmlns:r="http://schemas.openxmlformats.org/officeDocument/2006/relationships" xmlns:p="http://schemas.openxmlformats.org/presentationml/2006/main">
  <p:tag name="AS_UNIQUEID" val="2495"/>
</p:tagLst>
</file>

<file path=ppt/tags/tag611.xml><?xml version="1.0" encoding="utf-8"?>
<p:tagLst xmlns:a="http://schemas.openxmlformats.org/drawingml/2006/main" xmlns:r="http://schemas.openxmlformats.org/officeDocument/2006/relationships" xmlns:p="http://schemas.openxmlformats.org/presentationml/2006/main">
  <p:tag name="AS_UNIQUEID" val="2489"/>
</p:tagLst>
</file>

<file path=ppt/tags/tag612.xml><?xml version="1.0" encoding="utf-8"?>
<p:tagLst xmlns:a="http://schemas.openxmlformats.org/drawingml/2006/main" xmlns:r="http://schemas.openxmlformats.org/officeDocument/2006/relationships" xmlns:p="http://schemas.openxmlformats.org/presentationml/2006/main">
  <p:tag name="AS_UNIQUEID" val="2490"/>
</p:tagLst>
</file>

<file path=ppt/tags/tag613.xml><?xml version="1.0" encoding="utf-8"?>
<p:tagLst xmlns:a="http://schemas.openxmlformats.org/drawingml/2006/main" xmlns:r="http://schemas.openxmlformats.org/officeDocument/2006/relationships" xmlns:p="http://schemas.openxmlformats.org/presentationml/2006/main">
  <p:tag name="AS_UNIQUEID" val="2486"/>
</p:tagLst>
</file>

<file path=ppt/tags/tag614.xml><?xml version="1.0" encoding="utf-8"?>
<p:tagLst xmlns:a="http://schemas.openxmlformats.org/drawingml/2006/main" xmlns:r="http://schemas.openxmlformats.org/officeDocument/2006/relationships" xmlns:p="http://schemas.openxmlformats.org/presentationml/2006/main">
  <p:tag name="AS_UNIQUEID" val="2487"/>
</p:tagLst>
</file>

<file path=ppt/tags/tag615.xml><?xml version="1.0" encoding="utf-8"?>
<p:tagLst xmlns:a="http://schemas.openxmlformats.org/drawingml/2006/main" xmlns:r="http://schemas.openxmlformats.org/officeDocument/2006/relationships" xmlns:p="http://schemas.openxmlformats.org/presentationml/2006/main">
  <p:tag name="AS_UNIQUEID" val="2483"/>
</p:tagLst>
</file>

<file path=ppt/tags/tag616.xml><?xml version="1.0" encoding="utf-8"?>
<p:tagLst xmlns:a="http://schemas.openxmlformats.org/drawingml/2006/main" xmlns:r="http://schemas.openxmlformats.org/officeDocument/2006/relationships" xmlns:p="http://schemas.openxmlformats.org/presentationml/2006/main">
  <p:tag name="AS_UNIQUEID" val="2484"/>
</p:tagLst>
</file>

<file path=ppt/tags/tag617.xml><?xml version="1.0" encoding="utf-8"?>
<p:tagLst xmlns:a="http://schemas.openxmlformats.org/drawingml/2006/main" xmlns:r="http://schemas.openxmlformats.org/officeDocument/2006/relationships" xmlns:p="http://schemas.openxmlformats.org/presentationml/2006/main">
  <p:tag name="AS_UNIQUEID" val="2480"/>
</p:tagLst>
</file>

<file path=ppt/tags/tag618.xml><?xml version="1.0" encoding="utf-8"?>
<p:tagLst xmlns:a="http://schemas.openxmlformats.org/drawingml/2006/main" xmlns:r="http://schemas.openxmlformats.org/officeDocument/2006/relationships" xmlns:p="http://schemas.openxmlformats.org/presentationml/2006/main">
  <p:tag name="AS_UNIQUEID" val="2481"/>
</p:tagLst>
</file>

<file path=ppt/tags/tag619.xml><?xml version="1.0" encoding="utf-8"?>
<p:tagLst xmlns:a="http://schemas.openxmlformats.org/drawingml/2006/main" xmlns:r="http://schemas.openxmlformats.org/officeDocument/2006/relationships" xmlns:p="http://schemas.openxmlformats.org/presentationml/2006/main">
  <p:tag name="AS_UNIQUEID" val="2471"/>
</p:tagLst>
</file>

<file path=ppt/tags/tag62.xml><?xml version="1.0" encoding="utf-8"?>
<p:tagLst xmlns:a="http://schemas.openxmlformats.org/drawingml/2006/main" xmlns:r="http://schemas.openxmlformats.org/officeDocument/2006/relationships" xmlns:p="http://schemas.openxmlformats.org/presentationml/2006/main">
  <p:tag name="AS_UNIQUEID" val="1774"/>
</p:tagLst>
</file>

<file path=ppt/tags/tag620.xml><?xml version="1.0" encoding="utf-8"?>
<p:tagLst xmlns:a="http://schemas.openxmlformats.org/drawingml/2006/main" xmlns:r="http://schemas.openxmlformats.org/officeDocument/2006/relationships" xmlns:p="http://schemas.openxmlformats.org/presentationml/2006/main">
  <p:tag name="AS_UNIQUEID" val="2472"/>
</p:tagLst>
</file>

<file path=ppt/tags/tag621.xml><?xml version="1.0" encoding="utf-8"?>
<p:tagLst xmlns:a="http://schemas.openxmlformats.org/drawingml/2006/main" xmlns:r="http://schemas.openxmlformats.org/officeDocument/2006/relationships" xmlns:p="http://schemas.openxmlformats.org/presentationml/2006/main">
  <p:tag name="AS_UNIQUEID" val="2473"/>
</p:tagLst>
</file>

<file path=ppt/tags/tag622.xml><?xml version="1.0" encoding="utf-8"?>
<p:tagLst xmlns:a="http://schemas.openxmlformats.org/drawingml/2006/main" xmlns:r="http://schemas.openxmlformats.org/officeDocument/2006/relationships" xmlns:p="http://schemas.openxmlformats.org/presentationml/2006/main">
  <p:tag name="AS_UNIQUEID" val="2474"/>
</p:tagLst>
</file>

<file path=ppt/tags/tag623.xml><?xml version="1.0" encoding="utf-8"?>
<p:tagLst xmlns:a="http://schemas.openxmlformats.org/drawingml/2006/main" xmlns:r="http://schemas.openxmlformats.org/officeDocument/2006/relationships" xmlns:p="http://schemas.openxmlformats.org/presentationml/2006/main">
  <p:tag name="AS_UNIQUEID" val="2475"/>
</p:tagLst>
</file>

<file path=ppt/tags/tag624.xml><?xml version="1.0" encoding="utf-8"?>
<p:tagLst xmlns:a="http://schemas.openxmlformats.org/drawingml/2006/main" xmlns:r="http://schemas.openxmlformats.org/officeDocument/2006/relationships" xmlns:p="http://schemas.openxmlformats.org/presentationml/2006/main">
  <p:tag name="AS_UNIQUEID" val="2476"/>
</p:tagLst>
</file>

<file path=ppt/tags/tag625.xml><?xml version="1.0" encoding="utf-8"?>
<p:tagLst xmlns:a="http://schemas.openxmlformats.org/drawingml/2006/main" xmlns:r="http://schemas.openxmlformats.org/officeDocument/2006/relationships" xmlns:p="http://schemas.openxmlformats.org/presentationml/2006/main">
  <p:tag name="AS_UNIQUEID" val="2477"/>
</p:tagLst>
</file>

<file path=ppt/tags/tag626.xml><?xml version="1.0" encoding="utf-8"?>
<p:tagLst xmlns:a="http://schemas.openxmlformats.org/drawingml/2006/main" xmlns:r="http://schemas.openxmlformats.org/officeDocument/2006/relationships" xmlns:p="http://schemas.openxmlformats.org/presentationml/2006/main">
  <p:tag name="AS_UNIQUEID" val="2478"/>
</p:tagLst>
</file>

<file path=ppt/tags/tag627.xml><?xml version="1.0" encoding="utf-8"?>
<p:tagLst xmlns:a="http://schemas.openxmlformats.org/drawingml/2006/main" xmlns:r="http://schemas.openxmlformats.org/officeDocument/2006/relationships" xmlns:p="http://schemas.openxmlformats.org/presentationml/2006/main">
  <p:tag name="AS_UNIQUEID" val="2458"/>
</p:tagLst>
</file>

<file path=ppt/tags/tag628.xml><?xml version="1.0" encoding="utf-8"?>
<p:tagLst xmlns:a="http://schemas.openxmlformats.org/drawingml/2006/main" xmlns:r="http://schemas.openxmlformats.org/officeDocument/2006/relationships" xmlns:p="http://schemas.openxmlformats.org/presentationml/2006/main">
  <p:tag name="AS_UNIQUEID" val="2459"/>
</p:tagLst>
</file>

<file path=ppt/tags/tag629.xml><?xml version="1.0" encoding="utf-8"?>
<p:tagLst xmlns:a="http://schemas.openxmlformats.org/drawingml/2006/main" xmlns:r="http://schemas.openxmlformats.org/officeDocument/2006/relationships" xmlns:p="http://schemas.openxmlformats.org/presentationml/2006/main">
  <p:tag name="AS_UNIQUEID" val="2460"/>
</p:tagLst>
</file>

<file path=ppt/tags/tag63.xml><?xml version="1.0" encoding="utf-8"?>
<p:tagLst xmlns:a="http://schemas.openxmlformats.org/drawingml/2006/main" xmlns:r="http://schemas.openxmlformats.org/officeDocument/2006/relationships" xmlns:p="http://schemas.openxmlformats.org/presentationml/2006/main">
  <p:tag name="AS_UNIQUEID" val="1775"/>
</p:tagLst>
</file>

<file path=ppt/tags/tag630.xml><?xml version="1.0" encoding="utf-8"?>
<p:tagLst xmlns:a="http://schemas.openxmlformats.org/drawingml/2006/main" xmlns:r="http://schemas.openxmlformats.org/officeDocument/2006/relationships" xmlns:p="http://schemas.openxmlformats.org/presentationml/2006/main">
  <p:tag name="AS_UNIQUEID" val="2461"/>
</p:tagLst>
</file>

<file path=ppt/tags/tag631.xml><?xml version="1.0" encoding="utf-8"?>
<p:tagLst xmlns:a="http://schemas.openxmlformats.org/drawingml/2006/main" xmlns:r="http://schemas.openxmlformats.org/officeDocument/2006/relationships" xmlns:p="http://schemas.openxmlformats.org/presentationml/2006/main">
  <p:tag name="AS_UNIQUEID" val="2462"/>
</p:tagLst>
</file>

<file path=ppt/tags/tag632.xml><?xml version="1.0" encoding="utf-8"?>
<p:tagLst xmlns:a="http://schemas.openxmlformats.org/drawingml/2006/main" xmlns:r="http://schemas.openxmlformats.org/officeDocument/2006/relationships" xmlns:p="http://schemas.openxmlformats.org/presentationml/2006/main">
  <p:tag name="AS_UNIQUEID" val="2463"/>
</p:tagLst>
</file>

<file path=ppt/tags/tag633.xml><?xml version="1.0" encoding="utf-8"?>
<p:tagLst xmlns:a="http://schemas.openxmlformats.org/drawingml/2006/main" xmlns:r="http://schemas.openxmlformats.org/officeDocument/2006/relationships" xmlns:p="http://schemas.openxmlformats.org/presentationml/2006/main">
  <p:tag name="AS_UNIQUEID" val="2464"/>
</p:tagLst>
</file>

<file path=ppt/tags/tag634.xml><?xml version="1.0" encoding="utf-8"?>
<p:tagLst xmlns:a="http://schemas.openxmlformats.org/drawingml/2006/main" xmlns:r="http://schemas.openxmlformats.org/officeDocument/2006/relationships" xmlns:p="http://schemas.openxmlformats.org/presentationml/2006/main">
  <p:tag name="AS_UNIQUEID" val="2465"/>
</p:tagLst>
</file>

<file path=ppt/tags/tag635.xml><?xml version="1.0" encoding="utf-8"?>
<p:tagLst xmlns:a="http://schemas.openxmlformats.org/drawingml/2006/main" xmlns:r="http://schemas.openxmlformats.org/officeDocument/2006/relationships" xmlns:p="http://schemas.openxmlformats.org/presentationml/2006/main">
  <p:tag name="AS_UNIQUEID" val="2466"/>
</p:tagLst>
</file>

<file path=ppt/tags/tag636.xml><?xml version="1.0" encoding="utf-8"?>
<p:tagLst xmlns:a="http://schemas.openxmlformats.org/drawingml/2006/main" xmlns:r="http://schemas.openxmlformats.org/officeDocument/2006/relationships" xmlns:p="http://schemas.openxmlformats.org/presentationml/2006/main">
  <p:tag name="AS_UNIQUEID" val="2467"/>
</p:tagLst>
</file>

<file path=ppt/tags/tag637.xml><?xml version="1.0" encoding="utf-8"?>
<p:tagLst xmlns:a="http://schemas.openxmlformats.org/drawingml/2006/main" xmlns:r="http://schemas.openxmlformats.org/officeDocument/2006/relationships" xmlns:p="http://schemas.openxmlformats.org/presentationml/2006/main">
  <p:tag name="AS_UNIQUEID" val="2468"/>
</p:tagLst>
</file>

<file path=ppt/tags/tag638.xml><?xml version="1.0" encoding="utf-8"?>
<p:tagLst xmlns:a="http://schemas.openxmlformats.org/drawingml/2006/main" xmlns:r="http://schemas.openxmlformats.org/officeDocument/2006/relationships" xmlns:p="http://schemas.openxmlformats.org/presentationml/2006/main">
  <p:tag name="AS_UNIQUEID" val="2469"/>
</p:tagLst>
</file>

<file path=ppt/tags/tag639.xml><?xml version="1.0" encoding="utf-8"?>
<p:tagLst xmlns:a="http://schemas.openxmlformats.org/drawingml/2006/main" xmlns:r="http://schemas.openxmlformats.org/officeDocument/2006/relationships" xmlns:p="http://schemas.openxmlformats.org/presentationml/2006/main">
  <p:tag name="AS_UNIQUEID" val="2550"/>
</p:tagLst>
</file>

<file path=ppt/tags/tag64.xml><?xml version="1.0" encoding="utf-8"?>
<p:tagLst xmlns:a="http://schemas.openxmlformats.org/drawingml/2006/main" xmlns:r="http://schemas.openxmlformats.org/officeDocument/2006/relationships" xmlns:p="http://schemas.openxmlformats.org/presentationml/2006/main">
  <p:tag name="AS_UNIQUEID" val="1776"/>
</p:tagLst>
</file>

<file path=ppt/tags/tag640.xml><?xml version="1.0" encoding="utf-8"?>
<p:tagLst xmlns:a="http://schemas.openxmlformats.org/drawingml/2006/main" xmlns:r="http://schemas.openxmlformats.org/officeDocument/2006/relationships" xmlns:p="http://schemas.openxmlformats.org/presentationml/2006/main">
  <p:tag name="AS_UNIQUEID" val="2551"/>
</p:tagLst>
</file>

<file path=ppt/tags/tag641.xml><?xml version="1.0" encoding="utf-8"?>
<p:tagLst xmlns:a="http://schemas.openxmlformats.org/drawingml/2006/main" xmlns:r="http://schemas.openxmlformats.org/officeDocument/2006/relationships" xmlns:p="http://schemas.openxmlformats.org/presentationml/2006/main">
  <p:tag name="AS_UNIQUEID" val="2552"/>
</p:tagLst>
</file>

<file path=ppt/tags/tag642.xml><?xml version="1.0" encoding="utf-8"?>
<p:tagLst xmlns:a="http://schemas.openxmlformats.org/drawingml/2006/main" xmlns:r="http://schemas.openxmlformats.org/officeDocument/2006/relationships" xmlns:p="http://schemas.openxmlformats.org/presentationml/2006/main">
  <p:tag name="AS_UNIQUEID" val="2553"/>
</p:tagLst>
</file>

<file path=ppt/tags/tag643.xml><?xml version="1.0" encoding="utf-8"?>
<p:tagLst xmlns:a="http://schemas.openxmlformats.org/drawingml/2006/main" xmlns:r="http://schemas.openxmlformats.org/officeDocument/2006/relationships" xmlns:p="http://schemas.openxmlformats.org/presentationml/2006/main">
  <p:tag name="AS_UNIQUEID" val="2555"/>
</p:tagLst>
</file>

<file path=ppt/tags/tag644.xml><?xml version="1.0" encoding="utf-8"?>
<p:tagLst xmlns:a="http://schemas.openxmlformats.org/drawingml/2006/main" xmlns:r="http://schemas.openxmlformats.org/officeDocument/2006/relationships" xmlns:p="http://schemas.openxmlformats.org/presentationml/2006/main">
  <p:tag name="AS_UNIQUEID" val="2556"/>
</p:tagLst>
</file>

<file path=ppt/tags/tag645.xml><?xml version="1.0" encoding="utf-8"?>
<p:tagLst xmlns:a="http://schemas.openxmlformats.org/drawingml/2006/main" xmlns:r="http://schemas.openxmlformats.org/officeDocument/2006/relationships" xmlns:p="http://schemas.openxmlformats.org/presentationml/2006/main">
  <p:tag name="AS_UNIQUEID" val="2558"/>
</p:tagLst>
</file>

<file path=ppt/tags/tag646.xml><?xml version="1.0" encoding="utf-8"?>
<p:tagLst xmlns:a="http://schemas.openxmlformats.org/drawingml/2006/main" xmlns:r="http://schemas.openxmlformats.org/officeDocument/2006/relationships" xmlns:p="http://schemas.openxmlformats.org/presentationml/2006/main">
  <p:tag name="AS_UNIQUEID" val="2560"/>
</p:tagLst>
</file>

<file path=ppt/tags/tag647.xml><?xml version="1.0" encoding="utf-8"?>
<p:tagLst xmlns:a="http://schemas.openxmlformats.org/drawingml/2006/main" xmlns:r="http://schemas.openxmlformats.org/officeDocument/2006/relationships" xmlns:p="http://schemas.openxmlformats.org/presentationml/2006/main">
  <p:tag name="AS_UNIQUEID" val="2562"/>
</p:tagLst>
</file>

<file path=ppt/tags/tag648.xml><?xml version="1.0" encoding="utf-8"?>
<p:tagLst xmlns:a="http://schemas.openxmlformats.org/drawingml/2006/main" xmlns:r="http://schemas.openxmlformats.org/officeDocument/2006/relationships" xmlns:p="http://schemas.openxmlformats.org/presentationml/2006/main">
  <p:tag name="AS_UNIQUEID" val="2582"/>
</p:tagLst>
</file>

<file path=ppt/tags/tag649.xml><?xml version="1.0" encoding="utf-8"?>
<p:tagLst xmlns:a="http://schemas.openxmlformats.org/drawingml/2006/main" xmlns:r="http://schemas.openxmlformats.org/officeDocument/2006/relationships" xmlns:p="http://schemas.openxmlformats.org/presentationml/2006/main">
  <p:tag name="AS_UNIQUEID" val="2583"/>
</p:tagLst>
</file>

<file path=ppt/tags/tag65.xml><?xml version="1.0" encoding="utf-8"?>
<p:tagLst xmlns:a="http://schemas.openxmlformats.org/drawingml/2006/main" xmlns:r="http://schemas.openxmlformats.org/officeDocument/2006/relationships" xmlns:p="http://schemas.openxmlformats.org/presentationml/2006/main">
  <p:tag name="AS_UNIQUEID" val="1777"/>
</p:tagLst>
</file>

<file path=ppt/tags/tag650.xml><?xml version="1.0" encoding="utf-8"?>
<p:tagLst xmlns:a="http://schemas.openxmlformats.org/drawingml/2006/main" xmlns:r="http://schemas.openxmlformats.org/officeDocument/2006/relationships" xmlns:p="http://schemas.openxmlformats.org/presentationml/2006/main">
  <p:tag name="AS_UNIQUEID" val="2584"/>
</p:tagLst>
</file>

<file path=ppt/tags/tag651.xml><?xml version="1.0" encoding="utf-8"?>
<p:tagLst xmlns:a="http://schemas.openxmlformats.org/drawingml/2006/main" xmlns:r="http://schemas.openxmlformats.org/officeDocument/2006/relationships" xmlns:p="http://schemas.openxmlformats.org/presentationml/2006/main">
  <p:tag name="AS_UNIQUEID" val="2585"/>
</p:tagLst>
</file>

<file path=ppt/tags/tag652.xml><?xml version="1.0" encoding="utf-8"?>
<p:tagLst xmlns:a="http://schemas.openxmlformats.org/drawingml/2006/main" xmlns:r="http://schemas.openxmlformats.org/officeDocument/2006/relationships" xmlns:p="http://schemas.openxmlformats.org/presentationml/2006/main">
  <p:tag name="AS_UNIQUEID" val="2598"/>
</p:tagLst>
</file>

<file path=ppt/tags/tag653.xml><?xml version="1.0" encoding="utf-8"?>
<p:tagLst xmlns:a="http://schemas.openxmlformats.org/drawingml/2006/main" xmlns:r="http://schemas.openxmlformats.org/officeDocument/2006/relationships" xmlns:p="http://schemas.openxmlformats.org/presentationml/2006/main">
  <p:tag name="AS_UNIQUEID" val="2586"/>
</p:tagLst>
</file>

<file path=ppt/tags/tag654.xml><?xml version="1.0" encoding="utf-8"?>
<p:tagLst xmlns:a="http://schemas.openxmlformats.org/drawingml/2006/main" xmlns:r="http://schemas.openxmlformats.org/officeDocument/2006/relationships" xmlns:p="http://schemas.openxmlformats.org/presentationml/2006/main">
  <p:tag name="AS_UNIQUEID" val="2587"/>
</p:tagLst>
</file>

<file path=ppt/tags/tag655.xml><?xml version="1.0" encoding="utf-8"?>
<p:tagLst xmlns:a="http://schemas.openxmlformats.org/drawingml/2006/main" xmlns:r="http://schemas.openxmlformats.org/officeDocument/2006/relationships" xmlns:p="http://schemas.openxmlformats.org/presentationml/2006/main">
  <p:tag name="AS_UNIQUEID" val="2588"/>
</p:tagLst>
</file>

<file path=ppt/tags/tag656.xml><?xml version="1.0" encoding="utf-8"?>
<p:tagLst xmlns:a="http://schemas.openxmlformats.org/drawingml/2006/main" xmlns:r="http://schemas.openxmlformats.org/officeDocument/2006/relationships" xmlns:p="http://schemas.openxmlformats.org/presentationml/2006/main">
  <p:tag name="AS_UNIQUEID" val="2589"/>
</p:tagLst>
</file>

<file path=ppt/tags/tag657.xml><?xml version="1.0" encoding="utf-8"?>
<p:tagLst xmlns:a="http://schemas.openxmlformats.org/drawingml/2006/main" xmlns:r="http://schemas.openxmlformats.org/officeDocument/2006/relationships" xmlns:p="http://schemas.openxmlformats.org/presentationml/2006/main">
  <p:tag name="AS_UNIQUEID" val="2590"/>
</p:tagLst>
</file>

<file path=ppt/tags/tag658.xml><?xml version="1.0" encoding="utf-8"?>
<p:tagLst xmlns:a="http://schemas.openxmlformats.org/drawingml/2006/main" xmlns:r="http://schemas.openxmlformats.org/officeDocument/2006/relationships" xmlns:p="http://schemas.openxmlformats.org/presentationml/2006/main">
  <p:tag name="AS_UNIQUEID" val="2591"/>
</p:tagLst>
</file>

<file path=ppt/tags/tag659.xml><?xml version="1.0" encoding="utf-8"?>
<p:tagLst xmlns:a="http://schemas.openxmlformats.org/drawingml/2006/main" xmlns:r="http://schemas.openxmlformats.org/officeDocument/2006/relationships" xmlns:p="http://schemas.openxmlformats.org/presentationml/2006/main">
  <p:tag name="AS_UNIQUEID" val="2592"/>
</p:tagLst>
</file>

<file path=ppt/tags/tag66.xml><?xml version="1.0" encoding="utf-8"?>
<p:tagLst xmlns:a="http://schemas.openxmlformats.org/drawingml/2006/main" xmlns:r="http://schemas.openxmlformats.org/officeDocument/2006/relationships" xmlns:p="http://schemas.openxmlformats.org/presentationml/2006/main">
  <p:tag name="AS_UNIQUEID" val="1779"/>
</p:tagLst>
</file>

<file path=ppt/tags/tag660.xml><?xml version="1.0" encoding="utf-8"?>
<p:tagLst xmlns:a="http://schemas.openxmlformats.org/drawingml/2006/main" xmlns:r="http://schemas.openxmlformats.org/officeDocument/2006/relationships" xmlns:p="http://schemas.openxmlformats.org/presentationml/2006/main">
  <p:tag name="AS_UNIQUEID" val="1690"/>
</p:tagLst>
</file>

<file path=ppt/tags/tag661.xml><?xml version="1.0" encoding="utf-8"?>
<p:tagLst xmlns:a="http://schemas.openxmlformats.org/drawingml/2006/main" xmlns:r="http://schemas.openxmlformats.org/officeDocument/2006/relationships" xmlns:p="http://schemas.openxmlformats.org/presentationml/2006/main">
  <p:tag name="AS_UNIQUEID" val="2561"/>
</p:tagLst>
</file>

<file path=ppt/tags/tag662.xml><?xml version="1.0" encoding="utf-8"?>
<p:tagLst xmlns:a="http://schemas.openxmlformats.org/drawingml/2006/main" xmlns:r="http://schemas.openxmlformats.org/officeDocument/2006/relationships" xmlns:p="http://schemas.openxmlformats.org/presentationml/2006/main">
  <p:tag name="AS_UNIQUEID" val="1690"/>
</p:tagLst>
</file>

<file path=ppt/tags/tag663.xml><?xml version="1.0" encoding="utf-8"?>
<p:tagLst xmlns:a="http://schemas.openxmlformats.org/drawingml/2006/main" xmlns:r="http://schemas.openxmlformats.org/officeDocument/2006/relationships" xmlns:p="http://schemas.openxmlformats.org/presentationml/2006/main">
  <p:tag name="AS_UNIQUEID" val="2559"/>
</p:tagLst>
</file>

<file path=ppt/tags/tag664.xml><?xml version="1.0" encoding="utf-8"?>
<p:tagLst xmlns:a="http://schemas.openxmlformats.org/drawingml/2006/main" xmlns:r="http://schemas.openxmlformats.org/officeDocument/2006/relationships" xmlns:p="http://schemas.openxmlformats.org/presentationml/2006/main">
  <p:tag name="AS_UNIQUEID" val="1690"/>
</p:tagLst>
</file>

<file path=ppt/tags/tag665.xml><?xml version="1.0" encoding="utf-8"?>
<p:tagLst xmlns:a="http://schemas.openxmlformats.org/drawingml/2006/main" xmlns:r="http://schemas.openxmlformats.org/officeDocument/2006/relationships" xmlns:p="http://schemas.openxmlformats.org/presentationml/2006/main">
  <p:tag name="AS_UNIQUEID" val="2557"/>
</p:tagLst>
</file>

<file path=ppt/tags/tag666.xml><?xml version="1.0" encoding="utf-8"?>
<p:tagLst xmlns:a="http://schemas.openxmlformats.org/drawingml/2006/main" xmlns:r="http://schemas.openxmlformats.org/officeDocument/2006/relationships" xmlns:p="http://schemas.openxmlformats.org/presentationml/2006/main">
  <p:tag name="AS_UNIQUEID" val="2600"/>
</p:tagLst>
</file>

<file path=ppt/tags/tag667.xml><?xml version="1.0" encoding="utf-8"?>
<p:tagLst xmlns:a="http://schemas.openxmlformats.org/drawingml/2006/main" xmlns:r="http://schemas.openxmlformats.org/officeDocument/2006/relationships" xmlns:p="http://schemas.openxmlformats.org/presentationml/2006/main">
  <p:tag name="AS_UNIQUEID" val="2601"/>
</p:tagLst>
</file>

<file path=ppt/tags/tag668.xml><?xml version="1.0" encoding="utf-8"?>
<p:tagLst xmlns:a="http://schemas.openxmlformats.org/drawingml/2006/main" xmlns:r="http://schemas.openxmlformats.org/officeDocument/2006/relationships" xmlns:p="http://schemas.openxmlformats.org/presentationml/2006/main">
  <p:tag name="AS_UNIQUEID" val="2603"/>
</p:tagLst>
</file>

<file path=ppt/tags/tag669.xml><?xml version="1.0" encoding="utf-8"?>
<p:tagLst xmlns:a="http://schemas.openxmlformats.org/drawingml/2006/main" xmlns:r="http://schemas.openxmlformats.org/officeDocument/2006/relationships" xmlns:p="http://schemas.openxmlformats.org/presentationml/2006/main">
  <p:tag name="AS_UNIQUEID" val="2604"/>
</p:tagLst>
</file>

<file path=ppt/tags/tag67.xml><?xml version="1.0" encoding="utf-8"?>
<p:tagLst xmlns:a="http://schemas.openxmlformats.org/drawingml/2006/main" xmlns:r="http://schemas.openxmlformats.org/officeDocument/2006/relationships" xmlns:p="http://schemas.openxmlformats.org/presentationml/2006/main">
  <p:tag name="AS_UNIQUEID" val="1780"/>
</p:tagLst>
</file>

<file path=ppt/tags/tag670.xml><?xml version="1.0" encoding="utf-8"?>
<p:tagLst xmlns:a="http://schemas.openxmlformats.org/drawingml/2006/main" xmlns:r="http://schemas.openxmlformats.org/officeDocument/2006/relationships" xmlns:p="http://schemas.openxmlformats.org/presentationml/2006/main">
  <p:tag name="AS_UNIQUEID" val="2605"/>
</p:tagLst>
</file>

<file path=ppt/tags/tag671.xml><?xml version="1.0" encoding="utf-8"?>
<p:tagLst xmlns:a="http://schemas.openxmlformats.org/drawingml/2006/main" xmlns:r="http://schemas.openxmlformats.org/officeDocument/2006/relationships" xmlns:p="http://schemas.openxmlformats.org/presentationml/2006/main">
  <p:tag name="AS_UNIQUEID" val="2607"/>
</p:tagLst>
</file>

<file path=ppt/tags/tag672.xml><?xml version="1.0" encoding="utf-8"?>
<p:tagLst xmlns:a="http://schemas.openxmlformats.org/drawingml/2006/main" xmlns:r="http://schemas.openxmlformats.org/officeDocument/2006/relationships" xmlns:p="http://schemas.openxmlformats.org/presentationml/2006/main">
  <p:tag name="AS_UNIQUEID" val="2609"/>
</p:tagLst>
</file>

<file path=ppt/tags/tag673.xml><?xml version="1.0" encoding="utf-8"?>
<p:tagLst xmlns:a="http://schemas.openxmlformats.org/drawingml/2006/main" xmlns:r="http://schemas.openxmlformats.org/officeDocument/2006/relationships" xmlns:p="http://schemas.openxmlformats.org/presentationml/2006/main">
  <p:tag name="AS_UNIQUEID" val="2611"/>
</p:tagLst>
</file>

<file path=ppt/tags/tag674.xml><?xml version="1.0" encoding="utf-8"?>
<p:tagLst xmlns:a="http://schemas.openxmlformats.org/drawingml/2006/main" xmlns:r="http://schemas.openxmlformats.org/officeDocument/2006/relationships" xmlns:p="http://schemas.openxmlformats.org/presentationml/2006/main">
  <p:tag name="AS_UNIQUEID" val="2627"/>
</p:tagLst>
</file>

<file path=ppt/tags/tag675.xml><?xml version="1.0" encoding="utf-8"?>
<p:tagLst xmlns:a="http://schemas.openxmlformats.org/drawingml/2006/main" xmlns:r="http://schemas.openxmlformats.org/officeDocument/2006/relationships" xmlns:p="http://schemas.openxmlformats.org/presentationml/2006/main">
  <p:tag name="AS_UNIQUEID" val="2628"/>
</p:tagLst>
</file>

<file path=ppt/tags/tag676.xml><?xml version="1.0" encoding="utf-8"?>
<p:tagLst xmlns:a="http://schemas.openxmlformats.org/drawingml/2006/main" xmlns:r="http://schemas.openxmlformats.org/officeDocument/2006/relationships" xmlns:p="http://schemas.openxmlformats.org/presentationml/2006/main">
  <p:tag name="AS_UNIQUEID" val="2630"/>
</p:tagLst>
</file>

<file path=ppt/tags/tag677.xml><?xml version="1.0" encoding="utf-8"?>
<p:tagLst xmlns:a="http://schemas.openxmlformats.org/drawingml/2006/main" xmlns:r="http://schemas.openxmlformats.org/officeDocument/2006/relationships" xmlns:p="http://schemas.openxmlformats.org/presentationml/2006/main">
  <p:tag name="AS_UNIQUEID" val="2632"/>
</p:tagLst>
</file>

<file path=ppt/tags/tag678.xml><?xml version="1.0" encoding="utf-8"?>
<p:tagLst xmlns:a="http://schemas.openxmlformats.org/drawingml/2006/main" xmlns:r="http://schemas.openxmlformats.org/officeDocument/2006/relationships" xmlns:p="http://schemas.openxmlformats.org/presentationml/2006/main">
  <p:tag name="AS_UNIQUEID" val="2643"/>
</p:tagLst>
</file>

<file path=ppt/tags/tag679.xml><?xml version="1.0" encoding="utf-8"?>
<p:tagLst xmlns:a="http://schemas.openxmlformats.org/drawingml/2006/main" xmlns:r="http://schemas.openxmlformats.org/officeDocument/2006/relationships" xmlns:p="http://schemas.openxmlformats.org/presentationml/2006/main">
  <p:tag name="AS_UNIQUEID" val="2656"/>
</p:tagLst>
</file>

<file path=ppt/tags/tag68.xml><?xml version="1.0" encoding="utf-8"?>
<p:tagLst xmlns:a="http://schemas.openxmlformats.org/drawingml/2006/main" xmlns:r="http://schemas.openxmlformats.org/officeDocument/2006/relationships" xmlns:p="http://schemas.openxmlformats.org/presentationml/2006/main">
  <p:tag name="AS_UNIQUEID" val="1782"/>
</p:tagLst>
</file>

<file path=ppt/tags/tag680.xml><?xml version="1.0" encoding="utf-8"?>
<p:tagLst xmlns:a="http://schemas.openxmlformats.org/drawingml/2006/main" xmlns:r="http://schemas.openxmlformats.org/officeDocument/2006/relationships" xmlns:p="http://schemas.openxmlformats.org/presentationml/2006/main">
  <p:tag name="AS_UNIQUEID" val="2644"/>
</p:tagLst>
</file>

<file path=ppt/tags/tag681.xml><?xml version="1.0" encoding="utf-8"?>
<p:tagLst xmlns:a="http://schemas.openxmlformats.org/drawingml/2006/main" xmlns:r="http://schemas.openxmlformats.org/officeDocument/2006/relationships" xmlns:p="http://schemas.openxmlformats.org/presentationml/2006/main">
  <p:tag name="AS_UNIQUEID" val="2645"/>
</p:tagLst>
</file>

<file path=ppt/tags/tag682.xml><?xml version="1.0" encoding="utf-8"?>
<p:tagLst xmlns:a="http://schemas.openxmlformats.org/drawingml/2006/main" xmlns:r="http://schemas.openxmlformats.org/officeDocument/2006/relationships" xmlns:p="http://schemas.openxmlformats.org/presentationml/2006/main">
  <p:tag name="AS_UNIQUEID" val="2646"/>
</p:tagLst>
</file>

<file path=ppt/tags/tag683.xml><?xml version="1.0" encoding="utf-8"?>
<p:tagLst xmlns:a="http://schemas.openxmlformats.org/drawingml/2006/main" xmlns:r="http://schemas.openxmlformats.org/officeDocument/2006/relationships" xmlns:p="http://schemas.openxmlformats.org/presentationml/2006/main">
  <p:tag name="AS_UNIQUEID" val="2647"/>
</p:tagLst>
</file>

<file path=ppt/tags/tag684.xml><?xml version="1.0" encoding="utf-8"?>
<p:tagLst xmlns:a="http://schemas.openxmlformats.org/drawingml/2006/main" xmlns:r="http://schemas.openxmlformats.org/officeDocument/2006/relationships" xmlns:p="http://schemas.openxmlformats.org/presentationml/2006/main">
  <p:tag name="AS_UNIQUEID" val="2648"/>
</p:tagLst>
</file>

<file path=ppt/tags/tag685.xml><?xml version="1.0" encoding="utf-8"?>
<p:tagLst xmlns:a="http://schemas.openxmlformats.org/drawingml/2006/main" xmlns:r="http://schemas.openxmlformats.org/officeDocument/2006/relationships" xmlns:p="http://schemas.openxmlformats.org/presentationml/2006/main">
  <p:tag name="AS_UNIQUEID" val="2649"/>
</p:tagLst>
</file>

<file path=ppt/tags/tag686.xml><?xml version="1.0" encoding="utf-8"?>
<p:tagLst xmlns:a="http://schemas.openxmlformats.org/drawingml/2006/main" xmlns:r="http://schemas.openxmlformats.org/officeDocument/2006/relationships" xmlns:p="http://schemas.openxmlformats.org/presentationml/2006/main">
  <p:tag name="AS_UNIQUEID" val="2650"/>
</p:tagLst>
</file>

<file path=ppt/tags/tag687.xml><?xml version="1.0" encoding="utf-8"?>
<p:tagLst xmlns:a="http://schemas.openxmlformats.org/drawingml/2006/main" xmlns:r="http://schemas.openxmlformats.org/officeDocument/2006/relationships" xmlns:p="http://schemas.openxmlformats.org/presentationml/2006/main">
  <p:tag name="AS_UNIQUEID" val="1690"/>
</p:tagLst>
</file>

<file path=ppt/tags/tag688.xml><?xml version="1.0" encoding="utf-8"?>
<p:tagLst xmlns:a="http://schemas.openxmlformats.org/drawingml/2006/main" xmlns:r="http://schemas.openxmlformats.org/officeDocument/2006/relationships" xmlns:p="http://schemas.openxmlformats.org/presentationml/2006/main">
  <p:tag name="AS_UNIQUEID" val="2612"/>
</p:tagLst>
</file>

<file path=ppt/tags/tag689.xml><?xml version="1.0" encoding="utf-8"?>
<p:tagLst xmlns:a="http://schemas.openxmlformats.org/drawingml/2006/main" xmlns:r="http://schemas.openxmlformats.org/officeDocument/2006/relationships" xmlns:p="http://schemas.openxmlformats.org/presentationml/2006/main">
  <p:tag name="AS_UNIQUEID" val="1690"/>
</p:tagLst>
</file>

<file path=ppt/tags/tag69.xml><?xml version="1.0" encoding="utf-8"?>
<p:tagLst xmlns:a="http://schemas.openxmlformats.org/drawingml/2006/main" xmlns:r="http://schemas.openxmlformats.org/officeDocument/2006/relationships" xmlns:p="http://schemas.openxmlformats.org/presentationml/2006/main">
  <p:tag name="AS_UNIQUEID" val="1783"/>
</p:tagLst>
</file>

<file path=ppt/tags/tag690.xml><?xml version="1.0" encoding="utf-8"?>
<p:tagLst xmlns:a="http://schemas.openxmlformats.org/drawingml/2006/main" xmlns:r="http://schemas.openxmlformats.org/officeDocument/2006/relationships" xmlns:p="http://schemas.openxmlformats.org/presentationml/2006/main">
  <p:tag name="AS_UNIQUEID" val="2610"/>
</p:tagLst>
</file>

<file path=ppt/tags/tag691.xml><?xml version="1.0" encoding="utf-8"?>
<p:tagLst xmlns:a="http://schemas.openxmlformats.org/drawingml/2006/main" xmlns:r="http://schemas.openxmlformats.org/officeDocument/2006/relationships" xmlns:p="http://schemas.openxmlformats.org/presentationml/2006/main">
  <p:tag name="AS_UNIQUEID" val="1690"/>
</p:tagLst>
</file>

<file path=ppt/tags/tag692.xml><?xml version="1.0" encoding="utf-8"?>
<p:tagLst xmlns:a="http://schemas.openxmlformats.org/drawingml/2006/main" xmlns:r="http://schemas.openxmlformats.org/officeDocument/2006/relationships" xmlns:p="http://schemas.openxmlformats.org/presentationml/2006/main">
  <p:tag name="AS_UNIQUEID" val="2608"/>
</p:tagLst>
</file>

<file path=ppt/tags/tag693.xml><?xml version="1.0" encoding="utf-8"?>
<p:tagLst xmlns:a="http://schemas.openxmlformats.org/drawingml/2006/main" xmlns:r="http://schemas.openxmlformats.org/officeDocument/2006/relationships" xmlns:p="http://schemas.openxmlformats.org/presentationml/2006/main">
  <p:tag name="AS_UNIQUEID" val="1690"/>
</p:tagLst>
</file>

<file path=ppt/tags/tag694.xml><?xml version="1.0" encoding="utf-8"?>
<p:tagLst xmlns:a="http://schemas.openxmlformats.org/drawingml/2006/main" xmlns:r="http://schemas.openxmlformats.org/officeDocument/2006/relationships" xmlns:p="http://schemas.openxmlformats.org/presentationml/2006/main">
  <p:tag name="AS_UNIQUEID" val="2606"/>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AS_UNIQUEID" val="2782"/>
</p:tagLst>
</file>

<file path=ppt/tags/tag697.xml><?xml version="1.0" encoding="utf-8"?>
<p:tagLst xmlns:a="http://schemas.openxmlformats.org/drawingml/2006/main" xmlns:r="http://schemas.openxmlformats.org/officeDocument/2006/relationships" xmlns:p="http://schemas.openxmlformats.org/presentationml/2006/main">
  <p:tag name="AS_UNIQUEID" val="2783"/>
</p:tagLst>
</file>

<file path=ppt/tags/tag698.xml><?xml version="1.0" encoding="utf-8"?>
<p:tagLst xmlns:a="http://schemas.openxmlformats.org/drawingml/2006/main" xmlns:r="http://schemas.openxmlformats.org/officeDocument/2006/relationships" xmlns:p="http://schemas.openxmlformats.org/presentationml/2006/main">
  <p:tag name="AS_UNIQUEID" val="2786"/>
</p:tagLst>
</file>

<file path=ppt/tags/tag699.xml><?xml version="1.0" encoding="utf-8"?>
<p:tagLst xmlns:a="http://schemas.openxmlformats.org/drawingml/2006/main" xmlns:r="http://schemas.openxmlformats.org/officeDocument/2006/relationships" xmlns:p="http://schemas.openxmlformats.org/presentationml/2006/main">
  <p:tag name="AS_UNIQUEID" val="2788"/>
</p:tagLst>
</file>

<file path=ppt/tags/tag7.xml><?xml version="1.0" encoding="utf-8"?>
<p:tagLst xmlns:a="http://schemas.openxmlformats.org/drawingml/2006/main" xmlns:r="http://schemas.openxmlformats.org/officeDocument/2006/relationships" xmlns:p="http://schemas.openxmlformats.org/presentationml/2006/main">
  <p:tag name="AS_UNIQUEID" val="1810"/>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S_UNIQUEID" val="1784"/>
</p:tagLst>
</file>

<file path=ppt/tags/tag700.xml><?xml version="1.0" encoding="utf-8"?>
<p:tagLst xmlns:a="http://schemas.openxmlformats.org/drawingml/2006/main" xmlns:r="http://schemas.openxmlformats.org/officeDocument/2006/relationships" xmlns:p="http://schemas.openxmlformats.org/presentationml/2006/main">
  <p:tag name="AS_UNIQUEID" val="2789"/>
</p:tagLst>
</file>

<file path=ppt/tags/tag701.xml><?xml version="1.0" encoding="utf-8"?>
<p:tagLst xmlns:a="http://schemas.openxmlformats.org/drawingml/2006/main" xmlns:r="http://schemas.openxmlformats.org/officeDocument/2006/relationships" xmlns:p="http://schemas.openxmlformats.org/presentationml/2006/main">
  <p:tag name="AS_UNIQUEID" val="2795"/>
</p:tagLst>
</file>

<file path=ppt/tags/tag702.xml><?xml version="1.0" encoding="utf-8"?>
<p:tagLst xmlns:a="http://schemas.openxmlformats.org/drawingml/2006/main" xmlns:r="http://schemas.openxmlformats.org/officeDocument/2006/relationships" xmlns:p="http://schemas.openxmlformats.org/presentationml/2006/main">
  <p:tag name="AS_UNIQUEID" val="2808"/>
</p:tagLst>
</file>

<file path=ppt/tags/tag703.xml><?xml version="1.0" encoding="utf-8"?>
<p:tagLst xmlns:a="http://schemas.openxmlformats.org/drawingml/2006/main" xmlns:r="http://schemas.openxmlformats.org/officeDocument/2006/relationships" xmlns:p="http://schemas.openxmlformats.org/presentationml/2006/main">
  <p:tag name="AS_UNIQUEID" val="2811"/>
</p:tagLst>
</file>

<file path=ppt/tags/tag704.xml><?xml version="1.0" encoding="utf-8"?>
<p:tagLst xmlns:a="http://schemas.openxmlformats.org/drawingml/2006/main" xmlns:r="http://schemas.openxmlformats.org/officeDocument/2006/relationships" xmlns:p="http://schemas.openxmlformats.org/presentationml/2006/main">
  <p:tag name="AS_UNIQUEID" val="2816"/>
</p:tagLst>
</file>

<file path=ppt/tags/tag705.xml><?xml version="1.0" encoding="utf-8"?>
<p:tagLst xmlns:a="http://schemas.openxmlformats.org/drawingml/2006/main" xmlns:r="http://schemas.openxmlformats.org/officeDocument/2006/relationships" xmlns:p="http://schemas.openxmlformats.org/presentationml/2006/main">
  <p:tag name="AS_UNIQUEID" val="2817"/>
</p:tagLst>
</file>

<file path=ppt/tags/tag706.xml><?xml version="1.0" encoding="utf-8"?>
<p:tagLst xmlns:a="http://schemas.openxmlformats.org/drawingml/2006/main" xmlns:r="http://schemas.openxmlformats.org/officeDocument/2006/relationships" xmlns:p="http://schemas.openxmlformats.org/presentationml/2006/main">
  <p:tag name="AS_UNIQUEID" val="2818"/>
</p:tagLst>
</file>

<file path=ppt/tags/tag707.xml><?xml version="1.0" encoding="utf-8"?>
<p:tagLst xmlns:a="http://schemas.openxmlformats.org/drawingml/2006/main" xmlns:r="http://schemas.openxmlformats.org/officeDocument/2006/relationships" xmlns:p="http://schemas.openxmlformats.org/presentationml/2006/main">
  <p:tag name="AS_UNIQUEID" val="2821"/>
</p:tagLst>
</file>

<file path=ppt/tags/tag708.xml><?xml version="1.0" encoding="utf-8"?>
<p:tagLst xmlns:a="http://schemas.openxmlformats.org/drawingml/2006/main" xmlns:r="http://schemas.openxmlformats.org/officeDocument/2006/relationships" xmlns:p="http://schemas.openxmlformats.org/presentationml/2006/main">
  <p:tag name="AS_UNIQUEID" val="2827"/>
</p:tagLst>
</file>

<file path=ppt/tags/tag709.xml><?xml version="1.0" encoding="utf-8"?>
<p:tagLst xmlns:a="http://schemas.openxmlformats.org/drawingml/2006/main" xmlns:r="http://schemas.openxmlformats.org/officeDocument/2006/relationships" xmlns:p="http://schemas.openxmlformats.org/presentationml/2006/main">
  <p:tag name="AS_UNIQUEID" val="2819"/>
</p:tagLst>
</file>

<file path=ppt/tags/tag71.xml><?xml version="1.0" encoding="utf-8"?>
<p:tagLst xmlns:a="http://schemas.openxmlformats.org/drawingml/2006/main" xmlns:r="http://schemas.openxmlformats.org/officeDocument/2006/relationships" xmlns:p="http://schemas.openxmlformats.org/presentationml/2006/main">
  <p:tag name="AS_UNIQUEID" val="1785"/>
</p:tagLst>
</file>

<file path=ppt/tags/tag710.xml><?xml version="1.0" encoding="utf-8"?>
<p:tagLst xmlns:a="http://schemas.openxmlformats.org/drawingml/2006/main" xmlns:r="http://schemas.openxmlformats.org/officeDocument/2006/relationships" xmlns:p="http://schemas.openxmlformats.org/presentationml/2006/main">
  <p:tag name="AS_UNIQUEID" val="2820"/>
</p:tagLst>
</file>

<file path=ppt/tags/tag711.xml><?xml version="1.0" encoding="utf-8"?>
<p:tagLst xmlns:a="http://schemas.openxmlformats.org/drawingml/2006/main" xmlns:r="http://schemas.openxmlformats.org/officeDocument/2006/relationships" xmlns:p="http://schemas.openxmlformats.org/presentationml/2006/main">
  <p:tag name="AS_UNIQUEID" val="2812"/>
</p:tagLst>
</file>

<file path=ppt/tags/tag712.xml><?xml version="1.0" encoding="utf-8"?>
<p:tagLst xmlns:a="http://schemas.openxmlformats.org/drawingml/2006/main" xmlns:r="http://schemas.openxmlformats.org/officeDocument/2006/relationships" xmlns:p="http://schemas.openxmlformats.org/presentationml/2006/main">
  <p:tag name="AS_UNIQUEID" val="2813"/>
</p:tagLst>
</file>

<file path=ppt/tags/tag713.xml><?xml version="1.0" encoding="utf-8"?>
<p:tagLst xmlns:a="http://schemas.openxmlformats.org/drawingml/2006/main" xmlns:r="http://schemas.openxmlformats.org/officeDocument/2006/relationships" xmlns:p="http://schemas.openxmlformats.org/presentationml/2006/main">
  <p:tag name="AS_UNIQUEID" val="2809"/>
</p:tagLst>
</file>

<file path=ppt/tags/tag714.xml><?xml version="1.0" encoding="utf-8"?>
<p:tagLst xmlns:a="http://schemas.openxmlformats.org/drawingml/2006/main" xmlns:r="http://schemas.openxmlformats.org/officeDocument/2006/relationships" xmlns:p="http://schemas.openxmlformats.org/presentationml/2006/main">
  <p:tag name="AS_UNIQUEID" val="2810"/>
</p:tagLst>
</file>

<file path=ppt/tags/tag715.xml><?xml version="1.0" encoding="utf-8"?>
<p:tagLst xmlns:a="http://schemas.openxmlformats.org/drawingml/2006/main" xmlns:r="http://schemas.openxmlformats.org/officeDocument/2006/relationships" xmlns:p="http://schemas.openxmlformats.org/presentationml/2006/main">
  <p:tag name="AS_UNIQUEID" val="2796"/>
</p:tagLst>
</file>

<file path=ppt/tags/tag716.xml><?xml version="1.0" encoding="utf-8"?>
<p:tagLst xmlns:a="http://schemas.openxmlformats.org/drawingml/2006/main" xmlns:r="http://schemas.openxmlformats.org/officeDocument/2006/relationships" xmlns:p="http://schemas.openxmlformats.org/presentationml/2006/main">
  <p:tag name="AS_UNIQUEID" val="2797"/>
</p:tagLst>
</file>

<file path=ppt/tags/tag717.xml><?xml version="1.0" encoding="utf-8"?>
<p:tagLst xmlns:a="http://schemas.openxmlformats.org/drawingml/2006/main" xmlns:r="http://schemas.openxmlformats.org/officeDocument/2006/relationships" xmlns:p="http://schemas.openxmlformats.org/presentationml/2006/main">
  <p:tag name="AS_UNIQUEID" val="2798"/>
</p:tagLst>
</file>

<file path=ppt/tags/tag718.xml><?xml version="1.0" encoding="utf-8"?>
<p:tagLst xmlns:a="http://schemas.openxmlformats.org/drawingml/2006/main" xmlns:r="http://schemas.openxmlformats.org/officeDocument/2006/relationships" xmlns:p="http://schemas.openxmlformats.org/presentationml/2006/main">
  <p:tag name="AS_UNIQUEID" val="2799"/>
</p:tagLst>
</file>

<file path=ppt/tags/tag719.xml><?xml version="1.0" encoding="utf-8"?>
<p:tagLst xmlns:a="http://schemas.openxmlformats.org/drawingml/2006/main" xmlns:r="http://schemas.openxmlformats.org/officeDocument/2006/relationships" xmlns:p="http://schemas.openxmlformats.org/presentationml/2006/main">
  <p:tag name="AS_UNIQUEID" val="2800"/>
</p:tagLst>
</file>

<file path=ppt/tags/tag72.xml><?xml version="1.0" encoding="utf-8"?>
<p:tagLst xmlns:a="http://schemas.openxmlformats.org/drawingml/2006/main" xmlns:r="http://schemas.openxmlformats.org/officeDocument/2006/relationships" xmlns:p="http://schemas.openxmlformats.org/presentationml/2006/main">
  <p:tag name="AS_UNIQUEID" val="1787"/>
</p:tagLst>
</file>

<file path=ppt/tags/tag720.xml><?xml version="1.0" encoding="utf-8"?>
<p:tagLst xmlns:a="http://schemas.openxmlformats.org/drawingml/2006/main" xmlns:r="http://schemas.openxmlformats.org/officeDocument/2006/relationships" xmlns:p="http://schemas.openxmlformats.org/presentationml/2006/main">
  <p:tag name="AS_UNIQUEID" val="2801"/>
</p:tagLst>
</file>

<file path=ppt/tags/tag721.xml><?xml version="1.0" encoding="utf-8"?>
<p:tagLst xmlns:a="http://schemas.openxmlformats.org/drawingml/2006/main" xmlns:r="http://schemas.openxmlformats.org/officeDocument/2006/relationships" xmlns:p="http://schemas.openxmlformats.org/presentationml/2006/main">
  <p:tag name="AS_UNIQUEID" val="2802"/>
</p:tagLst>
</file>

<file path=ppt/tags/tag722.xml><?xml version="1.0" encoding="utf-8"?>
<p:tagLst xmlns:a="http://schemas.openxmlformats.org/drawingml/2006/main" xmlns:r="http://schemas.openxmlformats.org/officeDocument/2006/relationships" xmlns:p="http://schemas.openxmlformats.org/presentationml/2006/main">
  <p:tag name="AS_UNIQUEID" val="2803"/>
</p:tagLst>
</file>

<file path=ppt/tags/tag723.xml><?xml version="1.0" encoding="utf-8"?>
<p:tagLst xmlns:a="http://schemas.openxmlformats.org/drawingml/2006/main" xmlns:r="http://schemas.openxmlformats.org/officeDocument/2006/relationships" xmlns:p="http://schemas.openxmlformats.org/presentationml/2006/main">
  <p:tag name="AS_UNIQUEID" val="2804"/>
</p:tagLst>
</file>

<file path=ppt/tags/tag724.xml><?xml version="1.0" encoding="utf-8"?>
<p:tagLst xmlns:a="http://schemas.openxmlformats.org/drawingml/2006/main" xmlns:r="http://schemas.openxmlformats.org/officeDocument/2006/relationships" xmlns:p="http://schemas.openxmlformats.org/presentationml/2006/main">
  <p:tag name="AS_UNIQUEID" val="2805"/>
</p:tagLst>
</file>

<file path=ppt/tags/tag725.xml><?xml version="1.0" encoding="utf-8"?>
<p:tagLst xmlns:a="http://schemas.openxmlformats.org/drawingml/2006/main" xmlns:r="http://schemas.openxmlformats.org/officeDocument/2006/relationships" xmlns:p="http://schemas.openxmlformats.org/presentationml/2006/main">
  <p:tag name="AS_UNIQUEID" val="2806"/>
</p:tagLst>
</file>

<file path=ppt/tags/tag726.xml><?xml version="1.0" encoding="utf-8"?>
<p:tagLst xmlns:a="http://schemas.openxmlformats.org/drawingml/2006/main" xmlns:r="http://schemas.openxmlformats.org/officeDocument/2006/relationships" xmlns:p="http://schemas.openxmlformats.org/presentationml/2006/main">
  <p:tag name="AS_UNIQUEID" val="2807"/>
</p:tagLst>
</file>

<file path=ppt/tags/tag727.xml><?xml version="1.0" encoding="utf-8"?>
<p:tagLst xmlns:a="http://schemas.openxmlformats.org/drawingml/2006/main" xmlns:r="http://schemas.openxmlformats.org/officeDocument/2006/relationships" xmlns:p="http://schemas.openxmlformats.org/presentationml/2006/main">
  <p:tag name="AS_UNIQUEID" val="2790"/>
</p:tagLst>
</file>

<file path=ppt/tags/tag728.xml><?xml version="1.0" encoding="utf-8"?>
<p:tagLst xmlns:a="http://schemas.openxmlformats.org/drawingml/2006/main" xmlns:r="http://schemas.openxmlformats.org/officeDocument/2006/relationships" xmlns:p="http://schemas.openxmlformats.org/presentationml/2006/main">
  <p:tag name="AS_UNIQUEID" val="2791"/>
</p:tagLst>
</file>

<file path=ppt/tags/tag729.xml><?xml version="1.0" encoding="utf-8"?>
<p:tagLst xmlns:a="http://schemas.openxmlformats.org/drawingml/2006/main" xmlns:r="http://schemas.openxmlformats.org/officeDocument/2006/relationships" xmlns:p="http://schemas.openxmlformats.org/presentationml/2006/main">
  <p:tag name="AS_UNIQUEID" val="2792"/>
</p:tagLst>
</file>

<file path=ppt/tags/tag73.xml><?xml version="1.0" encoding="utf-8"?>
<p:tagLst xmlns:a="http://schemas.openxmlformats.org/drawingml/2006/main" xmlns:r="http://schemas.openxmlformats.org/officeDocument/2006/relationships" xmlns:p="http://schemas.openxmlformats.org/presentationml/2006/main">
  <p:tag name="AS_UNIQUEID" val="1788"/>
</p:tagLst>
</file>

<file path=ppt/tags/tag730.xml><?xml version="1.0" encoding="utf-8"?>
<p:tagLst xmlns:a="http://schemas.openxmlformats.org/drawingml/2006/main" xmlns:r="http://schemas.openxmlformats.org/officeDocument/2006/relationships" xmlns:p="http://schemas.openxmlformats.org/presentationml/2006/main">
  <p:tag name="AS_UNIQUEID" val="2793"/>
</p:tagLst>
</file>

<file path=ppt/tags/tag731.xml><?xml version="1.0" encoding="utf-8"?>
<p:tagLst xmlns:a="http://schemas.openxmlformats.org/drawingml/2006/main" xmlns:r="http://schemas.openxmlformats.org/officeDocument/2006/relationships" xmlns:p="http://schemas.openxmlformats.org/presentationml/2006/main">
  <p:tag name="AS_UNIQUEID" val="2794"/>
</p:tagLst>
</file>

<file path=ppt/tags/tag732.xml><?xml version="1.0" encoding="utf-8"?>
<p:tagLst xmlns:a="http://schemas.openxmlformats.org/drawingml/2006/main" xmlns:r="http://schemas.openxmlformats.org/officeDocument/2006/relationships" xmlns:p="http://schemas.openxmlformats.org/presentationml/2006/main">
  <p:tag name="AS_UNIQUEID" val="2784"/>
</p:tagLst>
</file>

<file path=ppt/tags/tag733.xml><?xml version="1.0" encoding="utf-8"?>
<p:tagLst xmlns:a="http://schemas.openxmlformats.org/drawingml/2006/main" xmlns:r="http://schemas.openxmlformats.org/officeDocument/2006/relationships" xmlns:p="http://schemas.openxmlformats.org/presentationml/2006/main">
  <p:tag name="AS_UNIQUEID" val="2785"/>
</p:tagLst>
</file>

<file path=ppt/tags/tag734.xml><?xml version="1.0" encoding="utf-8"?>
<p:tagLst xmlns:a="http://schemas.openxmlformats.org/drawingml/2006/main" xmlns:r="http://schemas.openxmlformats.org/officeDocument/2006/relationships" xmlns:p="http://schemas.openxmlformats.org/presentationml/2006/main">
  <p:tag name="AS_UNIQUEID" val="2778"/>
</p:tagLst>
</file>

<file path=ppt/tags/tag735.xml><?xml version="1.0" encoding="utf-8"?>
<p:tagLst xmlns:a="http://schemas.openxmlformats.org/drawingml/2006/main" xmlns:r="http://schemas.openxmlformats.org/officeDocument/2006/relationships" xmlns:p="http://schemas.openxmlformats.org/presentationml/2006/main">
  <p:tag name="AS_UNIQUEID" val="2779"/>
</p:tagLst>
</file>

<file path=ppt/tags/tag736.xml><?xml version="1.0" encoding="utf-8"?>
<p:tagLst xmlns:a="http://schemas.openxmlformats.org/drawingml/2006/main" xmlns:r="http://schemas.openxmlformats.org/officeDocument/2006/relationships" xmlns:p="http://schemas.openxmlformats.org/presentationml/2006/main">
  <p:tag name="AS_UNIQUEID" val="2780"/>
</p:tagLst>
</file>

<file path=ppt/tags/tag737.xml><?xml version="1.0" encoding="utf-8"?>
<p:tagLst xmlns:a="http://schemas.openxmlformats.org/drawingml/2006/main" xmlns:r="http://schemas.openxmlformats.org/officeDocument/2006/relationships" xmlns:p="http://schemas.openxmlformats.org/presentationml/2006/main">
  <p:tag name="AS_UNIQUEID" val="2833"/>
</p:tagLst>
</file>

<file path=ppt/tags/tag738.xml><?xml version="1.0" encoding="utf-8"?>
<p:tagLst xmlns:a="http://schemas.openxmlformats.org/drawingml/2006/main" xmlns:r="http://schemas.openxmlformats.org/officeDocument/2006/relationships" xmlns:p="http://schemas.openxmlformats.org/presentationml/2006/main">
  <p:tag name="AS_UNIQUEID" val="2834"/>
</p:tagLst>
</file>

<file path=ppt/tags/tag739.xml><?xml version="1.0" encoding="utf-8"?>
<p:tagLst xmlns:a="http://schemas.openxmlformats.org/drawingml/2006/main" xmlns:r="http://schemas.openxmlformats.org/officeDocument/2006/relationships" xmlns:p="http://schemas.openxmlformats.org/presentationml/2006/main">
  <p:tag name="AS_UNIQUEID" val="2835"/>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S_UNIQUEID" val="1789"/>
</p:tagLst>
</file>

<file path=ppt/tags/tag740.xml><?xml version="1.0" encoding="utf-8"?>
<p:tagLst xmlns:a="http://schemas.openxmlformats.org/drawingml/2006/main" xmlns:r="http://schemas.openxmlformats.org/officeDocument/2006/relationships" xmlns:p="http://schemas.openxmlformats.org/presentationml/2006/main">
  <p:tag name="AS_UNIQUEID" val="2839"/>
</p:tagLst>
</file>

<file path=ppt/tags/tag741.xml><?xml version="1.0" encoding="utf-8"?>
<p:tagLst xmlns:a="http://schemas.openxmlformats.org/drawingml/2006/main" xmlns:r="http://schemas.openxmlformats.org/officeDocument/2006/relationships" xmlns:p="http://schemas.openxmlformats.org/presentationml/2006/main">
  <p:tag name="AS_UNIQUEID" val="2842"/>
</p:tagLst>
</file>

<file path=ppt/tags/tag742.xml><?xml version="1.0" encoding="utf-8"?>
<p:tagLst xmlns:a="http://schemas.openxmlformats.org/drawingml/2006/main" xmlns:r="http://schemas.openxmlformats.org/officeDocument/2006/relationships" xmlns:p="http://schemas.openxmlformats.org/presentationml/2006/main">
  <p:tag name="AS_UNIQUEID" val="2843"/>
</p:tagLst>
</file>

<file path=ppt/tags/tag743.xml><?xml version="1.0" encoding="utf-8"?>
<p:tagLst xmlns:a="http://schemas.openxmlformats.org/drawingml/2006/main" xmlns:r="http://schemas.openxmlformats.org/officeDocument/2006/relationships" xmlns:p="http://schemas.openxmlformats.org/presentationml/2006/main">
  <p:tag name="AS_UNIQUEID" val="2846"/>
</p:tagLst>
</file>

<file path=ppt/tags/tag744.xml><?xml version="1.0" encoding="utf-8"?>
<p:tagLst xmlns:a="http://schemas.openxmlformats.org/drawingml/2006/main" xmlns:r="http://schemas.openxmlformats.org/officeDocument/2006/relationships" xmlns:p="http://schemas.openxmlformats.org/presentationml/2006/main">
  <p:tag name="AS_UNIQUEID" val="2849"/>
</p:tagLst>
</file>

<file path=ppt/tags/tag745.xml><?xml version="1.0" encoding="utf-8"?>
<p:tagLst xmlns:a="http://schemas.openxmlformats.org/drawingml/2006/main" xmlns:r="http://schemas.openxmlformats.org/officeDocument/2006/relationships" xmlns:p="http://schemas.openxmlformats.org/presentationml/2006/main">
  <p:tag name="AS_UNIQUEID" val="2852"/>
</p:tagLst>
</file>

<file path=ppt/tags/tag746.xml><?xml version="1.0" encoding="utf-8"?>
<p:tagLst xmlns:a="http://schemas.openxmlformats.org/drawingml/2006/main" xmlns:r="http://schemas.openxmlformats.org/officeDocument/2006/relationships" xmlns:p="http://schemas.openxmlformats.org/presentationml/2006/main">
  <p:tag name="AS_UNIQUEID" val="2871"/>
</p:tagLst>
</file>

<file path=ppt/tags/tag747.xml><?xml version="1.0" encoding="utf-8"?>
<p:tagLst xmlns:a="http://schemas.openxmlformats.org/drawingml/2006/main" xmlns:r="http://schemas.openxmlformats.org/officeDocument/2006/relationships" xmlns:p="http://schemas.openxmlformats.org/presentationml/2006/main">
  <p:tag name="AS_UNIQUEID" val="2877"/>
</p:tagLst>
</file>

<file path=ppt/tags/tag748.xml><?xml version="1.0" encoding="utf-8"?>
<p:tagLst xmlns:a="http://schemas.openxmlformats.org/drawingml/2006/main" xmlns:r="http://schemas.openxmlformats.org/officeDocument/2006/relationships" xmlns:p="http://schemas.openxmlformats.org/presentationml/2006/main">
  <p:tag name="AS_UNIQUEID" val="2878"/>
</p:tagLst>
</file>

<file path=ppt/tags/tag749.xml><?xml version="1.0" encoding="utf-8"?>
<p:tagLst xmlns:a="http://schemas.openxmlformats.org/drawingml/2006/main" xmlns:r="http://schemas.openxmlformats.org/officeDocument/2006/relationships" xmlns:p="http://schemas.openxmlformats.org/presentationml/2006/main">
  <p:tag name="AS_UNIQUEID" val="2879"/>
</p:tagLst>
</file>

<file path=ppt/tags/tag75.xml><?xml version="1.0" encoding="utf-8"?>
<p:tagLst xmlns:a="http://schemas.openxmlformats.org/drawingml/2006/main" xmlns:r="http://schemas.openxmlformats.org/officeDocument/2006/relationships" xmlns:p="http://schemas.openxmlformats.org/presentationml/2006/main">
  <p:tag name="AS_UNIQUEID" val="1790"/>
</p:tagLst>
</file>

<file path=ppt/tags/tag750.xml><?xml version="1.0" encoding="utf-8"?>
<p:tagLst xmlns:a="http://schemas.openxmlformats.org/drawingml/2006/main" xmlns:r="http://schemas.openxmlformats.org/officeDocument/2006/relationships" xmlns:p="http://schemas.openxmlformats.org/presentationml/2006/main">
  <p:tag name="AS_UNIQUEID" val="2882"/>
</p:tagLst>
</file>

<file path=ppt/tags/tag751.xml><?xml version="1.0" encoding="utf-8"?>
<p:tagLst xmlns:a="http://schemas.openxmlformats.org/drawingml/2006/main" xmlns:r="http://schemas.openxmlformats.org/officeDocument/2006/relationships" xmlns:p="http://schemas.openxmlformats.org/presentationml/2006/main">
  <p:tag name="AS_UNIQUEID" val="2892"/>
</p:tagLst>
</file>

<file path=ppt/tags/tag752.xml><?xml version="1.0" encoding="utf-8"?>
<p:tagLst xmlns:a="http://schemas.openxmlformats.org/drawingml/2006/main" xmlns:r="http://schemas.openxmlformats.org/officeDocument/2006/relationships" xmlns:p="http://schemas.openxmlformats.org/presentationml/2006/main">
  <p:tag name="AS_UNIQUEID" val="2909"/>
</p:tagLst>
</file>

<file path=ppt/tags/tag753.xml><?xml version="1.0" encoding="utf-8"?>
<p:tagLst xmlns:a="http://schemas.openxmlformats.org/drawingml/2006/main" xmlns:r="http://schemas.openxmlformats.org/officeDocument/2006/relationships" xmlns:p="http://schemas.openxmlformats.org/presentationml/2006/main">
  <p:tag name="AS_UNIQUEID" val="2918"/>
</p:tagLst>
</file>

<file path=ppt/tags/tag754.xml><?xml version="1.0" encoding="utf-8"?>
<p:tagLst xmlns:a="http://schemas.openxmlformats.org/drawingml/2006/main" xmlns:r="http://schemas.openxmlformats.org/officeDocument/2006/relationships" xmlns:p="http://schemas.openxmlformats.org/presentationml/2006/main">
  <p:tag name="AS_UNIQUEID" val="2943"/>
</p:tagLst>
</file>

<file path=ppt/tags/tag755.xml><?xml version="1.0" encoding="utf-8"?>
<p:tagLst xmlns:a="http://schemas.openxmlformats.org/drawingml/2006/main" xmlns:r="http://schemas.openxmlformats.org/officeDocument/2006/relationships" xmlns:p="http://schemas.openxmlformats.org/presentationml/2006/main">
  <p:tag name="AS_UNIQUEID" val="2955"/>
</p:tagLst>
</file>

<file path=ppt/tags/tag756.xml><?xml version="1.0" encoding="utf-8"?>
<p:tagLst xmlns:a="http://schemas.openxmlformats.org/drawingml/2006/main" xmlns:r="http://schemas.openxmlformats.org/officeDocument/2006/relationships" xmlns:p="http://schemas.openxmlformats.org/presentationml/2006/main">
  <p:tag name="AS_UNIQUEID" val="2944"/>
</p:tagLst>
</file>

<file path=ppt/tags/tag757.xml><?xml version="1.0" encoding="utf-8"?>
<p:tagLst xmlns:a="http://schemas.openxmlformats.org/drawingml/2006/main" xmlns:r="http://schemas.openxmlformats.org/officeDocument/2006/relationships" xmlns:p="http://schemas.openxmlformats.org/presentationml/2006/main">
  <p:tag name="AS_UNIQUEID" val="2945"/>
</p:tagLst>
</file>

<file path=ppt/tags/tag758.xml><?xml version="1.0" encoding="utf-8"?>
<p:tagLst xmlns:a="http://schemas.openxmlformats.org/drawingml/2006/main" xmlns:r="http://schemas.openxmlformats.org/officeDocument/2006/relationships" xmlns:p="http://schemas.openxmlformats.org/presentationml/2006/main">
  <p:tag name="AS_UNIQUEID" val="2948"/>
</p:tagLst>
</file>

<file path=ppt/tags/tag759.xml><?xml version="1.0" encoding="utf-8"?>
<p:tagLst xmlns:a="http://schemas.openxmlformats.org/drawingml/2006/main" xmlns:r="http://schemas.openxmlformats.org/officeDocument/2006/relationships" xmlns:p="http://schemas.openxmlformats.org/presentationml/2006/main">
  <p:tag name="AS_UNIQUEID" val="2949"/>
</p:tagLst>
</file>

<file path=ppt/tags/tag76.xml><?xml version="1.0" encoding="utf-8"?>
<p:tagLst xmlns:a="http://schemas.openxmlformats.org/drawingml/2006/main" xmlns:r="http://schemas.openxmlformats.org/officeDocument/2006/relationships" xmlns:p="http://schemas.openxmlformats.org/presentationml/2006/main">
  <p:tag name="AS_UNIQUEID" val="1792"/>
</p:tagLst>
</file>

<file path=ppt/tags/tag760.xml><?xml version="1.0" encoding="utf-8"?>
<p:tagLst xmlns:a="http://schemas.openxmlformats.org/drawingml/2006/main" xmlns:r="http://schemas.openxmlformats.org/officeDocument/2006/relationships" xmlns:p="http://schemas.openxmlformats.org/presentationml/2006/main">
  <p:tag name="AS_UNIQUEID" val="2946"/>
</p:tagLst>
</file>

<file path=ppt/tags/tag761.xml><?xml version="1.0" encoding="utf-8"?>
<p:tagLst xmlns:a="http://schemas.openxmlformats.org/drawingml/2006/main" xmlns:r="http://schemas.openxmlformats.org/officeDocument/2006/relationships" xmlns:p="http://schemas.openxmlformats.org/presentationml/2006/main">
  <p:tag name="AS_UNIQUEID" val="2947"/>
</p:tagLst>
</file>

<file path=ppt/tags/tag762.xml><?xml version="1.0" encoding="utf-8"?>
<p:tagLst xmlns:a="http://schemas.openxmlformats.org/drawingml/2006/main" xmlns:r="http://schemas.openxmlformats.org/officeDocument/2006/relationships" xmlns:p="http://schemas.openxmlformats.org/presentationml/2006/main">
  <p:tag name="AS_UNIQUEID" val="2919"/>
</p:tagLst>
</file>

<file path=ppt/tags/tag763.xml><?xml version="1.0" encoding="utf-8"?>
<p:tagLst xmlns:a="http://schemas.openxmlformats.org/drawingml/2006/main" xmlns:r="http://schemas.openxmlformats.org/officeDocument/2006/relationships" xmlns:p="http://schemas.openxmlformats.org/presentationml/2006/main">
  <p:tag name="AS_UNIQUEID" val="2920"/>
</p:tagLst>
</file>

<file path=ppt/tags/tag764.xml><?xml version="1.0" encoding="utf-8"?>
<p:tagLst xmlns:a="http://schemas.openxmlformats.org/drawingml/2006/main" xmlns:r="http://schemas.openxmlformats.org/officeDocument/2006/relationships" xmlns:p="http://schemas.openxmlformats.org/presentationml/2006/main">
  <p:tag name="AS_UNIQUEID" val="2930"/>
</p:tagLst>
</file>

<file path=ppt/tags/tag765.xml><?xml version="1.0" encoding="utf-8"?>
<p:tagLst xmlns:a="http://schemas.openxmlformats.org/drawingml/2006/main" xmlns:r="http://schemas.openxmlformats.org/officeDocument/2006/relationships" xmlns:p="http://schemas.openxmlformats.org/presentationml/2006/main">
  <p:tag name="AS_UNIQUEID" val="2931"/>
</p:tagLst>
</file>

<file path=ppt/tags/tag766.xml><?xml version="1.0" encoding="utf-8"?>
<p:tagLst xmlns:a="http://schemas.openxmlformats.org/drawingml/2006/main" xmlns:r="http://schemas.openxmlformats.org/officeDocument/2006/relationships" xmlns:p="http://schemas.openxmlformats.org/presentationml/2006/main">
  <p:tag name="AS_UNIQUEID" val="2932"/>
</p:tagLst>
</file>

<file path=ppt/tags/tag767.xml><?xml version="1.0" encoding="utf-8"?>
<p:tagLst xmlns:a="http://schemas.openxmlformats.org/drawingml/2006/main" xmlns:r="http://schemas.openxmlformats.org/officeDocument/2006/relationships" xmlns:p="http://schemas.openxmlformats.org/presentationml/2006/main">
  <p:tag name="AS_UNIQUEID" val="2933"/>
</p:tagLst>
</file>

<file path=ppt/tags/tag768.xml><?xml version="1.0" encoding="utf-8"?>
<p:tagLst xmlns:a="http://schemas.openxmlformats.org/drawingml/2006/main" xmlns:r="http://schemas.openxmlformats.org/officeDocument/2006/relationships" xmlns:p="http://schemas.openxmlformats.org/presentationml/2006/main">
  <p:tag name="AS_UNIQUEID" val="2934"/>
</p:tagLst>
</file>

<file path=ppt/tags/tag769.xml><?xml version="1.0" encoding="utf-8"?>
<p:tagLst xmlns:a="http://schemas.openxmlformats.org/drawingml/2006/main" xmlns:r="http://schemas.openxmlformats.org/officeDocument/2006/relationships" xmlns:p="http://schemas.openxmlformats.org/presentationml/2006/main">
  <p:tag name="AS_UNIQUEID" val="2938"/>
</p:tagLst>
</file>

<file path=ppt/tags/tag77.xml><?xml version="1.0" encoding="utf-8"?>
<p:tagLst xmlns:a="http://schemas.openxmlformats.org/drawingml/2006/main" xmlns:r="http://schemas.openxmlformats.org/officeDocument/2006/relationships" xmlns:p="http://schemas.openxmlformats.org/presentationml/2006/main">
  <p:tag name="AS_UNIQUEID" val="1793"/>
</p:tagLst>
</file>

<file path=ppt/tags/tag770.xml><?xml version="1.0" encoding="utf-8"?>
<p:tagLst xmlns:a="http://schemas.openxmlformats.org/drawingml/2006/main" xmlns:r="http://schemas.openxmlformats.org/officeDocument/2006/relationships" xmlns:p="http://schemas.openxmlformats.org/presentationml/2006/main">
  <p:tag name="AS_UNIQUEID" val="2941"/>
</p:tagLst>
</file>

<file path=ppt/tags/tag771.xml><?xml version="1.0" encoding="utf-8"?>
<p:tagLst xmlns:a="http://schemas.openxmlformats.org/drawingml/2006/main" xmlns:r="http://schemas.openxmlformats.org/officeDocument/2006/relationships" xmlns:p="http://schemas.openxmlformats.org/presentationml/2006/main">
  <p:tag name="AS_UNIQUEID" val="2942"/>
</p:tagLst>
</file>

<file path=ppt/tags/tag772.xml><?xml version="1.0" encoding="utf-8"?>
<p:tagLst xmlns:a="http://schemas.openxmlformats.org/drawingml/2006/main" xmlns:r="http://schemas.openxmlformats.org/officeDocument/2006/relationships" xmlns:p="http://schemas.openxmlformats.org/presentationml/2006/main">
  <p:tag name="AS_UNIQUEID" val="2939"/>
</p:tagLst>
</file>

<file path=ppt/tags/tag773.xml><?xml version="1.0" encoding="utf-8"?>
<p:tagLst xmlns:a="http://schemas.openxmlformats.org/drawingml/2006/main" xmlns:r="http://schemas.openxmlformats.org/officeDocument/2006/relationships" xmlns:p="http://schemas.openxmlformats.org/presentationml/2006/main">
  <p:tag name="AS_UNIQUEID" val="2940"/>
</p:tagLst>
</file>

<file path=ppt/tags/tag774.xml><?xml version="1.0" encoding="utf-8"?>
<p:tagLst xmlns:a="http://schemas.openxmlformats.org/drawingml/2006/main" xmlns:r="http://schemas.openxmlformats.org/officeDocument/2006/relationships" xmlns:p="http://schemas.openxmlformats.org/presentationml/2006/main">
  <p:tag name="AS_UNIQUEID" val="2935"/>
</p:tagLst>
</file>

<file path=ppt/tags/tag775.xml><?xml version="1.0" encoding="utf-8"?>
<p:tagLst xmlns:a="http://schemas.openxmlformats.org/drawingml/2006/main" xmlns:r="http://schemas.openxmlformats.org/officeDocument/2006/relationships" xmlns:p="http://schemas.openxmlformats.org/presentationml/2006/main">
  <p:tag name="AS_UNIQUEID" val="2936"/>
</p:tagLst>
</file>

<file path=ppt/tags/tag776.xml><?xml version="1.0" encoding="utf-8"?>
<p:tagLst xmlns:a="http://schemas.openxmlformats.org/drawingml/2006/main" xmlns:r="http://schemas.openxmlformats.org/officeDocument/2006/relationships" xmlns:p="http://schemas.openxmlformats.org/presentationml/2006/main">
  <p:tag name="AS_UNIQUEID" val="2937"/>
</p:tagLst>
</file>

<file path=ppt/tags/tag777.xml><?xml version="1.0" encoding="utf-8"?>
<p:tagLst xmlns:a="http://schemas.openxmlformats.org/drawingml/2006/main" xmlns:r="http://schemas.openxmlformats.org/officeDocument/2006/relationships" xmlns:p="http://schemas.openxmlformats.org/presentationml/2006/main">
  <p:tag name="AS_UNIQUEID" val="2921"/>
</p:tagLst>
</file>

<file path=ppt/tags/tag778.xml><?xml version="1.0" encoding="utf-8"?>
<p:tagLst xmlns:a="http://schemas.openxmlformats.org/drawingml/2006/main" xmlns:r="http://schemas.openxmlformats.org/officeDocument/2006/relationships" xmlns:p="http://schemas.openxmlformats.org/presentationml/2006/main">
  <p:tag name="AS_UNIQUEID" val="2922"/>
</p:tagLst>
</file>

<file path=ppt/tags/tag779.xml><?xml version="1.0" encoding="utf-8"?>
<p:tagLst xmlns:a="http://schemas.openxmlformats.org/drawingml/2006/main" xmlns:r="http://schemas.openxmlformats.org/officeDocument/2006/relationships" xmlns:p="http://schemas.openxmlformats.org/presentationml/2006/main">
  <p:tag name="AS_UNIQUEID" val="2923"/>
</p:tagLst>
</file>

<file path=ppt/tags/tag78.xml><?xml version="1.0" encoding="utf-8"?>
<p:tagLst xmlns:a="http://schemas.openxmlformats.org/drawingml/2006/main" xmlns:r="http://schemas.openxmlformats.org/officeDocument/2006/relationships" xmlns:p="http://schemas.openxmlformats.org/presentationml/2006/main">
  <p:tag name="AS_UNIQUEID" val="1794"/>
</p:tagLst>
</file>

<file path=ppt/tags/tag780.xml><?xml version="1.0" encoding="utf-8"?>
<p:tagLst xmlns:a="http://schemas.openxmlformats.org/drawingml/2006/main" xmlns:r="http://schemas.openxmlformats.org/officeDocument/2006/relationships" xmlns:p="http://schemas.openxmlformats.org/presentationml/2006/main">
  <p:tag name="AS_UNIQUEID" val="2924"/>
</p:tagLst>
</file>

<file path=ppt/tags/tag781.xml><?xml version="1.0" encoding="utf-8"?>
<p:tagLst xmlns:a="http://schemas.openxmlformats.org/drawingml/2006/main" xmlns:r="http://schemas.openxmlformats.org/officeDocument/2006/relationships" xmlns:p="http://schemas.openxmlformats.org/presentationml/2006/main">
  <p:tag name="AS_UNIQUEID" val="2925"/>
</p:tagLst>
</file>

<file path=ppt/tags/tag782.xml><?xml version="1.0" encoding="utf-8"?>
<p:tagLst xmlns:a="http://schemas.openxmlformats.org/drawingml/2006/main" xmlns:r="http://schemas.openxmlformats.org/officeDocument/2006/relationships" xmlns:p="http://schemas.openxmlformats.org/presentationml/2006/main">
  <p:tag name="AS_UNIQUEID" val="2926"/>
</p:tagLst>
</file>

<file path=ppt/tags/tag783.xml><?xml version="1.0" encoding="utf-8"?>
<p:tagLst xmlns:a="http://schemas.openxmlformats.org/drawingml/2006/main" xmlns:r="http://schemas.openxmlformats.org/officeDocument/2006/relationships" xmlns:p="http://schemas.openxmlformats.org/presentationml/2006/main">
  <p:tag name="AS_UNIQUEID" val="2927"/>
</p:tagLst>
</file>

<file path=ppt/tags/tag784.xml><?xml version="1.0" encoding="utf-8"?>
<p:tagLst xmlns:a="http://schemas.openxmlformats.org/drawingml/2006/main" xmlns:r="http://schemas.openxmlformats.org/officeDocument/2006/relationships" xmlns:p="http://schemas.openxmlformats.org/presentationml/2006/main">
  <p:tag name="AS_UNIQUEID" val="2928"/>
</p:tagLst>
</file>

<file path=ppt/tags/tag785.xml><?xml version="1.0" encoding="utf-8"?>
<p:tagLst xmlns:a="http://schemas.openxmlformats.org/drawingml/2006/main" xmlns:r="http://schemas.openxmlformats.org/officeDocument/2006/relationships" xmlns:p="http://schemas.openxmlformats.org/presentationml/2006/main">
  <p:tag name="AS_UNIQUEID" val="2929"/>
</p:tagLst>
</file>

<file path=ppt/tags/tag786.xml><?xml version="1.0" encoding="utf-8"?>
<p:tagLst xmlns:a="http://schemas.openxmlformats.org/drawingml/2006/main" xmlns:r="http://schemas.openxmlformats.org/officeDocument/2006/relationships" xmlns:p="http://schemas.openxmlformats.org/presentationml/2006/main">
  <p:tag name="AS_UNIQUEID" val="2910"/>
</p:tagLst>
</file>

<file path=ppt/tags/tag787.xml><?xml version="1.0" encoding="utf-8"?>
<p:tagLst xmlns:a="http://schemas.openxmlformats.org/drawingml/2006/main" xmlns:r="http://schemas.openxmlformats.org/officeDocument/2006/relationships" xmlns:p="http://schemas.openxmlformats.org/presentationml/2006/main">
  <p:tag name="AS_UNIQUEID" val="2912"/>
</p:tagLst>
</file>

<file path=ppt/tags/tag788.xml><?xml version="1.0" encoding="utf-8"?>
<p:tagLst xmlns:a="http://schemas.openxmlformats.org/drawingml/2006/main" xmlns:r="http://schemas.openxmlformats.org/officeDocument/2006/relationships" xmlns:p="http://schemas.openxmlformats.org/presentationml/2006/main">
  <p:tag name="AS_UNIQUEID" val="2893"/>
</p:tagLst>
</file>

<file path=ppt/tags/tag789.xml><?xml version="1.0" encoding="utf-8"?>
<p:tagLst xmlns:a="http://schemas.openxmlformats.org/drawingml/2006/main" xmlns:r="http://schemas.openxmlformats.org/officeDocument/2006/relationships" xmlns:p="http://schemas.openxmlformats.org/presentationml/2006/main">
  <p:tag name="AS_UNIQUEID" val="2895"/>
</p:tagLst>
</file>

<file path=ppt/tags/tag79.xml><?xml version="1.0" encoding="utf-8"?>
<p:tagLst xmlns:a="http://schemas.openxmlformats.org/drawingml/2006/main" xmlns:r="http://schemas.openxmlformats.org/officeDocument/2006/relationships" xmlns:p="http://schemas.openxmlformats.org/presentationml/2006/main">
  <p:tag name="AS_UNIQUEID" val="1795"/>
</p:tagLst>
</file>

<file path=ppt/tags/tag790.xml><?xml version="1.0" encoding="utf-8"?>
<p:tagLst xmlns:a="http://schemas.openxmlformats.org/drawingml/2006/main" xmlns:r="http://schemas.openxmlformats.org/officeDocument/2006/relationships" xmlns:p="http://schemas.openxmlformats.org/presentationml/2006/main">
  <p:tag name="AS_UNIQUEID" val="2884"/>
</p:tagLst>
</file>

<file path=ppt/tags/tag791.xml><?xml version="1.0" encoding="utf-8"?>
<p:tagLst xmlns:a="http://schemas.openxmlformats.org/drawingml/2006/main" xmlns:r="http://schemas.openxmlformats.org/officeDocument/2006/relationships" xmlns:p="http://schemas.openxmlformats.org/presentationml/2006/main">
  <p:tag name="AS_UNIQUEID" val="2891"/>
</p:tagLst>
</file>

<file path=ppt/tags/tag792.xml><?xml version="1.0" encoding="utf-8"?>
<p:tagLst xmlns:a="http://schemas.openxmlformats.org/drawingml/2006/main" xmlns:r="http://schemas.openxmlformats.org/officeDocument/2006/relationships" xmlns:p="http://schemas.openxmlformats.org/presentationml/2006/main">
  <p:tag name="AS_UNIQUEID" val="2880"/>
</p:tagLst>
</file>

<file path=ppt/tags/tag793.xml><?xml version="1.0" encoding="utf-8"?>
<p:tagLst xmlns:a="http://schemas.openxmlformats.org/drawingml/2006/main" xmlns:r="http://schemas.openxmlformats.org/officeDocument/2006/relationships" xmlns:p="http://schemas.openxmlformats.org/presentationml/2006/main">
  <p:tag name="AS_UNIQUEID" val="2881"/>
</p:tagLst>
</file>

<file path=ppt/tags/tag794.xml><?xml version="1.0" encoding="utf-8"?>
<p:tagLst xmlns:a="http://schemas.openxmlformats.org/drawingml/2006/main" xmlns:r="http://schemas.openxmlformats.org/officeDocument/2006/relationships" xmlns:p="http://schemas.openxmlformats.org/presentationml/2006/main">
  <p:tag name="AS_UNIQUEID" val="2872"/>
</p:tagLst>
</file>

<file path=ppt/tags/tag795.xml><?xml version="1.0" encoding="utf-8"?>
<p:tagLst xmlns:a="http://schemas.openxmlformats.org/drawingml/2006/main" xmlns:r="http://schemas.openxmlformats.org/officeDocument/2006/relationships" xmlns:p="http://schemas.openxmlformats.org/presentationml/2006/main">
  <p:tag name="AS_UNIQUEID" val="2873"/>
</p:tagLst>
</file>

<file path=ppt/tags/tag796.xml><?xml version="1.0" encoding="utf-8"?>
<p:tagLst xmlns:a="http://schemas.openxmlformats.org/drawingml/2006/main" xmlns:r="http://schemas.openxmlformats.org/officeDocument/2006/relationships" xmlns:p="http://schemas.openxmlformats.org/presentationml/2006/main">
  <p:tag name="AS_UNIQUEID" val="2874"/>
</p:tagLst>
</file>

<file path=ppt/tags/tag797.xml><?xml version="1.0" encoding="utf-8"?>
<p:tagLst xmlns:a="http://schemas.openxmlformats.org/drawingml/2006/main" xmlns:r="http://schemas.openxmlformats.org/officeDocument/2006/relationships" xmlns:p="http://schemas.openxmlformats.org/presentationml/2006/main">
  <p:tag name="AS_UNIQUEID" val="2875"/>
</p:tagLst>
</file>

<file path=ppt/tags/tag798.xml><?xml version="1.0" encoding="utf-8"?>
<p:tagLst xmlns:a="http://schemas.openxmlformats.org/drawingml/2006/main" xmlns:r="http://schemas.openxmlformats.org/officeDocument/2006/relationships" xmlns:p="http://schemas.openxmlformats.org/presentationml/2006/main">
  <p:tag name="AS_UNIQUEID" val="2876"/>
</p:tagLst>
</file>

<file path=ppt/tags/tag799.xml><?xml version="1.0" encoding="utf-8"?>
<p:tagLst xmlns:a="http://schemas.openxmlformats.org/drawingml/2006/main" xmlns:r="http://schemas.openxmlformats.org/officeDocument/2006/relationships" xmlns:p="http://schemas.openxmlformats.org/presentationml/2006/main">
  <p:tag name="AS_UNIQUEID" val="2853"/>
</p:tagLst>
</file>

<file path=ppt/tags/tag8.xml><?xml version="1.0" encoding="utf-8"?>
<p:tagLst xmlns:a="http://schemas.openxmlformats.org/drawingml/2006/main" xmlns:r="http://schemas.openxmlformats.org/officeDocument/2006/relationships" xmlns:p="http://schemas.openxmlformats.org/presentationml/2006/main">
  <p:tag name="AS_UNIQUEID" val="1710"/>
</p:tagLst>
</file>

<file path=ppt/tags/tag80.xml><?xml version="1.0" encoding="utf-8"?>
<p:tagLst xmlns:a="http://schemas.openxmlformats.org/drawingml/2006/main" xmlns:r="http://schemas.openxmlformats.org/officeDocument/2006/relationships" xmlns:p="http://schemas.openxmlformats.org/presentationml/2006/main">
  <p:tag name="AS_UNIQUEID" val="1796"/>
</p:tagLst>
</file>

<file path=ppt/tags/tag800.xml><?xml version="1.0" encoding="utf-8"?>
<p:tagLst xmlns:a="http://schemas.openxmlformats.org/drawingml/2006/main" xmlns:r="http://schemas.openxmlformats.org/officeDocument/2006/relationships" xmlns:p="http://schemas.openxmlformats.org/presentationml/2006/main">
  <p:tag name="AS_UNIQUEID" val="2854"/>
</p:tagLst>
</file>

<file path=ppt/tags/tag801.xml><?xml version="1.0" encoding="utf-8"?>
<p:tagLst xmlns:a="http://schemas.openxmlformats.org/drawingml/2006/main" xmlns:r="http://schemas.openxmlformats.org/officeDocument/2006/relationships" xmlns:p="http://schemas.openxmlformats.org/presentationml/2006/main">
  <p:tag name="AS_UNIQUEID" val="2855"/>
</p:tagLst>
</file>

<file path=ppt/tags/tag802.xml><?xml version="1.0" encoding="utf-8"?>
<p:tagLst xmlns:a="http://schemas.openxmlformats.org/drawingml/2006/main" xmlns:r="http://schemas.openxmlformats.org/officeDocument/2006/relationships" xmlns:p="http://schemas.openxmlformats.org/presentationml/2006/main">
  <p:tag name="AS_UNIQUEID" val="2856"/>
</p:tagLst>
</file>

<file path=ppt/tags/tag803.xml><?xml version="1.0" encoding="utf-8"?>
<p:tagLst xmlns:a="http://schemas.openxmlformats.org/drawingml/2006/main" xmlns:r="http://schemas.openxmlformats.org/officeDocument/2006/relationships" xmlns:p="http://schemas.openxmlformats.org/presentationml/2006/main">
  <p:tag name="AS_UNIQUEID" val="2857"/>
</p:tagLst>
</file>

<file path=ppt/tags/tag804.xml><?xml version="1.0" encoding="utf-8"?>
<p:tagLst xmlns:a="http://schemas.openxmlformats.org/drawingml/2006/main" xmlns:r="http://schemas.openxmlformats.org/officeDocument/2006/relationships" xmlns:p="http://schemas.openxmlformats.org/presentationml/2006/main">
  <p:tag name="AS_UNIQUEID" val="2858"/>
</p:tagLst>
</file>

<file path=ppt/tags/tag805.xml><?xml version="1.0" encoding="utf-8"?>
<p:tagLst xmlns:a="http://schemas.openxmlformats.org/drawingml/2006/main" xmlns:r="http://schemas.openxmlformats.org/officeDocument/2006/relationships" xmlns:p="http://schemas.openxmlformats.org/presentationml/2006/main">
  <p:tag name="AS_UNIQUEID" val="2859"/>
</p:tagLst>
</file>

<file path=ppt/tags/tag806.xml><?xml version="1.0" encoding="utf-8"?>
<p:tagLst xmlns:a="http://schemas.openxmlformats.org/drawingml/2006/main" xmlns:r="http://schemas.openxmlformats.org/officeDocument/2006/relationships" xmlns:p="http://schemas.openxmlformats.org/presentationml/2006/main">
  <p:tag name="AS_UNIQUEID" val="2860"/>
</p:tagLst>
</file>

<file path=ppt/tags/tag807.xml><?xml version="1.0" encoding="utf-8"?>
<p:tagLst xmlns:a="http://schemas.openxmlformats.org/drawingml/2006/main" xmlns:r="http://schemas.openxmlformats.org/officeDocument/2006/relationships" xmlns:p="http://schemas.openxmlformats.org/presentationml/2006/main">
  <p:tag name="AS_UNIQUEID" val="2861"/>
</p:tagLst>
</file>

<file path=ppt/tags/tag808.xml><?xml version="1.0" encoding="utf-8"?>
<p:tagLst xmlns:a="http://schemas.openxmlformats.org/drawingml/2006/main" xmlns:r="http://schemas.openxmlformats.org/officeDocument/2006/relationships" xmlns:p="http://schemas.openxmlformats.org/presentationml/2006/main">
  <p:tag name="AS_UNIQUEID" val="2862"/>
</p:tagLst>
</file>

<file path=ppt/tags/tag809.xml><?xml version="1.0" encoding="utf-8"?>
<p:tagLst xmlns:a="http://schemas.openxmlformats.org/drawingml/2006/main" xmlns:r="http://schemas.openxmlformats.org/officeDocument/2006/relationships" xmlns:p="http://schemas.openxmlformats.org/presentationml/2006/main">
  <p:tag name="AS_UNIQUEID" val="2863"/>
</p:tagLst>
</file>

<file path=ppt/tags/tag81.xml><?xml version="1.0" encoding="utf-8"?>
<p:tagLst xmlns:a="http://schemas.openxmlformats.org/drawingml/2006/main" xmlns:r="http://schemas.openxmlformats.org/officeDocument/2006/relationships" xmlns:p="http://schemas.openxmlformats.org/presentationml/2006/main">
  <p:tag name="AS_UNIQUEID" val="1797"/>
</p:tagLst>
</file>

<file path=ppt/tags/tag810.xml><?xml version="1.0" encoding="utf-8"?>
<p:tagLst xmlns:a="http://schemas.openxmlformats.org/drawingml/2006/main" xmlns:r="http://schemas.openxmlformats.org/officeDocument/2006/relationships" xmlns:p="http://schemas.openxmlformats.org/presentationml/2006/main">
  <p:tag name="AS_UNIQUEID" val="2864"/>
</p:tagLst>
</file>

<file path=ppt/tags/tag811.xml><?xml version="1.0" encoding="utf-8"?>
<p:tagLst xmlns:a="http://schemas.openxmlformats.org/drawingml/2006/main" xmlns:r="http://schemas.openxmlformats.org/officeDocument/2006/relationships" xmlns:p="http://schemas.openxmlformats.org/presentationml/2006/main">
  <p:tag name="AS_UNIQUEID" val="2865"/>
</p:tagLst>
</file>

<file path=ppt/tags/tag812.xml><?xml version="1.0" encoding="utf-8"?>
<p:tagLst xmlns:a="http://schemas.openxmlformats.org/drawingml/2006/main" xmlns:r="http://schemas.openxmlformats.org/officeDocument/2006/relationships" xmlns:p="http://schemas.openxmlformats.org/presentationml/2006/main">
  <p:tag name="AS_UNIQUEID" val="2866"/>
</p:tagLst>
</file>

<file path=ppt/tags/tag813.xml><?xml version="1.0" encoding="utf-8"?>
<p:tagLst xmlns:a="http://schemas.openxmlformats.org/drawingml/2006/main" xmlns:r="http://schemas.openxmlformats.org/officeDocument/2006/relationships" xmlns:p="http://schemas.openxmlformats.org/presentationml/2006/main">
  <p:tag name="AS_UNIQUEID" val="2867"/>
</p:tagLst>
</file>

<file path=ppt/tags/tag814.xml><?xml version="1.0" encoding="utf-8"?>
<p:tagLst xmlns:a="http://schemas.openxmlformats.org/drawingml/2006/main" xmlns:r="http://schemas.openxmlformats.org/officeDocument/2006/relationships" xmlns:p="http://schemas.openxmlformats.org/presentationml/2006/main">
  <p:tag name="AS_UNIQUEID" val="2868"/>
</p:tagLst>
</file>

<file path=ppt/tags/tag815.xml><?xml version="1.0" encoding="utf-8"?>
<p:tagLst xmlns:a="http://schemas.openxmlformats.org/drawingml/2006/main" xmlns:r="http://schemas.openxmlformats.org/officeDocument/2006/relationships" xmlns:p="http://schemas.openxmlformats.org/presentationml/2006/main">
  <p:tag name="AS_UNIQUEID" val="2869"/>
</p:tagLst>
</file>

<file path=ppt/tags/tag816.xml><?xml version="1.0" encoding="utf-8"?>
<p:tagLst xmlns:a="http://schemas.openxmlformats.org/drawingml/2006/main" xmlns:r="http://schemas.openxmlformats.org/officeDocument/2006/relationships" xmlns:p="http://schemas.openxmlformats.org/presentationml/2006/main">
  <p:tag name="AS_UNIQUEID" val="2870"/>
</p:tagLst>
</file>

<file path=ppt/tags/tag817.xml><?xml version="1.0" encoding="utf-8"?>
<p:tagLst xmlns:a="http://schemas.openxmlformats.org/drawingml/2006/main" xmlns:r="http://schemas.openxmlformats.org/officeDocument/2006/relationships" xmlns:p="http://schemas.openxmlformats.org/presentationml/2006/main">
  <p:tag name="AS_UNIQUEID" val="2850"/>
</p:tagLst>
</file>

<file path=ppt/tags/tag818.xml><?xml version="1.0" encoding="utf-8"?>
<p:tagLst xmlns:a="http://schemas.openxmlformats.org/drawingml/2006/main" xmlns:r="http://schemas.openxmlformats.org/officeDocument/2006/relationships" xmlns:p="http://schemas.openxmlformats.org/presentationml/2006/main">
  <p:tag name="AS_UNIQUEID" val="2851"/>
</p:tagLst>
</file>

<file path=ppt/tags/tag819.xml><?xml version="1.0" encoding="utf-8"?>
<p:tagLst xmlns:a="http://schemas.openxmlformats.org/drawingml/2006/main" xmlns:r="http://schemas.openxmlformats.org/officeDocument/2006/relationships" xmlns:p="http://schemas.openxmlformats.org/presentationml/2006/main">
  <p:tag name="AS_UNIQUEID" val="2847"/>
</p:tagLst>
</file>

<file path=ppt/tags/tag82.xml><?xml version="1.0" encoding="utf-8"?>
<p:tagLst xmlns:a="http://schemas.openxmlformats.org/drawingml/2006/main" xmlns:r="http://schemas.openxmlformats.org/officeDocument/2006/relationships" xmlns:p="http://schemas.openxmlformats.org/presentationml/2006/main">
  <p:tag name="AS_UNIQUEID" val="1798"/>
</p:tagLst>
</file>

<file path=ppt/tags/tag820.xml><?xml version="1.0" encoding="utf-8"?>
<p:tagLst xmlns:a="http://schemas.openxmlformats.org/drawingml/2006/main" xmlns:r="http://schemas.openxmlformats.org/officeDocument/2006/relationships" xmlns:p="http://schemas.openxmlformats.org/presentationml/2006/main">
  <p:tag name="AS_UNIQUEID" val="2848"/>
</p:tagLst>
</file>

<file path=ppt/tags/tag821.xml><?xml version="1.0" encoding="utf-8"?>
<p:tagLst xmlns:a="http://schemas.openxmlformats.org/drawingml/2006/main" xmlns:r="http://schemas.openxmlformats.org/officeDocument/2006/relationships" xmlns:p="http://schemas.openxmlformats.org/presentationml/2006/main">
  <p:tag name="AS_UNIQUEID" val="2844"/>
</p:tagLst>
</file>

<file path=ppt/tags/tag822.xml><?xml version="1.0" encoding="utf-8"?>
<p:tagLst xmlns:a="http://schemas.openxmlformats.org/drawingml/2006/main" xmlns:r="http://schemas.openxmlformats.org/officeDocument/2006/relationships" xmlns:p="http://schemas.openxmlformats.org/presentationml/2006/main">
  <p:tag name="AS_UNIQUEID" val="2845"/>
</p:tagLst>
</file>

<file path=ppt/tags/tag823.xml><?xml version="1.0" encoding="utf-8"?>
<p:tagLst xmlns:a="http://schemas.openxmlformats.org/drawingml/2006/main" xmlns:r="http://schemas.openxmlformats.org/officeDocument/2006/relationships" xmlns:p="http://schemas.openxmlformats.org/presentationml/2006/main">
  <p:tag name="AS_UNIQUEID" val="2840"/>
</p:tagLst>
</file>

<file path=ppt/tags/tag824.xml><?xml version="1.0" encoding="utf-8"?>
<p:tagLst xmlns:a="http://schemas.openxmlformats.org/drawingml/2006/main" xmlns:r="http://schemas.openxmlformats.org/officeDocument/2006/relationships" xmlns:p="http://schemas.openxmlformats.org/presentationml/2006/main">
  <p:tag name="AS_UNIQUEID" val="2841"/>
</p:tagLst>
</file>

<file path=ppt/tags/tag825.xml><?xml version="1.0" encoding="utf-8"?>
<p:tagLst xmlns:a="http://schemas.openxmlformats.org/drawingml/2006/main" xmlns:r="http://schemas.openxmlformats.org/officeDocument/2006/relationships" xmlns:p="http://schemas.openxmlformats.org/presentationml/2006/main">
  <p:tag name="AS_UNIQUEID" val="2829"/>
</p:tagLst>
</file>

<file path=ppt/tags/tag826.xml><?xml version="1.0" encoding="utf-8"?>
<p:tagLst xmlns:a="http://schemas.openxmlformats.org/drawingml/2006/main" xmlns:r="http://schemas.openxmlformats.org/officeDocument/2006/relationships" xmlns:p="http://schemas.openxmlformats.org/presentationml/2006/main">
  <p:tag name="AS_UNIQUEID" val="2830"/>
</p:tagLst>
</file>

<file path=ppt/tags/tag827.xml><?xml version="1.0" encoding="utf-8"?>
<p:tagLst xmlns:a="http://schemas.openxmlformats.org/drawingml/2006/main" xmlns:r="http://schemas.openxmlformats.org/officeDocument/2006/relationships" xmlns:p="http://schemas.openxmlformats.org/presentationml/2006/main">
  <p:tag name="AS_UNIQUEID" val="2831"/>
</p:tagLst>
</file>

<file path=ppt/tags/tag828.xml><?xml version="1.0" encoding="utf-8"?>
<p:tagLst xmlns:a="http://schemas.openxmlformats.org/drawingml/2006/main" xmlns:r="http://schemas.openxmlformats.org/officeDocument/2006/relationships" xmlns:p="http://schemas.openxmlformats.org/presentationml/2006/main">
  <p:tag name="AS_UNIQUEID" val="1986"/>
</p:tagLst>
</file>

<file path=ppt/tags/tag829.xml><?xml version="1.0" encoding="utf-8"?>
<p:tagLst xmlns:a="http://schemas.openxmlformats.org/drawingml/2006/main" xmlns:r="http://schemas.openxmlformats.org/officeDocument/2006/relationships" xmlns:p="http://schemas.openxmlformats.org/presentationml/2006/main">
  <p:tag name="AS_UNIQUEID" val="1987"/>
</p:tagLst>
</file>

<file path=ppt/tags/tag83.xml><?xml version="1.0" encoding="utf-8"?>
<p:tagLst xmlns:a="http://schemas.openxmlformats.org/drawingml/2006/main" xmlns:r="http://schemas.openxmlformats.org/officeDocument/2006/relationships" xmlns:p="http://schemas.openxmlformats.org/presentationml/2006/main">
  <p:tag name="AS_UNIQUEID" val="1799"/>
</p:tagLst>
</file>

<file path=ppt/tags/tag830.xml><?xml version="1.0" encoding="utf-8"?>
<p:tagLst xmlns:a="http://schemas.openxmlformats.org/drawingml/2006/main" xmlns:r="http://schemas.openxmlformats.org/officeDocument/2006/relationships" xmlns:p="http://schemas.openxmlformats.org/presentationml/2006/main">
  <p:tag name="AS_UNIQUEID" val="1988"/>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AS_UNIQUEID" val="1989"/>
  <p:tag name="THINKCELLSHAPEDONOTDELETE" val="tyXNHaO.FA3Wp30Rh78dBYw"/>
</p:tagLst>
</file>

<file path=ppt/tags/tag832.xml><?xml version="1.0" encoding="utf-8"?>
<p:tagLst xmlns:a="http://schemas.openxmlformats.org/drawingml/2006/main" xmlns:r="http://schemas.openxmlformats.org/officeDocument/2006/relationships" xmlns:p="http://schemas.openxmlformats.org/presentationml/2006/main">
  <p:tag name="AS_UNIQUEID" val="1990"/>
</p:tagLst>
</file>

<file path=ppt/tags/tag833.xml><?xml version="1.0" encoding="utf-8"?>
<p:tagLst xmlns:a="http://schemas.openxmlformats.org/drawingml/2006/main" xmlns:r="http://schemas.openxmlformats.org/officeDocument/2006/relationships" xmlns:p="http://schemas.openxmlformats.org/presentationml/2006/main">
  <p:tag name="AS_UNIQUEID" val="1991"/>
</p:tagLst>
</file>

<file path=ppt/tags/tag834.xml><?xml version="1.0" encoding="utf-8"?>
<p:tagLst xmlns:a="http://schemas.openxmlformats.org/drawingml/2006/main" xmlns:r="http://schemas.openxmlformats.org/officeDocument/2006/relationships" xmlns:p="http://schemas.openxmlformats.org/presentationml/2006/main">
  <p:tag name="AS_UNIQUEID" val="1992"/>
</p:tagLst>
</file>

<file path=ppt/tags/tag835.xml><?xml version="1.0" encoding="utf-8"?>
<p:tagLst xmlns:a="http://schemas.openxmlformats.org/drawingml/2006/main" xmlns:r="http://schemas.openxmlformats.org/officeDocument/2006/relationships" xmlns:p="http://schemas.openxmlformats.org/presentationml/2006/main">
  <p:tag name="AS_UNIQUEID" val="2001"/>
</p:tagLst>
</file>

<file path=ppt/tags/tag836.xml><?xml version="1.0" encoding="utf-8"?>
<p:tagLst xmlns:a="http://schemas.openxmlformats.org/drawingml/2006/main" xmlns:r="http://schemas.openxmlformats.org/officeDocument/2006/relationships" xmlns:p="http://schemas.openxmlformats.org/presentationml/2006/main">
  <p:tag name="AS_UNIQUEID" val="2003"/>
</p:tagLst>
</file>

<file path=ppt/tags/tag837.xml><?xml version="1.0" encoding="utf-8"?>
<p:tagLst xmlns:a="http://schemas.openxmlformats.org/drawingml/2006/main" xmlns:r="http://schemas.openxmlformats.org/officeDocument/2006/relationships" xmlns:p="http://schemas.openxmlformats.org/presentationml/2006/main">
  <p:tag name="AS_UNIQUEID" val="2005"/>
</p:tagLst>
</file>

<file path=ppt/tags/tag838.xml><?xml version="1.0" encoding="utf-8"?>
<p:tagLst xmlns:a="http://schemas.openxmlformats.org/drawingml/2006/main" xmlns:r="http://schemas.openxmlformats.org/officeDocument/2006/relationships" xmlns:p="http://schemas.openxmlformats.org/presentationml/2006/main">
  <p:tag name="AS_UNIQUEID" val="2006"/>
</p:tagLst>
</file>

<file path=ppt/tags/tag839.xml><?xml version="1.0" encoding="utf-8"?>
<p:tagLst xmlns:a="http://schemas.openxmlformats.org/drawingml/2006/main" xmlns:r="http://schemas.openxmlformats.org/officeDocument/2006/relationships" xmlns:p="http://schemas.openxmlformats.org/presentationml/2006/main">
  <p:tag name="AS_UNIQUEID" val="2009"/>
</p:tagLst>
</file>

<file path=ppt/tags/tag84.xml><?xml version="1.0" encoding="utf-8"?>
<p:tagLst xmlns:a="http://schemas.openxmlformats.org/drawingml/2006/main" xmlns:r="http://schemas.openxmlformats.org/officeDocument/2006/relationships" xmlns:p="http://schemas.openxmlformats.org/presentationml/2006/main">
  <p:tag name="AS_UNIQUEID" val="1800"/>
</p:tagLst>
</file>

<file path=ppt/tags/tag840.xml><?xml version="1.0" encoding="utf-8"?>
<p:tagLst xmlns:a="http://schemas.openxmlformats.org/drawingml/2006/main" xmlns:r="http://schemas.openxmlformats.org/officeDocument/2006/relationships" xmlns:p="http://schemas.openxmlformats.org/presentationml/2006/main">
  <p:tag name="AS_UNIQUEID" val="2012"/>
</p:tagLst>
</file>

<file path=ppt/tags/tag841.xml><?xml version="1.0" encoding="utf-8"?>
<p:tagLst xmlns:a="http://schemas.openxmlformats.org/drawingml/2006/main" xmlns:r="http://schemas.openxmlformats.org/officeDocument/2006/relationships" xmlns:p="http://schemas.openxmlformats.org/presentationml/2006/main">
  <p:tag name="AS_UNIQUEID" val="2015"/>
</p:tagLst>
</file>

<file path=ppt/tags/tag842.xml><?xml version="1.0" encoding="utf-8"?>
<p:tagLst xmlns:a="http://schemas.openxmlformats.org/drawingml/2006/main" xmlns:r="http://schemas.openxmlformats.org/officeDocument/2006/relationships" xmlns:p="http://schemas.openxmlformats.org/presentationml/2006/main">
  <p:tag name="AS_UNIQUEID" val="2016"/>
</p:tagLst>
</file>

<file path=ppt/tags/tag843.xml><?xml version="1.0" encoding="utf-8"?>
<p:tagLst xmlns:a="http://schemas.openxmlformats.org/drawingml/2006/main" xmlns:r="http://schemas.openxmlformats.org/officeDocument/2006/relationships" xmlns:p="http://schemas.openxmlformats.org/presentationml/2006/main">
  <p:tag name="AS_UNIQUEID" val="2017"/>
</p:tagLst>
</file>

<file path=ppt/tags/tag844.xml><?xml version="1.0" encoding="utf-8"?>
<p:tagLst xmlns:a="http://schemas.openxmlformats.org/drawingml/2006/main" xmlns:r="http://schemas.openxmlformats.org/officeDocument/2006/relationships" xmlns:p="http://schemas.openxmlformats.org/presentationml/2006/main">
  <p:tag name="AS_UNIQUEID" val="2018"/>
</p:tagLst>
</file>

<file path=ppt/tags/tag845.xml><?xml version="1.0" encoding="utf-8"?>
<p:tagLst xmlns:a="http://schemas.openxmlformats.org/drawingml/2006/main" xmlns:r="http://schemas.openxmlformats.org/officeDocument/2006/relationships" xmlns:p="http://schemas.openxmlformats.org/presentationml/2006/main">
  <p:tag name="AS_UNIQUEID" val="2019"/>
</p:tagLst>
</file>

<file path=ppt/tags/tag846.xml><?xml version="1.0" encoding="utf-8"?>
<p:tagLst xmlns:a="http://schemas.openxmlformats.org/drawingml/2006/main" xmlns:r="http://schemas.openxmlformats.org/officeDocument/2006/relationships" xmlns:p="http://schemas.openxmlformats.org/presentationml/2006/main">
  <p:tag name="AS_UNIQUEID" val="2020"/>
</p:tagLst>
</file>

<file path=ppt/tags/tag847.xml><?xml version="1.0" encoding="utf-8"?>
<p:tagLst xmlns:a="http://schemas.openxmlformats.org/drawingml/2006/main" xmlns:r="http://schemas.openxmlformats.org/officeDocument/2006/relationships" xmlns:p="http://schemas.openxmlformats.org/presentationml/2006/main">
  <p:tag name="AS_UNIQUEID" val="2021"/>
</p:tagLst>
</file>

<file path=ppt/tags/tag848.xml><?xml version="1.0" encoding="utf-8"?>
<p:tagLst xmlns:a="http://schemas.openxmlformats.org/drawingml/2006/main" xmlns:r="http://schemas.openxmlformats.org/officeDocument/2006/relationships" xmlns:p="http://schemas.openxmlformats.org/presentationml/2006/main">
  <p:tag name="AS_UNIQUEID" val="2022"/>
</p:tagLst>
</file>

<file path=ppt/tags/tag849.xml><?xml version="1.0" encoding="utf-8"?>
<p:tagLst xmlns:a="http://schemas.openxmlformats.org/drawingml/2006/main" xmlns:r="http://schemas.openxmlformats.org/officeDocument/2006/relationships" xmlns:p="http://schemas.openxmlformats.org/presentationml/2006/main">
  <p:tag name="AS_UNIQUEID" val="2023"/>
</p:tagLst>
</file>

<file path=ppt/tags/tag85.xml><?xml version="1.0" encoding="utf-8"?>
<p:tagLst xmlns:a="http://schemas.openxmlformats.org/drawingml/2006/main" xmlns:r="http://schemas.openxmlformats.org/officeDocument/2006/relationships" xmlns:p="http://schemas.openxmlformats.org/presentationml/2006/main">
  <p:tag name="AS_UNIQUEID" val="1801"/>
</p:tagLst>
</file>

<file path=ppt/tags/tag850.xml><?xml version="1.0" encoding="utf-8"?>
<p:tagLst xmlns:a="http://schemas.openxmlformats.org/drawingml/2006/main" xmlns:r="http://schemas.openxmlformats.org/officeDocument/2006/relationships" xmlns:p="http://schemas.openxmlformats.org/presentationml/2006/main">
  <p:tag name="AS_UNIQUEID" val="2024"/>
</p:tagLst>
</file>

<file path=ppt/tags/tag851.xml><?xml version="1.0" encoding="utf-8"?>
<p:tagLst xmlns:a="http://schemas.openxmlformats.org/drawingml/2006/main" xmlns:r="http://schemas.openxmlformats.org/officeDocument/2006/relationships" xmlns:p="http://schemas.openxmlformats.org/presentationml/2006/main">
  <p:tag name="AS_UNIQUEID" val="2025"/>
</p:tagLst>
</file>

<file path=ppt/tags/tag852.xml><?xml version="1.0" encoding="utf-8"?>
<p:tagLst xmlns:a="http://schemas.openxmlformats.org/drawingml/2006/main" xmlns:r="http://schemas.openxmlformats.org/officeDocument/2006/relationships" xmlns:p="http://schemas.openxmlformats.org/presentationml/2006/main">
  <p:tag name="AS_UNIQUEID" val="2026"/>
</p:tagLst>
</file>

<file path=ppt/tags/tag853.xml><?xml version="1.0" encoding="utf-8"?>
<p:tagLst xmlns:a="http://schemas.openxmlformats.org/drawingml/2006/main" xmlns:r="http://schemas.openxmlformats.org/officeDocument/2006/relationships" xmlns:p="http://schemas.openxmlformats.org/presentationml/2006/main">
  <p:tag name="AS_UNIQUEID" val="2027"/>
</p:tagLst>
</file>

<file path=ppt/tags/tag854.xml><?xml version="1.0" encoding="utf-8"?>
<p:tagLst xmlns:a="http://schemas.openxmlformats.org/drawingml/2006/main" xmlns:r="http://schemas.openxmlformats.org/officeDocument/2006/relationships" xmlns:p="http://schemas.openxmlformats.org/presentationml/2006/main">
  <p:tag name="AS_UNIQUEID" val="2033"/>
</p:tagLst>
</file>

<file path=ppt/tags/tag855.xml><?xml version="1.0" encoding="utf-8"?>
<p:tagLst xmlns:a="http://schemas.openxmlformats.org/drawingml/2006/main" xmlns:r="http://schemas.openxmlformats.org/officeDocument/2006/relationships" xmlns:p="http://schemas.openxmlformats.org/presentationml/2006/main">
  <p:tag name="AS_UNIQUEID" val="2013"/>
</p:tagLst>
</file>

<file path=ppt/tags/tag856.xml><?xml version="1.0" encoding="utf-8"?>
<p:tagLst xmlns:a="http://schemas.openxmlformats.org/drawingml/2006/main" xmlns:r="http://schemas.openxmlformats.org/officeDocument/2006/relationships" xmlns:p="http://schemas.openxmlformats.org/presentationml/2006/main">
  <p:tag name="AS_UNIQUEID" val="2014"/>
</p:tagLst>
</file>

<file path=ppt/tags/tag857.xml><?xml version="1.0" encoding="utf-8"?>
<p:tagLst xmlns:a="http://schemas.openxmlformats.org/drawingml/2006/main" xmlns:r="http://schemas.openxmlformats.org/officeDocument/2006/relationships" xmlns:p="http://schemas.openxmlformats.org/presentationml/2006/main">
  <p:tag name="AS_UNIQUEID" val="2010"/>
</p:tagLst>
</file>

<file path=ppt/tags/tag858.xml><?xml version="1.0" encoding="utf-8"?>
<p:tagLst xmlns:a="http://schemas.openxmlformats.org/drawingml/2006/main" xmlns:r="http://schemas.openxmlformats.org/officeDocument/2006/relationships" xmlns:p="http://schemas.openxmlformats.org/presentationml/2006/main">
  <p:tag name="AS_UNIQUEID" val="2011"/>
</p:tagLst>
</file>

<file path=ppt/tags/tag859.xml><?xml version="1.0" encoding="utf-8"?>
<p:tagLst xmlns:a="http://schemas.openxmlformats.org/drawingml/2006/main" xmlns:r="http://schemas.openxmlformats.org/officeDocument/2006/relationships" xmlns:p="http://schemas.openxmlformats.org/presentationml/2006/main">
  <p:tag name="AS_UNIQUEID" val="2007"/>
</p:tagLst>
</file>

<file path=ppt/tags/tag86.xml><?xml version="1.0" encoding="utf-8"?>
<p:tagLst xmlns:a="http://schemas.openxmlformats.org/drawingml/2006/main" xmlns:r="http://schemas.openxmlformats.org/officeDocument/2006/relationships" xmlns:p="http://schemas.openxmlformats.org/presentationml/2006/main">
  <p:tag name="AS_UNIQUEID" val="1802"/>
</p:tagLst>
</file>

<file path=ppt/tags/tag860.xml><?xml version="1.0" encoding="utf-8"?>
<p:tagLst xmlns:a="http://schemas.openxmlformats.org/drawingml/2006/main" xmlns:r="http://schemas.openxmlformats.org/officeDocument/2006/relationships" xmlns:p="http://schemas.openxmlformats.org/presentationml/2006/main">
  <p:tag name="AS_UNIQUEID" val="2008"/>
</p:tagLst>
</file>

<file path=ppt/tags/tag861.xml><?xml version="1.0" encoding="utf-8"?>
<p:tagLst xmlns:a="http://schemas.openxmlformats.org/drawingml/2006/main" xmlns:r="http://schemas.openxmlformats.org/officeDocument/2006/relationships" xmlns:p="http://schemas.openxmlformats.org/presentationml/2006/main">
  <p:tag name="AS_UNIQUEID" val="1993"/>
</p:tagLst>
</file>

<file path=ppt/tags/tag862.xml><?xml version="1.0" encoding="utf-8"?>
<p:tagLst xmlns:a="http://schemas.openxmlformats.org/drawingml/2006/main" xmlns:r="http://schemas.openxmlformats.org/officeDocument/2006/relationships" xmlns:p="http://schemas.openxmlformats.org/presentationml/2006/main">
  <p:tag name="AS_UNIQUEID" val="1994"/>
</p:tagLst>
</file>

<file path=ppt/tags/tag863.xml><?xml version="1.0" encoding="utf-8"?>
<p:tagLst xmlns:a="http://schemas.openxmlformats.org/drawingml/2006/main" xmlns:r="http://schemas.openxmlformats.org/officeDocument/2006/relationships" xmlns:p="http://schemas.openxmlformats.org/presentationml/2006/main">
  <p:tag name="AS_UNIQUEID" val="1995"/>
</p:tagLst>
</file>

<file path=ppt/tags/tag864.xml><?xml version="1.0" encoding="utf-8"?>
<p:tagLst xmlns:a="http://schemas.openxmlformats.org/drawingml/2006/main" xmlns:r="http://schemas.openxmlformats.org/officeDocument/2006/relationships" xmlns:p="http://schemas.openxmlformats.org/presentationml/2006/main">
  <p:tag name="AS_UNIQUEID" val="1996"/>
</p:tagLst>
</file>

<file path=ppt/tags/tag865.xml><?xml version="1.0" encoding="utf-8"?>
<p:tagLst xmlns:a="http://schemas.openxmlformats.org/drawingml/2006/main" xmlns:r="http://schemas.openxmlformats.org/officeDocument/2006/relationships" xmlns:p="http://schemas.openxmlformats.org/presentationml/2006/main">
  <p:tag name="AS_UNIQUEID" val="1997"/>
</p:tagLst>
</file>

<file path=ppt/tags/tag866.xml><?xml version="1.0" encoding="utf-8"?>
<p:tagLst xmlns:a="http://schemas.openxmlformats.org/drawingml/2006/main" xmlns:r="http://schemas.openxmlformats.org/officeDocument/2006/relationships" xmlns:p="http://schemas.openxmlformats.org/presentationml/2006/main">
  <p:tag name="AS_UNIQUEID" val="1998"/>
</p:tagLst>
</file>

<file path=ppt/tags/tag867.xml><?xml version="1.0" encoding="utf-8"?>
<p:tagLst xmlns:a="http://schemas.openxmlformats.org/drawingml/2006/main" xmlns:r="http://schemas.openxmlformats.org/officeDocument/2006/relationships" xmlns:p="http://schemas.openxmlformats.org/presentationml/2006/main">
  <p:tag name="AS_UNIQUEID" val="1999"/>
</p:tagLst>
</file>

<file path=ppt/tags/tag868.xml><?xml version="1.0" encoding="utf-8"?>
<p:tagLst xmlns:a="http://schemas.openxmlformats.org/drawingml/2006/main" xmlns:r="http://schemas.openxmlformats.org/officeDocument/2006/relationships" xmlns:p="http://schemas.openxmlformats.org/presentationml/2006/main">
  <p:tag name="AS_UNIQUEID" val="2000"/>
</p:tagLst>
</file>

<file path=ppt/tags/tag869.xml><?xml version="1.0" encoding="utf-8"?>
<p:tagLst xmlns:a="http://schemas.openxmlformats.org/drawingml/2006/main" xmlns:r="http://schemas.openxmlformats.org/officeDocument/2006/relationships" xmlns:p="http://schemas.openxmlformats.org/presentationml/2006/main">
  <p:tag name="AS_UNIQUEID" val="1982"/>
</p:tagLst>
</file>

<file path=ppt/tags/tag87.xml><?xml version="1.0" encoding="utf-8"?>
<p:tagLst xmlns:a="http://schemas.openxmlformats.org/drawingml/2006/main" xmlns:r="http://schemas.openxmlformats.org/officeDocument/2006/relationships" xmlns:p="http://schemas.openxmlformats.org/presentationml/2006/main">
  <p:tag name="AS_UNIQUEID" val="1881"/>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AS_UNIQUEID" val="1983"/>
</p:tagLst>
</file>

<file path=ppt/tags/tag871.xml><?xml version="1.0" encoding="utf-8"?>
<p:tagLst xmlns:a="http://schemas.openxmlformats.org/drawingml/2006/main" xmlns:r="http://schemas.openxmlformats.org/officeDocument/2006/relationships" xmlns:p="http://schemas.openxmlformats.org/presentationml/2006/main">
  <p:tag name="AS_UNIQUEID" val="1984"/>
</p:tagLst>
</file>

<file path=ppt/tags/tag872.xml><?xml version="1.0" encoding="utf-8"?>
<p:tagLst xmlns:a="http://schemas.openxmlformats.org/drawingml/2006/main" xmlns:r="http://schemas.openxmlformats.org/officeDocument/2006/relationships" xmlns:p="http://schemas.openxmlformats.org/presentationml/2006/main">
  <p:tag name="AS_UNIQUEID" val="1947"/>
</p:tagLst>
</file>

<file path=ppt/tags/tag873.xml><?xml version="1.0" encoding="utf-8"?>
<p:tagLst xmlns:a="http://schemas.openxmlformats.org/drawingml/2006/main" xmlns:r="http://schemas.openxmlformats.org/officeDocument/2006/relationships" xmlns:p="http://schemas.openxmlformats.org/presentationml/2006/main">
  <p:tag name="AS_UNIQUEID" val="1948"/>
</p:tagLst>
</file>

<file path=ppt/tags/tag874.xml><?xml version="1.0" encoding="utf-8"?>
<p:tagLst xmlns:a="http://schemas.openxmlformats.org/drawingml/2006/main" xmlns:r="http://schemas.openxmlformats.org/officeDocument/2006/relationships" xmlns:p="http://schemas.openxmlformats.org/presentationml/2006/main">
  <p:tag name="AS_UNIQUEID" val="1950"/>
</p:tagLst>
</file>

<file path=ppt/tags/tag875.xml><?xml version="1.0" encoding="utf-8"?>
<p:tagLst xmlns:a="http://schemas.openxmlformats.org/drawingml/2006/main" xmlns:r="http://schemas.openxmlformats.org/officeDocument/2006/relationships" xmlns:p="http://schemas.openxmlformats.org/presentationml/2006/main">
  <p:tag name="AS_UNIQUEID" val="1951"/>
</p:tagLst>
</file>

<file path=ppt/tags/tag876.xml><?xml version="1.0" encoding="utf-8"?>
<p:tagLst xmlns:a="http://schemas.openxmlformats.org/drawingml/2006/main" xmlns:r="http://schemas.openxmlformats.org/officeDocument/2006/relationships" xmlns:p="http://schemas.openxmlformats.org/presentationml/2006/main">
  <p:tag name="AS_UNIQUEID" val="1952"/>
</p:tagLst>
</file>

<file path=ppt/tags/tag877.xml><?xml version="1.0" encoding="utf-8"?>
<p:tagLst xmlns:a="http://schemas.openxmlformats.org/drawingml/2006/main" xmlns:r="http://schemas.openxmlformats.org/officeDocument/2006/relationships" xmlns:p="http://schemas.openxmlformats.org/presentationml/2006/main">
  <p:tag name="AS_UNIQUEID" val="1953"/>
</p:tagLst>
</file>

<file path=ppt/tags/tag878.xml><?xml version="1.0" encoding="utf-8"?>
<p:tagLst xmlns:a="http://schemas.openxmlformats.org/drawingml/2006/main" xmlns:r="http://schemas.openxmlformats.org/officeDocument/2006/relationships" xmlns:p="http://schemas.openxmlformats.org/presentationml/2006/main">
  <p:tag name="AS_UNIQUEID" val="1954"/>
</p:tagLst>
</file>

<file path=ppt/tags/tag879.xml><?xml version="1.0" encoding="utf-8"?>
<p:tagLst xmlns:a="http://schemas.openxmlformats.org/drawingml/2006/main" xmlns:r="http://schemas.openxmlformats.org/officeDocument/2006/relationships" xmlns:p="http://schemas.openxmlformats.org/presentationml/2006/main">
  <p:tag name="AS_UNIQUEID" val="1955"/>
</p:tagLst>
</file>

<file path=ppt/tags/tag88.xml><?xml version="1.0" encoding="utf-8"?>
<p:tagLst xmlns:a="http://schemas.openxmlformats.org/drawingml/2006/main" xmlns:r="http://schemas.openxmlformats.org/officeDocument/2006/relationships" xmlns:p="http://schemas.openxmlformats.org/presentationml/2006/main">
  <p:tag name="AS_UNIQUEID" val="1882"/>
</p:tagLst>
</file>

<file path=ppt/tags/tag880.xml><?xml version="1.0" encoding="utf-8"?>
<p:tagLst xmlns:a="http://schemas.openxmlformats.org/drawingml/2006/main" xmlns:r="http://schemas.openxmlformats.org/officeDocument/2006/relationships" xmlns:p="http://schemas.openxmlformats.org/presentationml/2006/main">
  <p:tag name="AS_UNIQUEID" val="1956"/>
</p:tagLst>
</file>

<file path=ppt/tags/tag881.xml><?xml version="1.0" encoding="utf-8"?>
<p:tagLst xmlns:a="http://schemas.openxmlformats.org/drawingml/2006/main" xmlns:r="http://schemas.openxmlformats.org/officeDocument/2006/relationships" xmlns:p="http://schemas.openxmlformats.org/presentationml/2006/main">
  <p:tag name="AS_UNIQUEID" val="1957"/>
</p:tagLst>
</file>

<file path=ppt/tags/tag882.xml><?xml version="1.0" encoding="utf-8"?>
<p:tagLst xmlns:a="http://schemas.openxmlformats.org/drawingml/2006/main" xmlns:r="http://schemas.openxmlformats.org/officeDocument/2006/relationships" xmlns:p="http://schemas.openxmlformats.org/presentationml/2006/main">
  <p:tag name="AS_UNIQUEID" val="1958"/>
</p:tagLst>
</file>

<file path=ppt/tags/tag883.xml><?xml version="1.0" encoding="utf-8"?>
<p:tagLst xmlns:a="http://schemas.openxmlformats.org/drawingml/2006/main" xmlns:r="http://schemas.openxmlformats.org/officeDocument/2006/relationships" xmlns:p="http://schemas.openxmlformats.org/presentationml/2006/main">
  <p:tag name="AS_UNIQUEID" val="1959"/>
</p:tagLst>
</file>

<file path=ppt/tags/tag884.xml><?xml version="1.0" encoding="utf-8"?>
<p:tagLst xmlns:a="http://schemas.openxmlformats.org/drawingml/2006/main" xmlns:r="http://schemas.openxmlformats.org/officeDocument/2006/relationships" xmlns:p="http://schemas.openxmlformats.org/presentationml/2006/main">
  <p:tag name="AS_UNIQUEID" val="1960"/>
</p:tagLst>
</file>

<file path=ppt/tags/tag885.xml><?xml version="1.0" encoding="utf-8"?>
<p:tagLst xmlns:a="http://schemas.openxmlformats.org/drawingml/2006/main" xmlns:r="http://schemas.openxmlformats.org/officeDocument/2006/relationships" xmlns:p="http://schemas.openxmlformats.org/presentationml/2006/main">
  <p:tag name="AS_UNIQUEID" val="1961"/>
</p:tagLst>
</file>

<file path=ppt/tags/tag886.xml><?xml version="1.0" encoding="utf-8"?>
<p:tagLst xmlns:a="http://schemas.openxmlformats.org/drawingml/2006/main" xmlns:r="http://schemas.openxmlformats.org/officeDocument/2006/relationships" xmlns:p="http://schemas.openxmlformats.org/presentationml/2006/main">
  <p:tag name="AS_UNIQUEID" val="1962"/>
</p:tagLst>
</file>

<file path=ppt/tags/tag887.xml><?xml version="1.0" encoding="utf-8"?>
<p:tagLst xmlns:a="http://schemas.openxmlformats.org/drawingml/2006/main" xmlns:r="http://schemas.openxmlformats.org/officeDocument/2006/relationships" xmlns:p="http://schemas.openxmlformats.org/presentationml/2006/main">
  <p:tag name="AS_UNIQUEID" val="1963"/>
</p:tagLst>
</file>

<file path=ppt/tags/tag888.xml><?xml version="1.0" encoding="utf-8"?>
<p:tagLst xmlns:a="http://schemas.openxmlformats.org/drawingml/2006/main" xmlns:r="http://schemas.openxmlformats.org/officeDocument/2006/relationships" xmlns:p="http://schemas.openxmlformats.org/presentationml/2006/main">
  <p:tag name="AS_UNIQUEID" val="1964"/>
</p:tagLst>
</file>

<file path=ppt/tags/tag889.xml><?xml version="1.0" encoding="utf-8"?>
<p:tagLst xmlns:a="http://schemas.openxmlformats.org/drawingml/2006/main" xmlns:r="http://schemas.openxmlformats.org/officeDocument/2006/relationships" xmlns:p="http://schemas.openxmlformats.org/presentationml/2006/main">
  <p:tag name="AS_UNIQUEID" val="1967"/>
</p:tagLst>
</file>

<file path=ppt/tags/tag89.xml><?xml version="1.0" encoding="utf-8"?>
<p:tagLst xmlns:a="http://schemas.openxmlformats.org/drawingml/2006/main" xmlns:r="http://schemas.openxmlformats.org/officeDocument/2006/relationships" xmlns:p="http://schemas.openxmlformats.org/presentationml/2006/main">
  <p:tag name="AS_UNIQUEID" val="1883"/>
</p:tagLst>
</file>

<file path=ppt/tags/tag890.xml><?xml version="1.0" encoding="utf-8"?>
<p:tagLst xmlns:a="http://schemas.openxmlformats.org/drawingml/2006/main" xmlns:r="http://schemas.openxmlformats.org/officeDocument/2006/relationships" xmlns:p="http://schemas.openxmlformats.org/presentationml/2006/main">
  <p:tag name="AS_UNIQUEID" val="1970"/>
</p:tagLst>
</file>

<file path=ppt/tags/tag891.xml><?xml version="1.0" encoding="utf-8"?>
<p:tagLst xmlns:a="http://schemas.openxmlformats.org/drawingml/2006/main" xmlns:r="http://schemas.openxmlformats.org/officeDocument/2006/relationships" xmlns:p="http://schemas.openxmlformats.org/presentationml/2006/main">
  <p:tag name="AS_UNIQUEID" val="1980"/>
</p:tagLst>
</file>

<file path=ppt/tags/tag892.xml><?xml version="1.0" encoding="utf-8"?>
<p:tagLst xmlns:a="http://schemas.openxmlformats.org/drawingml/2006/main" xmlns:r="http://schemas.openxmlformats.org/officeDocument/2006/relationships" xmlns:p="http://schemas.openxmlformats.org/presentationml/2006/main">
  <p:tag name="AS_UNIQUEID" val="1971"/>
</p:tagLst>
</file>

<file path=ppt/tags/tag893.xml><?xml version="1.0" encoding="utf-8"?>
<p:tagLst xmlns:a="http://schemas.openxmlformats.org/drawingml/2006/main" xmlns:r="http://schemas.openxmlformats.org/officeDocument/2006/relationships" xmlns:p="http://schemas.openxmlformats.org/presentationml/2006/main">
  <p:tag name="AS_UNIQUEID" val="1972"/>
</p:tagLst>
</file>

<file path=ppt/tags/tag894.xml><?xml version="1.0" encoding="utf-8"?>
<p:tagLst xmlns:a="http://schemas.openxmlformats.org/drawingml/2006/main" xmlns:r="http://schemas.openxmlformats.org/officeDocument/2006/relationships" xmlns:p="http://schemas.openxmlformats.org/presentationml/2006/main">
  <p:tag name="AS_UNIQUEID" val="1973"/>
</p:tagLst>
</file>

<file path=ppt/tags/tag895.xml><?xml version="1.0" encoding="utf-8"?>
<p:tagLst xmlns:a="http://schemas.openxmlformats.org/drawingml/2006/main" xmlns:r="http://schemas.openxmlformats.org/officeDocument/2006/relationships" xmlns:p="http://schemas.openxmlformats.org/presentationml/2006/main">
  <p:tag name="AS_UNIQUEID" val="1974"/>
</p:tagLst>
</file>

<file path=ppt/tags/tag896.xml><?xml version="1.0" encoding="utf-8"?>
<p:tagLst xmlns:a="http://schemas.openxmlformats.org/drawingml/2006/main" xmlns:r="http://schemas.openxmlformats.org/officeDocument/2006/relationships" xmlns:p="http://schemas.openxmlformats.org/presentationml/2006/main">
  <p:tag name="AS_UNIQUEID" val="1968"/>
</p:tagLst>
</file>

<file path=ppt/tags/tag897.xml><?xml version="1.0" encoding="utf-8"?>
<p:tagLst xmlns:a="http://schemas.openxmlformats.org/drawingml/2006/main" xmlns:r="http://schemas.openxmlformats.org/officeDocument/2006/relationships" xmlns:p="http://schemas.openxmlformats.org/presentationml/2006/main">
  <p:tag name="AS_UNIQUEID" val="1969"/>
</p:tagLst>
</file>

<file path=ppt/tags/tag898.xml><?xml version="1.0" encoding="utf-8"?>
<p:tagLst xmlns:a="http://schemas.openxmlformats.org/drawingml/2006/main" xmlns:r="http://schemas.openxmlformats.org/officeDocument/2006/relationships" xmlns:p="http://schemas.openxmlformats.org/presentationml/2006/main">
  <p:tag name="AS_UNIQUEID" val="1965"/>
</p:tagLst>
</file>

<file path=ppt/tags/tag899.xml><?xml version="1.0" encoding="utf-8"?>
<p:tagLst xmlns:a="http://schemas.openxmlformats.org/drawingml/2006/main" xmlns:r="http://schemas.openxmlformats.org/officeDocument/2006/relationships" xmlns:p="http://schemas.openxmlformats.org/presentationml/2006/main">
  <p:tag name="AS_UNIQUEID" val="1966"/>
</p:tagLst>
</file>

<file path=ppt/tags/tag9.xml><?xml version="1.0" encoding="utf-8"?>
<p:tagLst xmlns:a="http://schemas.openxmlformats.org/drawingml/2006/main" xmlns:r="http://schemas.openxmlformats.org/officeDocument/2006/relationships" xmlns:p="http://schemas.openxmlformats.org/presentationml/2006/main">
  <p:tag name="AS_UNIQUEID" val="1711"/>
</p:tagLst>
</file>

<file path=ppt/tags/tag90.xml><?xml version="1.0" encoding="utf-8"?>
<p:tagLst xmlns:a="http://schemas.openxmlformats.org/drawingml/2006/main" xmlns:r="http://schemas.openxmlformats.org/officeDocument/2006/relationships" xmlns:p="http://schemas.openxmlformats.org/presentationml/2006/main">
  <p:tag name="AS_UNIQUEID" val="1884"/>
</p:tagLst>
</file>

<file path=ppt/tags/tag900.xml><?xml version="1.0" encoding="utf-8"?>
<p:tagLst xmlns:a="http://schemas.openxmlformats.org/drawingml/2006/main" xmlns:r="http://schemas.openxmlformats.org/officeDocument/2006/relationships" xmlns:p="http://schemas.openxmlformats.org/presentationml/2006/main">
  <p:tag name="AS_UNIQUEID" val="1943"/>
</p:tagLst>
</file>

<file path=ppt/tags/tag901.xml><?xml version="1.0" encoding="utf-8"?>
<p:tagLst xmlns:a="http://schemas.openxmlformats.org/drawingml/2006/main" xmlns:r="http://schemas.openxmlformats.org/officeDocument/2006/relationships" xmlns:p="http://schemas.openxmlformats.org/presentationml/2006/main">
  <p:tag name="AS_UNIQUEID" val="1944"/>
</p:tagLst>
</file>

<file path=ppt/tags/tag902.xml><?xml version="1.0" encoding="utf-8"?>
<p:tagLst xmlns:a="http://schemas.openxmlformats.org/drawingml/2006/main" xmlns:r="http://schemas.openxmlformats.org/officeDocument/2006/relationships" xmlns:p="http://schemas.openxmlformats.org/presentationml/2006/main">
  <p:tag name="AS_UNIQUEID" val="1945"/>
</p:tagLst>
</file>

<file path=ppt/tags/tag903.xml><?xml version="1.0" encoding="utf-8"?>
<p:tagLst xmlns:a="http://schemas.openxmlformats.org/drawingml/2006/main" xmlns:r="http://schemas.openxmlformats.org/officeDocument/2006/relationships" xmlns:p="http://schemas.openxmlformats.org/presentationml/2006/main">
  <p:tag name="AS_UNIQUEID" val="2961"/>
</p:tagLst>
</file>

<file path=ppt/tags/tag904.xml><?xml version="1.0" encoding="utf-8"?>
<p:tagLst xmlns:a="http://schemas.openxmlformats.org/drawingml/2006/main" xmlns:r="http://schemas.openxmlformats.org/officeDocument/2006/relationships" xmlns:p="http://schemas.openxmlformats.org/presentationml/2006/main">
  <p:tag name="AS_UNIQUEID" val="2962"/>
</p:tagLst>
</file>

<file path=ppt/tags/tag905.xml><?xml version="1.0" encoding="utf-8"?>
<p:tagLst xmlns:a="http://schemas.openxmlformats.org/drawingml/2006/main" xmlns:r="http://schemas.openxmlformats.org/officeDocument/2006/relationships" xmlns:p="http://schemas.openxmlformats.org/presentationml/2006/main">
  <p:tag name="AS_UNIQUEID" val="2963"/>
  <p:tag name="THINKCELLSHAPEDONOTDELETE" val="thinkcellActiveDocDoNotDelete"/>
</p:tagLst>
</file>

<file path=ppt/tags/tag906.xml><?xml version="1.0" encoding="utf-8"?>
<p:tagLst xmlns:a="http://schemas.openxmlformats.org/drawingml/2006/main" xmlns:r="http://schemas.openxmlformats.org/officeDocument/2006/relationships" xmlns:p="http://schemas.openxmlformats.org/presentationml/2006/main">
  <p:tag name="AS_UNIQUEID" val="2965"/>
</p:tagLst>
</file>

<file path=ppt/tags/tag907.xml><?xml version="1.0" encoding="utf-8"?>
<p:tagLst xmlns:a="http://schemas.openxmlformats.org/drawingml/2006/main" xmlns:r="http://schemas.openxmlformats.org/officeDocument/2006/relationships" xmlns:p="http://schemas.openxmlformats.org/presentationml/2006/main">
  <p:tag name="AS_UNIQUEID" val="2967"/>
</p:tagLst>
</file>

<file path=ppt/tags/tag908.xml><?xml version="1.0" encoding="utf-8"?>
<p:tagLst xmlns:a="http://schemas.openxmlformats.org/drawingml/2006/main" xmlns:r="http://schemas.openxmlformats.org/officeDocument/2006/relationships" xmlns:p="http://schemas.openxmlformats.org/presentationml/2006/main">
  <p:tag name="AS_UNIQUEID" val="2970"/>
</p:tagLst>
</file>

<file path=ppt/tags/tag909.xml><?xml version="1.0" encoding="utf-8"?>
<p:tagLst xmlns:a="http://schemas.openxmlformats.org/drawingml/2006/main" xmlns:r="http://schemas.openxmlformats.org/officeDocument/2006/relationships" xmlns:p="http://schemas.openxmlformats.org/presentationml/2006/main">
  <p:tag name="AS_UNIQUEID" val="2973"/>
</p:tagLst>
</file>

<file path=ppt/tags/tag91.xml><?xml version="1.0" encoding="utf-8"?>
<p:tagLst xmlns:a="http://schemas.openxmlformats.org/drawingml/2006/main" xmlns:r="http://schemas.openxmlformats.org/officeDocument/2006/relationships" xmlns:p="http://schemas.openxmlformats.org/presentationml/2006/main">
  <p:tag name="AS_UNIQUEID" val="1885"/>
</p:tagLst>
</file>

<file path=ppt/tags/tag910.xml><?xml version="1.0" encoding="utf-8"?>
<p:tagLst xmlns:a="http://schemas.openxmlformats.org/drawingml/2006/main" xmlns:r="http://schemas.openxmlformats.org/officeDocument/2006/relationships" xmlns:p="http://schemas.openxmlformats.org/presentationml/2006/main">
  <p:tag name="AS_UNIQUEID" val="2976"/>
</p:tagLst>
</file>

<file path=ppt/tags/tag911.xml><?xml version="1.0" encoding="utf-8"?>
<p:tagLst xmlns:a="http://schemas.openxmlformats.org/drawingml/2006/main" xmlns:r="http://schemas.openxmlformats.org/officeDocument/2006/relationships" xmlns:p="http://schemas.openxmlformats.org/presentationml/2006/main">
  <p:tag name="AS_UNIQUEID" val="2979"/>
</p:tagLst>
</file>

<file path=ppt/tags/tag912.xml><?xml version="1.0" encoding="utf-8"?>
<p:tagLst xmlns:a="http://schemas.openxmlformats.org/drawingml/2006/main" xmlns:r="http://schemas.openxmlformats.org/officeDocument/2006/relationships" xmlns:p="http://schemas.openxmlformats.org/presentationml/2006/main">
  <p:tag name="AS_UNIQUEID" val="2982"/>
</p:tagLst>
</file>

<file path=ppt/tags/tag913.xml><?xml version="1.0" encoding="utf-8"?>
<p:tagLst xmlns:a="http://schemas.openxmlformats.org/drawingml/2006/main" xmlns:r="http://schemas.openxmlformats.org/officeDocument/2006/relationships" xmlns:p="http://schemas.openxmlformats.org/presentationml/2006/main">
  <p:tag name="AS_UNIQUEID" val="2983"/>
</p:tagLst>
</file>

<file path=ppt/tags/tag914.xml><?xml version="1.0" encoding="utf-8"?>
<p:tagLst xmlns:a="http://schemas.openxmlformats.org/drawingml/2006/main" xmlns:r="http://schemas.openxmlformats.org/officeDocument/2006/relationships" xmlns:p="http://schemas.openxmlformats.org/presentationml/2006/main">
  <p:tag name="AS_UNIQUEID" val="2984"/>
</p:tagLst>
</file>

<file path=ppt/tags/tag915.xml><?xml version="1.0" encoding="utf-8"?>
<p:tagLst xmlns:a="http://schemas.openxmlformats.org/drawingml/2006/main" xmlns:r="http://schemas.openxmlformats.org/officeDocument/2006/relationships" xmlns:p="http://schemas.openxmlformats.org/presentationml/2006/main">
  <p:tag name="AS_UNIQUEID" val="2985"/>
</p:tagLst>
</file>

<file path=ppt/tags/tag916.xml><?xml version="1.0" encoding="utf-8"?>
<p:tagLst xmlns:a="http://schemas.openxmlformats.org/drawingml/2006/main" xmlns:r="http://schemas.openxmlformats.org/officeDocument/2006/relationships" xmlns:p="http://schemas.openxmlformats.org/presentationml/2006/main">
  <p:tag name="AS_UNIQUEID" val="2986"/>
</p:tagLst>
</file>

<file path=ppt/tags/tag917.xml><?xml version="1.0" encoding="utf-8"?>
<p:tagLst xmlns:a="http://schemas.openxmlformats.org/drawingml/2006/main" xmlns:r="http://schemas.openxmlformats.org/officeDocument/2006/relationships" xmlns:p="http://schemas.openxmlformats.org/presentationml/2006/main">
  <p:tag name="AS_UNIQUEID" val="2987"/>
</p:tagLst>
</file>

<file path=ppt/tags/tag918.xml><?xml version="1.0" encoding="utf-8"?>
<p:tagLst xmlns:a="http://schemas.openxmlformats.org/drawingml/2006/main" xmlns:r="http://schemas.openxmlformats.org/officeDocument/2006/relationships" xmlns:p="http://schemas.openxmlformats.org/presentationml/2006/main">
  <p:tag name="AS_UNIQUEID" val="2993"/>
</p:tagLst>
</file>

<file path=ppt/tags/tag919.xml><?xml version="1.0" encoding="utf-8"?>
<p:tagLst xmlns:a="http://schemas.openxmlformats.org/drawingml/2006/main" xmlns:r="http://schemas.openxmlformats.org/officeDocument/2006/relationships" xmlns:p="http://schemas.openxmlformats.org/presentationml/2006/main">
  <p:tag name="AS_UNIQUEID" val="2980"/>
</p:tagLst>
</file>

<file path=ppt/tags/tag92.xml><?xml version="1.0" encoding="utf-8"?>
<p:tagLst xmlns:a="http://schemas.openxmlformats.org/drawingml/2006/main" xmlns:r="http://schemas.openxmlformats.org/officeDocument/2006/relationships" xmlns:p="http://schemas.openxmlformats.org/presentationml/2006/main">
  <p:tag name="AS_UNIQUEID" val="1886"/>
</p:tagLst>
</file>

<file path=ppt/tags/tag920.xml><?xml version="1.0" encoding="utf-8"?>
<p:tagLst xmlns:a="http://schemas.openxmlformats.org/drawingml/2006/main" xmlns:r="http://schemas.openxmlformats.org/officeDocument/2006/relationships" xmlns:p="http://schemas.openxmlformats.org/presentationml/2006/main">
  <p:tag name="AS_UNIQUEID" val="2981"/>
</p:tagLst>
</file>

<file path=ppt/tags/tag921.xml><?xml version="1.0" encoding="utf-8"?>
<p:tagLst xmlns:a="http://schemas.openxmlformats.org/drawingml/2006/main" xmlns:r="http://schemas.openxmlformats.org/officeDocument/2006/relationships" xmlns:p="http://schemas.openxmlformats.org/presentationml/2006/main">
  <p:tag name="AS_UNIQUEID" val="2977"/>
</p:tagLst>
</file>

<file path=ppt/tags/tag922.xml><?xml version="1.0" encoding="utf-8"?>
<p:tagLst xmlns:a="http://schemas.openxmlformats.org/drawingml/2006/main" xmlns:r="http://schemas.openxmlformats.org/officeDocument/2006/relationships" xmlns:p="http://schemas.openxmlformats.org/presentationml/2006/main">
  <p:tag name="AS_UNIQUEID" val="2978"/>
</p:tagLst>
</file>

<file path=ppt/tags/tag923.xml><?xml version="1.0" encoding="utf-8"?>
<p:tagLst xmlns:a="http://schemas.openxmlformats.org/drawingml/2006/main" xmlns:r="http://schemas.openxmlformats.org/officeDocument/2006/relationships" xmlns:p="http://schemas.openxmlformats.org/presentationml/2006/main">
  <p:tag name="AS_UNIQUEID" val="2974"/>
</p:tagLst>
</file>

<file path=ppt/tags/tag924.xml><?xml version="1.0" encoding="utf-8"?>
<p:tagLst xmlns:a="http://schemas.openxmlformats.org/drawingml/2006/main" xmlns:r="http://schemas.openxmlformats.org/officeDocument/2006/relationships" xmlns:p="http://schemas.openxmlformats.org/presentationml/2006/main">
  <p:tag name="AS_UNIQUEID" val="2975"/>
</p:tagLst>
</file>

<file path=ppt/tags/tag925.xml><?xml version="1.0" encoding="utf-8"?>
<p:tagLst xmlns:a="http://schemas.openxmlformats.org/drawingml/2006/main" xmlns:r="http://schemas.openxmlformats.org/officeDocument/2006/relationships" xmlns:p="http://schemas.openxmlformats.org/presentationml/2006/main">
  <p:tag name="AS_UNIQUEID" val="2971"/>
</p:tagLst>
</file>

<file path=ppt/tags/tag926.xml><?xml version="1.0" encoding="utf-8"?>
<p:tagLst xmlns:a="http://schemas.openxmlformats.org/drawingml/2006/main" xmlns:r="http://schemas.openxmlformats.org/officeDocument/2006/relationships" xmlns:p="http://schemas.openxmlformats.org/presentationml/2006/main">
  <p:tag name="AS_UNIQUEID" val="2972"/>
</p:tagLst>
</file>

<file path=ppt/tags/tag927.xml><?xml version="1.0" encoding="utf-8"?>
<p:tagLst xmlns:a="http://schemas.openxmlformats.org/drawingml/2006/main" xmlns:r="http://schemas.openxmlformats.org/officeDocument/2006/relationships" xmlns:p="http://schemas.openxmlformats.org/presentationml/2006/main">
  <p:tag name="AS_UNIQUEID" val="2968"/>
</p:tagLst>
</file>

<file path=ppt/tags/tag928.xml><?xml version="1.0" encoding="utf-8"?>
<p:tagLst xmlns:a="http://schemas.openxmlformats.org/drawingml/2006/main" xmlns:r="http://schemas.openxmlformats.org/officeDocument/2006/relationships" xmlns:p="http://schemas.openxmlformats.org/presentationml/2006/main">
  <p:tag name="AS_UNIQUEID" val="2969"/>
</p:tagLst>
</file>

<file path=ppt/tags/tag929.xml><?xml version="1.0" encoding="utf-8"?>
<p:tagLst xmlns:a="http://schemas.openxmlformats.org/drawingml/2006/main" xmlns:r="http://schemas.openxmlformats.org/officeDocument/2006/relationships" xmlns:p="http://schemas.openxmlformats.org/presentationml/2006/main">
  <p:tag name="AS_UNIQUEID" val="2957"/>
</p:tagLst>
</file>

<file path=ppt/tags/tag93.xml><?xml version="1.0" encoding="utf-8"?>
<p:tagLst xmlns:a="http://schemas.openxmlformats.org/drawingml/2006/main" xmlns:r="http://schemas.openxmlformats.org/officeDocument/2006/relationships" xmlns:p="http://schemas.openxmlformats.org/presentationml/2006/main">
  <p:tag name="AS_UNIQUEID" val="1812"/>
</p:tagLst>
</file>

<file path=ppt/tags/tag930.xml><?xml version="1.0" encoding="utf-8"?>
<p:tagLst xmlns:a="http://schemas.openxmlformats.org/drawingml/2006/main" xmlns:r="http://schemas.openxmlformats.org/officeDocument/2006/relationships" xmlns:p="http://schemas.openxmlformats.org/presentationml/2006/main">
  <p:tag name="AS_UNIQUEID" val="2958"/>
</p:tagLst>
</file>

<file path=ppt/tags/tag931.xml><?xml version="1.0" encoding="utf-8"?>
<p:tagLst xmlns:a="http://schemas.openxmlformats.org/drawingml/2006/main" xmlns:r="http://schemas.openxmlformats.org/officeDocument/2006/relationships" xmlns:p="http://schemas.openxmlformats.org/presentationml/2006/main">
  <p:tag name="AS_UNIQUEID" val="2959"/>
</p:tagLst>
</file>

<file path=ppt/tags/tag932.xml><?xml version="1.0" encoding="utf-8"?>
<p:tagLst xmlns:a="http://schemas.openxmlformats.org/drawingml/2006/main" xmlns:r="http://schemas.openxmlformats.org/officeDocument/2006/relationships" xmlns:p="http://schemas.openxmlformats.org/presentationml/2006/main">
  <p:tag name="AS_UNIQUEID" val="2999"/>
</p:tagLst>
</file>

<file path=ppt/tags/tag933.xml><?xml version="1.0" encoding="utf-8"?>
<p:tagLst xmlns:a="http://schemas.openxmlformats.org/drawingml/2006/main" xmlns:r="http://schemas.openxmlformats.org/officeDocument/2006/relationships" xmlns:p="http://schemas.openxmlformats.org/presentationml/2006/main">
  <p:tag name="AS_UNIQUEID" val="3000"/>
</p:tagLst>
</file>

<file path=ppt/tags/tag934.xml><?xml version="1.0" encoding="utf-8"?>
<p:tagLst xmlns:a="http://schemas.openxmlformats.org/drawingml/2006/main" xmlns:r="http://schemas.openxmlformats.org/officeDocument/2006/relationships" xmlns:p="http://schemas.openxmlformats.org/presentationml/2006/main">
  <p:tag name="AS_UNIQUEID" val="3001"/>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AS_UNIQUEID" val="3003"/>
</p:tagLst>
</file>

<file path=ppt/tags/tag936.xml><?xml version="1.0" encoding="utf-8"?>
<p:tagLst xmlns:a="http://schemas.openxmlformats.org/drawingml/2006/main" xmlns:r="http://schemas.openxmlformats.org/officeDocument/2006/relationships" xmlns:p="http://schemas.openxmlformats.org/presentationml/2006/main">
  <p:tag name="AS_UNIQUEID" val="3004"/>
</p:tagLst>
</file>

<file path=ppt/tags/tag937.xml><?xml version="1.0" encoding="utf-8"?>
<p:tagLst xmlns:a="http://schemas.openxmlformats.org/drawingml/2006/main" xmlns:r="http://schemas.openxmlformats.org/officeDocument/2006/relationships" xmlns:p="http://schemas.openxmlformats.org/presentationml/2006/main">
  <p:tag name="AS_UNIQUEID" val="3005"/>
</p:tagLst>
</file>

<file path=ppt/tags/tag938.xml><?xml version="1.0" encoding="utf-8"?>
<p:tagLst xmlns:a="http://schemas.openxmlformats.org/drawingml/2006/main" xmlns:r="http://schemas.openxmlformats.org/officeDocument/2006/relationships" xmlns:p="http://schemas.openxmlformats.org/presentationml/2006/main">
  <p:tag name="AS_UNIQUEID" val="3015"/>
</p:tagLst>
</file>

<file path=ppt/tags/tag939.xml><?xml version="1.0" encoding="utf-8"?>
<p:tagLst xmlns:a="http://schemas.openxmlformats.org/drawingml/2006/main" xmlns:r="http://schemas.openxmlformats.org/officeDocument/2006/relationships" xmlns:p="http://schemas.openxmlformats.org/presentationml/2006/main">
  <p:tag name="AS_UNIQUEID" val="3016"/>
</p:tagLst>
</file>

<file path=ppt/tags/tag94.xml><?xml version="1.0" encoding="utf-8"?>
<p:tagLst xmlns:a="http://schemas.openxmlformats.org/drawingml/2006/main" xmlns:r="http://schemas.openxmlformats.org/officeDocument/2006/relationships" xmlns:p="http://schemas.openxmlformats.org/presentationml/2006/main">
  <p:tag name="AS_UNIQUEID" val="1813"/>
</p:tagLst>
</file>

<file path=ppt/tags/tag940.xml><?xml version="1.0" encoding="utf-8"?>
<p:tagLst xmlns:a="http://schemas.openxmlformats.org/drawingml/2006/main" xmlns:r="http://schemas.openxmlformats.org/officeDocument/2006/relationships" xmlns:p="http://schemas.openxmlformats.org/presentationml/2006/main">
  <p:tag name="AS_UNIQUEID" val="3021"/>
</p:tagLst>
</file>

<file path=ppt/tags/tag941.xml><?xml version="1.0" encoding="utf-8"?>
<p:tagLst xmlns:a="http://schemas.openxmlformats.org/drawingml/2006/main" xmlns:r="http://schemas.openxmlformats.org/officeDocument/2006/relationships" xmlns:p="http://schemas.openxmlformats.org/presentationml/2006/main">
  <p:tag name="AS_UNIQUEID" val="3022"/>
</p:tagLst>
</file>

<file path=ppt/tags/tag942.xml><?xml version="1.0" encoding="utf-8"?>
<p:tagLst xmlns:a="http://schemas.openxmlformats.org/drawingml/2006/main" xmlns:r="http://schemas.openxmlformats.org/officeDocument/2006/relationships" xmlns:p="http://schemas.openxmlformats.org/presentationml/2006/main">
  <p:tag name="AS_UNIQUEID" val="3023"/>
</p:tagLst>
</file>

<file path=ppt/tags/tag943.xml><?xml version="1.0" encoding="utf-8"?>
<p:tagLst xmlns:a="http://schemas.openxmlformats.org/drawingml/2006/main" xmlns:r="http://schemas.openxmlformats.org/officeDocument/2006/relationships" xmlns:p="http://schemas.openxmlformats.org/presentationml/2006/main">
  <p:tag name="AS_UNIQUEID" val="3024"/>
</p:tagLst>
</file>

<file path=ppt/tags/tag944.xml><?xml version="1.0" encoding="utf-8"?>
<p:tagLst xmlns:a="http://schemas.openxmlformats.org/drawingml/2006/main" xmlns:r="http://schemas.openxmlformats.org/officeDocument/2006/relationships" xmlns:p="http://schemas.openxmlformats.org/presentationml/2006/main">
  <p:tag name="AS_UNIQUEID" val="3025"/>
</p:tagLst>
</file>

<file path=ppt/tags/tag945.xml><?xml version="1.0" encoding="utf-8"?>
<p:tagLst xmlns:a="http://schemas.openxmlformats.org/drawingml/2006/main" xmlns:r="http://schemas.openxmlformats.org/officeDocument/2006/relationships" xmlns:p="http://schemas.openxmlformats.org/presentationml/2006/main">
  <p:tag name="AS_UNIQUEID" val="3035"/>
</p:tagLst>
</file>

<file path=ppt/tags/tag946.xml><?xml version="1.0" encoding="utf-8"?>
<p:tagLst xmlns:a="http://schemas.openxmlformats.org/drawingml/2006/main" xmlns:r="http://schemas.openxmlformats.org/officeDocument/2006/relationships" xmlns:p="http://schemas.openxmlformats.org/presentationml/2006/main">
  <p:tag name="AS_UNIQUEID" val="790"/>
</p:tagLst>
</file>

<file path=ppt/tags/tag947.xml><?xml version="1.0" encoding="utf-8"?>
<p:tagLst xmlns:a="http://schemas.openxmlformats.org/drawingml/2006/main" xmlns:r="http://schemas.openxmlformats.org/officeDocument/2006/relationships" xmlns:p="http://schemas.openxmlformats.org/presentationml/2006/main">
  <p:tag name="AS_UNIQUEID" val="790"/>
</p:tagLst>
</file>

<file path=ppt/tags/tag948.xml><?xml version="1.0" encoding="utf-8"?>
<p:tagLst xmlns:a="http://schemas.openxmlformats.org/drawingml/2006/main" xmlns:r="http://schemas.openxmlformats.org/officeDocument/2006/relationships" xmlns:p="http://schemas.openxmlformats.org/presentationml/2006/main">
  <p:tag name="AS_UNIQUEID" val="3006"/>
</p:tagLst>
</file>

<file path=ppt/tags/tag949.xml><?xml version="1.0" encoding="utf-8"?>
<p:tagLst xmlns:a="http://schemas.openxmlformats.org/drawingml/2006/main" xmlns:r="http://schemas.openxmlformats.org/officeDocument/2006/relationships" xmlns:p="http://schemas.openxmlformats.org/presentationml/2006/main">
  <p:tag name="AS_UNIQUEID" val="3012"/>
</p:tagLst>
</file>

<file path=ppt/tags/tag95.xml><?xml version="1.0" encoding="utf-8"?>
<p:tagLst xmlns:a="http://schemas.openxmlformats.org/drawingml/2006/main" xmlns:r="http://schemas.openxmlformats.org/officeDocument/2006/relationships" xmlns:p="http://schemas.openxmlformats.org/presentationml/2006/main">
  <p:tag name="AS_UNIQUEID" val="1814"/>
</p:tagLst>
</file>

<file path=ppt/tags/tag950.xml><?xml version="1.0" encoding="utf-8"?>
<p:tagLst xmlns:a="http://schemas.openxmlformats.org/drawingml/2006/main" xmlns:r="http://schemas.openxmlformats.org/officeDocument/2006/relationships" xmlns:p="http://schemas.openxmlformats.org/presentationml/2006/main">
  <p:tag name="AS_UNIQUEID" val="3013"/>
</p:tagLst>
</file>

<file path=ppt/tags/tag951.xml><?xml version="1.0" encoding="utf-8"?>
<p:tagLst xmlns:a="http://schemas.openxmlformats.org/drawingml/2006/main" xmlns:r="http://schemas.openxmlformats.org/officeDocument/2006/relationships" xmlns:p="http://schemas.openxmlformats.org/presentationml/2006/main">
  <p:tag name="AS_UNIQUEID" val="3007"/>
</p:tagLst>
</file>

<file path=ppt/tags/tag952.xml><?xml version="1.0" encoding="utf-8"?>
<p:tagLst xmlns:a="http://schemas.openxmlformats.org/drawingml/2006/main" xmlns:r="http://schemas.openxmlformats.org/officeDocument/2006/relationships" xmlns:p="http://schemas.openxmlformats.org/presentationml/2006/main">
  <p:tag name="AS_UNIQUEID" val="3008"/>
</p:tagLst>
</file>

<file path=ppt/tags/tag953.xml><?xml version="1.0" encoding="utf-8"?>
<p:tagLst xmlns:a="http://schemas.openxmlformats.org/drawingml/2006/main" xmlns:r="http://schemas.openxmlformats.org/officeDocument/2006/relationships" xmlns:p="http://schemas.openxmlformats.org/presentationml/2006/main">
  <p:tag name="AS_UNIQUEID" val="3009"/>
</p:tagLst>
</file>

<file path=ppt/tags/tag954.xml><?xml version="1.0" encoding="utf-8"?>
<p:tagLst xmlns:a="http://schemas.openxmlformats.org/drawingml/2006/main" xmlns:r="http://schemas.openxmlformats.org/officeDocument/2006/relationships" xmlns:p="http://schemas.openxmlformats.org/presentationml/2006/main">
  <p:tag name="AS_UNIQUEID" val="3010"/>
</p:tagLst>
</file>

<file path=ppt/tags/tag955.xml><?xml version="1.0" encoding="utf-8"?>
<p:tagLst xmlns:a="http://schemas.openxmlformats.org/drawingml/2006/main" xmlns:r="http://schemas.openxmlformats.org/officeDocument/2006/relationships" xmlns:p="http://schemas.openxmlformats.org/presentationml/2006/main">
  <p:tag name="AS_UNIQUEID" val="3011"/>
</p:tagLst>
</file>

<file path=ppt/tags/tag956.xml><?xml version="1.0" encoding="utf-8"?>
<p:tagLst xmlns:a="http://schemas.openxmlformats.org/drawingml/2006/main" xmlns:r="http://schemas.openxmlformats.org/officeDocument/2006/relationships" xmlns:p="http://schemas.openxmlformats.org/presentationml/2006/main">
  <p:tag name="AS_UNIQUEID" val="2995"/>
</p:tagLst>
</file>

<file path=ppt/tags/tag957.xml><?xml version="1.0" encoding="utf-8"?>
<p:tagLst xmlns:a="http://schemas.openxmlformats.org/drawingml/2006/main" xmlns:r="http://schemas.openxmlformats.org/officeDocument/2006/relationships" xmlns:p="http://schemas.openxmlformats.org/presentationml/2006/main">
  <p:tag name="AS_UNIQUEID" val="2996"/>
</p:tagLst>
</file>

<file path=ppt/tags/tag958.xml><?xml version="1.0" encoding="utf-8"?>
<p:tagLst xmlns:a="http://schemas.openxmlformats.org/drawingml/2006/main" xmlns:r="http://schemas.openxmlformats.org/officeDocument/2006/relationships" xmlns:p="http://schemas.openxmlformats.org/presentationml/2006/main">
  <p:tag name="AS_UNIQUEID" val="2997"/>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S_UNIQUEID" val="1815"/>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AS_UNIQUEID" val="2097"/>
</p:tagLst>
</file>

<file path=ppt/tags/tag962.xml><?xml version="1.0" encoding="utf-8"?>
<p:tagLst xmlns:a="http://schemas.openxmlformats.org/drawingml/2006/main" xmlns:r="http://schemas.openxmlformats.org/officeDocument/2006/relationships" xmlns:p="http://schemas.openxmlformats.org/presentationml/2006/main">
  <p:tag name="AS_UNIQUEID" val="2098"/>
</p:tagLst>
</file>

<file path=ppt/tags/tag963.xml><?xml version="1.0" encoding="utf-8"?>
<p:tagLst xmlns:a="http://schemas.openxmlformats.org/drawingml/2006/main" xmlns:r="http://schemas.openxmlformats.org/officeDocument/2006/relationships" xmlns:p="http://schemas.openxmlformats.org/presentationml/2006/main">
  <p:tag name="AS_UNIQUEID" val="2099"/>
</p:tagLst>
</file>

<file path=ppt/tags/tag964.xml><?xml version="1.0" encoding="utf-8"?>
<p:tagLst xmlns:a="http://schemas.openxmlformats.org/drawingml/2006/main" xmlns:r="http://schemas.openxmlformats.org/officeDocument/2006/relationships" xmlns:p="http://schemas.openxmlformats.org/presentationml/2006/main">
  <p:tag name="AS_UNIQUEID" val="2100"/>
</p:tagLst>
</file>

<file path=ppt/tags/tag965.xml><?xml version="1.0" encoding="utf-8"?>
<p:tagLst xmlns:a="http://schemas.openxmlformats.org/drawingml/2006/main" xmlns:r="http://schemas.openxmlformats.org/officeDocument/2006/relationships" xmlns:p="http://schemas.openxmlformats.org/presentationml/2006/main">
  <p:tag name="AS_UNIQUEID" val="2101"/>
</p:tagLst>
</file>

<file path=ppt/tags/tag966.xml><?xml version="1.0" encoding="utf-8"?>
<p:tagLst xmlns:a="http://schemas.openxmlformats.org/drawingml/2006/main" xmlns:r="http://schemas.openxmlformats.org/officeDocument/2006/relationships" xmlns:p="http://schemas.openxmlformats.org/presentationml/2006/main">
  <p:tag name="AS_UNIQUEID" val="2102"/>
</p:tagLst>
</file>

<file path=ppt/tags/tag967.xml><?xml version="1.0" encoding="utf-8"?>
<p:tagLst xmlns:a="http://schemas.openxmlformats.org/drawingml/2006/main" xmlns:r="http://schemas.openxmlformats.org/officeDocument/2006/relationships" xmlns:p="http://schemas.openxmlformats.org/presentationml/2006/main">
  <p:tag name="AS_UNIQUEID" val="2115"/>
</p:tagLst>
</file>

<file path=ppt/tags/tag968.xml><?xml version="1.0" encoding="utf-8"?>
<p:tagLst xmlns:a="http://schemas.openxmlformats.org/drawingml/2006/main" xmlns:r="http://schemas.openxmlformats.org/officeDocument/2006/relationships" xmlns:p="http://schemas.openxmlformats.org/presentationml/2006/main">
  <p:tag name="AS_UNIQUEID" val="2116"/>
</p:tagLst>
</file>

<file path=ppt/tags/tag969.xml><?xml version="1.0" encoding="utf-8"?>
<p:tagLst xmlns:a="http://schemas.openxmlformats.org/drawingml/2006/main" xmlns:r="http://schemas.openxmlformats.org/officeDocument/2006/relationships" xmlns:p="http://schemas.openxmlformats.org/presentationml/2006/main">
  <p:tag name="AS_UNIQUEID" val="2135"/>
</p:tagLst>
</file>

<file path=ppt/tags/tag97.xml><?xml version="1.0" encoding="utf-8"?>
<p:tagLst xmlns:a="http://schemas.openxmlformats.org/drawingml/2006/main" xmlns:r="http://schemas.openxmlformats.org/officeDocument/2006/relationships" xmlns:p="http://schemas.openxmlformats.org/presentationml/2006/main">
  <p:tag name="AS_UNIQUEID" val="1816"/>
</p:tagLst>
</file>

<file path=ppt/tags/tag970.xml><?xml version="1.0" encoding="utf-8"?>
<p:tagLst xmlns:a="http://schemas.openxmlformats.org/drawingml/2006/main" xmlns:r="http://schemas.openxmlformats.org/officeDocument/2006/relationships" xmlns:p="http://schemas.openxmlformats.org/presentationml/2006/main">
  <p:tag name="AS_UNIQUEID" val="2150"/>
</p:tagLst>
</file>

<file path=ppt/tags/tag971.xml><?xml version="1.0" encoding="utf-8"?>
<p:tagLst xmlns:a="http://schemas.openxmlformats.org/drawingml/2006/main" xmlns:r="http://schemas.openxmlformats.org/officeDocument/2006/relationships" xmlns:p="http://schemas.openxmlformats.org/presentationml/2006/main">
  <p:tag name="AS_UNIQUEID" val="790"/>
</p:tagLst>
</file>

<file path=ppt/tags/tag972.xml><?xml version="1.0" encoding="utf-8"?>
<p:tagLst xmlns:a="http://schemas.openxmlformats.org/drawingml/2006/main" xmlns:r="http://schemas.openxmlformats.org/officeDocument/2006/relationships" xmlns:p="http://schemas.openxmlformats.org/presentationml/2006/main">
  <p:tag name="AS_UNIQUEID" val="2100"/>
</p:tagLst>
</file>

<file path=ppt/tags/tag973.xml><?xml version="1.0" encoding="utf-8"?>
<p:tagLst xmlns:a="http://schemas.openxmlformats.org/drawingml/2006/main" xmlns:r="http://schemas.openxmlformats.org/officeDocument/2006/relationships" xmlns:p="http://schemas.openxmlformats.org/presentationml/2006/main">
  <p:tag name="AS_UNIQUEID" val="2100"/>
</p:tagLst>
</file>

<file path=ppt/tags/tag974.xml><?xml version="1.0" encoding="utf-8"?>
<p:tagLst xmlns:a="http://schemas.openxmlformats.org/drawingml/2006/main" xmlns:r="http://schemas.openxmlformats.org/officeDocument/2006/relationships" xmlns:p="http://schemas.openxmlformats.org/presentationml/2006/main">
  <p:tag name="AS_UNIQUEID" val="2135"/>
</p:tagLst>
</file>

<file path=ppt/tags/tag975.xml><?xml version="1.0" encoding="utf-8"?>
<p:tagLst xmlns:a="http://schemas.openxmlformats.org/drawingml/2006/main" xmlns:r="http://schemas.openxmlformats.org/officeDocument/2006/relationships" xmlns:p="http://schemas.openxmlformats.org/presentationml/2006/main">
  <p:tag name="AS_UNIQUEID" val="2093"/>
</p:tagLst>
</file>

<file path=ppt/tags/tag976.xml><?xml version="1.0" encoding="utf-8"?>
<p:tagLst xmlns:a="http://schemas.openxmlformats.org/drawingml/2006/main" xmlns:r="http://schemas.openxmlformats.org/officeDocument/2006/relationships" xmlns:p="http://schemas.openxmlformats.org/presentationml/2006/main">
  <p:tag name="AS_UNIQUEID" val="2094"/>
</p:tagLst>
</file>

<file path=ppt/tags/tag977.xml><?xml version="1.0" encoding="utf-8"?>
<p:tagLst xmlns:a="http://schemas.openxmlformats.org/drawingml/2006/main" xmlns:r="http://schemas.openxmlformats.org/officeDocument/2006/relationships" xmlns:p="http://schemas.openxmlformats.org/presentationml/2006/main">
  <p:tag name="AS_UNIQUEID" val="2095"/>
</p:tagLst>
</file>

<file path=ppt/tags/tag978.xml><?xml version="1.0" encoding="utf-8"?>
<p:tagLst xmlns:a="http://schemas.openxmlformats.org/drawingml/2006/main" xmlns:r="http://schemas.openxmlformats.org/officeDocument/2006/relationships" xmlns:p="http://schemas.openxmlformats.org/presentationml/2006/main">
  <p:tag name="AS_UNIQUEID" val="2156"/>
  <p:tag name="THINKCELLSHAPEDONOTDELETE" val="thinkcellActiveDocDoNotDelete"/>
</p:tagLst>
</file>

<file path=ppt/tags/tag979.xml><?xml version="1.0" encoding="utf-8"?>
<p:tagLst xmlns:a="http://schemas.openxmlformats.org/drawingml/2006/main" xmlns:r="http://schemas.openxmlformats.org/officeDocument/2006/relationships" xmlns:p="http://schemas.openxmlformats.org/presentationml/2006/main">
  <p:tag name="AS_UNIQUEID" val="2157"/>
</p:tagLst>
</file>

<file path=ppt/tags/tag98.xml><?xml version="1.0" encoding="utf-8"?>
<p:tagLst xmlns:a="http://schemas.openxmlformats.org/drawingml/2006/main" xmlns:r="http://schemas.openxmlformats.org/officeDocument/2006/relationships" xmlns:p="http://schemas.openxmlformats.org/presentationml/2006/main">
  <p:tag name="AS_UNIQUEID" val="1818"/>
</p:tagLst>
</file>

<file path=ppt/tags/tag980.xml><?xml version="1.0" encoding="utf-8"?>
<p:tagLst xmlns:a="http://schemas.openxmlformats.org/drawingml/2006/main" xmlns:r="http://schemas.openxmlformats.org/officeDocument/2006/relationships" xmlns:p="http://schemas.openxmlformats.org/presentationml/2006/main">
  <p:tag name="AS_UNIQUEID" val="2158"/>
</p:tagLst>
</file>

<file path=ppt/tags/tag981.xml><?xml version="1.0" encoding="utf-8"?>
<p:tagLst xmlns:a="http://schemas.openxmlformats.org/drawingml/2006/main" xmlns:r="http://schemas.openxmlformats.org/officeDocument/2006/relationships" xmlns:p="http://schemas.openxmlformats.org/presentationml/2006/main">
  <p:tag name="AS_UNIQUEID" val="2160"/>
</p:tagLst>
</file>

<file path=ppt/tags/tag982.xml><?xml version="1.0" encoding="utf-8"?>
<p:tagLst xmlns:a="http://schemas.openxmlformats.org/drawingml/2006/main" xmlns:r="http://schemas.openxmlformats.org/officeDocument/2006/relationships" xmlns:p="http://schemas.openxmlformats.org/presentationml/2006/main">
  <p:tag name="AS_UNIQUEID" val="2188"/>
</p:tagLst>
</file>

<file path=ppt/tags/tag983.xml><?xml version="1.0" encoding="utf-8"?>
<p:tagLst xmlns:a="http://schemas.openxmlformats.org/drawingml/2006/main" xmlns:r="http://schemas.openxmlformats.org/officeDocument/2006/relationships" xmlns:p="http://schemas.openxmlformats.org/presentationml/2006/main">
  <p:tag name="AS_UNIQUEID" val="2189"/>
</p:tagLst>
</file>

<file path=ppt/tags/tag984.xml><?xml version="1.0" encoding="utf-8"?>
<p:tagLst xmlns:a="http://schemas.openxmlformats.org/drawingml/2006/main" xmlns:r="http://schemas.openxmlformats.org/officeDocument/2006/relationships" xmlns:p="http://schemas.openxmlformats.org/presentationml/2006/main">
  <p:tag name="AS_UNIQUEID" val="2190"/>
</p:tagLst>
</file>

<file path=ppt/tags/tag985.xml><?xml version="1.0" encoding="utf-8"?>
<p:tagLst xmlns:a="http://schemas.openxmlformats.org/drawingml/2006/main" xmlns:r="http://schemas.openxmlformats.org/officeDocument/2006/relationships" xmlns:p="http://schemas.openxmlformats.org/presentationml/2006/main">
  <p:tag name="AS_UNIQUEID" val="2195"/>
</p:tagLst>
</file>

<file path=ppt/tags/tag986.xml><?xml version="1.0" encoding="utf-8"?>
<p:tagLst xmlns:a="http://schemas.openxmlformats.org/drawingml/2006/main" xmlns:r="http://schemas.openxmlformats.org/officeDocument/2006/relationships" xmlns:p="http://schemas.openxmlformats.org/presentationml/2006/main">
  <p:tag name="AS_UNIQUEID" val="2208"/>
</p:tagLst>
</file>

<file path=ppt/tags/tag987.xml><?xml version="1.0" encoding="utf-8"?>
<p:tagLst xmlns:a="http://schemas.openxmlformats.org/drawingml/2006/main" xmlns:r="http://schemas.openxmlformats.org/officeDocument/2006/relationships" xmlns:p="http://schemas.openxmlformats.org/presentationml/2006/main">
  <p:tag name="AS_UNIQUEID" val="2213"/>
</p:tagLst>
</file>

<file path=ppt/tags/tag988.xml><?xml version="1.0" encoding="utf-8"?>
<p:tagLst xmlns:a="http://schemas.openxmlformats.org/drawingml/2006/main" xmlns:r="http://schemas.openxmlformats.org/officeDocument/2006/relationships" xmlns:p="http://schemas.openxmlformats.org/presentationml/2006/main">
  <p:tag name="AS_UNIQUEID" val="2214"/>
</p:tagLst>
</file>

<file path=ppt/tags/tag989.xml><?xml version="1.0" encoding="utf-8"?>
<p:tagLst xmlns:a="http://schemas.openxmlformats.org/drawingml/2006/main" xmlns:r="http://schemas.openxmlformats.org/officeDocument/2006/relationships" xmlns:p="http://schemas.openxmlformats.org/presentationml/2006/main">
  <p:tag name="AS_UNIQUEID" val="2600"/>
</p:tagLst>
</file>

<file path=ppt/tags/tag99.xml><?xml version="1.0" encoding="utf-8"?>
<p:tagLst xmlns:a="http://schemas.openxmlformats.org/drawingml/2006/main" xmlns:r="http://schemas.openxmlformats.org/officeDocument/2006/relationships" xmlns:p="http://schemas.openxmlformats.org/presentationml/2006/main">
  <p:tag name="AS_UNIQUEID" val="1819"/>
</p:tagLst>
</file>

<file path=ppt/tags/tag990.xml><?xml version="1.0" encoding="utf-8"?>
<p:tagLst xmlns:a="http://schemas.openxmlformats.org/drawingml/2006/main" xmlns:r="http://schemas.openxmlformats.org/officeDocument/2006/relationships" xmlns:p="http://schemas.openxmlformats.org/presentationml/2006/main">
  <p:tag name="AS_UNIQUEID" val="2627"/>
</p:tagLst>
</file>

<file path=ppt/tags/tag991.xml><?xml version="1.0" encoding="utf-8"?>
<p:tagLst xmlns:a="http://schemas.openxmlformats.org/drawingml/2006/main" xmlns:r="http://schemas.openxmlformats.org/officeDocument/2006/relationships" xmlns:p="http://schemas.openxmlformats.org/presentationml/2006/main">
  <p:tag name="AS_UNIQUEID" val="2628"/>
</p:tagLst>
</file>

<file path=ppt/tags/tag992.xml><?xml version="1.0" encoding="utf-8"?>
<p:tagLst xmlns:a="http://schemas.openxmlformats.org/drawingml/2006/main" xmlns:r="http://schemas.openxmlformats.org/officeDocument/2006/relationships" xmlns:p="http://schemas.openxmlformats.org/presentationml/2006/main">
  <p:tag name="AS_UNIQUEID" val="2629"/>
</p:tagLst>
</file>

<file path=ppt/tags/tag993.xml><?xml version="1.0" encoding="utf-8"?>
<p:tagLst xmlns:a="http://schemas.openxmlformats.org/drawingml/2006/main" xmlns:r="http://schemas.openxmlformats.org/officeDocument/2006/relationships" xmlns:p="http://schemas.openxmlformats.org/presentationml/2006/main">
  <p:tag name="AS_UNIQUEID" val="2661"/>
</p:tagLst>
</file>

<file path=ppt/tags/tag994.xml><?xml version="1.0" encoding="utf-8"?>
<p:tagLst xmlns:a="http://schemas.openxmlformats.org/drawingml/2006/main" xmlns:r="http://schemas.openxmlformats.org/officeDocument/2006/relationships" xmlns:p="http://schemas.openxmlformats.org/presentationml/2006/main">
  <p:tag name="AS_UNIQUEID" val="2664"/>
</p:tagLst>
</file>

<file path=ppt/tags/tag995.xml><?xml version="1.0" encoding="utf-8"?>
<p:tagLst xmlns:a="http://schemas.openxmlformats.org/drawingml/2006/main" xmlns:r="http://schemas.openxmlformats.org/officeDocument/2006/relationships" xmlns:p="http://schemas.openxmlformats.org/presentationml/2006/main">
  <p:tag name="AS_UNIQUEID" val="2665"/>
</p:tagLst>
</file>

<file path=ppt/tags/tag996.xml><?xml version="1.0" encoding="utf-8"?>
<p:tagLst xmlns:a="http://schemas.openxmlformats.org/drawingml/2006/main" xmlns:r="http://schemas.openxmlformats.org/officeDocument/2006/relationships" xmlns:p="http://schemas.openxmlformats.org/presentationml/2006/main">
  <p:tag name="AS_UNIQUEID" val="2668"/>
</p:tagLst>
</file>

<file path=ppt/tags/tag997.xml><?xml version="1.0" encoding="utf-8"?>
<p:tagLst xmlns:a="http://schemas.openxmlformats.org/drawingml/2006/main" xmlns:r="http://schemas.openxmlformats.org/officeDocument/2006/relationships" xmlns:p="http://schemas.openxmlformats.org/presentationml/2006/main">
  <p:tag name="AS_UNIQUEID" val="2669"/>
</p:tagLst>
</file>

<file path=ppt/tags/tag998.xml><?xml version="1.0" encoding="utf-8"?>
<p:tagLst xmlns:a="http://schemas.openxmlformats.org/drawingml/2006/main" xmlns:r="http://schemas.openxmlformats.org/officeDocument/2006/relationships" xmlns:p="http://schemas.openxmlformats.org/presentationml/2006/main">
  <p:tag name="AS_UNIQUEID" val="2672"/>
</p:tagLst>
</file>

<file path=ppt/tags/tag999.xml><?xml version="1.0" encoding="utf-8"?>
<p:tagLst xmlns:a="http://schemas.openxmlformats.org/drawingml/2006/main" xmlns:r="http://schemas.openxmlformats.org/officeDocument/2006/relationships" xmlns:p="http://schemas.openxmlformats.org/presentationml/2006/main">
  <p:tag name="AS_UNIQUEID" val="2675"/>
</p:tagLst>
</file>

<file path=ppt/theme/theme1.xml><?xml version="1.0" encoding="utf-8"?>
<a:theme xmlns:a="http://schemas.openxmlformats.org/drawingml/2006/main" name="Tema do Office">
  <a:themeElements>
    <a:clrScheme name="Tema do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o 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o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1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Arial"/>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16655</TotalTime>
  <Words>3604</Words>
  <Application>Microsoft Office PowerPoint</Application>
  <PresentationFormat>Personalizar</PresentationFormat>
  <Paragraphs>952</Paragraphs>
  <Slides>41</Slides>
  <Notes>35</Notes>
  <HiddenSlides>0</HiddenSlides>
  <MMClips>0</MMClips>
  <ScaleCrop>false</ScaleCrop>
  <HeadingPairs>
    <vt:vector size="8" baseType="variant">
      <vt:variant>
        <vt:lpstr>Fontes usadas</vt:lpstr>
      </vt:variant>
      <vt:variant>
        <vt:i4>9</vt:i4>
      </vt:variant>
      <vt:variant>
        <vt:lpstr>Tema</vt:lpstr>
      </vt:variant>
      <vt:variant>
        <vt:i4>3</vt:i4>
      </vt:variant>
      <vt:variant>
        <vt:lpstr>Servidores OLE inseridos</vt:lpstr>
      </vt:variant>
      <vt:variant>
        <vt:i4>1</vt:i4>
      </vt:variant>
      <vt:variant>
        <vt:lpstr>Títulos de slides</vt:lpstr>
      </vt:variant>
      <vt:variant>
        <vt:i4>41</vt:i4>
      </vt:variant>
    </vt:vector>
  </HeadingPairs>
  <TitlesOfParts>
    <vt:vector size="54" baseType="lpstr">
      <vt:lpstr>Arial</vt:lpstr>
      <vt:lpstr>Calibri</vt:lpstr>
      <vt:lpstr>Calibri Light</vt:lpstr>
      <vt:lpstr>Courier New</vt:lpstr>
      <vt:lpstr>Segoe UI</vt:lpstr>
      <vt:lpstr>Segoe UI </vt:lpstr>
      <vt:lpstr>Segoe UI Black</vt:lpstr>
      <vt:lpstr>Segoe UI Light</vt:lpstr>
      <vt:lpstr>Tahoma</vt:lpstr>
      <vt:lpstr>Tema do Office</vt:lpstr>
      <vt:lpstr>1_Tema do Office</vt:lpstr>
      <vt:lpstr>2_Tema do Office</vt:lpstr>
      <vt:lpstr>Slide do think-cell</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Melisande O. Mancusi</dc:creator>
  <cp:lastModifiedBy>Victor Raimundo Penteado</cp:lastModifiedBy>
  <cp:revision>299</cp:revision>
  <cp:lastPrinted>2023-06-26T19:26:22Z</cp:lastPrinted>
  <dcterms:created xsi:type="dcterms:W3CDTF">2023-04-09T12:36:24Z</dcterms:created>
  <dcterms:modified xsi:type="dcterms:W3CDTF">2023-09-26T01:08:50Z</dcterms:modified>
</cp:coreProperties>
</file>